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2.xml" ContentType="application/vnd.openxmlformats-officedocument.them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heme/theme3.xml" ContentType="application/vnd.openxmlformats-officedocument.theme+xml"/>
  <Override PartName="/ppt/tags/tag393.xml" ContentType="application/vnd.openxmlformats-officedocument.presentationml.tags+xml"/>
  <Override PartName="/ppt/tags/tag394.xml" ContentType="application/vnd.openxmlformats-officedocument.presentationml.tags+xml"/>
  <Override PartName="/ppt/notesSlides/notesSlide1.xml" ContentType="application/vnd.openxmlformats-officedocument.presentationml.notesSlide+xml"/>
  <Override PartName="/ppt/tags/tag395.xml" ContentType="application/vnd.openxmlformats-officedocument.presentationml.tags+xml"/>
  <Override PartName="/ppt/tags/tag39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9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9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34"/>
    <p:sldMasterId id="2147483757" r:id="rId35"/>
  </p:sldMasterIdLst>
  <p:notesMasterIdLst>
    <p:notesMasterId r:id="rId47"/>
  </p:notesMasterIdLst>
  <p:sldIdLst>
    <p:sldId id="2566" r:id="rId36"/>
    <p:sldId id="420" r:id="rId37"/>
    <p:sldId id="413" r:id="rId38"/>
    <p:sldId id="412" r:id="rId39"/>
    <p:sldId id="419" r:id="rId40"/>
    <p:sldId id="2564" r:id="rId41"/>
    <p:sldId id="418" r:id="rId42"/>
    <p:sldId id="2563" r:id="rId43"/>
    <p:sldId id="2567" r:id="rId44"/>
    <p:sldId id="417" r:id="rId45"/>
    <p:sldId id="421" r:id="rId46"/>
  </p:sldIdLst>
  <p:sldSz cx="12192000" cy="6858000"/>
  <p:notesSz cx="6858000" cy="9144000"/>
  <p:embeddedFontLst>
    <p:embeddedFont>
      <p:font typeface="Museo Sans 500" panose="02000000000000000000" pitchFamily="50" charset="0"/>
      <p:regular r:id="rId48"/>
      <p:italic r:id="rId49"/>
    </p:embeddedFont>
    <p:embeddedFont>
      <p:font typeface="Museo Sans Rounded 500" panose="02000000000000000000" pitchFamily="50" charset="0"/>
      <p:regular r:id="rId50"/>
    </p:embeddedFont>
    <p:embeddedFont>
      <p:font typeface="Poppins" panose="00000500000000000000" pitchFamily="2" charset="0"/>
      <p:regular r:id="rId51"/>
      <p:bold r:id="rId52"/>
      <p:italic r:id="rId53"/>
      <p:boldItalic r:id="rId54"/>
    </p:embeddedFont>
    <p:embeddedFont>
      <p:font typeface="Poppins ExtraBold" panose="00000900000000000000" pitchFamily="2" charset="0"/>
      <p:bold r:id="rId55"/>
      <p:boldItalic r:id="rId56"/>
    </p:embeddedFont>
    <p:embeddedFont>
      <p:font typeface="Poppins Light" panose="00000400000000000000" pitchFamily="2" charset="0"/>
      <p:regular r:id="rId57"/>
      <p:italic r:id="rId58"/>
    </p:embeddedFont>
    <p:embeddedFont>
      <p:font typeface="Quattrocento Sans" panose="020B0502050000020003" pitchFamily="34" charset="0"/>
      <p:regular r:id="rId59"/>
      <p:bold r:id="rId60"/>
      <p:italic r:id="rId61"/>
      <p:boldItalic r:id="rId62"/>
    </p:embeddedFont>
    <p:embeddedFont>
      <p:font typeface="Segoe UI" panose="020B0502040204020203" pitchFamily="34" charset="0"/>
      <p:regular r:id="rId63"/>
      <p:bold r:id="rId64"/>
      <p:italic r:id="rId65"/>
      <p:boldItalic r:id="rId66"/>
    </p:embeddedFont>
    <p:embeddedFont>
      <p:font typeface="Segoe UI Black" panose="020B0A02040204020203" pitchFamily="34" charset="0"/>
      <p:bold r:id="rId67"/>
      <p:boldItalic r:id="rId68"/>
    </p:embeddedFont>
  </p:embeddedFontLst>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9CE540E-B347-1E14-53F7-BC48D74F4866}" name="Rebecca Foster" initials="RF" userId="S::RFoster@veic.org::b6604f25-c06f-4012-b275-e2f9c7178d40" providerId="AD"/>
  <p188:author id="{34BDD33D-1F3F-7A13-F729-614E17015074}" name="Brian Kealoha" initials="BK" userId="S::bkealoha@veic.org::7885cd53-9c0b-4e3f-ab2a-abed57e77d45" providerId="AD"/>
  <p188:author id="{931EE173-A80A-6CB2-5288-05726F23BFDA}" name="Mike Haberman" initials="MH" userId="S::mhaberman@veic.org::a41eace0-48c9-4489-b7f2-3fbe91ea781b" providerId="AD"/>
  <p188:author id="{F15259EF-B659-0CF1-27D2-9C1EFDD3A090}" name="Dan Reilly" initials="DR" userId="S::dreilly@veic.org::a87971be-0ebb-45d4-a3e6-b7db919c769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EDE"/>
    <a:srgbClr val="58595B"/>
    <a:srgbClr val="004B64"/>
    <a:srgbClr val="ADAEAE"/>
    <a:srgbClr val="F1F0F0"/>
    <a:srgbClr val="F5F5F5"/>
    <a:srgbClr val="B4B4B4"/>
    <a:srgbClr val="8CA8B1"/>
    <a:srgbClr val="FF9E1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3FCF6E-FA0F-4117-9D8F-622890EE0E84}" v="138" dt="2026-05-13T12:46:33.783"/>
    <p1510:client id="{CBC2B428-C782-492E-AE1E-9F00149B82D4}" v="2" dt="2026-05-13T12:56:37.6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5563" autoAdjust="0"/>
  </p:normalViewPr>
  <p:slideViewPr>
    <p:cSldViewPr snapToGrid="0">
      <p:cViewPr varScale="1">
        <p:scale>
          <a:sx n="69" d="100"/>
          <a:sy n="69" d="100"/>
        </p:scale>
        <p:origin x="331" y="62"/>
      </p:cViewPr>
      <p:guideLst>
        <p:guide orient="horz" pos="2184"/>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 Target="slides/slide7.xml"/><Relationship Id="rId47" Type="http://schemas.openxmlformats.org/officeDocument/2006/relationships/notesMaster" Target="notesMasters/notesMaster1.xml"/><Relationship Id="rId63" Type="http://schemas.openxmlformats.org/officeDocument/2006/relationships/font" Target="fonts/font16.fntdata"/><Relationship Id="rId68" Type="http://schemas.openxmlformats.org/officeDocument/2006/relationships/font" Target="fonts/font21.fntdata"/><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slide" Target="slides/slide2.xml"/><Relationship Id="rId40" Type="http://schemas.openxmlformats.org/officeDocument/2006/relationships/slide" Target="slides/slide5.xml"/><Relationship Id="rId45" Type="http://schemas.openxmlformats.org/officeDocument/2006/relationships/slide" Target="slides/slide10.xml"/><Relationship Id="rId53" Type="http://schemas.openxmlformats.org/officeDocument/2006/relationships/font" Target="fonts/font6.fntdata"/><Relationship Id="rId58" Type="http://schemas.openxmlformats.org/officeDocument/2006/relationships/font" Target="fonts/font11.fntdata"/><Relationship Id="rId66" Type="http://schemas.openxmlformats.org/officeDocument/2006/relationships/font" Target="fonts/font19.fntdata"/><Relationship Id="rId74" Type="http://schemas.microsoft.com/office/2016/11/relationships/changesInfo" Target="changesInfos/changesInfo1.xml"/><Relationship Id="rId5" Type="http://schemas.openxmlformats.org/officeDocument/2006/relationships/customXml" Target="../customXml/item5.xml"/><Relationship Id="rId61" Type="http://schemas.openxmlformats.org/officeDocument/2006/relationships/font" Target="fonts/font14.fntdata"/><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Master" Target="slideMasters/slideMaster2.xml"/><Relationship Id="rId43" Type="http://schemas.openxmlformats.org/officeDocument/2006/relationships/slide" Target="slides/slide8.xml"/><Relationship Id="rId48" Type="http://schemas.openxmlformats.org/officeDocument/2006/relationships/font" Target="fonts/font1.fntdata"/><Relationship Id="rId56" Type="http://schemas.openxmlformats.org/officeDocument/2006/relationships/font" Target="fonts/font9.fntdata"/><Relationship Id="rId64" Type="http://schemas.openxmlformats.org/officeDocument/2006/relationships/font" Target="fonts/font17.fntdata"/><Relationship Id="rId69" Type="http://schemas.openxmlformats.org/officeDocument/2006/relationships/tags" Target="tags/tag1.xml"/><Relationship Id="rId8" Type="http://schemas.openxmlformats.org/officeDocument/2006/relationships/customXml" Target="../customXml/item8.xml"/><Relationship Id="rId51" Type="http://schemas.openxmlformats.org/officeDocument/2006/relationships/font" Target="fonts/font4.fntdata"/><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 Target="slides/slide3.xml"/><Relationship Id="rId46" Type="http://schemas.openxmlformats.org/officeDocument/2006/relationships/slide" Target="slides/slide11.xml"/><Relationship Id="rId59" Type="http://schemas.openxmlformats.org/officeDocument/2006/relationships/font" Target="fonts/font12.fntdata"/><Relationship Id="rId67" Type="http://schemas.openxmlformats.org/officeDocument/2006/relationships/font" Target="fonts/font20.fntdata"/><Relationship Id="rId20" Type="http://schemas.openxmlformats.org/officeDocument/2006/relationships/customXml" Target="../customXml/item20.xml"/><Relationship Id="rId41" Type="http://schemas.openxmlformats.org/officeDocument/2006/relationships/slide" Target="slides/slide6.xml"/><Relationship Id="rId54" Type="http://schemas.openxmlformats.org/officeDocument/2006/relationships/font" Target="fonts/font7.fntdata"/><Relationship Id="rId62" Type="http://schemas.openxmlformats.org/officeDocument/2006/relationships/font" Target="fonts/font15.fntdata"/><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1.xml"/><Relationship Id="rId49" Type="http://schemas.openxmlformats.org/officeDocument/2006/relationships/font" Target="fonts/font2.fntdata"/><Relationship Id="rId57" Type="http://schemas.openxmlformats.org/officeDocument/2006/relationships/font" Target="fonts/font10.fntdata"/><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9.xml"/><Relationship Id="rId52" Type="http://schemas.openxmlformats.org/officeDocument/2006/relationships/font" Target="fonts/font5.fntdata"/><Relationship Id="rId60" Type="http://schemas.openxmlformats.org/officeDocument/2006/relationships/font" Target="fonts/font13.fntdata"/><Relationship Id="rId65" Type="http://schemas.openxmlformats.org/officeDocument/2006/relationships/font" Target="fonts/font18.fntdata"/><Relationship Id="rId73"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4.xml"/><Relationship Id="rId34" Type="http://schemas.openxmlformats.org/officeDocument/2006/relationships/slideMaster" Target="slideMasters/slideMaster1.xml"/><Relationship Id="rId50" Type="http://schemas.openxmlformats.org/officeDocument/2006/relationships/font" Target="fonts/font3.fntdata"/><Relationship Id="rId55" Type="http://schemas.openxmlformats.org/officeDocument/2006/relationships/font" Target="fonts/font8.fntdata"/><Relationship Id="rId76" Type="http://schemas.microsoft.com/office/2018/10/relationships/authors" Target="authors.xml"/><Relationship Id="rId7" Type="http://schemas.openxmlformats.org/officeDocument/2006/relationships/customXml" Target="../customXml/item7.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becca Foster" userId="b6604f25-c06f-4012-b275-e2f9c7178d40" providerId="ADAL" clId="{1F296491-DF5B-4E67-9A00-B91F1A4A54E6}"/>
    <pc:docChg chg="undo custSel modSld">
      <pc:chgData name="Rebecca Foster" userId="b6604f25-c06f-4012-b275-e2f9c7178d40" providerId="ADAL" clId="{1F296491-DF5B-4E67-9A00-B91F1A4A54E6}" dt="2026-05-13T12:51:17.898" v="9" actId="6549"/>
      <pc:docMkLst>
        <pc:docMk/>
      </pc:docMkLst>
      <pc:sldChg chg="modNotesTx">
        <pc:chgData name="Rebecca Foster" userId="b6604f25-c06f-4012-b275-e2f9c7178d40" providerId="ADAL" clId="{1F296491-DF5B-4E67-9A00-B91F1A4A54E6}" dt="2026-05-13T12:50:49.777" v="1" actId="6549"/>
        <pc:sldMkLst>
          <pc:docMk/>
          <pc:sldMk cId="96156193" sldId="412"/>
        </pc:sldMkLst>
      </pc:sldChg>
      <pc:sldChg chg="modNotesTx">
        <pc:chgData name="Rebecca Foster" userId="b6604f25-c06f-4012-b275-e2f9c7178d40" providerId="ADAL" clId="{1F296491-DF5B-4E67-9A00-B91F1A4A54E6}" dt="2026-05-13T12:50:47.063" v="0" actId="6549"/>
        <pc:sldMkLst>
          <pc:docMk/>
          <pc:sldMk cId="3470702530" sldId="413"/>
        </pc:sldMkLst>
      </pc:sldChg>
      <pc:sldChg chg="modNotesTx">
        <pc:chgData name="Rebecca Foster" userId="b6604f25-c06f-4012-b275-e2f9c7178d40" providerId="ADAL" clId="{1F296491-DF5B-4E67-9A00-B91F1A4A54E6}" dt="2026-05-13T12:51:17.898" v="9" actId="6549"/>
        <pc:sldMkLst>
          <pc:docMk/>
          <pc:sldMk cId="3412640707" sldId="417"/>
        </pc:sldMkLst>
      </pc:sldChg>
      <pc:sldChg chg="modNotesTx">
        <pc:chgData name="Rebecca Foster" userId="b6604f25-c06f-4012-b275-e2f9c7178d40" providerId="ADAL" clId="{1F296491-DF5B-4E67-9A00-B91F1A4A54E6}" dt="2026-05-13T12:51:08.629" v="6" actId="6549"/>
        <pc:sldMkLst>
          <pc:docMk/>
          <pc:sldMk cId="381120122" sldId="418"/>
        </pc:sldMkLst>
      </pc:sldChg>
      <pc:sldChg chg="modNotesTx">
        <pc:chgData name="Rebecca Foster" userId="b6604f25-c06f-4012-b275-e2f9c7178d40" providerId="ADAL" clId="{1F296491-DF5B-4E67-9A00-B91F1A4A54E6}" dt="2026-05-13T12:50:52.305" v="2" actId="6549"/>
        <pc:sldMkLst>
          <pc:docMk/>
          <pc:sldMk cId="3855117629" sldId="419"/>
        </pc:sldMkLst>
      </pc:sldChg>
      <pc:sldChg chg="modNotesTx">
        <pc:chgData name="Rebecca Foster" userId="b6604f25-c06f-4012-b275-e2f9c7178d40" providerId="ADAL" clId="{1F296491-DF5B-4E67-9A00-B91F1A4A54E6}" dt="2026-05-13T12:51:12.088" v="7" actId="6549"/>
        <pc:sldMkLst>
          <pc:docMk/>
          <pc:sldMk cId="1753538666" sldId="2563"/>
        </pc:sldMkLst>
      </pc:sldChg>
      <pc:sldChg chg="modNotesTx">
        <pc:chgData name="Rebecca Foster" userId="b6604f25-c06f-4012-b275-e2f9c7178d40" providerId="ADAL" clId="{1F296491-DF5B-4E67-9A00-B91F1A4A54E6}" dt="2026-05-13T12:51:02.837" v="5" actId="6549"/>
        <pc:sldMkLst>
          <pc:docMk/>
          <pc:sldMk cId="3523337393" sldId="2564"/>
        </pc:sldMkLst>
      </pc:sldChg>
      <pc:sldChg chg="modNotesTx">
        <pc:chgData name="Rebecca Foster" userId="b6604f25-c06f-4012-b275-e2f9c7178d40" providerId="ADAL" clId="{1F296491-DF5B-4E67-9A00-B91F1A4A54E6}" dt="2026-05-13T12:51:15.456" v="8" actId="6549"/>
        <pc:sldMkLst>
          <pc:docMk/>
          <pc:sldMk cId="3251818995" sldId="256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421BE73-867C-465F-9DAF-C6543ED05461}" type="datetimeFigureOut">
              <a:rPr lang="en-US" smtClean="0"/>
              <a:t>5/13/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E9BC86-C8AE-4517-8DB7-693EB8872D83}" type="slidenum">
              <a:rPr lang="en-US" smtClean="0"/>
              <a:t>‹#›</a:t>
            </a:fld>
            <a:endParaRPr lang="en-US"/>
          </a:p>
        </p:txBody>
      </p:sp>
    </p:spTree>
    <p:extLst>
      <p:ext uri="{BB962C8B-B14F-4D97-AF65-F5344CB8AC3E}">
        <p14:creationId xmlns:p14="http://schemas.microsoft.com/office/powerpoint/2010/main" val="26177836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E9BC86-C8AE-4517-8DB7-693EB8872D8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58898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3</a:t>
            </a:fld>
            <a:endParaRPr lang="en-US"/>
          </a:p>
        </p:txBody>
      </p:sp>
    </p:spTree>
    <p:extLst>
      <p:ext uri="{BB962C8B-B14F-4D97-AF65-F5344CB8AC3E}">
        <p14:creationId xmlns:p14="http://schemas.microsoft.com/office/powerpoint/2010/main" val="25290002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4</a:t>
            </a:fld>
            <a:endParaRPr lang="en-US"/>
          </a:p>
        </p:txBody>
      </p:sp>
    </p:spTree>
    <p:extLst>
      <p:ext uri="{BB962C8B-B14F-4D97-AF65-F5344CB8AC3E}">
        <p14:creationId xmlns:p14="http://schemas.microsoft.com/office/powerpoint/2010/main" val="560785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5</a:t>
            </a:fld>
            <a:endParaRPr lang="en-US"/>
          </a:p>
        </p:txBody>
      </p:sp>
    </p:spTree>
    <p:extLst>
      <p:ext uri="{BB962C8B-B14F-4D97-AF65-F5344CB8AC3E}">
        <p14:creationId xmlns:p14="http://schemas.microsoft.com/office/powerpoint/2010/main" val="937200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51E9BC86-C8AE-4517-8DB7-693EB8872D83}" type="slidenum">
              <a:rPr lang="en-US" smtClean="0"/>
              <a:t>6</a:t>
            </a:fld>
            <a:endParaRPr lang="en-US"/>
          </a:p>
        </p:txBody>
      </p:sp>
    </p:spTree>
    <p:extLst>
      <p:ext uri="{BB962C8B-B14F-4D97-AF65-F5344CB8AC3E}">
        <p14:creationId xmlns:p14="http://schemas.microsoft.com/office/powerpoint/2010/main" val="26148026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7</a:t>
            </a:fld>
            <a:endParaRPr lang="en-US"/>
          </a:p>
        </p:txBody>
      </p:sp>
    </p:spTree>
    <p:extLst>
      <p:ext uri="{BB962C8B-B14F-4D97-AF65-F5344CB8AC3E}">
        <p14:creationId xmlns:p14="http://schemas.microsoft.com/office/powerpoint/2010/main" val="9319857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EB617B3-362D-44F7-89C7-3A7C2BADF35C}" type="slidenum">
              <a:t>8</a:t>
            </a:fld>
            <a:endParaRPr lang="en-US"/>
          </a:p>
        </p:txBody>
      </p:sp>
    </p:spTree>
    <p:extLst>
      <p:ext uri="{BB962C8B-B14F-4D97-AF65-F5344CB8AC3E}">
        <p14:creationId xmlns:p14="http://schemas.microsoft.com/office/powerpoint/2010/main" val="10952823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90FD0-2AA5-FF39-001C-B08E6AEE7E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D929DB-6202-D329-683C-B9FB8A4139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A75796-35FE-76B1-A9A9-436376F29FE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CDA66FF-AD92-1546-2627-B7579E663E92}"/>
              </a:ext>
            </a:extLst>
          </p:cNvPr>
          <p:cNvSpPr>
            <a:spLocks noGrp="1"/>
          </p:cNvSpPr>
          <p:nvPr>
            <p:ph type="sldNum" sz="quarter" idx="5"/>
          </p:nvPr>
        </p:nvSpPr>
        <p:spPr/>
        <p:txBody>
          <a:bodyPr/>
          <a:lstStyle/>
          <a:p>
            <a:fld id="{51E9BC86-C8AE-4517-8DB7-693EB8872D83}" type="slidenum">
              <a:rPr lang="en-US" smtClean="0"/>
              <a:t>9</a:t>
            </a:fld>
            <a:endParaRPr lang="en-US"/>
          </a:p>
        </p:txBody>
      </p:sp>
    </p:spTree>
    <p:extLst>
      <p:ext uri="{BB962C8B-B14F-4D97-AF65-F5344CB8AC3E}">
        <p14:creationId xmlns:p14="http://schemas.microsoft.com/office/powerpoint/2010/main" val="29549518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10</a:t>
            </a:fld>
            <a:endParaRPr lang="en-US"/>
          </a:p>
        </p:txBody>
      </p:sp>
    </p:spTree>
    <p:extLst>
      <p:ext uri="{BB962C8B-B14F-4D97-AF65-F5344CB8AC3E}">
        <p14:creationId xmlns:p14="http://schemas.microsoft.com/office/powerpoint/2010/main" val="28273686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hyperlink" Target="mailto:Ksherman@veic.org" TargetMode="Externa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sv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7.xml"/><Relationship Id="rId1" Type="http://schemas.openxmlformats.org/officeDocument/2006/relationships/tags" Target="../tags/tag186.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9.xml"/><Relationship Id="rId1" Type="http://schemas.openxmlformats.org/officeDocument/2006/relationships/tags" Target="../tags/tag188.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1.xml"/><Relationship Id="rId1" Type="http://schemas.openxmlformats.org/officeDocument/2006/relationships/tags" Target="../tags/tag19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3.xml"/><Relationship Id="rId1" Type="http://schemas.openxmlformats.org/officeDocument/2006/relationships/tags" Target="../tags/tag192.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7.xml"/><Relationship Id="rId1" Type="http://schemas.openxmlformats.org/officeDocument/2006/relationships/tags" Target="../tags/tag196.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9.xml"/><Relationship Id="rId1" Type="http://schemas.openxmlformats.org/officeDocument/2006/relationships/tags" Target="../tags/tag198.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3.xml"/><Relationship Id="rId1" Type="http://schemas.openxmlformats.org/officeDocument/2006/relationships/tags" Target="../tags/tag202.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5.xml"/><Relationship Id="rId1" Type="http://schemas.openxmlformats.org/officeDocument/2006/relationships/tags" Target="../tags/tag204.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7.xml"/><Relationship Id="rId1" Type="http://schemas.openxmlformats.org/officeDocument/2006/relationships/tags" Target="../tags/tag206.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9.xml"/><Relationship Id="rId1" Type="http://schemas.openxmlformats.org/officeDocument/2006/relationships/tags" Target="../tags/tag208.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1.xml"/><Relationship Id="rId1" Type="http://schemas.openxmlformats.org/officeDocument/2006/relationships/tags" Target="../tags/tag21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3.xml"/><Relationship Id="rId1" Type="http://schemas.openxmlformats.org/officeDocument/2006/relationships/tags" Target="../tags/tag212.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5.xml"/><Relationship Id="rId1" Type="http://schemas.openxmlformats.org/officeDocument/2006/relationships/tags" Target="../tags/tag214.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9.xml"/><Relationship Id="rId1" Type="http://schemas.openxmlformats.org/officeDocument/2006/relationships/tags" Target="../tags/tag218.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1.xml"/><Relationship Id="rId1" Type="http://schemas.openxmlformats.org/officeDocument/2006/relationships/tags" Target="../tags/tag2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3.xml"/><Relationship Id="rId1" Type="http://schemas.openxmlformats.org/officeDocument/2006/relationships/tags" Target="../tags/tag2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5.xml"/><Relationship Id="rId1" Type="http://schemas.openxmlformats.org/officeDocument/2006/relationships/tags" Target="../tags/tag2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7.xml"/><Relationship Id="rId1" Type="http://schemas.openxmlformats.org/officeDocument/2006/relationships/tags" Target="../tags/tag226.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9.xml"/><Relationship Id="rId1" Type="http://schemas.openxmlformats.org/officeDocument/2006/relationships/tags" Target="../tags/tag228.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13.jpeg"/></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3.xml"/><Relationship Id="rId1" Type="http://schemas.openxmlformats.org/officeDocument/2006/relationships/tags" Target="../tags/tag232.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5.xml"/><Relationship Id="rId1" Type="http://schemas.openxmlformats.org/officeDocument/2006/relationships/tags" Target="../tags/tag234.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7.xml"/><Relationship Id="rId1" Type="http://schemas.openxmlformats.org/officeDocument/2006/relationships/tags" Target="../tags/tag236.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9.xml"/><Relationship Id="rId1" Type="http://schemas.openxmlformats.org/officeDocument/2006/relationships/tags" Target="../tags/tag238.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40.xml"/><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41.xml"/><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4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43.xml"/><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44.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45.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7.xml"/><Relationship Id="rId1" Type="http://schemas.openxmlformats.org/officeDocument/2006/relationships/tags" Target="../tags/tag246.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9.xml"/><Relationship Id="rId1" Type="http://schemas.openxmlformats.org/officeDocument/2006/relationships/tags" Target="../tags/tag248.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1.xml"/><Relationship Id="rId1" Type="http://schemas.openxmlformats.org/officeDocument/2006/relationships/tags" Target="../tags/tag250.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3.xml"/><Relationship Id="rId1" Type="http://schemas.openxmlformats.org/officeDocument/2006/relationships/tags" Target="../tags/tag252.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5.xml"/><Relationship Id="rId1" Type="http://schemas.openxmlformats.org/officeDocument/2006/relationships/tags" Target="../tags/tag254.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7.xml"/><Relationship Id="rId1" Type="http://schemas.openxmlformats.org/officeDocument/2006/relationships/tags" Target="../tags/tag256.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9.xml"/><Relationship Id="rId1" Type="http://schemas.openxmlformats.org/officeDocument/2006/relationships/tags" Target="../tags/tag258.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1.xml"/><Relationship Id="rId1" Type="http://schemas.openxmlformats.org/officeDocument/2006/relationships/tags" Target="../tags/tag260.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3.xml"/><Relationship Id="rId1" Type="http://schemas.openxmlformats.org/officeDocument/2006/relationships/tags" Target="../tags/tag262.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5.xml"/><Relationship Id="rId1" Type="http://schemas.openxmlformats.org/officeDocument/2006/relationships/tags" Target="../tags/tag264.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7.xml"/><Relationship Id="rId1" Type="http://schemas.openxmlformats.org/officeDocument/2006/relationships/tags" Target="../tags/tag266.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9.xml"/><Relationship Id="rId1" Type="http://schemas.openxmlformats.org/officeDocument/2006/relationships/tags" Target="../tags/tag268.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1.xml"/><Relationship Id="rId1" Type="http://schemas.openxmlformats.org/officeDocument/2006/relationships/tags" Target="../tags/tag270.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3.xml"/><Relationship Id="rId1" Type="http://schemas.openxmlformats.org/officeDocument/2006/relationships/tags" Target="../tags/tag272.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5.xml"/><Relationship Id="rId1" Type="http://schemas.openxmlformats.org/officeDocument/2006/relationships/tags" Target="../tags/tag274.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7.xml"/><Relationship Id="rId1" Type="http://schemas.openxmlformats.org/officeDocument/2006/relationships/tags" Target="../tags/tag276.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9.xml"/><Relationship Id="rId1" Type="http://schemas.openxmlformats.org/officeDocument/2006/relationships/tags" Target="../tags/tag278.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1.xml"/><Relationship Id="rId1" Type="http://schemas.openxmlformats.org/officeDocument/2006/relationships/tags" Target="../tags/tag280.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3.xml"/><Relationship Id="rId1" Type="http://schemas.openxmlformats.org/officeDocument/2006/relationships/tags" Target="../tags/tag282.x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5.xml"/><Relationship Id="rId1" Type="http://schemas.openxmlformats.org/officeDocument/2006/relationships/tags" Target="../tags/tag284.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7.xml"/><Relationship Id="rId1" Type="http://schemas.openxmlformats.org/officeDocument/2006/relationships/tags" Target="../tags/tag286.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9.xml"/><Relationship Id="rId1" Type="http://schemas.openxmlformats.org/officeDocument/2006/relationships/tags" Target="../tags/tag288.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1.xml"/><Relationship Id="rId1" Type="http://schemas.openxmlformats.org/officeDocument/2006/relationships/tags" Target="../tags/tag290.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3.xml"/><Relationship Id="rId1" Type="http://schemas.openxmlformats.org/officeDocument/2006/relationships/tags" Target="../tags/tag292.x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5.xml"/><Relationship Id="rId1" Type="http://schemas.openxmlformats.org/officeDocument/2006/relationships/tags" Target="../tags/tag294.x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7.xml"/><Relationship Id="rId1" Type="http://schemas.openxmlformats.org/officeDocument/2006/relationships/tags" Target="../tags/tag296.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9.xml"/><Relationship Id="rId1" Type="http://schemas.openxmlformats.org/officeDocument/2006/relationships/tags" Target="../tags/tag298.x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1.xml"/><Relationship Id="rId1" Type="http://schemas.openxmlformats.org/officeDocument/2006/relationships/tags" Target="../tags/tag300.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3.xml"/><Relationship Id="rId1" Type="http://schemas.openxmlformats.org/officeDocument/2006/relationships/tags" Target="../tags/tag302.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5.xml"/><Relationship Id="rId1" Type="http://schemas.openxmlformats.org/officeDocument/2006/relationships/tags" Target="../tags/tag304.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image" Target="../media/image5.sv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image" Target="../media/image5.sv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image" Target="../media/image5.sv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3.xml"/><Relationship Id="rId1" Type="http://schemas.openxmlformats.org/officeDocument/2006/relationships/tags" Target="../tags/tag312.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image" Target="../media/image10.jpeg"/></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image" Target="../media/image9.jpe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8" Type="http://schemas.openxmlformats.org/officeDocument/2006/relationships/hyperlink" Target="mailto:Ksherman@veic.org" TargetMode="External"/><Relationship Id="rId3" Type="http://schemas.openxmlformats.org/officeDocument/2006/relationships/slideMaster" Target="../slideMasters/slideMaster2.xml"/><Relationship Id="rId7" Type="http://schemas.openxmlformats.org/officeDocument/2006/relationships/image" Target="../media/image2.svg"/><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4.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hyperlink" Target="mailto:Ksherman@veic.org" TargetMode="External"/><Relationship Id="rId2" Type="http://schemas.openxmlformats.org/officeDocument/2006/relationships/tags" Target="../tags/tag319.xml"/><Relationship Id="rId1" Type="http://schemas.openxmlformats.org/officeDocument/2006/relationships/tags" Target="../tags/tag318.xml"/><Relationship Id="rId6" Type="http://schemas.openxmlformats.org/officeDocument/2006/relationships/image" Target="../media/image2.sv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svg"/><Relationship Id="rId2" Type="http://schemas.openxmlformats.org/officeDocument/2006/relationships/tags" Target="../tags/tag321.xml"/><Relationship Id="rId1" Type="http://schemas.openxmlformats.org/officeDocument/2006/relationships/tags" Target="../tags/tag32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7.jpeg"/></Relationships>
</file>

<file path=ppt/slideLayouts/_rels/slideLayout172.xml.rels><?xml version="1.0" encoding="UTF-8" standalone="yes"?>
<Relationships xmlns="http://schemas.openxmlformats.org/package/2006/relationships"><Relationship Id="rId8" Type="http://schemas.openxmlformats.org/officeDocument/2006/relationships/hyperlink" Target="mailto:Ksherman@veic.org" TargetMode="External"/><Relationship Id="rId3" Type="http://schemas.openxmlformats.org/officeDocument/2006/relationships/slideMaster" Target="../slideMasters/slideMaster2.xml"/><Relationship Id="rId7" Type="http://schemas.openxmlformats.org/officeDocument/2006/relationships/image" Target="../media/image2.svg"/><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5.jpeg"/></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5.xml"/><Relationship Id="rId1" Type="http://schemas.openxmlformats.org/officeDocument/2006/relationships/tags" Target="../tags/tag324.xml"/><Relationship Id="rId6" Type="http://schemas.openxmlformats.org/officeDocument/2006/relationships/image" Target="../media/image2.sv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74.xml.rels><?xml version="1.0" encoding="UTF-8" standalone="yes"?>
<Relationships xmlns="http://schemas.openxmlformats.org/package/2006/relationships"><Relationship Id="rId8" Type="http://schemas.openxmlformats.org/officeDocument/2006/relationships/hyperlink" Target="mailto:Ksherman@veic.org" TargetMode="External"/><Relationship Id="rId3" Type="http://schemas.openxmlformats.org/officeDocument/2006/relationships/slideMaster" Target="../slideMasters/slideMaster2.xml"/><Relationship Id="rId7" Type="http://schemas.openxmlformats.org/officeDocument/2006/relationships/image" Target="../media/image2.svg"/><Relationship Id="rId2" Type="http://schemas.openxmlformats.org/officeDocument/2006/relationships/tags" Target="../tags/tag327.xml"/><Relationship Id="rId1" Type="http://schemas.openxmlformats.org/officeDocument/2006/relationships/tags" Target="../tags/tag32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6.jpeg"/></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9.xml"/><Relationship Id="rId1" Type="http://schemas.openxmlformats.org/officeDocument/2006/relationships/tags" Target="../tags/tag32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7.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8.jpeg"/></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9.jpeg"/></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7.xml"/><Relationship Id="rId1" Type="http://schemas.openxmlformats.org/officeDocument/2006/relationships/tags" Target="../tags/tag336.x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image" Target="../media/image20.jpe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image" Target="../media/image21.jpeg"/></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1.xml"/><Relationship Id="rId1" Type="http://schemas.openxmlformats.org/officeDocument/2006/relationships/tags" Target="../tags/tag340.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4.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5.xml"/><Relationship Id="rId1" Type="http://schemas.openxmlformats.org/officeDocument/2006/relationships/tags" Target="../tags/tag344.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7.xml"/><Relationship Id="rId1" Type="http://schemas.openxmlformats.org/officeDocument/2006/relationships/tags" Target="../tags/tag346.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9.xml"/><Relationship Id="rId1" Type="http://schemas.openxmlformats.org/officeDocument/2006/relationships/tags" Target="../tags/tag348.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1.xml"/><Relationship Id="rId1" Type="http://schemas.openxmlformats.org/officeDocument/2006/relationships/tags" Target="../tags/tag350.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22.jpeg"/></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3.xml"/><Relationship Id="rId1" Type="http://schemas.openxmlformats.org/officeDocument/2006/relationships/tags" Target="../tags/tag352.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23.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5.xml"/><Relationship Id="rId1" Type="http://schemas.openxmlformats.org/officeDocument/2006/relationships/tags" Target="../tags/tag354.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7.xml"/><Relationship Id="rId1" Type="http://schemas.openxmlformats.org/officeDocument/2006/relationships/tags" Target="../tags/tag356.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9.xml"/><Relationship Id="rId1" Type="http://schemas.openxmlformats.org/officeDocument/2006/relationships/tags" Target="../tags/tag35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24.jpeg"/></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3.xml"/><Relationship Id="rId1" Type="http://schemas.openxmlformats.org/officeDocument/2006/relationships/tags" Target="../tags/tag362.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5.xml"/><Relationship Id="rId1" Type="http://schemas.openxmlformats.org/officeDocument/2006/relationships/tags" Target="../tags/tag364.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image" Target="../media/image25.sv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9.xml"/><Relationship Id="rId1" Type="http://schemas.openxmlformats.org/officeDocument/2006/relationships/tags" Target="../tags/tag368.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1.xml"/><Relationship Id="rId1" Type="http://schemas.openxmlformats.org/officeDocument/2006/relationships/tags" Target="../tags/tag370.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3.xml"/><Relationship Id="rId1" Type="http://schemas.openxmlformats.org/officeDocument/2006/relationships/tags" Target="../tags/tag372.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5.xml"/><Relationship Id="rId1" Type="http://schemas.openxmlformats.org/officeDocument/2006/relationships/tags" Target="../tags/tag374.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image" Target="../media/image5.sv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9.xml"/><Relationship Id="rId1" Type="http://schemas.openxmlformats.org/officeDocument/2006/relationships/tags" Target="../tags/tag378.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image" Target="../media/image19.jpeg"/></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1.xml"/><Relationship Id="rId1" Type="http://schemas.openxmlformats.org/officeDocument/2006/relationships/tags" Target="../tags/tag380.x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image" Target="../media/image18.jpeg"/></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382.xml"/><Relationship Id="rId4" Type="http://schemas.openxmlformats.org/officeDocument/2006/relationships/image" Target="../media/image1.emf"/></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4.xml"/><Relationship Id="rId1" Type="http://schemas.openxmlformats.org/officeDocument/2006/relationships/tags" Target="../tags/tag383.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image" Target="../media/image4.jpeg"/></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6.xml"/><Relationship Id="rId1" Type="http://schemas.openxmlformats.org/officeDocument/2006/relationships/tags" Target="../tags/tag385.x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image" Target="../media/image3.jpeg"/></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8.xml"/><Relationship Id="rId1" Type="http://schemas.openxmlformats.org/officeDocument/2006/relationships/tags" Target="../tags/tag387.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0.xml"/><Relationship Id="rId1" Type="http://schemas.openxmlformats.org/officeDocument/2006/relationships/tags" Target="../tags/tag389.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image" Target="../media/image10.jpeg"/></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2.xml"/><Relationship Id="rId1" Type="http://schemas.openxmlformats.org/officeDocument/2006/relationships/tags" Target="../tags/tag391.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svg"/><Relationship Id="rId1"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31.sv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0.svg"/><Relationship Id="rId1" Type="http://schemas.openxmlformats.org/officeDocument/2006/relationships/slideMaster" Target="../slideMasters/slideMaster2.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31.sv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80.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81.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82.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83.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84.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85.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4.jpeg"/></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5.sv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5.sv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5.sv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image" Target="../media/image4.jpeg"/></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image" Target="../media/image3.jpeg"/></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8" Type="http://schemas.openxmlformats.org/officeDocument/2006/relationships/hyperlink" Target="mailto:Ksherman@veic.org" TargetMode="External"/><Relationship Id="rId3" Type="http://schemas.openxmlformats.org/officeDocument/2006/relationships/slideMaster" Target="../slideMasters/slideMaster2.xml"/><Relationship Id="rId7" Type="http://schemas.openxmlformats.org/officeDocument/2006/relationships/image" Target="../media/image2.svg"/><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7.jpeg"/></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8.jpeg"/></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9.jpeg"/></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0.jpeg"/></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image" Target="../media/image11.jpeg"/></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image" Target="../media/image12.jpeg"/></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3.xml"/><Relationship Id="rId1" Type="http://schemas.openxmlformats.org/officeDocument/2006/relationships/tags" Target="../tags/tag182.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776882B-B6FA-4247-837A-97CF996CBF72}"/>
              </a:ext>
            </a:extLst>
          </p:cNvPr>
          <p:cNvGraphicFramePr>
            <a:graphicFrameLocks noChangeAspect="1"/>
          </p:cNvGraphicFramePr>
          <p:nvPr userDrawn="1">
            <p:custDataLst>
              <p:tags r:id="rId1"/>
            </p:custDataLst>
            <p:extLst>
              <p:ext uri="{D42A27DB-BD31-4B8C-83A1-F6EECF244321}">
                <p14:modId xmlns:p14="http://schemas.microsoft.com/office/powerpoint/2010/main" val="2448964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6" name="Object 15" hidden="1">
                        <a:extLst>
                          <a:ext uri="{FF2B5EF4-FFF2-40B4-BE49-F238E27FC236}">
                            <a16:creationId xmlns:a16="http://schemas.microsoft.com/office/drawing/2014/main" id="{1776882B-B6FA-4247-837A-97CF996CBF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EC76C1CB-1CF7-45DF-AB63-A29E3E1B98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8" name="Freeform: Shape 17">
            <a:extLst>
              <a:ext uri="{FF2B5EF4-FFF2-40B4-BE49-F238E27FC236}">
                <a16:creationId xmlns:a16="http://schemas.microsoft.com/office/drawing/2014/main" id="{E6C6DDF7-879A-4E7C-BAE9-0C03D0717054}"/>
              </a:ext>
            </a:extLst>
          </p:cNvPr>
          <p:cNvSpPr/>
          <p:nvPr userDrawn="1"/>
        </p:nvSpPr>
        <p:spPr>
          <a:xfrm>
            <a:off x="7206740" y="0"/>
            <a:ext cx="4985260" cy="4816912"/>
          </a:xfrm>
          <a:custGeom>
            <a:avLst/>
            <a:gdLst>
              <a:gd name="connsiteX0" fmla="*/ 0 w 4985260"/>
              <a:gd name="connsiteY0" fmla="*/ 0 h 4816912"/>
              <a:gd name="connsiteX1" fmla="*/ 1878781 w 4985260"/>
              <a:gd name="connsiteY1" fmla="*/ 0 h 4816912"/>
              <a:gd name="connsiteX2" fmla="*/ 1886645 w 4985260"/>
              <a:gd name="connsiteY2" fmla="*/ 105851 h 4816912"/>
              <a:gd name="connsiteX3" fmla="*/ 4904969 w 4985260"/>
              <a:gd name="connsiteY3" fmla="*/ 2895050 h 4816912"/>
              <a:gd name="connsiteX4" fmla="*/ 4985260 w 4985260"/>
              <a:gd name="connsiteY4" fmla="*/ 2892971 h 4816912"/>
              <a:gd name="connsiteX5" fmla="*/ 4985260 w 4985260"/>
              <a:gd name="connsiteY5" fmla="*/ 4814833 h 4816912"/>
              <a:gd name="connsiteX6" fmla="*/ 4904969 w 4985260"/>
              <a:gd name="connsiteY6" fmla="*/ 4816912 h 4816912"/>
              <a:gd name="connsiteX7" fmla="*/ 1160 w 4985260"/>
              <a:gd name="connsiteY7" fmla="*/ 46991 h 481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5260" h="4816912">
                <a:moveTo>
                  <a:pt x="0" y="0"/>
                </a:moveTo>
                <a:lnTo>
                  <a:pt x="1878781" y="0"/>
                </a:lnTo>
                <a:lnTo>
                  <a:pt x="1886645" y="105851"/>
                </a:lnTo>
                <a:cubicBezTo>
                  <a:pt x="2042084" y="1672405"/>
                  <a:pt x="3334663" y="2895050"/>
                  <a:pt x="4904969" y="2895050"/>
                </a:cubicBezTo>
                <a:lnTo>
                  <a:pt x="4985260" y="2892971"/>
                </a:lnTo>
                <a:lnTo>
                  <a:pt x="4985260" y="4814833"/>
                </a:lnTo>
                <a:lnTo>
                  <a:pt x="4904969" y="4816912"/>
                </a:lnTo>
                <a:cubicBezTo>
                  <a:pt x="2277879" y="4816912"/>
                  <a:pt x="132671" y="2703997"/>
                  <a:pt x="1160" y="46991"/>
                </a:cubicBezTo>
                <a:close/>
              </a:path>
            </a:pathLst>
          </a:custGeom>
          <a:solidFill>
            <a:srgbClr val="FF9E18"/>
          </a:solidFill>
          <a:ln w="9264" cap="flat">
            <a:noFill/>
            <a:prstDash val="solid"/>
            <a:miter/>
          </a:ln>
        </p:spPr>
        <p:txBody>
          <a:bodyPr wrap="square" rtlCol="0" anchor="ctr">
            <a:noAutofit/>
          </a:bodyPr>
          <a:lstStyle/>
          <a:p>
            <a:endParaRPr lang="en-US"/>
          </a:p>
        </p:txBody>
      </p:sp>
      <p:sp>
        <p:nvSpPr>
          <p:cNvPr id="7" name="Rectangle 6">
            <a:extLst>
              <a:ext uri="{FF2B5EF4-FFF2-40B4-BE49-F238E27FC236}">
                <a16:creationId xmlns:a16="http://schemas.microsoft.com/office/drawing/2014/main" id="{74B56715-AE28-4C11-8869-7AA1A2D4DC00}"/>
              </a:ext>
            </a:extLst>
          </p:cNvPr>
          <p:cNvSpPr/>
          <p:nvPr userDrawn="1"/>
        </p:nvSpPr>
        <p:spPr>
          <a:xfrm>
            <a:off x="2706449" y="5596645"/>
            <a:ext cx="577702" cy="5777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57FD71DE-F152-48CF-95AE-7F68DADBDCAB}"/>
              </a:ext>
            </a:extLst>
          </p:cNvPr>
          <p:cNvGrpSpPr/>
          <p:nvPr userDrawn="1"/>
        </p:nvGrpSpPr>
        <p:grpSpPr>
          <a:xfrm>
            <a:off x="932397" y="653642"/>
            <a:ext cx="1544103" cy="832491"/>
            <a:chOff x="932397" y="653642"/>
            <a:chExt cx="2241920" cy="1208714"/>
          </a:xfrm>
        </p:grpSpPr>
        <p:grpSp>
          <p:nvGrpSpPr>
            <p:cNvPr id="9" name="Graphic 6">
              <a:extLst>
                <a:ext uri="{FF2B5EF4-FFF2-40B4-BE49-F238E27FC236}">
                  <a16:creationId xmlns:a16="http://schemas.microsoft.com/office/drawing/2014/main" id="{E1BA4648-BD6E-4E74-8851-45EBABEF72E7}"/>
                </a:ext>
              </a:extLst>
            </p:cNvPr>
            <p:cNvGrpSpPr/>
            <p:nvPr/>
          </p:nvGrpSpPr>
          <p:grpSpPr>
            <a:xfrm>
              <a:off x="932397" y="723900"/>
              <a:ext cx="1544103" cy="667132"/>
              <a:chOff x="85969" y="3646150"/>
              <a:chExt cx="1544103" cy="667132"/>
            </a:xfrm>
            <a:solidFill>
              <a:schemeClr val="bg1"/>
            </a:solidFill>
          </p:grpSpPr>
          <p:sp>
            <p:nvSpPr>
              <p:cNvPr id="11" name="Freeform: Shape 10">
                <a:extLst>
                  <a:ext uri="{FF2B5EF4-FFF2-40B4-BE49-F238E27FC236}">
                    <a16:creationId xmlns:a16="http://schemas.microsoft.com/office/drawing/2014/main" id="{98C1CA3B-8903-4213-A8E6-83E0B43BD8C1}"/>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5836414-77CE-417A-9897-D3290681691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487FDF2-DA56-4525-800E-1EC016598F5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D217F72-15C5-468B-81F4-C205BCEC74DD}"/>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pic>
          <p:nvPicPr>
            <p:cNvPr id="10" name="Graphic 9">
              <a:extLst>
                <a:ext uri="{FF2B5EF4-FFF2-40B4-BE49-F238E27FC236}">
                  <a16:creationId xmlns:a16="http://schemas.microsoft.com/office/drawing/2014/main" id="{BE935090-2F88-4800-97AD-B4DD2F55CA42}"/>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2590800" y="653642"/>
              <a:ext cx="583517" cy="1208714"/>
            </a:xfrm>
            <a:prstGeom prst="rect">
              <a:avLst/>
            </a:prstGeom>
          </p:spPr>
        </p:pic>
      </p:grpSp>
      <p:sp>
        <p:nvSpPr>
          <p:cNvPr id="2" name="Title 1">
            <a:extLst>
              <a:ext uri="{FF2B5EF4-FFF2-40B4-BE49-F238E27FC236}">
                <a16:creationId xmlns:a16="http://schemas.microsoft.com/office/drawing/2014/main" id="{40DD8270-24BC-42A8-8EBA-64CB62DD4CD1}"/>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Title Here</a:t>
            </a:r>
          </a:p>
        </p:txBody>
      </p:sp>
      <p:sp>
        <p:nvSpPr>
          <p:cNvPr id="20" name="Text Placeholder 19">
            <a:extLst>
              <a:ext uri="{FF2B5EF4-FFF2-40B4-BE49-F238E27FC236}">
                <a16:creationId xmlns:a16="http://schemas.microsoft.com/office/drawing/2014/main" id="{16BB815A-06DC-4A68-A35B-38C54785E94B}"/>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3" name="TextBox 2">
            <a:extLst>
              <a:ext uri="{FF2B5EF4-FFF2-40B4-BE49-F238E27FC236}">
                <a16:creationId xmlns:a16="http://schemas.microsoft.com/office/drawing/2014/main" id="{975785DD-AE69-4000-878F-B146079CADB4}"/>
              </a:ext>
            </a:extLst>
          </p:cNvPr>
          <p:cNvSpPr txBox="1">
            <a:spLocks noChangeAspect="1"/>
          </p:cNvSpPr>
          <p:nvPr userDrawn="1"/>
        </p:nvSpPr>
        <p:spPr>
          <a:xfrm>
            <a:off x="12712085" y="-1615618"/>
            <a:ext cx="7811407" cy="13419058"/>
          </a:xfrm>
          <a:prstGeom prst="rect">
            <a:avLst/>
          </a:prstGeom>
          <a:noFill/>
        </p:spPr>
        <p:txBody>
          <a:bodyPr wrap="square" rtlCol="0">
            <a:spAutoFit/>
          </a:bodyPr>
          <a:lstStyle/>
          <a:p>
            <a:r>
              <a:rPr lang="en-US" sz="2800" b="1">
                <a:solidFill>
                  <a:srgbClr val="004B64"/>
                </a:solidFill>
              </a:rPr>
              <a:t>Welcome to the new VEIC slide deck! </a:t>
            </a:r>
          </a:p>
          <a:p>
            <a:endParaRPr lang="en-US" sz="2800" b="1">
              <a:solidFill>
                <a:srgbClr val="004B64"/>
              </a:solidFill>
            </a:endParaRPr>
          </a:p>
          <a:p>
            <a:r>
              <a:rPr lang="en-US">
                <a:solidFill>
                  <a:srgbClr val="004B64"/>
                </a:solidFill>
              </a:rPr>
              <a:t>We are excited to have a presentation template that reflects the new brand and elevates the information we provide to clients, partners, and the industry. </a:t>
            </a:r>
          </a:p>
          <a:p>
            <a:endParaRPr lang="en-US">
              <a:solidFill>
                <a:srgbClr val="004B64"/>
              </a:solidFill>
            </a:endParaRPr>
          </a:p>
          <a:p>
            <a:r>
              <a:rPr lang="en-US">
                <a:solidFill>
                  <a:srgbClr val="004B64"/>
                </a:solidFill>
              </a:rPr>
              <a:t>We built many different slide formats to accommodate a range of information. We encourage you to explore and try new things out. </a:t>
            </a:r>
          </a:p>
          <a:p>
            <a:endParaRPr lang="en-US">
              <a:solidFill>
                <a:srgbClr val="004B64"/>
              </a:solidFill>
            </a:endParaRPr>
          </a:p>
          <a:p>
            <a:r>
              <a:rPr lang="en-US">
                <a:solidFill>
                  <a:srgbClr val="004B64"/>
                </a:solidFill>
              </a:rPr>
              <a:t>In general, we are trying to move away from text heavy slides and towards graphics and key takeaways. </a:t>
            </a:r>
          </a:p>
          <a:p>
            <a:endParaRPr lang="en-US">
              <a:solidFill>
                <a:srgbClr val="004B64"/>
              </a:solidFill>
            </a:endParaRPr>
          </a:p>
          <a:p>
            <a:r>
              <a:rPr lang="en-US">
                <a:solidFill>
                  <a:srgbClr val="004B64"/>
                </a:solidFill>
              </a:rPr>
              <a:t>Some suggestions as you build your presentations: </a:t>
            </a:r>
          </a:p>
          <a:p>
            <a:endParaRPr lang="en-US">
              <a:solidFill>
                <a:srgbClr val="004B64"/>
              </a:solidFill>
            </a:endParaRPr>
          </a:p>
          <a:p>
            <a:pPr marL="285750" indent="-285750">
              <a:buFontTx/>
              <a:buChar char="-"/>
            </a:pPr>
            <a:r>
              <a:rPr lang="en-US" b="1">
                <a:solidFill>
                  <a:srgbClr val="004B64"/>
                </a:solidFill>
              </a:rPr>
              <a:t>Be thoughtful about the images you include</a:t>
            </a:r>
          </a:p>
          <a:p>
            <a:pPr marL="742950" lvl="1" indent="-285750">
              <a:buFontTx/>
              <a:buChar char="-"/>
            </a:pPr>
            <a:r>
              <a:rPr lang="en-US">
                <a:solidFill>
                  <a:srgbClr val="004B64"/>
                </a:solidFill>
              </a:rPr>
              <a:t>Images sourced from Google should not be used for webinars and presentation with a large attendance. There are both legal implications and quality implications</a:t>
            </a:r>
          </a:p>
          <a:p>
            <a:pPr marL="742950" lvl="1" indent="-285750">
              <a:buFontTx/>
              <a:buChar char="-"/>
            </a:pPr>
            <a:r>
              <a:rPr lang="en-US">
                <a:solidFill>
                  <a:srgbClr val="004B64"/>
                </a:solidFill>
              </a:rPr>
              <a:t>Incorporate images that sync with the deck design (no clip art, please) </a:t>
            </a:r>
          </a:p>
          <a:p>
            <a:pPr marL="742950" lvl="1" indent="-285750">
              <a:buFontTx/>
              <a:buChar char="-"/>
            </a:pPr>
            <a:r>
              <a:rPr lang="en-US">
                <a:solidFill>
                  <a:srgbClr val="004B64"/>
                </a:solidFill>
              </a:rPr>
              <a:t>Over the next few weeks will be adding images to Templafy so you have a core library to pull from </a:t>
            </a:r>
          </a:p>
          <a:p>
            <a:pPr marL="285750" lvl="0" indent="-285750">
              <a:buFontTx/>
              <a:buChar char="-"/>
            </a:pPr>
            <a:r>
              <a:rPr lang="en-US" b="1">
                <a:solidFill>
                  <a:srgbClr val="004B64"/>
                </a:solidFill>
              </a:rPr>
              <a:t>Rebuild charts when possible </a:t>
            </a:r>
          </a:p>
          <a:p>
            <a:pPr marL="742950" lvl="1" indent="-285750">
              <a:buFontTx/>
              <a:buChar char="-"/>
            </a:pPr>
            <a:r>
              <a:rPr lang="en-US">
                <a:solidFill>
                  <a:srgbClr val="004B64"/>
                </a:solidFill>
              </a:rPr>
              <a:t>We reference research from outside sources often</a:t>
            </a:r>
          </a:p>
          <a:p>
            <a:pPr marL="742950" lvl="1" indent="-285750">
              <a:buFontTx/>
              <a:buChar char="-"/>
            </a:pPr>
            <a:r>
              <a:rPr lang="en-US">
                <a:solidFill>
                  <a:srgbClr val="004B64"/>
                </a:solidFill>
              </a:rPr>
              <a:t>Instead of just dropping in image file of this data, rebuild the chart and properly credit the author </a:t>
            </a:r>
          </a:p>
          <a:p>
            <a:pPr marL="285750" indent="-285750">
              <a:buFontTx/>
              <a:buChar char="-"/>
            </a:pPr>
            <a:r>
              <a:rPr lang="en-US">
                <a:solidFill>
                  <a:srgbClr val="004B64"/>
                </a:solidFill>
              </a:rPr>
              <a:t> </a:t>
            </a:r>
            <a:r>
              <a:rPr lang="en-US" b="1">
                <a:solidFill>
                  <a:srgbClr val="004B64"/>
                </a:solidFill>
              </a:rPr>
              <a:t>Rethink how you present information</a:t>
            </a:r>
          </a:p>
          <a:p>
            <a:pPr marL="742950" lvl="1" indent="-285750">
              <a:buFontTx/>
              <a:buChar char="-"/>
            </a:pPr>
            <a:r>
              <a:rPr lang="en-US" b="0">
                <a:solidFill>
                  <a:srgbClr val="004B64"/>
                </a:solidFill>
              </a:rPr>
              <a:t>Consider what needs to be on a slide versus what can be voiceover </a:t>
            </a:r>
          </a:p>
          <a:p>
            <a:pPr marL="742950" lvl="1" indent="-285750">
              <a:buFontTx/>
              <a:buChar char="-"/>
            </a:pPr>
            <a:r>
              <a:rPr lang="en-US" b="0">
                <a:solidFill>
                  <a:srgbClr val="004B64"/>
                </a:solidFill>
              </a:rPr>
              <a:t>The most engaging presentation present prompts of information that you can speak to</a:t>
            </a:r>
          </a:p>
          <a:p>
            <a:pPr marL="285750" lvl="0" indent="-285750">
              <a:buFontTx/>
              <a:buChar char="-"/>
            </a:pPr>
            <a:r>
              <a:rPr lang="en-US" b="1">
                <a:solidFill>
                  <a:srgbClr val="004B64"/>
                </a:solidFill>
              </a:rPr>
              <a:t>Adjust the font for the forum: </a:t>
            </a:r>
          </a:p>
          <a:p>
            <a:pPr marL="742950" marR="0" lvl="1" indent="-285750" algn="l" defTabSz="914400" rtl="0" eaLnBrk="1" fontAlgn="auto" latinLnBrk="0" hangingPunct="1">
              <a:lnSpc>
                <a:spcPct val="100000"/>
              </a:lnSpc>
              <a:spcBef>
                <a:spcPts val="0"/>
              </a:spcBef>
              <a:spcAft>
                <a:spcPts val="0"/>
              </a:spcAft>
              <a:buClrTx/>
              <a:buSzTx/>
              <a:buFontTx/>
              <a:buChar char="-"/>
              <a:tabLst/>
              <a:defRPr/>
            </a:pPr>
            <a:r>
              <a:rPr lang="en-US" b="0">
                <a:solidFill>
                  <a:srgbClr val="004B64"/>
                </a:solidFill>
              </a:rPr>
              <a:t>Team meetings: 18 pts +</a:t>
            </a:r>
          </a:p>
          <a:p>
            <a:pPr marL="742950" lvl="1" indent="-285750">
              <a:buFontTx/>
              <a:buChar char="-"/>
            </a:pPr>
            <a:r>
              <a:rPr lang="en-US" b="0">
                <a:solidFill>
                  <a:srgbClr val="004B64"/>
                </a:solidFill>
              </a:rPr>
              <a:t>Webinars: 20 pts + </a:t>
            </a:r>
          </a:p>
          <a:p>
            <a:pPr marL="742950" lvl="1" indent="-285750">
              <a:buFontTx/>
              <a:buChar char="-"/>
            </a:pPr>
            <a:r>
              <a:rPr lang="en-US" b="0">
                <a:solidFill>
                  <a:srgbClr val="004B64"/>
                </a:solidFill>
              </a:rPr>
              <a:t>Conferences: 26 pts +</a:t>
            </a:r>
          </a:p>
          <a:p>
            <a:pPr marL="742950" lvl="1" indent="-285750">
              <a:buFontTx/>
              <a:buChar char="-"/>
            </a:pPr>
            <a:r>
              <a:rPr lang="en-US" b="0">
                <a:solidFill>
                  <a:srgbClr val="004B64"/>
                </a:solidFill>
              </a:rPr>
              <a:t>Also, keep in mind that GoToMeeting cuts off the bottom of slide decks so provide buffer there. </a:t>
            </a:r>
          </a:p>
          <a:p>
            <a:pPr marL="285750" lvl="0" indent="-285750">
              <a:buFontTx/>
              <a:buChar char="-"/>
            </a:pPr>
            <a:r>
              <a:rPr lang="en-US" b="1">
                <a:solidFill>
                  <a:srgbClr val="004B64"/>
                </a:solidFill>
              </a:rPr>
              <a:t>Have fun:</a:t>
            </a:r>
          </a:p>
          <a:p>
            <a:pPr marL="742950" lvl="1" indent="-285750">
              <a:buFontTx/>
              <a:buChar char="-"/>
            </a:pPr>
            <a:r>
              <a:rPr lang="en-US" b="0">
                <a:solidFill>
                  <a:srgbClr val="004B64"/>
                </a:solidFill>
              </a:rPr>
              <a:t>Explore new ways to bring information forward</a:t>
            </a:r>
          </a:p>
          <a:p>
            <a:pPr marL="742950" lvl="1" indent="-285750">
              <a:buFontTx/>
              <a:buChar char="-"/>
            </a:pPr>
            <a:r>
              <a:rPr lang="en-US" b="0">
                <a:solidFill>
                  <a:srgbClr val="004B64"/>
                </a:solidFill>
              </a:rPr>
              <a:t>Try out new slide templates and play around</a:t>
            </a:r>
          </a:p>
          <a:p>
            <a:pPr marL="457200" lvl="1" indent="0">
              <a:buFontTx/>
              <a:buNone/>
            </a:pPr>
            <a:endParaRPr lang="en-US" b="0">
              <a:solidFill>
                <a:srgbClr val="004B64"/>
              </a:solidFill>
            </a:endParaRPr>
          </a:p>
          <a:p>
            <a:pPr marL="457200" lvl="1" indent="0">
              <a:buFontTx/>
              <a:buNone/>
            </a:pPr>
            <a:r>
              <a:rPr lang="en-US" b="0">
                <a:solidFill>
                  <a:srgbClr val="004B64"/>
                </a:solidFill>
              </a:rPr>
              <a:t>We are all responsible for the sophistication of our work product. That includes having tight designs that can support storytelling. </a:t>
            </a:r>
          </a:p>
          <a:p>
            <a:pPr marL="457200" lvl="1" indent="0">
              <a:buFontTx/>
              <a:buNone/>
            </a:pPr>
            <a:endParaRPr lang="en-US" b="0">
              <a:solidFill>
                <a:srgbClr val="004B64"/>
              </a:solidFill>
            </a:endParaRPr>
          </a:p>
          <a:p>
            <a:pPr marL="457200" lvl="1" indent="0">
              <a:buFontTx/>
              <a:buNone/>
            </a:pPr>
            <a:r>
              <a:rPr lang="en-US" b="0">
                <a:solidFill>
                  <a:srgbClr val="004B64"/>
                </a:solidFill>
              </a:rPr>
              <a:t>Reach out to Kait (k</a:t>
            </a:r>
            <a:r>
              <a:rPr lang="en-US" b="0">
                <a:solidFill>
                  <a:srgbClr val="004B64"/>
                </a:solidFill>
                <a:hlinkClick r:id="rId7"/>
              </a:rPr>
              <a:t>sherman@veic.org</a:t>
            </a:r>
            <a:r>
              <a:rPr lang="en-US" b="0">
                <a:solidFill>
                  <a:srgbClr val="004B64"/>
                </a:solidFill>
              </a:rPr>
              <a:t>) with any questions. </a:t>
            </a:r>
          </a:p>
          <a:p>
            <a:pPr marL="742950" lvl="1" indent="-285750">
              <a:buFontTx/>
              <a:buChar char="-"/>
            </a:pPr>
            <a:endParaRPr lang="en-US" b="0">
              <a:solidFill>
                <a:srgbClr val="004B64"/>
              </a:solidFill>
            </a:endParaRPr>
          </a:p>
          <a:p>
            <a:endParaRPr lang="en-US">
              <a:solidFill>
                <a:srgbClr val="004B64"/>
              </a:solidFill>
            </a:endParaRPr>
          </a:p>
          <a:p>
            <a:endParaRPr lang="en-US">
              <a:solidFill>
                <a:srgbClr val="004B64"/>
              </a:solidFill>
            </a:endParaRPr>
          </a:p>
        </p:txBody>
      </p:sp>
    </p:spTree>
    <p:extLst>
      <p:ext uri="{BB962C8B-B14F-4D97-AF65-F5344CB8AC3E}">
        <p14:creationId xmlns:p14="http://schemas.microsoft.com/office/powerpoint/2010/main" val="3882407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5CDA7-3277-4BEF-B83F-00A6A1F359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7452D38-F127-4220-828A-AD175D044060}"/>
              </a:ext>
            </a:extLst>
          </p:cNvPr>
          <p:cNvSpPr>
            <a:spLocks noGrp="1"/>
          </p:cNvSpPr>
          <p:nvPr>
            <p:ph type="sldNum" sz="quarter" idx="10"/>
          </p:nvPr>
        </p:nvSpPr>
        <p:spPr/>
        <p:txBody>
          <a:bodyPr/>
          <a:lstStyle/>
          <a:p>
            <a:fld id="{A1471D42-392E-4D14-982B-D9D765EA1509}" type="slidenum">
              <a:rPr lang="en-US" smtClean="0"/>
              <a:pPr/>
              <a:t>‹#›</a:t>
            </a:fld>
            <a:endParaRPr lang="en-US"/>
          </a:p>
        </p:txBody>
      </p:sp>
      <p:sp>
        <p:nvSpPr>
          <p:cNvPr id="5" name="Text Placeholder 4">
            <a:extLst>
              <a:ext uri="{FF2B5EF4-FFF2-40B4-BE49-F238E27FC236}">
                <a16:creationId xmlns:a16="http://schemas.microsoft.com/office/drawing/2014/main" id="{77B1E8FD-61C8-4EC3-96A2-10CED7ABF8BB}"/>
              </a:ext>
            </a:extLst>
          </p:cNvPr>
          <p:cNvSpPr>
            <a:spLocks noGrp="1"/>
          </p:cNvSpPr>
          <p:nvPr>
            <p:ph type="body" sz="quarter" idx="11"/>
          </p:nvPr>
        </p:nvSpPr>
        <p:spPr>
          <a:xfrm>
            <a:off x="838200" y="1790700"/>
            <a:ext cx="10515600" cy="4381500"/>
          </a:xfrm>
        </p:spPr>
        <p:txBody>
          <a:bodyPr>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aphic 6">
            <a:extLst>
              <a:ext uri="{FF2B5EF4-FFF2-40B4-BE49-F238E27FC236}">
                <a16:creationId xmlns:a16="http://schemas.microsoft.com/office/drawing/2014/main" id="{0932BE40-7296-4234-B41A-9BE211628113}"/>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6CA3551C-4176-4443-AF06-DA30C9EC269C}"/>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1351E13A-8E5D-49DA-88C5-956A5ABAE7B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45C88B97-F372-49B5-9C33-651247974731}"/>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2853A605-DA00-4C39-881D-4E49DDF7C2A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Tree>
    <p:extLst>
      <p:ext uri="{BB962C8B-B14F-4D97-AF65-F5344CB8AC3E}">
        <p14:creationId xmlns:p14="http://schemas.microsoft.com/office/powerpoint/2010/main" val="34483142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 Subtitle + 1 Colum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740576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C28D76B-1E4B-4CAD-91D0-7031CCB234FF}"/>
              </a:ext>
            </a:extLst>
          </p:cNvPr>
          <p:cNvSpPr/>
          <p:nvPr userDrawn="1"/>
        </p:nvSpPr>
        <p:spPr>
          <a:xfrm>
            <a:off x="7962900" y="0"/>
            <a:ext cx="42291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838200" y="2243738"/>
            <a:ext cx="3390900" cy="3928462"/>
          </a:xfrm>
        </p:spPr>
        <p:txBody>
          <a:bodyPr>
            <a:normAutofit/>
          </a:bodyPr>
          <a:lstStyle>
            <a:lvl1pPr marL="171450" indent="-171450">
              <a:buFont typeface="Arial" panose="020B0604020202020204" pitchFamily="34" charset="0"/>
              <a:buChar char="•"/>
              <a:defRPr sz="2000">
                <a:solidFill>
                  <a:schemeClr val="tx1"/>
                </a:solidFill>
              </a:defRPr>
            </a:lvl1pPr>
            <a:lvl2pPr marL="628650" indent="-171450">
              <a:buFont typeface="Arial" panose="020B0604020202020204" pitchFamily="34" charset="0"/>
              <a:buChar char="•"/>
              <a:defRPr sz="2000">
                <a:solidFill>
                  <a:schemeClr val="tx1"/>
                </a:solidFill>
              </a:defRPr>
            </a:lvl2pPr>
            <a:lvl3pPr marL="1085850" indent="-171450">
              <a:buFont typeface="Arial" panose="020B0604020202020204" pitchFamily="34" charset="0"/>
              <a:buChar char="•"/>
              <a:defRPr sz="2000">
                <a:solidFill>
                  <a:schemeClr val="tx1"/>
                </a:solidFill>
              </a:defRPr>
            </a:lvl3pPr>
            <a:lvl4pPr marL="1543050" indent="-171450">
              <a:buFont typeface="Arial" panose="020B0604020202020204" pitchFamily="34" charset="0"/>
              <a:buChar char="•"/>
              <a:defRPr sz="2000">
                <a:solidFill>
                  <a:schemeClr val="tx1"/>
                </a:solidFill>
              </a:defRPr>
            </a:lvl4pPr>
            <a:lvl5pPr marL="2000250" indent="-171450">
              <a:buFont typeface="Arial" panose="020B0604020202020204" pitchFamily="34" charset="0"/>
              <a:buChar cha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6210301" y="723900"/>
            <a:ext cx="5143500" cy="5448300"/>
          </a:xfrm>
          <a:solidFill>
            <a:schemeClr val="accent5"/>
          </a:solidFill>
        </p:spPr>
        <p:txBody>
          <a:bodyPr/>
          <a:lstStyle/>
          <a:p>
            <a:endParaRPr lang="en-US"/>
          </a:p>
        </p:txBody>
      </p:sp>
      <p:sp>
        <p:nvSpPr>
          <p:cNvPr id="24" name="Text Placeholder 16">
            <a:extLst>
              <a:ext uri="{FF2B5EF4-FFF2-40B4-BE49-F238E27FC236}">
                <a16:creationId xmlns:a16="http://schemas.microsoft.com/office/drawing/2014/main" id="{9C08595A-C0E9-4D62-A7D5-69C220C46CCE}"/>
              </a:ext>
            </a:extLst>
          </p:cNvPr>
          <p:cNvSpPr>
            <a:spLocks noGrp="1"/>
          </p:cNvSpPr>
          <p:nvPr>
            <p:ph type="body" sz="quarter" idx="14" hasCustomPrompt="1"/>
          </p:nvPr>
        </p:nvSpPr>
        <p:spPr>
          <a:xfrm>
            <a:off x="838200" y="1751960"/>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Tree>
    <p:extLst>
      <p:ext uri="{BB962C8B-B14F-4D97-AF65-F5344CB8AC3E}">
        <p14:creationId xmlns:p14="http://schemas.microsoft.com/office/powerpoint/2010/main" val="4024297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ubtitle + 2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446948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68961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7962901" y="0"/>
            <a:ext cx="4229100" cy="6858000"/>
          </a:xfrm>
          <a:solidFill>
            <a:schemeClr val="accent5"/>
          </a:solidFill>
        </p:spPr>
        <p:txBody>
          <a:bodyPr/>
          <a:lstStyle/>
          <a:p>
            <a:endParaRPr lang="en-US"/>
          </a:p>
        </p:txBody>
      </p:sp>
      <p:sp>
        <p:nvSpPr>
          <p:cNvPr id="23" name="Text Placeholder 16">
            <a:extLst>
              <a:ext uri="{FF2B5EF4-FFF2-40B4-BE49-F238E27FC236}">
                <a16:creationId xmlns:a16="http://schemas.microsoft.com/office/drawing/2014/main" id="{FE5D33BC-BDC0-42F0-9C14-3BD9E276070F}"/>
              </a:ext>
            </a:extLst>
          </p:cNvPr>
          <p:cNvSpPr>
            <a:spLocks noGrp="1"/>
          </p:cNvSpPr>
          <p:nvPr>
            <p:ph type="body" sz="quarter" idx="15" hasCustomPrompt="1"/>
          </p:nvPr>
        </p:nvSpPr>
        <p:spPr>
          <a:xfrm>
            <a:off x="8382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4" name="Text Placeholder 16">
            <a:extLst>
              <a:ext uri="{FF2B5EF4-FFF2-40B4-BE49-F238E27FC236}">
                <a16:creationId xmlns:a16="http://schemas.microsoft.com/office/drawing/2014/main" id="{353C5660-AF2A-45F6-8AF2-EFA9B99FF720}"/>
              </a:ext>
            </a:extLst>
          </p:cNvPr>
          <p:cNvSpPr>
            <a:spLocks noGrp="1"/>
          </p:cNvSpPr>
          <p:nvPr>
            <p:ph type="body" sz="quarter" idx="16" hasCustomPrompt="1"/>
          </p:nvPr>
        </p:nvSpPr>
        <p:spPr>
          <a:xfrm>
            <a:off x="4457700" y="1751960"/>
            <a:ext cx="32766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5" name="Text Placeholder 16">
            <a:extLst>
              <a:ext uri="{FF2B5EF4-FFF2-40B4-BE49-F238E27FC236}">
                <a16:creationId xmlns:a16="http://schemas.microsoft.com/office/drawing/2014/main" id="{C967B5CE-D2B4-4C3A-8220-FC15F631F3EF}"/>
              </a:ext>
            </a:extLst>
          </p:cNvPr>
          <p:cNvSpPr>
            <a:spLocks noGrp="1"/>
          </p:cNvSpPr>
          <p:nvPr>
            <p:ph type="body" sz="quarter" idx="12"/>
          </p:nvPr>
        </p:nvSpPr>
        <p:spPr>
          <a:xfrm>
            <a:off x="838200" y="2243738"/>
            <a:ext cx="3390900" cy="3928462"/>
          </a:xfrm>
        </p:spPr>
        <p:txBody>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6">
            <a:extLst>
              <a:ext uri="{FF2B5EF4-FFF2-40B4-BE49-F238E27FC236}">
                <a16:creationId xmlns:a16="http://schemas.microsoft.com/office/drawing/2014/main" id="{C6BFEC02-4A94-4C63-8270-62B3C827EE50}"/>
              </a:ext>
            </a:extLst>
          </p:cNvPr>
          <p:cNvSpPr>
            <a:spLocks noGrp="1"/>
          </p:cNvSpPr>
          <p:nvPr>
            <p:ph type="body" sz="quarter" idx="17"/>
          </p:nvPr>
        </p:nvSpPr>
        <p:spPr>
          <a:xfrm>
            <a:off x="4457700" y="2243738"/>
            <a:ext cx="3276600" cy="3928462"/>
          </a:xfrm>
        </p:spPr>
        <p:txBody>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559293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 Subtitle + 3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1531993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a:off x="7043889" y="1"/>
            <a:ext cx="5148111" cy="535952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5" name="Text Placeholder 16">
            <a:extLst>
              <a:ext uri="{FF2B5EF4-FFF2-40B4-BE49-F238E27FC236}">
                <a16:creationId xmlns:a16="http://schemas.microsoft.com/office/drawing/2014/main" id="{6CEE755F-9829-4092-90AC-8A2CD500C2F0}"/>
              </a:ext>
            </a:extLst>
          </p:cNvPr>
          <p:cNvSpPr>
            <a:spLocks noGrp="1"/>
          </p:cNvSpPr>
          <p:nvPr>
            <p:ph type="body" sz="quarter" idx="16" hasCustomPrompt="1"/>
          </p:nvPr>
        </p:nvSpPr>
        <p:spPr>
          <a:xfrm>
            <a:off x="8382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6" name="Text Placeholder 16">
            <a:extLst>
              <a:ext uri="{FF2B5EF4-FFF2-40B4-BE49-F238E27FC236}">
                <a16:creationId xmlns:a16="http://schemas.microsoft.com/office/drawing/2014/main" id="{F6BBA5F5-1469-40AC-AD18-653B25551787}"/>
              </a:ext>
            </a:extLst>
          </p:cNvPr>
          <p:cNvSpPr>
            <a:spLocks noGrp="1"/>
          </p:cNvSpPr>
          <p:nvPr>
            <p:ph type="body" sz="quarter" idx="17" hasCustomPrompt="1"/>
          </p:nvPr>
        </p:nvSpPr>
        <p:spPr>
          <a:xfrm>
            <a:off x="4457700" y="1751960"/>
            <a:ext cx="32766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7" name="Text Placeholder 16">
            <a:extLst>
              <a:ext uri="{FF2B5EF4-FFF2-40B4-BE49-F238E27FC236}">
                <a16:creationId xmlns:a16="http://schemas.microsoft.com/office/drawing/2014/main" id="{DE8B970E-C6BC-4C4E-874A-5238CEA1FF38}"/>
              </a:ext>
            </a:extLst>
          </p:cNvPr>
          <p:cNvSpPr>
            <a:spLocks noGrp="1"/>
          </p:cNvSpPr>
          <p:nvPr>
            <p:ph type="body" sz="quarter" idx="18" hasCustomPrompt="1"/>
          </p:nvPr>
        </p:nvSpPr>
        <p:spPr>
          <a:xfrm>
            <a:off x="79629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8" name="Text Placeholder 16">
            <a:extLst>
              <a:ext uri="{FF2B5EF4-FFF2-40B4-BE49-F238E27FC236}">
                <a16:creationId xmlns:a16="http://schemas.microsoft.com/office/drawing/2014/main" id="{730E0CEA-7D99-4109-BD8B-3831C2E6F3E6}"/>
              </a:ext>
            </a:extLst>
          </p:cNvPr>
          <p:cNvSpPr>
            <a:spLocks noGrp="1"/>
          </p:cNvSpPr>
          <p:nvPr>
            <p:ph type="body" sz="quarter" idx="12"/>
          </p:nvPr>
        </p:nvSpPr>
        <p:spPr>
          <a:xfrm>
            <a:off x="838200" y="2243738"/>
            <a:ext cx="3390900" cy="3928462"/>
          </a:xfrm>
        </p:spPr>
        <p:txBody>
          <a:bodyPr>
            <a:normAutofit/>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6">
            <a:extLst>
              <a:ext uri="{FF2B5EF4-FFF2-40B4-BE49-F238E27FC236}">
                <a16:creationId xmlns:a16="http://schemas.microsoft.com/office/drawing/2014/main" id="{1D6814CB-13E1-4FA8-A6F0-8899250A718F}"/>
              </a:ext>
            </a:extLst>
          </p:cNvPr>
          <p:cNvSpPr>
            <a:spLocks noGrp="1"/>
          </p:cNvSpPr>
          <p:nvPr>
            <p:ph type="body" sz="quarter" idx="19"/>
          </p:nvPr>
        </p:nvSpPr>
        <p:spPr>
          <a:xfrm>
            <a:off x="4457700" y="2243738"/>
            <a:ext cx="3276600" cy="3928462"/>
          </a:xfrm>
        </p:spPr>
        <p:txBody>
          <a:bodyPr>
            <a:normAutofit/>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6">
            <a:extLst>
              <a:ext uri="{FF2B5EF4-FFF2-40B4-BE49-F238E27FC236}">
                <a16:creationId xmlns:a16="http://schemas.microsoft.com/office/drawing/2014/main" id="{FA35E789-4E4E-4C65-91FD-5D399C36E448}"/>
              </a:ext>
            </a:extLst>
          </p:cNvPr>
          <p:cNvSpPr>
            <a:spLocks noGrp="1"/>
          </p:cNvSpPr>
          <p:nvPr>
            <p:ph type="body" sz="quarter" idx="20"/>
          </p:nvPr>
        </p:nvSpPr>
        <p:spPr>
          <a:xfrm>
            <a:off x="7962900" y="2243738"/>
            <a:ext cx="3390900" cy="3928462"/>
          </a:xfrm>
        </p:spPr>
        <p:txBody>
          <a:bodyPr>
            <a:normAutofit/>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5831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 Subtitle + 1 Colum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2728298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C28D76B-1E4B-4CAD-91D0-7031CCB234FF}"/>
              </a:ext>
            </a:extLst>
          </p:cNvPr>
          <p:cNvSpPr/>
          <p:nvPr userDrawn="1"/>
        </p:nvSpPr>
        <p:spPr>
          <a:xfrm>
            <a:off x="7962900" y="0"/>
            <a:ext cx="42291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838200" y="4313065"/>
            <a:ext cx="3390900" cy="1859135"/>
          </a:xfrm>
        </p:spPr>
        <p:txBody>
          <a:bodyPr>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6210301" y="723900"/>
            <a:ext cx="5143500" cy="5448300"/>
          </a:xfrm>
          <a:solidFill>
            <a:schemeClr val="accent5"/>
          </a:solidFill>
        </p:spPr>
        <p:txBody>
          <a:bodyPr/>
          <a:lstStyle/>
          <a:p>
            <a:endParaRPr lang="en-US"/>
          </a:p>
        </p:txBody>
      </p:sp>
      <p:sp>
        <p:nvSpPr>
          <p:cNvPr id="24" name="Text Placeholder 16">
            <a:extLst>
              <a:ext uri="{FF2B5EF4-FFF2-40B4-BE49-F238E27FC236}">
                <a16:creationId xmlns:a16="http://schemas.microsoft.com/office/drawing/2014/main" id="{9C08595A-C0E9-4D62-A7D5-69C220C46CCE}"/>
              </a:ext>
            </a:extLst>
          </p:cNvPr>
          <p:cNvSpPr>
            <a:spLocks noGrp="1"/>
          </p:cNvSpPr>
          <p:nvPr>
            <p:ph type="body" sz="quarter" idx="14" hasCustomPrompt="1"/>
          </p:nvPr>
        </p:nvSpPr>
        <p:spPr>
          <a:xfrm>
            <a:off x="838200" y="3821287"/>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7" name="Picture Placeholder 6">
            <a:extLst>
              <a:ext uri="{FF2B5EF4-FFF2-40B4-BE49-F238E27FC236}">
                <a16:creationId xmlns:a16="http://schemas.microsoft.com/office/drawing/2014/main" id="{78C400D9-8E74-47BE-8A36-47053691763A}"/>
              </a:ext>
            </a:extLst>
          </p:cNvPr>
          <p:cNvSpPr>
            <a:spLocks noGrp="1"/>
          </p:cNvSpPr>
          <p:nvPr>
            <p:ph type="pic" sz="quarter" idx="15"/>
          </p:nvPr>
        </p:nvSpPr>
        <p:spPr>
          <a:xfrm>
            <a:off x="1657350" y="2006600"/>
            <a:ext cx="1638300" cy="1638300"/>
          </a:xfrm>
        </p:spPr>
        <p:txBody>
          <a:bodyPr/>
          <a:lstStyle/>
          <a:p>
            <a:endParaRPr lang="en-US"/>
          </a:p>
        </p:txBody>
      </p:sp>
    </p:spTree>
    <p:extLst>
      <p:ext uri="{BB962C8B-B14F-4D97-AF65-F5344CB8AC3E}">
        <p14:creationId xmlns:p14="http://schemas.microsoft.com/office/powerpoint/2010/main" val="249239329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 Subtitle + 2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021328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68961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7962901" y="0"/>
            <a:ext cx="4229100" cy="6858000"/>
          </a:xfrm>
          <a:solidFill>
            <a:schemeClr val="accent5"/>
          </a:solidFill>
        </p:spPr>
        <p:txBody>
          <a:bodyPr/>
          <a:lstStyle/>
          <a:p>
            <a:endParaRPr lang="en-US"/>
          </a:p>
        </p:txBody>
      </p:sp>
      <p:sp>
        <p:nvSpPr>
          <p:cNvPr id="17" name="Picture Placeholder 6">
            <a:extLst>
              <a:ext uri="{FF2B5EF4-FFF2-40B4-BE49-F238E27FC236}">
                <a16:creationId xmlns:a16="http://schemas.microsoft.com/office/drawing/2014/main" id="{D93C7FD6-B735-4D4F-8D3F-F6D1007E60B7}"/>
              </a:ext>
            </a:extLst>
          </p:cNvPr>
          <p:cNvSpPr>
            <a:spLocks noGrp="1"/>
          </p:cNvSpPr>
          <p:nvPr>
            <p:ph type="pic" sz="quarter" idx="18"/>
          </p:nvPr>
        </p:nvSpPr>
        <p:spPr>
          <a:xfrm>
            <a:off x="1657350" y="2006600"/>
            <a:ext cx="1638300" cy="1638300"/>
          </a:xfrm>
        </p:spPr>
        <p:txBody>
          <a:bodyPr/>
          <a:lstStyle/>
          <a:p>
            <a:endParaRPr lang="en-US"/>
          </a:p>
        </p:txBody>
      </p:sp>
      <p:sp>
        <p:nvSpPr>
          <p:cNvPr id="20" name="Picture Placeholder 6">
            <a:extLst>
              <a:ext uri="{FF2B5EF4-FFF2-40B4-BE49-F238E27FC236}">
                <a16:creationId xmlns:a16="http://schemas.microsoft.com/office/drawing/2014/main" id="{FF5E8E2B-069D-45E7-9360-55B69D9F6E2A}"/>
              </a:ext>
            </a:extLst>
          </p:cNvPr>
          <p:cNvSpPr>
            <a:spLocks noGrp="1"/>
          </p:cNvSpPr>
          <p:nvPr>
            <p:ph type="pic" sz="quarter" idx="19"/>
          </p:nvPr>
        </p:nvSpPr>
        <p:spPr>
          <a:xfrm>
            <a:off x="5276850" y="2006600"/>
            <a:ext cx="1638300" cy="1638300"/>
          </a:xfrm>
        </p:spPr>
        <p:txBody>
          <a:bodyPr/>
          <a:lstStyle/>
          <a:p>
            <a:endParaRPr lang="en-US"/>
          </a:p>
        </p:txBody>
      </p:sp>
      <p:sp>
        <p:nvSpPr>
          <p:cNvPr id="27" name="Text Placeholder 16">
            <a:extLst>
              <a:ext uri="{FF2B5EF4-FFF2-40B4-BE49-F238E27FC236}">
                <a16:creationId xmlns:a16="http://schemas.microsoft.com/office/drawing/2014/main" id="{3B449CA5-DA92-4EB5-9405-9195207B8C4B}"/>
              </a:ext>
            </a:extLst>
          </p:cNvPr>
          <p:cNvSpPr>
            <a:spLocks noGrp="1"/>
          </p:cNvSpPr>
          <p:nvPr>
            <p:ph type="body" sz="quarter" idx="12"/>
          </p:nvPr>
        </p:nvSpPr>
        <p:spPr>
          <a:xfrm>
            <a:off x="838200" y="4313065"/>
            <a:ext cx="3390900" cy="1859135"/>
          </a:xfrm>
        </p:spPr>
        <p:txBody>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28" name="Text Placeholder 16">
            <a:extLst>
              <a:ext uri="{FF2B5EF4-FFF2-40B4-BE49-F238E27FC236}">
                <a16:creationId xmlns:a16="http://schemas.microsoft.com/office/drawing/2014/main" id="{34146ABF-1F6F-4EDD-BC91-961EE1229A95}"/>
              </a:ext>
            </a:extLst>
          </p:cNvPr>
          <p:cNvSpPr>
            <a:spLocks noGrp="1"/>
          </p:cNvSpPr>
          <p:nvPr>
            <p:ph type="body" sz="quarter" idx="14" hasCustomPrompt="1"/>
          </p:nvPr>
        </p:nvSpPr>
        <p:spPr>
          <a:xfrm>
            <a:off x="838200" y="3821287"/>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9" name="Text Placeholder 16">
            <a:extLst>
              <a:ext uri="{FF2B5EF4-FFF2-40B4-BE49-F238E27FC236}">
                <a16:creationId xmlns:a16="http://schemas.microsoft.com/office/drawing/2014/main" id="{EE4470FE-1263-418F-BF73-F84BEDBFEF7A}"/>
              </a:ext>
            </a:extLst>
          </p:cNvPr>
          <p:cNvSpPr>
            <a:spLocks noGrp="1"/>
          </p:cNvSpPr>
          <p:nvPr>
            <p:ph type="body" sz="quarter" idx="20"/>
          </p:nvPr>
        </p:nvSpPr>
        <p:spPr>
          <a:xfrm>
            <a:off x="4457700" y="4313065"/>
            <a:ext cx="3276600" cy="1859135"/>
          </a:xfrm>
        </p:spPr>
        <p:txBody>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0" name="Text Placeholder 16">
            <a:extLst>
              <a:ext uri="{FF2B5EF4-FFF2-40B4-BE49-F238E27FC236}">
                <a16:creationId xmlns:a16="http://schemas.microsoft.com/office/drawing/2014/main" id="{20DF23EE-294C-4411-ACF3-05450BED07A8}"/>
              </a:ext>
            </a:extLst>
          </p:cNvPr>
          <p:cNvSpPr>
            <a:spLocks noGrp="1"/>
          </p:cNvSpPr>
          <p:nvPr>
            <p:ph type="body" sz="quarter" idx="21" hasCustomPrompt="1"/>
          </p:nvPr>
        </p:nvSpPr>
        <p:spPr>
          <a:xfrm>
            <a:off x="4457700" y="3821287"/>
            <a:ext cx="32766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Tree>
    <p:extLst>
      <p:ext uri="{BB962C8B-B14F-4D97-AF65-F5344CB8AC3E}">
        <p14:creationId xmlns:p14="http://schemas.microsoft.com/office/powerpoint/2010/main" val="3943604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 Subtitle + 3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1027294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a:off x="7043889" y="1"/>
            <a:ext cx="5148111" cy="535952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0" name="Picture Placeholder 6">
            <a:extLst>
              <a:ext uri="{FF2B5EF4-FFF2-40B4-BE49-F238E27FC236}">
                <a16:creationId xmlns:a16="http://schemas.microsoft.com/office/drawing/2014/main" id="{51F0FD9E-3AFB-4B29-92E4-ADCA8C32D219}"/>
              </a:ext>
            </a:extLst>
          </p:cNvPr>
          <p:cNvSpPr>
            <a:spLocks noGrp="1"/>
          </p:cNvSpPr>
          <p:nvPr>
            <p:ph type="pic" sz="quarter" idx="18"/>
          </p:nvPr>
        </p:nvSpPr>
        <p:spPr>
          <a:xfrm>
            <a:off x="1657350" y="2006600"/>
            <a:ext cx="1638300" cy="1638300"/>
          </a:xfrm>
        </p:spPr>
        <p:txBody>
          <a:bodyPr/>
          <a:lstStyle/>
          <a:p>
            <a:endParaRPr lang="en-US"/>
          </a:p>
        </p:txBody>
      </p:sp>
      <p:sp>
        <p:nvSpPr>
          <p:cNvPr id="23" name="Picture Placeholder 6">
            <a:extLst>
              <a:ext uri="{FF2B5EF4-FFF2-40B4-BE49-F238E27FC236}">
                <a16:creationId xmlns:a16="http://schemas.microsoft.com/office/drawing/2014/main" id="{963FF6B3-47CC-45EA-AEC0-F0B8E77D37DC}"/>
              </a:ext>
            </a:extLst>
          </p:cNvPr>
          <p:cNvSpPr>
            <a:spLocks noGrp="1"/>
          </p:cNvSpPr>
          <p:nvPr>
            <p:ph type="pic" sz="quarter" idx="19"/>
          </p:nvPr>
        </p:nvSpPr>
        <p:spPr>
          <a:xfrm>
            <a:off x="5276850" y="2006600"/>
            <a:ext cx="1638300" cy="1638300"/>
          </a:xfrm>
        </p:spPr>
        <p:txBody>
          <a:bodyPr/>
          <a:lstStyle/>
          <a:p>
            <a:endParaRPr lang="en-US"/>
          </a:p>
        </p:txBody>
      </p:sp>
      <p:sp>
        <p:nvSpPr>
          <p:cNvPr id="31" name="Text Placeholder 16">
            <a:extLst>
              <a:ext uri="{FF2B5EF4-FFF2-40B4-BE49-F238E27FC236}">
                <a16:creationId xmlns:a16="http://schemas.microsoft.com/office/drawing/2014/main" id="{D52115F0-9FFB-44A0-9536-7A92E8DD87FD}"/>
              </a:ext>
            </a:extLst>
          </p:cNvPr>
          <p:cNvSpPr>
            <a:spLocks noGrp="1"/>
          </p:cNvSpPr>
          <p:nvPr>
            <p:ph type="body" sz="quarter" idx="12"/>
          </p:nvPr>
        </p:nvSpPr>
        <p:spPr>
          <a:xfrm>
            <a:off x="838200" y="4313065"/>
            <a:ext cx="3390900" cy="1859135"/>
          </a:xfrm>
        </p:spPr>
        <p:txBody>
          <a:bodyPr/>
          <a:lstStyle>
            <a:lvl1pPr marL="0" indent="0">
              <a:buFont typeface="Arial" panose="020B0604020202020204" pitchFamily="34" charset="0"/>
              <a:buNone/>
              <a:defRPr sz="2000">
                <a:solidFill>
                  <a:schemeClr val="tx1"/>
                </a:solidFill>
              </a:defRPr>
            </a:lvl1pPr>
            <a:lvl2pPr marL="457200" indent="0">
              <a:buFont typeface="Arial" panose="020B0604020202020204" pitchFamily="34" charset="0"/>
              <a:buNone/>
              <a:defRPr sz="2000">
                <a:solidFill>
                  <a:schemeClr val="tx1"/>
                </a:solidFill>
              </a:defRPr>
            </a:lvl2pPr>
            <a:lvl3pPr marL="914400" indent="0">
              <a:buFont typeface="Arial" panose="020B0604020202020204" pitchFamily="34" charset="0"/>
              <a:buNone/>
              <a:defRPr sz="2000">
                <a:solidFill>
                  <a:schemeClr val="tx1"/>
                </a:solidFill>
              </a:defRPr>
            </a:lvl3pPr>
            <a:lvl4pPr marL="1371600" indent="0">
              <a:buFont typeface="Arial" panose="020B0604020202020204" pitchFamily="34" charset="0"/>
              <a:buNone/>
              <a:defRPr sz="2000">
                <a:solidFill>
                  <a:schemeClr val="tx1"/>
                </a:solidFill>
              </a:defRPr>
            </a:lvl4pPr>
            <a:lvl5pPr marL="1828800" indent="0">
              <a:buFont typeface="Arial" panose="020B0604020202020204" pitchFamily="34" charse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2" name="Text Placeholder 16">
            <a:extLst>
              <a:ext uri="{FF2B5EF4-FFF2-40B4-BE49-F238E27FC236}">
                <a16:creationId xmlns:a16="http://schemas.microsoft.com/office/drawing/2014/main" id="{62E1362D-EABA-407E-8EE8-E13D3342FFF9}"/>
              </a:ext>
            </a:extLst>
          </p:cNvPr>
          <p:cNvSpPr>
            <a:spLocks noGrp="1"/>
          </p:cNvSpPr>
          <p:nvPr>
            <p:ph type="body" sz="quarter" idx="14" hasCustomPrompt="1"/>
          </p:nvPr>
        </p:nvSpPr>
        <p:spPr>
          <a:xfrm>
            <a:off x="838200" y="3821287"/>
            <a:ext cx="33909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33" name="Text Placeholder 16">
            <a:extLst>
              <a:ext uri="{FF2B5EF4-FFF2-40B4-BE49-F238E27FC236}">
                <a16:creationId xmlns:a16="http://schemas.microsoft.com/office/drawing/2014/main" id="{73444CC1-6247-421E-AD6D-972404A78A28}"/>
              </a:ext>
            </a:extLst>
          </p:cNvPr>
          <p:cNvSpPr>
            <a:spLocks noGrp="1"/>
          </p:cNvSpPr>
          <p:nvPr>
            <p:ph type="body" sz="quarter" idx="20"/>
          </p:nvPr>
        </p:nvSpPr>
        <p:spPr>
          <a:xfrm>
            <a:off x="4457700" y="4313065"/>
            <a:ext cx="3276600" cy="1859135"/>
          </a:xfrm>
        </p:spPr>
        <p:txBody>
          <a:bodyPr/>
          <a:lstStyle>
            <a:lvl1pPr marL="0" indent="0">
              <a:buFont typeface="Arial" panose="020B0604020202020204" pitchFamily="34" charset="0"/>
              <a:buNone/>
              <a:defRPr sz="2000">
                <a:solidFill>
                  <a:schemeClr val="tx1"/>
                </a:solidFill>
              </a:defRPr>
            </a:lvl1pPr>
            <a:lvl2pPr marL="457200" indent="0">
              <a:buFont typeface="Arial" panose="020B0604020202020204" pitchFamily="34" charset="0"/>
              <a:buNone/>
              <a:defRPr sz="2000">
                <a:solidFill>
                  <a:schemeClr val="tx1"/>
                </a:solidFill>
              </a:defRPr>
            </a:lvl2pPr>
            <a:lvl3pPr marL="914400" indent="0">
              <a:buFont typeface="Arial" panose="020B0604020202020204" pitchFamily="34" charset="0"/>
              <a:buNone/>
              <a:defRPr sz="2000">
                <a:solidFill>
                  <a:schemeClr val="tx1"/>
                </a:solidFill>
              </a:defRPr>
            </a:lvl3pPr>
            <a:lvl4pPr marL="1371600" indent="0">
              <a:buFont typeface="Arial" panose="020B0604020202020204" pitchFamily="34" charset="0"/>
              <a:buNone/>
              <a:defRPr sz="2000">
                <a:solidFill>
                  <a:schemeClr val="tx1"/>
                </a:solidFill>
              </a:defRPr>
            </a:lvl4pPr>
            <a:lvl5pPr marL="1828800" indent="0">
              <a:buFont typeface="Arial" panose="020B0604020202020204" pitchFamily="34" charse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4" name="Text Placeholder 16">
            <a:extLst>
              <a:ext uri="{FF2B5EF4-FFF2-40B4-BE49-F238E27FC236}">
                <a16:creationId xmlns:a16="http://schemas.microsoft.com/office/drawing/2014/main" id="{A017B11C-6696-4537-8B33-B38F803B27FE}"/>
              </a:ext>
            </a:extLst>
          </p:cNvPr>
          <p:cNvSpPr>
            <a:spLocks noGrp="1"/>
          </p:cNvSpPr>
          <p:nvPr>
            <p:ph type="body" sz="quarter" idx="21" hasCustomPrompt="1"/>
          </p:nvPr>
        </p:nvSpPr>
        <p:spPr>
          <a:xfrm>
            <a:off x="4457700" y="3821287"/>
            <a:ext cx="32766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35" name="Picture Placeholder 6">
            <a:extLst>
              <a:ext uri="{FF2B5EF4-FFF2-40B4-BE49-F238E27FC236}">
                <a16:creationId xmlns:a16="http://schemas.microsoft.com/office/drawing/2014/main" id="{8D2FD841-A331-4B64-A0A5-3E0A3D1BFA0F}"/>
              </a:ext>
            </a:extLst>
          </p:cNvPr>
          <p:cNvSpPr>
            <a:spLocks noGrp="1"/>
          </p:cNvSpPr>
          <p:nvPr>
            <p:ph type="pic" sz="quarter" idx="22"/>
          </p:nvPr>
        </p:nvSpPr>
        <p:spPr>
          <a:xfrm>
            <a:off x="8782050" y="2006600"/>
            <a:ext cx="1638300" cy="1638300"/>
          </a:xfrm>
        </p:spPr>
        <p:txBody>
          <a:bodyPr/>
          <a:lstStyle/>
          <a:p>
            <a:endParaRPr lang="en-US"/>
          </a:p>
        </p:txBody>
      </p:sp>
      <p:sp>
        <p:nvSpPr>
          <p:cNvPr id="36" name="Text Placeholder 16">
            <a:extLst>
              <a:ext uri="{FF2B5EF4-FFF2-40B4-BE49-F238E27FC236}">
                <a16:creationId xmlns:a16="http://schemas.microsoft.com/office/drawing/2014/main" id="{C6451CE1-3582-4D94-B263-2AF5BEB1E85E}"/>
              </a:ext>
            </a:extLst>
          </p:cNvPr>
          <p:cNvSpPr>
            <a:spLocks noGrp="1"/>
          </p:cNvSpPr>
          <p:nvPr>
            <p:ph type="body" sz="quarter" idx="23"/>
          </p:nvPr>
        </p:nvSpPr>
        <p:spPr>
          <a:xfrm>
            <a:off x="7962900" y="4313065"/>
            <a:ext cx="3390900" cy="1859135"/>
          </a:xfrm>
        </p:spPr>
        <p:txBody>
          <a:bodyPr/>
          <a:lstStyle>
            <a:lvl1pPr marL="0" indent="0">
              <a:buFont typeface="Arial" panose="020B0604020202020204" pitchFamily="34" charset="0"/>
              <a:buNone/>
              <a:defRPr sz="2000">
                <a:solidFill>
                  <a:schemeClr val="tx1"/>
                </a:solidFill>
              </a:defRPr>
            </a:lvl1pPr>
            <a:lvl2pPr marL="457200" indent="0">
              <a:buFont typeface="Arial" panose="020B0604020202020204" pitchFamily="34" charset="0"/>
              <a:buNone/>
              <a:defRPr sz="2000">
                <a:solidFill>
                  <a:schemeClr val="tx1"/>
                </a:solidFill>
              </a:defRPr>
            </a:lvl2pPr>
            <a:lvl3pPr marL="914400" indent="0">
              <a:buFont typeface="Arial" panose="020B0604020202020204" pitchFamily="34" charset="0"/>
              <a:buNone/>
              <a:defRPr sz="2000">
                <a:solidFill>
                  <a:schemeClr val="tx1"/>
                </a:solidFill>
              </a:defRPr>
            </a:lvl3pPr>
            <a:lvl4pPr marL="1371600" indent="0">
              <a:buFont typeface="Arial" panose="020B0604020202020204" pitchFamily="34" charset="0"/>
              <a:buNone/>
              <a:defRPr sz="2000">
                <a:solidFill>
                  <a:schemeClr val="tx1"/>
                </a:solidFill>
              </a:defRPr>
            </a:lvl4pPr>
            <a:lvl5pPr marL="1828800" indent="0">
              <a:buFont typeface="Arial" panose="020B0604020202020204" pitchFamily="34" charse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7" name="Text Placeholder 16">
            <a:extLst>
              <a:ext uri="{FF2B5EF4-FFF2-40B4-BE49-F238E27FC236}">
                <a16:creationId xmlns:a16="http://schemas.microsoft.com/office/drawing/2014/main" id="{4AD9E344-7E5F-4F9F-9DA4-0599F10F492E}"/>
              </a:ext>
            </a:extLst>
          </p:cNvPr>
          <p:cNvSpPr>
            <a:spLocks noGrp="1"/>
          </p:cNvSpPr>
          <p:nvPr>
            <p:ph type="body" sz="quarter" idx="24" hasCustomPrompt="1"/>
          </p:nvPr>
        </p:nvSpPr>
        <p:spPr>
          <a:xfrm>
            <a:off x="7962900" y="3821287"/>
            <a:ext cx="33909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Tree>
    <p:extLst>
      <p:ext uri="{BB962C8B-B14F-4D97-AF65-F5344CB8AC3E}">
        <p14:creationId xmlns:p14="http://schemas.microsoft.com/office/powerpoint/2010/main" val="369699566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itle + Subtitle + 4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079476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a:off x="7043889" y="1"/>
            <a:ext cx="5148111" cy="535952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0" name="Picture Placeholder 6">
            <a:extLst>
              <a:ext uri="{FF2B5EF4-FFF2-40B4-BE49-F238E27FC236}">
                <a16:creationId xmlns:a16="http://schemas.microsoft.com/office/drawing/2014/main" id="{51F0FD9E-3AFB-4B29-92E4-ADCA8C32D219}"/>
              </a:ext>
            </a:extLst>
          </p:cNvPr>
          <p:cNvSpPr>
            <a:spLocks noGrp="1"/>
          </p:cNvSpPr>
          <p:nvPr>
            <p:ph type="pic" sz="quarter" idx="18"/>
          </p:nvPr>
        </p:nvSpPr>
        <p:spPr>
          <a:xfrm>
            <a:off x="1212850" y="2049566"/>
            <a:ext cx="1485900" cy="1485900"/>
          </a:xfrm>
        </p:spPr>
        <p:txBody>
          <a:bodyPr/>
          <a:lstStyle/>
          <a:p>
            <a:endParaRPr lang="en-US"/>
          </a:p>
        </p:txBody>
      </p:sp>
      <p:sp>
        <p:nvSpPr>
          <p:cNvPr id="23" name="Picture Placeholder 6">
            <a:extLst>
              <a:ext uri="{FF2B5EF4-FFF2-40B4-BE49-F238E27FC236}">
                <a16:creationId xmlns:a16="http://schemas.microsoft.com/office/drawing/2014/main" id="{963FF6B3-47CC-45EA-AEC0-F0B8E77D37DC}"/>
              </a:ext>
            </a:extLst>
          </p:cNvPr>
          <p:cNvSpPr>
            <a:spLocks noGrp="1"/>
          </p:cNvSpPr>
          <p:nvPr>
            <p:ph type="pic" sz="quarter" idx="19"/>
          </p:nvPr>
        </p:nvSpPr>
        <p:spPr>
          <a:xfrm>
            <a:off x="3931448" y="2049566"/>
            <a:ext cx="1485900" cy="1485900"/>
          </a:xfrm>
        </p:spPr>
        <p:txBody>
          <a:bodyPr/>
          <a:lstStyle/>
          <a:p>
            <a:endParaRPr lang="en-US"/>
          </a:p>
        </p:txBody>
      </p:sp>
      <p:sp>
        <p:nvSpPr>
          <p:cNvPr id="32" name="Text Placeholder 16">
            <a:extLst>
              <a:ext uri="{FF2B5EF4-FFF2-40B4-BE49-F238E27FC236}">
                <a16:creationId xmlns:a16="http://schemas.microsoft.com/office/drawing/2014/main" id="{62E1362D-EABA-407E-8EE8-E13D3342FFF9}"/>
              </a:ext>
            </a:extLst>
          </p:cNvPr>
          <p:cNvSpPr>
            <a:spLocks noGrp="1"/>
          </p:cNvSpPr>
          <p:nvPr>
            <p:ph type="body" sz="quarter" idx="14" hasCustomPrompt="1"/>
          </p:nvPr>
        </p:nvSpPr>
        <p:spPr>
          <a:xfrm>
            <a:off x="838200" y="3821287"/>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34" name="Text Placeholder 16">
            <a:extLst>
              <a:ext uri="{FF2B5EF4-FFF2-40B4-BE49-F238E27FC236}">
                <a16:creationId xmlns:a16="http://schemas.microsoft.com/office/drawing/2014/main" id="{A017B11C-6696-4537-8B33-B38F803B27FE}"/>
              </a:ext>
            </a:extLst>
          </p:cNvPr>
          <p:cNvSpPr>
            <a:spLocks noGrp="1"/>
          </p:cNvSpPr>
          <p:nvPr>
            <p:ph type="body" sz="quarter" idx="21" hasCustomPrompt="1"/>
          </p:nvPr>
        </p:nvSpPr>
        <p:spPr>
          <a:xfrm>
            <a:off x="3594470" y="3821287"/>
            <a:ext cx="2159856"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35" name="Picture Placeholder 6">
            <a:extLst>
              <a:ext uri="{FF2B5EF4-FFF2-40B4-BE49-F238E27FC236}">
                <a16:creationId xmlns:a16="http://schemas.microsoft.com/office/drawing/2014/main" id="{8D2FD841-A331-4B64-A0A5-3E0A3D1BFA0F}"/>
              </a:ext>
            </a:extLst>
          </p:cNvPr>
          <p:cNvSpPr>
            <a:spLocks noGrp="1"/>
          </p:cNvSpPr>
          <p:nvPr>
            <p:ph type="pic" sz="quarter" idx="22"/>
          </p:nvPr>
        </p:nvSpPr>
        <p:spPr>
          <a:xfrm>
            <a:off x="9453416" y="2053162"/>
            <a:ext cx="1485900" cy="1485900"/>
          </a:xfrm>
        </p:spPr>
        <p:txBody>
          <a:bodyPr/>
          <a:lstStyle/>
          <a:p>
            <a:endParaRPr lang="en-US"/>
          </a:p>
        </p:txBody>
      </p:sp>
      <p:sp>
        <p:nvSpPr>
          <p:cNvPr id="37" name="Text Placeholder 16">
            <a:extLst>
              <a:ext uri="{FF2B5EF4-FFF2-40B4-BE49-F238E27FC236}">
                <a16:creationId xmlns:a16="http://schemas.microsoft.com/office/drawing/2014/main" id="{4AD9E344-7E5F-4F9F-9DA4-0599F10F492E}"/>
              </a:ext>
            </a:extLst>
          </p:cNvPr>
          <p:cNvSpPr>
            <a:spLocks noGrp="1"/>
          </p:cNvSpPr>
          <p:nvPr>
            <p:ph type="body" sz="quarter" idx="24" hasCustomPrompt="1"/>
          </p:nvPr>
        </p:nvSpPr>
        <p:spPr>
          <a:xfrm>
            <a:off x="6327626" y="3821287"/>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6" name="Text Placeholder 16">
            <a:extLst>
              <a:ext uri="{FF2B5EF4-FFF2-40B4-BE49-F238E27FC236}">
                <a16:creationId xmlns:a16="http://schemas.microsoft.com/office/drawing/2014/main" id="{B88CB82A-9E2B-4C70-A96C-FB83F05CAAB0}"/>
              </a:ext>
            </a:extLst>
          </p:cNvPr>
          <p:cNvSpPr>
            <a:spLocks noGrp="1"/>
          </p:cNvSpPr>
          <p:nvPr>
            <p:ph type="body" sz="quarter" idx="26" hasCustomPrompt="1"/>
          </p:nvPr>
        </p:nvSpPr>
        <p:spPr>
          <a:xfrm>
            <a:off x="9078766" y="3821287"/>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7" name="Picture Placeholder 6">
            <a:extLst>
              <a:ext uri="{FF2B5EF4-FFF2-40B4-BE49-F238E27FC236}">
                <a16:creationId xmlns:a16="http://schemas.microsoft.com/office/drawing/2014/main" id="{D5A0D7A4-5125-43F6-B103-0F8056DE298F}"/>
              </a:ext>
            </a:extLst>
          </p:cNvPr>
          <p:cNvSpPr>
            <a:spLocks noGrp="1"/>
          </p:cNvSpPr>
          <p:nvPr>
            <p:ph type="pic" sz="quarter" idx="27"/>
          </p:nvPr>
        </p:nvSpPr>
        <p:spPr>
          <a:xfrm>
            <a:off x="6702276" y="2049566"/>
            <a:ext cx="1485900" cy="1485900"/>
          </a:xfrm>
        </p:spPr>
        <p:txBody>
          <a:bodyPr/>
          <a:lstStyle/>
          <a:p>
            <a:endParaRPr lang="en-US"/>
          </a:p>
        </p:txBody>
      </p:sp>
    </p:spTree>
    <p:extLst>
      <p:ext uri="{BB962C8B-B14F-4D97-AF65-F5344CB8AC3E}">
        <p14:creationId xmlns:p14="http://schemas.microsoft.com/office/powerpoint/2010/main" val="39748154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 1 Colum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290382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C28D76B-1E4B-4CAD-91D0-7031CCB234FF}"/>
              </a:ext>
            </a:extLst>
          </p:cNvPr>
          <p:cNvSpPr/>
          <p:nvPr userDrawn="1"/>
        </p:nvSpPr>
        <p:spPr>
          <a:xfrm>
            <a:off x="7962900" y="0"/>
            <a:ext cx="42291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838200" y="1859536"/>
            <a:ext cx="33909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5981699" y="723900"/>
            <a:ext cx="5394960" cy="5394960"/>
          </a:xfrm>
          <a:prstGeom prst="ellipse">
            <a:avLst/>
          </a:prstGeom>
          <a:solidFill>
            <a:schemeClr val="accent5"/>
          </a:solidFill>
        </p:spPr>
        <p:txBody>
          <a:bodyPr/>
          <a:lstStyle/>
          <a:p>
            <a:endParaRPr lang="en-US"/>
          </a:p>
        </p:txBody>
      </p:sp>
    </p:spTree>
    <p:extLst>
      <p:ext uri="{BB962C8B-B14F-4D97-AF65-F5344CB8AC3E}">
        <p14:creationId xmlns:p14="http://schemas.microsoft.com/office/powerpoint/2010/main" val="92054467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 1 Colum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693474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C28D76B-1E4B-4CAD-91D0-7031CCB234FF}"/>
              </a:ext>
            </a:extLst>
          </p:cNvPr>
          <p:cNvSpPr/>
          <p:nvPr userDrawn="1"/>
        </p:nvSpPr>
        <p:spPr>
          <a:xfrm flipH="1">
            <a:off x="0" y="0"/>
            <a:ext cx="79629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838200" y="1859536"/>
            <a:ext cx="3390900" cy="4312664"/>
          </a:xfrm>
        </p:spPr>
        <p:txBody>
          <a:bodyPr>
            <a:norm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solidFill>
                  <a:schemeClr val="bg1"/>
                </a:solidFill>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0" name="Picture Placeholder 27">
            <a:extLst>
              <a:ext uri="{FF2B5EF4-FFF2-40B4-BE49-F238E27FC236}">
                <a16:creationId xmlns:a16="http://schemas.microsoft.com/office/drawing/2014/main" id="{95272455-2B2E-42EC-97C3-8716AEB4463A}"/>
              </a:ext>
            </a:extLst>
          </p:cNvPr>
          <p:cNvSpPr>
            <a:spLocks noGrp="1"/>
          </p:cNvSpPr>
          <p:nvPr>
            <p:ph type="pic" sz="quarter" idx="13"/>
          </p:nvPr>
        </p:nvSpPr>
        <p:spPr>
          <a:xfrm>
            <a:off x="6210300" y="723900"/>
            <a:ext cx="5143500" cy="5448300"/>
          </a:xfrm>
          <a:custGeom>
            <a:avLst/>
            <a:gdLst>
              <a:gd name="connsiteX0" fmla="*/ 5143500 w 5143500"/>
              <a:gd name="connsiteY0" fmla="*/ 4187827 h 5448300"/>
              <a:gd name="connsiteX1" fmla="*/ 5143500 w 5143500"/>
              <a:gd name="connsiteY1" fmla="*/ 5448300 h 5448300"/>
              <a:gd name="connsiteX2" fmla="*/ 3912579 w 5143500"/>
              <a:gd name="connsiteY2" fmla="*/ 5448300 h 5448300"/>
              <a:gd name="connsiteX3" fmla="*/ 3918931 w 5143500"/>
              <a:gd name="connsiteY3" fmla="*/ 5319433 h 5448300"/>
              <a:gd name="connsiteX4" fmla="*/ 5017606 w 5143500"/>
              <a:gd name="connsiteY4" fmla="*/ 4194335 h 5448300"/>
              <a:gd name="connsiteX5" fmla="*/ 0 w 5143500"/>
              <a:gd name="connsiteY5" fmla="*/ 0 h 5448300"/>
              <a:gd name="connsiteX6" fmla="*/ 5143500 w 5143500"/>
              <a:gd name="connsiteY6" fmla="*/ 0 h 5448300"/>
              <a:gd name="connsiteX7" fmla="*/ 5143500 w 5143500"/>
              <a:gd name="connsiteY7" fmla="*/ 3408108 h 5448300"/>
              <a:gd name="connsiteX8" fmla="*/ 4939818 w 5143500"/>
              <a:gd name="connsiteY8" fmla="*/ 3418641 h 5448300"/>
              <a:gd name="connsiteX9" fmla="*/ 3161669 w 5143500"/>
              <a:gd name="connsiteY9" fmla="*/ 5239704 h 5448300"/>
              <a:gd name="connsiteX10" fmla="*/ 3151384 w 5143500"/>
              <a:gd name="connsiteY10" fmla="*/ 5448300 h 5448300"/>
              <a:gd name="connsiteX11" fmla="*/ 0 w 5143500"/>
              <a:gd name="connsiteY11" fmla="*/ 5448300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3500" h="5448300">
                <a:moveTo>
                  <a:pt x="5143500" y="4187827"/>
                </a:moveTo>
                <a:lnTo>
                  <a:pt x="5143500" y="5448300"/>
                </a:lnTo>
                <a:lnTo>
                  <a:pt x="3912579" y="5448300"/>
                </a:lnTo>
                <a:lnTo>
                  <a:pt x="3918931" y="5319433"/>
                </a:lnTo>
                <a:cubicBezTo>
                  <a:pt x="3977740" y="4726238"/>
                  <a:pt x="4438123" y="4254586"/>
                  <a:pt x="5017606" y="4194335"/>
                </a:cubicBezTo>
                <a:close/>
                <a:moveTo>
                  <a:pt x="0" y="0"/>
                </a:moveTo>
                <a:lnTo>
                  <a:pt x="5143500" y="0"/>
                </a:lnTo>
                <a:lnTo>
                  <a:pt x="5143500" y="3408108"/>
                </a:lnTo>
                <a:lnTo>
                  <a:pt x="4939818" y="3418641"/>
                </a:lnTo>
                <a:cubicBezTo>
                  <a:pt x="4002248" y="3516155"/>
                  <a:pt x="3256884" y="4279511"/>
                  <a:pt x="3161669" y="5239704"/>
                </a:cubicBezTo>
                <a:lnTo>
                  <a:pt x="3151384" y="5448300"/>
                </a:lnTo>
                <a:lnTo>
                  <a:pt x="0" y="5448300"/>
                </a:lnTo>
                <a:close/>
              </a:path>
            </a:pathLst>
          </a:custGeom>
          <a:solidFill>
            <a:schemeClr val="accent5"/>
          </a:solidFill>
        </p:spPr>
        <p:txBody>
          <a:bodyPr wrap="square">
            <a:noAutofit/>
          </a:bodyPr>
          <a:lstStyle/>
          <a:p>
            <a:endParaRPr lang="en-US"/>
          </a:p>
        </p:txBody>
      </p:sp>
    </p:spTree>
    <p:extLst>
      <p:ext uri="{BB962C8B-B14F-4D97-AF65-F5344CB8AC3E}">
        <p14:creationId xmlns:p14="http://schemas.microsoft.com/office/powerpoint/2010/main" val="316213444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 2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409173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68961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5" name="Rectangle 24">
            <a:extLst>
              <a:ext uri="{FF2B5EF4-FFF2-40B4-BE49-F238E27FC236}">
                <a16:creationId xmlns:a16="http://schemas.microsoft.com/office/drawing/2014/main" id="{0F78F509-4A02-4BE3-B0D2-E49CDAC1CFDF}"/>
              </a:ext>
            </a:extLst>
          </p:cNvPr>
          <p:cNvSpPr/>
          <p:nvPr userDrawn="1"/>
        </p:nvSpPr>
        <p:spPr>
          <a:xfrm>
            <a:off x="7962900" y="0"/>
            <a:ext cx="4229100"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Picture Placeholder 5">
            <a:extLst>
              <a:ext uri="{FF2B5EF4-FFF2-40B4-BE49-F238E27FC236}">
                <a16:creationId xmlns:a16="http://schemas.microsoft.com/office/drawing/2014/main" id="{78EADAA8-EE50-486A-BF38-DF2FF8835585}"/>
              </a:ext>
            </a:extLst>
          </p:cNvPr>
          <p:cNvSpPr>
            <a:spLocks noGrp="1"/>
          </p:cNvSpPr>
          <p:nvPr>
            <p:ph type="pic" sz="quarter" idx="13"/>
          </p:nvPr>
        </p:nvSpPr>
        <p:spPr>
          <a:xfrm>
            <a:off x="8761396" y="723900"/>
            <a:ext cx="2592404" cy="2592402"/>
          </a:xfrm>
          <a:prstGeom prst="ellipse">
            <a:avLst/>
          </a:prstGeom>
          <a:solidFill>
            <a:schemeClr val="accent5"/>
          </a:solidFill>
        </p:spPr>
        <p:txBody>
          <a:bodyPr/>
          <a:lstStyle/>
          <a:p>
            <a:endParaRPr lang="en-US"/>
          </a:p>
        </p:txBody>
      </p:sp>
      <p:sp>
        <p:nvSpPr>
          <p:cNvPr id="27" name="Picture Placeholder 5">
            <a:extLst>
              <a:ext uri="{FF2B5EF4-FFF2-40B4-BE49-F238E27FC236}">
                <a16:creationId xmlns:a16="http://schemas.microsoft.com/office/drawing/2014/main" id="{B5EDB5CF-1F1B-4F32-A861-A9003A57E6CD}"/>
              </a:ext>
            </a:extLst>
          </p:cNvPr>
          <p:cNvSpPr>
            <a:spLocks noGrp="1"/>
          </p:cNvSpPr>
          <p:nvPr>
            <p:ph type="pic" sz="quarter" idx="15"/>
          </p:nvPr>
        </p:nvSpPr>
        <p:spPr>
          <a:xfrm>
            <a:off x="8761396" y="3579798"/>
            <a:ext cx="2592404" cy="2592402"/>
          </a:xfrm>
          <a:prstGeom prst="ellipse">
            <a:avLst/>
          </a:prstGeom>
          <a:solidFill>
            <a:schemeClr val="accent5"/>
          </a:solidFill>
        </p:spPr>
        <p:txBody>
          <a:bodyPr/>
          <a:lstStyle/>
          <a:p>
            <a:endParaRPr lang="en-US"/>
          </a:p>
        </p:txBody>
      </p:sp>
      <p:sp>
        <p:nvSpPr>
          <p:cNvPr id="23" name="Text Placeholder 16">
            <a:extLst>
              <a:ext uri="{FF2B5EF4-FFF2-40B4-BE49-F238E27FC236}">
                <a16:creationId xmlns:a16="http://schemas.microsoft.com/office/drawing/2014/main" id="{068CC63F-B9A7-4B29-9B1A-F990E644285F}"/>
              </a:ext>
            </a:extLst>
          </p:cNvPr>
          <p:cNvSpPr>
            <a:spLocks noGrp="1"/>
          </p:cNvSpPr>
          <p:nvPr>
            <p:ph type="body" sz="quarter" idx="12"/>
          </p:nvPr>
        </p:nvSpPr>
        <p:spPr>
          <a:xfrm>
            <a:off x="838200" y="1859536"/>
            <a:ext cx="33909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6">
            <a:extLst>
              <a:ext uri="{FF2B5EF4-FFF2-40B4-BE49-F238E27FC236}">
                <a16:creationId xmlns:a16="http://schemas.microsoft.com/office/drawing/2014/main" id="{DB3793D5-D8CB-4FF2-8816-457A345EE2BF}"/>
              </a:ext>
            </a:extLst>
          </p:cNvPr>
          <p:cNvSpPr>
            <a:spLocks noGrp="1"/>
          </p:cNvSpPr>
          <p:nvPr>
            <p:ph type="body" sz="quarter" idx="16"/>
          </p:nvPr>
        </p:nvSpPr>
        <p:spPr>
          <a:xfrm>
            <a:off x="4457700" y="1859536"/>
            <a:ext cx="32766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22348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ustom Layout_Text">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C3EB70E4-1CDF-4FD7-AB7F-4568C60AF552}"/>
              </a:ext>
            </a:extLst>
          </p:cNvPr>
          <p:cNvSpPr/>
          <p:nvPr userDrawn="1"/>
        </p:nvSpPr>
        <p:spPr>
          <a:xfrm rot="5400000">
            <a:off x="5648785" y="314786"/>
            <a:ext cx="6411566" cy="667486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2" name="Title 1">
            <a:extLst>
              <a:ext uri="{FF2B5EF4-FFF2-40B4-BE49-F238E27FC236}">
                <a16:creationId xmlns:a16="http://schemas.microsoft.com/office/drawing/2014/main" id="{25C5CDA7-3277-4BEF-B83F-00A6A1F359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7452D38-F127-4220-828A-AD175D044060}"/>
              </a:ext>
            </a:extLst>
          </p:cNvPr>
          <p:cNvSpPr>
            <a:spLocks noGrp="1"/>
          </p:cNvSpPr>
          <p:nvPr>
            <p:ph type="sldNum" sz="quarter" idx="10"/>
          </p:nvPr>
        </p:nvSpPr>
        <p:spPr/>
        <p:txBody>
          <a:bodyPr/>
          <a:lstStyle/>
          <a:p>
            <a:fld id="{A1471D42-392E-4D14-982B-D9D765EA1509}" type="slidenum">
              <a:rPr lang="en-US" smtClean="0"/>
              <a:pPr/>
              <a:t>‹#›</a:t>
            </a:fld>
            <a:endParaRPr lang="en-US"/>
          </a:p>
        </p:txBody>
      </p:sp>
      <p:sp>
        <p:nvSpPr>
          <p:cNvPr id="5" name="Text Placeholder 4">
            <a:extLst>
              <a:ext uri="{FF2B5EF4-FFF2-40B4-BE49-F238E27FC236}">
                <a16:creationId xmlns:a16="http://schemas.microsoft.com/office/drawing/2014/main" id="{77B1E8FD-61C8-4EC3-96A2-10CED7ABF8BB}"/>
              </a:ext>
            </a:extLst>
          </p:cNvPr>
          <p:cNvSpPr>
            <a:spLocks noGrp="1"/>
          </p:cNvSpPr>
          <p:nvPr>
            <p:ph type="body" sz="quarter" idx="11"/>
          </p:nvPr>
        </p:nvSpPr>
        <p:spPr>
          <a:xfrm>
            <a:off x="838200" y="1790700"/>
            <a:ext cx="10515600" cy="4381500"/>
          </a:xfrm>
        </p:spPr>
        <p:txBody>
          <a:bodyPr>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aphic 6">
            <a:extLst>
              <a:ext uri="{FF2B5EF4-FFF2-40B4-BE49-F238E27FC236}">
                <a16:creationId xmlns:a16="http://schemas.microsoft.com/office/drawing/2014/main" id="{47D65B5B-C190-4B5D-9F20-BDC8B88F0B1A}"/>
              </a:ext>
            </a:extLst>
          </p:cNvPr>
          <p:cNvGrpSpPr/>
          <p:nvPr userDrawn="1"/>
        </p:nvGrpSpPr>
        <p:grpSpPr>
          <a:xfrm>
            <a:off x="891988" y="6394893"/>
            <a:ext cx="432890" cy="187030"/>
            <a:chOff x="85969" y="3646150"/>
            <a:chExt cx="1544103" cy="667132"/>
          </a:xfrm>
          <a:solidFill>
            <a:srgbClr val="FF9E18"/>
          </a:solidFill>
        </p:grpSpPr>
        <p:sp>
          <p:nvSpPr>
            <p:cNvPr id="8" name="Freeform: Shape 7">
              <a:extLst>
                <a:ext uri="{FF2B5EF4-FFF2-40B4-BE49-F238E27FC236}">
                  <a16:creationId xmlns:a16="http://schemas.microsoft.com/office/drawing/2014/main" id="{1269CA11-9AB2-4BA9-9933-AF47730E3C5D}"/>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47FFC0E8-F9B0-4EA7-A1BD-8F7688A8B76F}"/>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8A3E1C1F-61B6-461C-A021-7B00A77391D1}"/>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F4F6123C-836D-42A8-BF72-C8103D85FF7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Tree>
    <p:extLst>
      <p:ext uri="{BB962C8B-B14F-4D97-AF65-F5344CB8AC3E}">
        <p14:creationId xmlns:p14="http://schemas.microsoft.com/office/powerpoint/2010/main" val="410718346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 3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2989675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rot="5400000">
            <a:off x="5648785" y="314786"/>
            <a:ext cx="6411566" cy="667486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5" name="Text Placeholder 16">
            <a:extLst>
              <a:ext uri="{FF2B5EF4-FFF2-40B4-BE49-F238E27FC236}">
                <a16:creationId xmlns:a16="http://schemas.microsoft.com/office/drawing/2014/main" id="{CFE1B959-D955-4D56-9B8F-C90419321FA4}"/>
              </a:ext>
            </a:extLst>
          </p:cNvPr>
          <p:cNvSpPr>
            <a:spLocks noGrp="1"/>
          </p:cNvSpPr>
          <p:nvPr>
            <p:ph type="body" sz="quarter" idx="12"/>
          </p:nvPr>
        </p:nvSpPr>
        <p:spPr>
          <a:xfrm>
            <a:off x="838200" y="1859536"/>
            <a:ext cx="33909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6">
            <a:extLst>
              <a:ext uri="{FF2B5EF4-FFF2-40B4-BE49-F238E27FC236}">
                <a16:creationId xmlns:a16="http://schemas.microsoft.com/office/drawing/2014/main" id="{556F1381-20D3-4BD3-9D5E-FDB952F5D2DF}"/>
              </a:ext>
            </a:extLst>
          </p:cNvPr>
          <p:cNvSpPr>
            <a:spLocks noGrp="1"/>
          </p:cNvSpPr>
          <p:nvPr>
            <p:ph type="body" sz="quarter" idx="16"/>
          </p:nvPr>
        </p:nvSpPr>
        <p:spPr>
          <a:xfrm>
            <a:off x="4457700" y="1859536"/>
            <a:ext cx="32766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6">
            <a:extLst>
              <a:ext uri="{FF2B5EF4-FFF2-40B4-BE49-F238E27FC236}">
                <a16:creationId xmlns:a16="http://schemas.microsoft.com/office/drawing/2014/main" id="{B68CA0E5-DDF0-4268-9386-58E96EC1D175}"/>
              </a:ext>
            </a:extLst>
          </p:cNvPr>
          <p:cNvSpPr>
            <a:spLocks noGrp="1"/>
          </p:cNvSpPr>
          <p:nvPr>
            <p:ph type="body" sz="quarter" idx="17"/>
          </p:nvPr>
        </p:nvSpPr>
        <p:spPr>
          <a:xfrm>
            <a:off x="7962900" y="1859536"/>
            <a:ext cx="33909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823794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ue_Title + Subtitle + 1 Colum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668586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accent2"/>
                </a:solidFill>
              </a:defRPr>
            </a:lvl1pPr>
          </a:lstStyle>
          <a:p>
            <a:fld id="{A1471D42-392E-4D14-982B-D9D765EA1509}" type="slidenum">
              <a:rPr lang="en-US" smtClean="0"/>
              <a:pPr/>
              <a:t>‹#›</a:t>
            </a:fld>
            <a:endParaRPr lang="en-US"/>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838200" y="2243738"/>
            <a:ext cx="3390900" cy="3928462"/>
          </a:xfrm>
        </p:spPr>
        <p:txBody>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solidFill>
                  <a:schemeClr val="bg1"/>
                </a:solidFill>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5" name="Picture Placeholder 24">
            <a:extLst>
              <a:ext uri="{FF2B5EF4-FFF2-40B4-BE49-F238E27FC236}">
                <a16:creationId xmlns:a16="http://schemas.microsoft.com/office/drawing/2014/main" id="{7C1FAC09-07B3-4EED-BF86-DD711F111699}"/>
              </a:ext>
            </a:extLst>
          </p:cNvPr>
          <p:cNvSpPr>
            <a:spLocks noGrp="1"/>
          </p:cNvSpPr>
          <p:nvPr>
            <p:ph type="pic" sz="quarter" idx="13"/>
          </p:nvPr>
        </p:nvSpPr>
        <p:spPr>
          <a:xfrm>
            <a:off x="6210301" y="723900"/>
            <a:ext cx="5143500" cy="5448300"/>
          </a:xfrm>
          <a:custGeom>
            <a:avLst/>
            <a:gdLst>
              <a:gd name="connsiteX0" fmla="*/ 4327339 w 5143500"/>
              <a:gd name="connsiteY0" fmla="*/ 0 h 5448300"/>
              <a:gd name="connsiteX1" fmla="*/ 5143500 w 5143500"/>
              <a:gd name="connsiteY1" fmla="*/ 0 h 5448300"/>
              <a:gd name="connsiteX2" fmla="*/ 5143500 w 5143500"/>
              <a:gd name="connsiteY2" fmla="*/ 950399 h 5448300"/>
              <a:gd name="connsiteX3" fmla="*/ 5019725 w 5143500"/>
              <a:gd name="connsiteY3" fmla="*/ 889336 h 5448300"/>
              <a:gd name="connsiteX4" fmla="*/ 4337202 w 5143500"/>
              <a:gd name="connsiteY4" fmla="*/ 39260 h 5448300"/>
              <a:gd name="connsiteX5" fmla="*/ 0 w 5143500"/>
              <a:gd name="connsiteY5" fmla="*/ 0 h 5448300"/>
              <a:gd name="connsiteX6" fmla="*/ 3425672 w 5143500"/>
              <a:gd name="connsiteY6" fmla="*/ 0 h 5448300"/>
              <a:gd name="connsiteX7" fmla="*/ 3437802 w 5143500"/>
              <a:gd name="connsiteY7" fmla="*/ 81399 h 5448300"/>
              <a:gd name="connsiteX8" fmla="*/ 5013027 w 5143500"/>
              <a:gd name="connsiteY8" fmla="*/ 1862967 h 5448300"/>
              <a:gd name="connsiteX9" fmla="*/ 5143500 w 5143500"/>
              <a:gd name="connsiteY9" fmla="*/ 1897324 h 5448300"/>
              <a:gd name="connsiteX10" fmla="*/ 5143500 w 5143500"/>
              <a:gd name="connsiteY10" fmla="*/ 5448300 h 5448300"/>
              <a:gd name="connsiteX11" fmla="*/ 0 w 5143500"/>
              <a:gd name="connsiteY11" fmla="*/ 5448300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3500" h="5448300">
                <a:moveTo>
                  <a:pt x="4327339" y="0"/>
                </a:moveTo>
                <a:lnTo>
                  <a:pt x="5143500" y="0"/>
                </a:lnTo>
                <a:lnTo>
                  <a:pt x="5143500" y="950399"/>
                </a:lnTo>
                <a:lnTo>
                  <a:pt x="5019725" y="889336"/>
                </a:lnTo>
                <a:cubicBezTo>
                  <a:pt x="4696329" y="709426"/>
                  <a:pt x="4448388" y="405174"/>
                  <a:pt x="4337202" y="39260"/>
                </a:cubicBezTo>
                <a:close/>
                <a:moveTo>
                  <a:pt x="0" y="0"/>
                </a:moveTo>
                <a:lnTo>
                  <a:pt x="3425672" y="0"/>
                </a:lnTo>
                <a:lnTo>
                  <a:pt x="3437802" y="81399"/>
                </a:lnTo>
                <a:cubicBezTo>
                  <a:pt x="3606945" y="927928"/>
                  <a:pt x="4217828" y="1609665"/>
                  <a:pt x="5013027" y="1862967"/>
                </a:cubicBezTo>
                <a:lnTo>
                  <a:pt x="5143500" y="1897324"/>
                </a:lnTo>
                <a:lnTo>
                  <a:pt x="5143500" y="5448300"/>
                </a:lnTo>
                <a:lnTo>
                  <a:pt x="0" y="5448300"/>
                </a:lnTo>
                <a:close/>
              </a:path>
            </a:pathLst>
          </a:custGeom>
          <a:solidFill>
            <a:schemeClr val="accent5"/>
          </a:solidFill>
        </p:spPr>
        <p:txBody>
          <a:bodyPr wrap="square">
            <a:noAutofit/>
          </a:bodyPr>
          <a:lstStyle/>
          <a:p>
            <a:endParaRPr lang="en-US"/>
          </a:p>
        </p:txBody>
      </p:sp>
      <p:sp>
        <p:nvSpPr>
          <p:cNvPr id="24" name="Text Placeholder 16">
            <a:extLst>
              <a:ext uri="{FF2B5EF4-FFF2-40B4-BE49-F238E27FC236}">
                <a16:creationId xmlns:a16="http://schemas.microsoft.com/office/drawing/2014/main" id="{9C08595A-C0E9-4D62-A7D5-69C220C46CCE}"/>
              </a:ext>
            </a:extLst>
          </p:cNvPr>
          <p:cNvSpPr>
            <a:spLocks noGrp="1"/>
          </p:cNvSpPr>
          <p:nvPr>
            <p:ph type="body" sz="quarter" idx="14" hasCustomPrompt="1"/>
          </p:nvPr>
        </p:nvSpPr>
        <p:spPr>
          <a:xfrm>
            <a:off x="838200" y="1751960"/>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6" name="Freeform: Shape 25">
            <a:extLst>
              <a:ext uri="{FF2B5EF4-FFF2-40B4-BE49-F238E27FC236}">
                <a16:creationId xmlns:a16="http://schemas.microsoft.com/office/drawing/2014/main" id="{7AE87700-0B90-4F96-9501-D511A35FD4A4}"/>
              </a:ext>
            </a:extLst>
          </p:cNvPr>
          <p:cNvSpPr/>
          <p:nvPr userDrawn="1"/>
        </p:nvSpPr>
        <p:spPr>
          <a:xfrm>
            <a:off x="9601200" y="1"/>
            <a:ext cx="2590800" cy="2693163"/>
          </a:xfrm>
          <a:custGeom>
            <a:avLst/>
            <a:gdLst>
              <a:gd name="connsiteX0" fmla="*/ 24892 w 2590800"/>
              <a:gd name="connsiteY0" fmla="*/ 0 h 2693163"/>
              <a:gd name="connsiteX1" fmla="*/ 919754 w 2590800"/>
              <a:gd name="connsiteY1" fmla="*/ 0 h 2693163"/>
              <a:gd name="connsiteX2" fmla="*/ 911114 w 2590800"/>
              <a:gd name="connsiteY2" fmla="*/ 34419 h 2693163"/>
              <a:gd name="connsiteX3" fmla="*/ 882144 w 2590800"/>
              <a:gd name="connsiteY3" fmla="*/ 328796 h 2693163"/>
              <a:gd name="connsiteX4" fmla="*/ 2308652 w 2590800"/>
              <a:gd name="connsiteY4" fmla="*/ 1789551 h 2693163"/>
              <a:gd name="connsiteX5" fmla="*/ 2454552 w 2590800"/>
              <a:gd name="connsiteY5" fmla="*/ 1782009 h 2693163"/>
              <a:gd name="connsiteX6" fmla="*/ 2590800 w 2590800"/>
              <a:gd name="connsiteY6" fmla="*/ 1760720 h 2693163"/>
              <a:gd name="connsiteX7" fmla="*/ 2590800 w 2590800"/>
              <a:gd name="connsiteY7" fmla="*/ 2673751 h 2693163"/>
              <a:gd name="connsiteX8" fmla="*/ 2544700 w 2590800"/>
              <a:gd name="connsiteY8" fmla="*/ 2680956 h 2693163"/>
              <a:gd name="connsiteX9" fmla="*/ 2308652 w 2590800"/>
              <a:gd name="connsiteY9" fmla="*/ 2693163 h 2693163"/>
              <a:gd name="connsiteX10" fmla="*/ 0 w 2590800"/>
              <a:gd name="connsiteY10" fmla="*/ 328796 h 2693163"/>
              <a:gd name="connsiteX11" fmla="*/ 11919 w 2590800"/>
              <a:gd name="connsiteY11" fmla="*/ 87054 h 269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0800" h="2693163">
                <a:moveTo>
                  <a:pt x="24892" y="0"/>
                </a:moveTo>
                <a:lnTo>
                  <a:pt x="919754" y="0"/>
                </a:lnTo>
                <a:lnTo>
                  <a:pt x="911114" y="34419"/>
                </a:lnTo>
                <a:cubicBezTo>
                  <a:pt x="892119" y="129507"/>
                  <a:pt x="882144" y="227959"/>
                  <a:pt x="882144" y="328796"/>
                </a:cubicBezTo>
                <a:cubicBezTo>
                  <a:pt x="882144" y="1135492"/>
                  <a:pt x="1521112" y="1789551"/>
                  <a:pt x="2308652" y="1789551"/>
                </a:cubicBezTo>
                <a:cubicBezTo>
                  <a:pt x="2357910" y="1789551"/>
                  <a:pt x="2406583" y="1786996"/>
                  <a:pt x="2454552" y="1782009"/>
                </a:cubicBezTo>
                <a:lnTo>
                  <a:pt x="2590800" y="1760720"/>
                </a:lnTo>
                <a:lnTo>
                  <a:pt x="2590800" y="2673751"/>
                </a:lnTo>
                <a:lnTo>
                  <a:pt x="2544700" y="2680956"/>
                </a:lnTo>
                <a:cubicBezTo>
                  <a:pt x="2467089" y="2689028"/>
                  <a:pt x="2388342" y="2693163"/>
                  <a:pt x="2308652" y="2693163"/>
                </a:cubicBezTo>
                <a:cubicBezTo>
                  <a:pt x="1033615" y="2693163"/>
                  <a:pt x="0" y="1634597"/>
                  <a:pt x="0" y="328796"/>
                </a:cubicBezTo>
                <a:cubicBezTo>
                  <a:pt x="0" y="247184"/>
                  <a:pt x="4038" y="166537"/>
                  <a:pt x="11919" y="87054"/>
                </a:cubicBezTo>
                <a:close/>
              </a:path>
            </a:pathLst>
          </a:custGeom>
          <a:solidFill>
            <a:srgbClr val="FF9E18"/>
          </a:solidFill>
          <a:ln w="926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4426392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ue_Title + Subtitle + 2 Column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0894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4457700" y="719015"/>
            <a:ext cx="6896100" cy="956104"/>
          </a:xfrm>
        </p:spPr>
        <p:txBody>
          <a:bodyPr anchor="ctr"/>
          <a:lstStyle>
            <a:lvl1pPr>
              <a:defRPr>
                <a:solidFill>
                  <a:schemeClr val="bg1"/>
                </a:solidFill>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0" y="0"/>
            <a:ext cx="4229100" cy="6858000"/>
          </a:xfrm>
          <a:solidFill>
            <a:schemeClr val="accent5"/>
          </a:solidFill>
        </p:spPr>
        <p:txBody>
          <a:bodyPr/>
          <a:lstStyle/>
          <a:p>
            <a:endParaRPr lang="en-US"/>
          </a:p>
        </p:txBody>
      </p:sp>
      <p:sp>
        <p:nvSpPr>
          <p:cNvPr id="23" name="Text Placeholder 16">
            <a:extLst>
              <a:ext uri="{FF2B5EF4-FFF2-40B4-BE49-F238E27FC236}">
                <a16:creationId xmlns:a16="http://schemas.microsoft.com/office/drawing/2014/main" id="{FE5D33BC-BDC0-42F0-9C14-3BD9E276070F}"/>
              </a:ext>
            </a:extLst>
          </p:cNvPr>
          <p:cNvSpPr>
            <a:spLocks noGrp="1"/>
          </p:cNvSpPr>
          <p:nvPr>
            <p:ph type="body" sz="quarter" idx="15" hasCustomPrompt="1"/>
          </p:nvPr>
        </p:nvSpPr>
        <p:spPr>
          <a:xfrm>
            <a:off x="4457700" y="1751960"/>
            <a:ext cx="32766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4" name="Text Placeholder 16">
            <a:extLst>
              <a:ext uri="{FF2B5EF4-FFF2-40B4-BE49-F238E27FC236}">
                <a16:creationId xmlns:a16="http://schemas.microsoft.com/office/drawing/2014/main" id="{353C5660-AF2A-45F6-8AF2-EFA9B99FF720}"/>
              </a:ext>
            </a:extLst>
          </p:cNvPr>
          <p:cNvSpPr>
            <a:spLocks noGrp="1"/>
          </p:cNvSpPr>
          <p:nvPr>
            <p:ph type="body" sz="quarter" idx="16" hasCustomPrompt="1"/>
          </p:nvPr>
        </p:nvSpPr>
        <p:spPr>
          <a:xfrm>
            <a:off x="79629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5" name="Text Placeholder 16">
            <a:extLst>
              <a:ext uri="{FF2B5EF4-FFF2-40B4-BE49-F238E27FC236}">
                <a16:creationId xmlns:a16="http://schemas.microsoft.com/office/drawing/2014/main" id="{C967B5CE-D2B4-4C3A-8220-FC15F631F3EF}"/>
              </a:ext>
            </a:extLst>
          </p:cNvPr>
          <p:cNvSpPr>
            <a:spLocks noGrp="1"/>
          </p:cNvSpPr>
          <p:nvPr>
            <p:ph type="body" sz="quarter" idx="12"/>
          </p:nvPr>
        </p:nvSpPr>
        <p:spPr>
          <a:xfrm>
            <a:off x="4457700" y="2243738"/>
            <a:ext cx="3276600" cy="39284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6">
            <a:extLst>
              <a:ext uri="{FF2B5EF4-FFF2-40B4-BE49-F238E27FC236}">
                <a16:creationId xmlns:a16="http://schemas.microsoft.com/office/drawing/2014/main" id="{C6BFEC02-4A94-4C63-8270-62B3C827EE50}"/>
              </a:ext>
            </a:extLst>
          </p:cNvPr>
          <p:cNvSpPr>
            <a:spLocks noGrp="1"/>
          </p:cNvSpPr>
          <p:nvPr>
            <p:ph type="body" sz="quarter" idx="17"/>
          </p:nvPr>
        </p:nvSpPr>
        <p:spPr>
          <a:xfrm>
            <a:off x="7962900" y="2243738"/>
            <a:ext cx="3390900" cy="39284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306697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ue_Title + Subtitle + 3 Column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29632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rot="16200000">
            <a:off x="120542" y="-120543"/>
            <a:ext cx="5870603" cy="6111686"/>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3">
              <a:alpha val="15000"/>
            </a:schemeClr>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solidFill>
                  <a:schemeClr val="bg1"/>
                </a:solidFill>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5" name="Text Placeholder 16">
            <a:extLst>
              <a:ext uri="{FF2B5EF4-FFF2-40B4-BE49-F238E27FC236}">
                <a16:creationId xmlns:a16="http://schemas.microsoft.com/office/drawing/2014/main" id="{6CEE755F-9829-4092-90AC-8A2CD500C2F0}"/>
              </a:ext>
            </a:extLst>
          </p:cNvPr>
          <p:cNvSpPr>
            <a:spLocks noGrp="1"/>
          </p:cNvSpPr>
          <p:nvPr>
            <p:ph type="body" sz="quarter" idx="16" hasCustomPrompt="1"/>
          </p:nvPr>
        </p:nvSpPr>
        <p:spPr>
          <a:xfrm>
            <a:off x="8382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6" name="Text Placeholder 16">
            <a:extLst>
              <a:ext uri="{FF2B5EF4-FFF2-40B4-BE49-F238E27FC236}">
                <a16:creationId xmlns:a16="http://schemas.microsoft.com/office/drawing/2014/main" id="{F6BBA5F5-1469-40AC-AD18-653B25551787}"/>
              </a:ext>
            </a:extLst>
          </p:cNvPr>
          <p:cNvSpPr>
            <a:spLocks noGrp="1"/>
          </p:cNvSpPr>
          <p:nvPr>
            <p:ph type="body" sz="quarter" idx="17" hasCustomPrompt="1"/>
          </p:nvPr>
        </p:nvSpPr>
        <p:spPr>
          <a:xfrm>
            <a:off x="4457700" y="1751960"/>
            <a:ext cx="32766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7" name="Text Placeholder 16">
            <a:extLst>
              <a:ext uri="{FF2B5EF4-FFF2-40B4-BE49-F238E27FC236}">
                <a16:creationId xmlns:a16="http://schemas.microsoft.com/office/drawing/2014/main" id="{DE8B970E-C6BC-4C4E-874A-5238CEA1FF38}"/>
              </a:ext>
            </a:extLst>
          </p:cNvPr>
          <p:cNvSpPr>
            <a:spLocks noGrp="1"/>
          </p:cNvSpPr>
          <p:nvPr>
            <p:ph type="body" sz="quarter" idx="18" hasCustomPrompt="1"/>
          </p:nvPr>
        </p:nvSpPr>
        <p:spPr>
          <a:xfrm>
            <a:off x="79629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8" name="Text Placeholder 16">
            <a:extLst>
              <a:ext uri="{FF2B5EF4-FFF2-40B4-BE49-F238E27FC236}">
                <a16:creationId xmlns:a16="http://schemas.microsoft.com/office/drawing/2014/main" id="{730E0CEA-7D99-4109-BD8B-3831C2E6F3E6}"/>
              </a:ext>
            </a:extLst>
          </p:cNvPr>
          <p:cNvSpPr>
            <a:spLocks noGrp="1"/>
          </p:cNvSpPr>
          <p:nvPr>
            <p:ph type="body" sz="quarter" idx="12"/>
          </p:nvPr>
        </p:nvSpPr>
        <p:spPr>
          <a:xfrm>
            <a:off x="838200" y="2243738"/>
            <a:ext cx="3390900" cy="39284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6">
            <a:extLst>
              <a:ext uri="{FF2B5EF4-FFF2-40B4-BE49-F238E27FC236}">
                <a16:creationId xmlns:a16="http://schemas.microsoft.com/office/drawing/2014/main" id="{1D6814CB-13E1-4FA8-A6F0-8899250A718F}"/>
              </a:ext>
            </a:extLst>
          </p:cNvPr>
          <p:cNvSpPr>
            <a:spLocks noGrp="1"/>
          </p:cNvSpPr>
          <p:nvPr>
            <p:ph type="body" sz="quarter" idx="19"/>
          </p:nvPr>
        </p:nvSpPr>
        <p:spPr>
          <a:xfrm>
            <a:off x="4457700" y="2243738"/>
            <a:ext cx="3276600" cy="39284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6">
            <a:extLst>
              <a:ext uri="{FF2B5EF4-FFF2-40B4-BE49-F238E27FC236}">
                <a16:creationId xmlns:a16="http://schemas.microsoft.com/office/drawing/2014/main" id="{FA35E789-4E4E-4C65-91FD-5D399C36E448}"/>
              </a:ext>
            </a:extLst>
          </p:cNvPr>
          <p:cNvSpPr>
            <a:spLocks noGrp="1"/>
          </p:cNvSpPr>
          <p:nvPr>
            <p:ph type="body" sz="quarter" idx="20"/>
          </p:nvPr>
        </p:nvSpPr>
        <p:spPr>
          <a:xfrm>
            <a:off x="7962900" y="2243738"/>
            <a:ext cx="3390900" cy="39284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23538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Blue_Title + Subtitle + 1 Colum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1340209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accent2"/>
                </a:solidFill>
              </a:defRPr>
            </a:lvl1p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solidFill>
                  <a:schemeClr val="bg1"/>
                </a:solidFill>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5" name="Picture Placeholder 24">
            <a:extLst>
              <a:ext uri="{FF2B5EF4-FFF2-40B4-BE49-F238E27FC236}">
                <a16:creationId xmlns:a16="http://schemas.microsoft.com/office/drawing/2014/main" id="{7C1FAC09-07B3-4EED-BF86-DD711F111699}"/>
              </a:ext>
            </a:extLst>
          </p:cNvPr>
          <p:cNvSpPr>
            <a:spLocks noGrp="1"/>
          </p:cNvSpPr>
          <p:nvPr>
            <p:ph type="pic" sz="quarter" idx="13"/>
          </p:nvPr>
        </p:nvSpPr>
        <p:spPr>
          <a:xfrm>
            <a:off x="6210301" y="723900"/>
            <a:ext cx="5143500" cy="5448300"/>
          </a:xfrm>
          <a:custGeom>
            <a:avLst/>
            <a:gdLst>
              <a:gd name="connsiteX0" fmla="*/ 4327339 w 5143500"/>
              <a:gd name="connsiteY0" fmla="*/ 0 h 5448300"/>
              <a:gd name="connsiteX1" fmla="*/ 5143500 w 5143500"/>
              <a:gd name="connsiteY1" fmla="*/ 0 h 5448300"/>
              <a:gd name="connsiteX2" fmla="*/ 5143500 w 5143500"/>
              <a:gd name="connsiteY2" fmla="*/ 950399 h 5448300"/>
              <a:gd name="connsiteX3" fmla="*/ 5019725 w 5143500"/>
              <a:gd name="connsiteY3" fmla="*/ 889336 h 5448300"/>
              <a:gd name="connsiteX4" fmla="*/ 4337202 w 5143500"/>
              <a:gd name="connsiteY4" fmla="*/ 39260 h 5448300"/>
              <a:gd name="connsiteX5" fmla="*/ 0 w 5143500"/>
              <a:gd name="connsiteY5" fmla="*/ 0 h 5448300"/>
              <a:gd name="connsiteX6" fmla="*/ 3425672 w 5143500"/>
              <a:gd name="connsiteY6" fmla="*/ 0 h 5448300"/>
              <a:gd name="connsiteX7" fmla="*/ 3437802 w 5143500"/>
              <a:gd name="connsiteY7" fmla="*/ 81399 h 5448300"/>
              <a:gd name="connsiteX8" fmla="*/ 5013027 w 5143500"/>
              <a:gd name="connsiteY8" fmla="*/ 1862967 h 5448300"/>
              <a:gd name="connsiteX9" fmla="*/ 5143500 w 5143500"/>
              <a:gd name="connsiteY9" fmla="*/ 1897324 h 5448300"/>
              <a:gd name="connsiteX10" fmla="*/ 5143500 w 5143500"/>
              <a:gd name="connsiteY10" fmla="*/ 5448300 h 5448300"/>
              <a:gd name="connsiteX11" fmla="*/ 0 w 5143500"/>
              <a:gd name="connsiteY11" fmla="*/ 5448300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3500" h="5448300">
                <a:moveTo>
                  <a:pt x="4327339" y="0"/>
                </a:moveTo>
                <a:lnTo>
                  <a:pt x="5143500" y="0"/>
                </a:lnTo>
                <a:lnTo>
                  <a:pt x="5143500" y="950399"/>
                </a:lnTo>
                <a:lnTo>
                  <a:pt x="5019725" y="889336"/>
                </a:lnTo>
                <a:cubicBezTo>
                  <a:pt x="4696329" y="709426"/>
                  <a:pt x="4448388" y="405174"/>
                  <a:pt x="4337202" y="39260"/>
                </a:cubicBezTo>
                <a:close/>
                <a:moveTo>
                  <a:pt x="0" y="0"/>
                </a:moveTo>
                <a:lnTo>
                  <a:pt x="3425672" y="0"/>
                </a:lnTo>
                <a:lnTo>
                  <a:pt x="3437802" y="81399"/>
                </a:lnTo>
                <a:cubicBezTo>
                  <a:pt x="3606945" y="927928"/>
                  <a:pt x="4217828" y="1609665"/>
                  <a:pt x="5013027" y="1862967"/>
                </a:cubicBezTo>
                <a:lnTo>
                  <a:pt x="5143500" y="1897324"/>
                </a:lnTo>
                <a:lnTo>
                  <a:pt x="5143500" y="5448300"/>
                </a:lnTo>
                <a:lnTo>
                  <a:pt x="0" y="5448300"/>
                </a:lnTo>
                <a:close/>
              </a:path>
            </a:pathLst>
          </a:custGeom>
          <a:solidFill>
            <a:schemeClr val="accent5"/>
          </a:solidFill>
        </p:spPr>
        <p:txBody>
          <a:bodyPr wrap="square">
            <a:noAutofit/>
          </a:bodyPr>
          <a:lstStyle/>
          <a:p>
            <a:endParaRPr lang="en-US"/>
          </a:p>
        </p:txBody>
      </p:sp>
      <p:sp>
        <p:nvSpPr>
          <p:cNvPr id="26" name="Freeform: Shape 25">
            <a:extLst>
              <a:ext uri="{FF2B5EF4-FFF2-40B4-BE49-F238E27FC236}">
                <a16:creationId xmlns:a16="http://schemas.microsoft.com/office/drawing/2014/main" id="{7AE87700-0B90-4F96-9501-D511A35FD4A4}"/>
              </a:ext>
            </a:extLst>
          </p:cNvPr>
          <p:cNvSpPr/>
          <p:nvPr userDrawn="1"/>
        </p:nvSpPr>
        <p:spPr>
          <a:xfrm>
            <a:off x="9601200" y="1"/>
            <a:ext cx="2590800" cy="2693163"/>
          </a:xfrm>
          <a:custGeom>
            <a:avLst/>
            <a:gdLst>
              <a:gd name="connsiteX0" fmla="*/ 24892 w 2590800"/>
              <a:gd name="connsiteY0" fmla="*/ 0 h 2693163"/>
              <a:gd name="connsiteX1" fmla="*/ 919754 w 2590800"/>
              <a:gd name="connsiteY1" fmla="*/ 0 h 2693163"/>
              <a:gd name="connsiteX2" fmla="*/ 911114 w 2590800"/>
              <a:gd name="connsiteY2" fmla="*/ 34419 h 2693163"/>
              <a:gd name="connsiteX3" fmla="*/ 882144 w 2590800"/>
              <a:gd name="connsiteY3" fmla="*/ 328796 h 2693163"/>
              <a:gd name="connsiteX4" fmla="*/ 2308652 w 2590800"/>
              <a:gd name="connsiteY4" fmla="*/ 1789551 h 2693163"/>
              <a:gd name="connsiteX5" fmla="*/ 2454552 w 2590800"/>
              <a:gd name="connsiteY5" fmla="*/ 1782009 h 2693163"/>
              <a:gd name="connsiteX6" fmla="*/ 2590800 w 2590800"/>
              <a:gd name="connsiteY6" fmla="*/ 1760720 h 2693163"/>
              <a:gd name="connsiteX7" fmla="*/ 2590800 w 2590800"/>
              <a:gd name="connsiteY7" fmla="*/ 2673751 h 2693163"/>
              <a:gd name="connsiteX8" fmla="*/ 2544700 w 2590800"/>
              <a:gd name="connsiteY8" fmla="*/ 2680956 h 2693163"/>
              <a:gd name="connsiteX9" fmla="*/ 2308652 w 2590800"/>
              <a:gd name="connsiteY9" fmla="*/ 2693163 h 2693163"/>
              <a:gd name="connsiteX10" fmla="*/ 0 w 2590800"/>
              <a:gd name="connsiteY10" fmla="*/ 328796 h 2693163"/>
              <a:gd name="connsiteX11" fmla="*/ 11919 w 2590800"/>
              <a:gd name="connsiteY11" fmla="*/ 87054 h 269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0800" h="2693163">
                <a:moveTo>
                  <a:pt x="24892" y="0"/>
                </a:moveTo>
                <a:lnTo>
                  <a:pt x="919754" y="0"/>
                </a:lnTo>
                <a:lnTo>
                  <a:pt x="911114" y="34419"/>
                </a:lnTo>
                <a:cubicBezTo>
                  <a:pt x="892119" y="129507"/>
                  <a:pt x="882144" y="227959"/>
                  <a:pt x="882144" y="328796"/>
                </a:cubicBezTo>
                <a:cubicBezTo>
                  <a:pt x="882144" y="1135492"/>
                  <a:pt x="1521112" y="1789551"/>
                  <a:pt x="2308652" y="1789551"/>
                </a:cubicBezTo>
                <a:cubicBezTo>
                  <a:pt x="2357910" y="1789551"/>
                  <a:pt x="2406583" y="1786996"/>
                  <a:pt x="2454552" y="1782009"/>
                </a:cubicBezTo>
                <a:lnTo>
                  <a:pt x="2590800" y="1760720"/>
                </a:lnTo>
                <a:lnTo>
                  <a:pt x="2590800" y="2673751"/>
                </a:lnTo>
                <a:lnTo>
                  <a:pt x="2544700" y="2680956"/>
                </a:lnTo>
                <a:cubicBezTo>
                  <a:pt x="2467089" y="2689028"/>
                  <a:pt x="2388342" y="2693163"/>
                  <a:pt x="2308652" y="2693163"/>
                </a:cubicBezTo>
                <a:cubicBezTo>
                  <a:pt x="1033615" y="2693163"/>
                  <a:pt x="0" y="1634597"/>
                  <a:pt x="0" y="328796"/>
                </a:cubicBezTo>
                <a:cubicBezTo>
                  <a:pt x="0" y="247184"/>
                  <a:pt x="4038" y="166537"/>
                  <a:pt x="11919" y="87054"/>
                </a:cubicBezTo>
                <a:close/>
              </a:path>
            </a:pathLst>
          </a:custGeom>
          <a:solidFill>
            <a:srgbClr val="FF9E18"/>
          </a:solidFill>
          <a:ln w="9264" cap="flat">
            <a:noFill/>
            <a:prstDash val="solid"/>
            <a:miter/>
          </a:ln>
        </p:spPr>
        <p:txBody>
          <a:bodyPr wrap="square" rtlCol="0" anchor="ctr">
            <a:noAutofit/>
          </a:bodyPr>
          <a:lstStyle/>
          <a:p>
            <a:endParaRPr lang="en-US"/>
          </a:p>
        </p:txBody>
      </p:sp>
      <p:sp>
        <p:nvSpPr>
          <p:cNvPr id="20" name="Picture Placeholder 6">
            <a:extLst>
              <a:ext uri="{FF2B5EF4-FFF2-40B4-BE49-F238E27FC236}">
                <a16:creationId xmlns:a16="http://schemas.microsoft.com/office/drawing/2014/main" id="{A6D2B689-247F-4A1D-AC89-6E9A93AF896A}"/>
              </a:ext>
            </a:extLst>
          </p:cNvPr>
          <p:cNvSpPr>
            <a:spLocks noGrp="1"/>
          </p:cNvSpPr>
          <p:nvPr>
            <p:ph type="pic" sz="quarter" idx="18"/>
          </p:nvPr>
        </p:nvSpPr>
        <p:spPr>
          <a:xfrm>
            <a:off x="1657350" y="2006600"/>
            <a:ext cx="1638300" cy="1638300"/>
          </a:xfrm>
        </p:spPr>
        <p:txBody>
          <a:bodyPr/>
          <a:lstStyle/>
          <a:p>
            <a:endParaRPr lang="en-US"/>
          </a:p>
        </p:txBody>
      </p:sp>
      <p:sp>
        <p:nvSpPr>
          <p:cNvPr id="23" name="Text Placeholder 16">
            <a:extLst>
              <a:ext uri="{FF2B5EF4-FFF2-40B4-BE49-F238E27FC236}">
                <a16:creationId xmlns:a16="http://schemas.microsoft.com/office/drawing/2014/main" id="{35D063A4-6C24-4D6D-94AA-E77A9601DFEC}"/>
              </a:ext>
            </a:extLst>
          </p:cNvPr>
          <p:cNvSpPr>
            <a:spLocks noGrp="1"/>
          </p:cNvSpPr>
          <p:nvPr>
            <p:ph type="body" sz="quarter" idx="12"/>
          </p:nvPr>
        </p:nvSpPr>
        <p:spPr>
          <a:xfrm>
            <a:off x="838200" y="4313065"/>
            <a:ext cx="3390900" cy="1859135"/>
          </a:xfrm>
        </p:spPr>
        <p:txBody>
          <a:bodyPr>
            <a:no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3"/>
            <a:endParaRPr lang="en-US"/>
          </a:p>
        </p:txBody>
      </p:sp>
      <p:sp>
        <p:nvSpPr>
          <p:cNvPr id="27" name="Text Placeholder 16">
            <a:extLst>
              <a:ext uri="{FF2B5EF4-FFF2-40B4-BE49-F238E27FC236}">
                <a16:creationId xmlns:a16="http://schemas.microsoft.com/office/drawing/2014/main" id="{3EC523D7-E9F2-4A6F-90DB-CEAF15171D0E}"/>
              </a:ext>
            </a:extLst>
          </p:cNvPr>
          <p:cNvSpPr>
            <a:spLocks noGrp="1"/>
          </p:cNvSpPr>
          <p:nvPr>
            <p:ph type="body" sz="quarter" idx="14" hasCustomPrompt="1"/>
          </p:nvPr>
        </p:nvSpPr>
        <p:spPr>
          <a:xfrm>
            <a:off x="838200" y="3821287"/>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Tree>
    <p:extLst>
      <p:ext uri="{BB962C8B-B14F-4D97-AF65-F5344CB8AC3E}">
        <p14:creationId xmlns:p14="http://schemas.microsoft.com/office/powerpoint/2010/main" val="361384925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Blue_Title + Subtitle + 2 Column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940311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6896100" cy="956104"/>
          </a:xfrm>
        </p:spPr>
        <p:txBody>
          <a:bodyPr anchor="ctr"/>
          <a:lstStyle>
            <a:lvl1pPr>
              <a:defRPr>
                <a:solidFill>
                  <a:schemeClr val="bg1"/>
                </a:solidFill>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7962900" y="0"/>
            <a:ext cx="4229100" cy="6858000"/>
          </a:xfrm>
          <a:solidFill>
            <a:schemeClr val="accent5"/>
          </a:solidFill>
        </p:spPr>
        <p:txBody>
          <a:bodyPr/>
          <a:lstStyle/>
          <a:p>
            <a:endParaRPr lang="en-US"/>
          </a:p>
        </p:txBody>
      </p:sp>
      <p:sp>
        <p:nvSpPr>
          <p:cNvPr id="17" name="Picture Placeholder 6">
            <a:extLst>
              <a:ext uri="{FF2B5EF4-FFF2-40B4-BE49-F238E27FC236}">
                <a16:creationId xmlns:a16="http://schemas.microsoft.com/office/drawing/2014/main" id="{2A2440A1-53D5-4CB2-A062-F503ACD59089}"/>
              </a:ext>
            </a:extLst>
          </p:cNvPr>
          <p:cNvSpPr>
            <a:spLocks noGrp="1"/>
          </p:cNvSpPr>
          <p:nvPr>
            <p:ph type="pic" sz="quarter" idx="19"/>
          </p:nvPr>
        </p:nvSpPr>
        <p:spPr>
          <a:xfrm>
            <a:off x="1657350" y="2006600"/>
            <a:ext cx="1638300" cy="1638300"/>
          </a:xfrm>
        </p:spPr>
        <p:txBody>
          <a:bodyPr/>
          <a:lstStyle/>
          <a:p>
            <a:endParaRPr lang="en-US"/>
          </a:p>
        </p:txBody>
      </p:sp>
      <p:sp>
        <p:nvSpPr>
          <p:cNvPr id="20" name="Text Placeholder 16">
            <a:extLst>
              <a:ext uri="{FF2B5EF4-FFF2-40B4-BE49-F238E27FC236}">
                <a16:creationId xmlns:a16="http://schemas.microsoft.com/office/drawing/2014/main" id="{F454BE6E-B366-4C38-80BD-5A624FA0605E}"/>
              </a:ext>
            </a:extLst>
          </p:cNvPr>
          <p:cNvSpPr>
            <a:spLocks noGrp="1"/>
          </p:cNvSpPr>
          <p:nvPr>
            <p:ph type="body" sz="quarter" idx="20"/>
          </p:nvPr>
        </p:nvSpPr>
        <p:spPr>
          <a:xfrm>
            <a:off x="838200" y="4313065"/>
            <a:ext cx="3390900" cy="1859135"/>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4"/>
            <a:endParaRPr lang="en-US"/>
          </a:p>
        </p:txBody>
      </p:sp>
      <p:sp>
        <p:nvSpPr>
          <p:cNvPr id="27" name="Text Placeholder 16">
            <a:extLst>
              <a:ext uri="{FF2B5EF4-FFF2-40B4-BE49-F238E27FC236}">
                <a16:creationId xmlns:a16="http://schemas.microsoft.com/office/drawing/2014/main" id="{369FDFA8-F43D-44F2-87DC-ACAE4CE40BF8}"/>
              </a:ext>
            </a:extLst>
          </p:cNvPr>
          <p:cNvSpPr>
            <a:spLocks noGrp="1"/>
          </p:cNvSpPr>
          <p:nvPr>
            <p:ph type="body" sz="quarter" idx="21" hasCustomPrompt="1"/>
          </p:nvPr>
        </p:nvSpPr>
        <p:spPr>
          <a:xfrm>
            <a:off x="838200" y="3821287"/>
            <a:ext cx="32766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8" name="Picture Placeholder 6">
            <a:extLst>
              <a:ext uri="{FF2B5EF4-FFF2-40B4-BE49-F238E27FC236}">
                <a16:creationId xmlns:a16="http://schemas.microsoft.com/office/drawing/2014/main" id="{D09B28EF-D8D2-4209-AFE9-0DCA6E234A18}"/>
              </a:ext>
            </a:extLst>
          </p:cNvPr>
          <p:cNvSpPr>
            <a:spLocks noGrp="1"/>
          </p:cNvSpPr>
          <p:nvPr>
            <p:ph type="pic" sz="quarter" idx="22"/>
          </p:nvPr>
        </p:nvSpPr>
        <p:spPr>
          <a:xfrm>
            <a:off x="5276850" y="2006600"/>
            <a:ext cx="1638300" cy="1638300"/>
          </a:xfrm>
        </p:spPr>
        <p:txBody>
          <a:bodyPr/>
          <a:lstStyle/>
          <a:p>
            <a:endParaRPr lang="en-US"/>
          </a:p>
        </p:txBody>
      </p:sp>
      <p:sp>
        <p:nvSpPr>
          <p:cNvPr id="29" name="Text Placeholder 16">
            <a:extLst>
              <a:ext uri="{FF2B5EF4-FFF2-40B4-BE49-F238E27FC236}">
                <a16:creationId xmlns:a16="http://schemas.microsoft.com/office/drawing/2014/main" id="{40E27DE9-9C70-42C1-946B-B5CD19732773}"/>
              </a:ext>
            </a:extLst>
          </p:cNvPr>
          <p:cNvSpPr>
            <a:spLocks noGrp="1"/>
          </p:cNvSpPr>
          <p:nvPr>
            <p:ph type="body" sz="quarter" idx="23"/>
          </p:nvPr>
        </p:nvSpPr>
        <p:spPr>
          <a:xfrm>
            <a:off x="4457700" y="4313065"/>
            <a:ext cx="3276600" cy="1859135"/>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30" name="Text Placeholder 16">
            <a:extLst>
              <a:ext uri="{FF2B5EF4-FFF2-40B4-BE49-F238E27FC236}">
                <a16:creationId xmlns:a16="http://schemas.microsoft.com/office/drawing/2014/main" id="{AFD07C65-1A98-4EED-BAF1-ECD9309957DE}"/>
              </a:ext>
            </a:extLst>
          </p:cNvPr>
          <p:cNvSpPr>
            <a:spLocks noGrp="1"/>
          </p:cNvSpPr>
          <p:nvPr>
            <p:ph type="body" sz="quarter" idx="24" hasCustomPrompt="1"/>
          </p:nvPr>
        </p:nvSpPr>
        <p:spPr>
          <a:xfrm>
            <a:off x="4457700" y="3821287"/>
            <a:ext cx="32766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Tree>
    <p:extLst>
      <p:ext uri="{BB962C8B-B14F-4D97-AF65-F5344CB8AC3E}">
        <p14:creationId xmlns:p14="http://schemas.microsoft.com/office/powerpoint/2010/main" val="200271773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Blue_Title + Subtitle + 3 Column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244296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rot="16200000">
            <a:off x="120542" y="-120543"/>
            <a:ext cx="5870603" cy="6111686"/>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3">
              <a:alpha val="15000"/>
            </a:schemeClr>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solidFill>
                  <a:schemeClr val="bg1"/>
                </a:solidFill>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35" name="Picture Placeholder 6">
            <a:extLst>
              <a:ext uri="{FF2B5EF4-FFF2-40B4-BE49-F238E27FC236}">
                <a16:creationId xmlns:a16="http://schemas.microsoft.com/office/drawing/2014/main" id="{B1716084-D43C-4BCE-B639-AFDD15AF10D7}"/>
              </a:ext>
            </a:extLst>
          </p:cNvPr>
          <p:cNvSpPr>
            <a:spLocks noGrp="1"/>
          </p:cNvSpPr>
          <p:nvPr>
            <p:ph type="pic" sz="quarter" idx="18"/>
          </p:nvPr>
        </p:nvSpPr>
        <p:spPr>
          <a:xfrm>
            <a:off x="1657350" y="2006600"/>
            <a:ext cx="1638300" cy="1638300"/>
          </a:xfrm>
        </p:spPr>
        <p:txBody>
          <a:bodyPr/>
          <a:lstStyle/>
          <a:p>
            <a:endParaRPr lang="en-US"/>
          </a:p>
        </p:txBody>
      </p:sp>
      <p:sp>
        <p:nvSpPr>
          <p:cNvPr id="36" name="Picture Placeholder 6">
            <a:extLst>
              <a:ext uri="{FF2B5EF4-FFF2-40B4-BE49-F238E27FC236}">
                <a16:creationId xmlns:a16="http://schemas.microsoft.com/office/drawing/2014/main" id="{9D639AC8-F8F2-4DD6-811F-D872CA963E02}"/>
              </a:ext>
            </a:extLst>
          </p:cNvPr>
          <p:cNvSpPr>
            <a:spLocks noGrp="1"/>
          </p:cNvSpPr>
          <p:nvPr>
            <p:ph type="pic" sz="quarter" idx="19"/>
          </p:nvPr>
        </p:nvSpPr>
        <p:spPr>
          <a:xfrm>
            <a:off x="5276850" y="2006600"/>
            <a:ext cx="1638300" cy="1638300"/>
          </a:xfrm>
        </p:spPr>
        <p:txBody>
          <a:bodyPr/>
          <a:lstStyle/>
          <a:p>
            <a:endParaRPr lang="en-US"/>
          </a:p>
        </p:txBody>
      </p:sp>
      <p:sp>
        <p:nvSpPr>
          <p:cNvPr id="37" name="Text Placeholder 16">
            <a:extLst>
              <a:ext uri="{FF2B5EF4-FFF2-40B4-BE49-F238E27FC236}">
                <a16:creationId xmlns:a16="http://schemas.microsoft.com/office/drawing/2014/main" id="{53D4FED6-135C-42A4-9E55-F5FF74855409}"/>
              </a:ext>
            </a:extLst>
          </p:cNvPr>
          <p:cNvSpPr>
            <a:spLocks noGrp="1"/>
          </p:cNvSpPr>
          <p:nvPr>
            <p:ph type="body" sz="quarter" idx="12"/>
          </p:nvPr>
        </p:nvSpPr>
        <p:spPr>
          <a:xfrm>
            <a:off x="838200" y="4313065"/>
            <a:ext cx="3390900" cy="1859135"/>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3"/>
            <a:endParaRPr lang="en-US"/>
          </a:p>
        </p:txBody>
      </p:sp>
      <p:sp>
        <p:nvSpPr>
          <p:cNvPr id="38" name="Text Placeholder 16">
            <a:extLst>
              <a:ext uri="{FF2B5EF4-FFF2-40B4-BE49-F238E27FC236}">
                <a16:creationId xmlns:a16="http://schemas.microsoft.com/office/drawing/2014/main" id="{08A9C4CC-BE26-4895-BC3D-9615B6B22DE6}"/>
              </a:ext>
            </a:extLst>
          </p:cNvPr>
          <p:cNvSpPr>
            <a:spLocks noGrp="1"/>
          </p:cNvSpPr>
          <p:nvPr>
            <p:ph type="body" sz="quarter" idx="14" hasCustomPrompt="1"/>
          </p:nvPr>
        </p:nvSpPr>
        <p:spPr>
          <a:xfrm>
            <a:off x="838200" y="3821287"/>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39" name="Text Placeholder 16">
            <a:extLst>
              <a:ext uri="{FF2B5EF4-FFF2-40B4-BE49-F238E27FC236}">
                <a16:creationId xmlns:a16="http://schemas.microsoft.com/office/drawing/2014/main" id="{7FBC863A-0DF7-47DD-9B28-6919454E1343}"/>
              </a:ext>
            </a:extLst>
          </p:cNvPr>
          <p:cNvSpPr>
            <a:spLocks noGrp="1"/>
          </p:cNvSpPr>
          <p:nvPr>
            <p:ph type="body" sz="quarter" idx="20"/>
          </p:nvPr>
        </p:nvSpPr>
        <p:spPr>
          <a:xfrm>
            <a:off x="4457700" y="4313065"/>
            <a:ext cx="3276600" cy="1859135"/>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40" name="Text Placeholder 16">
            <a:extLst>
              <a:ext uri="{FF2B5EF4-FFF2-40B4-BE49-F238E27FC236}">
                <a16:creationId xmlns:a16="http://schemas.microsoft.com/office/drawing/2014/main" id="{334EDE57-98A9-4D5C-9453-C5B359E5D4D0}"/>
              </a:ext>
            </a:extLst>
          </p:cNvPr>
          <p:cNvSpPr>
            <a:spLocks noGrp="1"/>
          </p:cNvSpPr>
          <p:nvPr>
            <p:ph type="body" sz="quarter" idx="21" hasCustomPrompt="1"/>
          </p:nvPr>
        </p:nvSpPr>
        <p:spPr>
          <a:xfrm>
            <a:off x="4457700" y="3821287"/>
            <a:ext cx="32766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41" name="Picture Placeholder 6">
            <a:extLst>
              <a:ext uri="{FF2B5EF4-FFF2-40B4-BE49-F238E27FC236}">
                <a16:creationId xmlns:a16="http://schemas.microsoft.com/office/drawing/2014/main" id="{2D6A158E-6567-49DE-A9DC-2D667F0E8095}"/>
              </a:ext>
            </a:extLst>
          </p:cNvPr>
          <p:cNvSpPr>
            <a:spLocks noGrp="1"/>
          </p:cNvSpPr>
          <p:nvPr>
            <p:ph type="pic" sz="quarter" idx="22"/>
          </p:nvPr>
        </p:nvSpPr>
        <p:spPr>
          <a:xfrm>
            <a:off x="8782050" y="2006600"/>
            <a:ext cx="1638300" cy="1638300"/>
          </a:xfrm>
        </p:spPr>
        <p:txBody>
          <a:bodyPr/>
          <a:lstStyle/>
          <a:p>
            <a:endParaRPr lang="en-US"/>
          </a:p>
        </p:txBody>
      </p:sp>
      <p:sp>
        <p:nvSpPr>
          <p:cNvPr id="42" name="Text Placeholder 16">
            <a:extLst>
              <a:ext uri="{FF2B5EF4-FFF2-40B4-BE49-F238E27FC236}">
                <a16:creationId xmlns:a16="http://schemas.microsoft.com/office/drawing/2014/main" id="{A38106D7-58CF-488B-92AE-F8772A18EF02}"/>
              </a:ext>
            </a:extLst>
          </p:cNvPr>
          <p:cNvSpPr>
            <a:spLocks noGrp="1"/>
          </p:cNvSpPr>
          <p:nvPr>
            <p:ph type="body" sz="quarter" idx="23"/>
          </p:nvPr>
        </p:nvSpPr>
        <p:spPr>
          <a:xfrm>
            <a:off x="7962900" y="4313065"/>
            <a:ext cx="3390900" cy="1859135"/>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43" name="Text Placeholder 16">
            <a:extLst>
              <a:ext uri="{FF2B5EF4-FFF2-40B4-BE49-F238E27FC236}">
                <a16:creationId xmlns:a16="http://schemas.microsoft.com/office/drawing/2014/main" id="{334F6A6F-5957-4AEF-915E-5746DD836446}"/>
              </a:ext>
            </a:extLst>
          </p:cNvPr>
          <p:cNvSpPr>
            <a:spLocks noGrp="1"/>
          </p:cNvSpPr>
          <p:nvPr>
            <p:ph type="body" sz="quarter" idx="24" hasCustomPrompt="1"/>
          </p:nvPr>
        </p:nvSpPr>
        <p:spPr>
          <a:xfrm>
            <a:off x="7962900" y="3821287"/>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Tree>
    <p:extLst>
      <p:ext uri="{BB962C8B-B14F-4D97-AF65-F5344CB8AC3E}">
        <p14:creationId xmlns:p14="http://schemas.microsoft.com/office/powerpoint/2010/main" val="382400713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Blue_Title + Copy">
    <p:bg>
      <p:bgPr>
        <a:solidFill>
          <a:schemeClr val="accent1"/>
        </a:solidFill>
        <a:effectLst/>
      </p:bgPr>
    </p:bg>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719320FC-D3D6-40DC-AD77-78A3F2CD36B2}"/>
              </a:ext>
            </a:extLst>
          </p:cNvPr>
          <p:cNvSpPr/>
          <p:nvPr userDrawn="1"/>
        </p:nvSpPr>
        <p:spPr>
          <a:xfrm rot="16200000">
            <a:off x="120542" y="-120543"/>
            <a:ext cx="5870603" cy="6111686"/>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3">
              <a:alpha val="15000"/>
            </a:schemeClr>
          </a:solidFill>
          <a:ln w="9264" cap="flat">
            <a:noFill/>
            <a:prstDash val="solid"/>
            <a:miter/>
          </a:ln>
        </p:spPr>
        <p:txBody>
          <a:bodyPr wrap="square" rtlCol="0" anchor="ctr">
            <a:noAutofit/>
          </a:bodyPr>
          <a:lstStyle/>
          <a:p>
            <a:endParaRPr lang="en-US"/>
          </a:p>
        </p:txBody>
      </p:sp>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1563184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solidFill>
                  <a:schemeClr val="bg1"/>
                </a:solidFill>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3" name="Text Placeholder 4">
            <a:extLst>
              <a:ext uri="{FF2B5EF4-FFF2-40B4-BE49-F238E27FC236}">
                <a16:creationId xmlns:a16="http://schemas.microsoft.com/office/drawing/2014/main" id="{EEAB7D23-9280-49B8-AB28-D41243E6FD94}"/>
              </a:ext>
            </a:extLst>
          </p:cNvPr>
          <p:cNvSpPr>
            <a:spLocks noGrp="1"/>
          </p:cNvSpPr>
          <p:nvPr>
            <p:ph type="body" sz="quarter" idx="12"/>
          </p:nvPr>
        </p:nvSpPr>
        <p:spPr>
          <a:xfrm>
            <a:off x="838200" y="1790700"/>
            <a:ext cx="10515600" cy="4381500"/>
          </a:xfrm>
        </p:spPr>
        <p:txBody>
          <a:bodyPr>
            <a:norm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318319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983174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rot="16200000">
            <a:off x="120542" y="-120543"/>
            <a:ext cx="5870603" cy="6111686"/>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3">
              <a:alpha val="15000"/>
            </a:schemeClr>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38" name="Text Placeholder 16">
            <a:extLst>
              <a:ext uri="{FF2B5EF4-FFF2-40B4-BE49-F238E27FC236}">
                <a16:creationId xmlns:a16="http://schemas.microsoft.com/office/drawing/2014/main" id="{08A9C4CC-BE26-4895-BC3D-9615B6B22DE6}"/>
              </a:ext>
            </a:extLst>
          </p:cNvPr>
          <p:cNvSpPr>
            <a:spLocks noGrp="1"/>
          </p:cNvSpPr>
          <p:nvPr>
            <p:ph type="body" sz="quarter" idx="14" hasCustomPrompt="1"/>
          </p:nvPr>
        </p:nvSpPr>
        <p:spPr>
          <a:xfrm>
            <a:off x="2705100" y="5307186"/>
            <a:ext cx="8648700" cy="438293"/>
          </a:xfrm>
        </p:spPr>
        <p:txBody>
          <a:bodyPr>
            <a:noAutofit/>
          </a:bodyPr>
          <a:lstStyle>
            <a:lvl1pPr marL="0" indent="0" algn="r">
              <a:buNone/>
              <a:defRPr sz="1600">
                <a:solidFill>
                  <a:schemeClr val="accent3"/>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Author</a:t>
            </a:r>
          </a:p>
        </p:txBody>
      </p:sp>
      <p:sp>
        <p:nvSpPr>
          <p:cNvPr id="3" name="TextBox 2">
            <a:extLst>
              <a:ext uri="{FF2B5EF4-FFF2-40B4-BE49-F238E27FC236}">
                <a16:creationId xmlns:a16="http://schemas.microsoft.com/office/drawing/2014/main" id="{C0DD6E0F-FAD1-48FA-8992-7706F27E3366}"/>
              </a:ext>
            </a:extLst>
          </p:cNvPr>
          <p:cNvSpPr txBox="1"/>
          <p:nvPr userDrawn="1"/>
        </p:nvSpPr>
        <p:spPr>
          <a:xfrm>
            <a:off x="2590800" y="388620"/>
            <a:ext cx="1386840" cy="2215991"/>
          </a:xfrm>
          <a:prstGeom prst="rect">
            <a:avLst/>
          </a:prstGeom>
          <a:noFill/>
        </p:spPr>
        <p:txBody>
          <a:bodyPr wrap="square" rtlCol="0">
            <a:spAutoFit/>
          </a:bodyPr>
          <a:lstStyle/>
          <a:p>
            <a:r>
              <a:rPr lang="en-US" sz="13800" b="1">
                <a:solidFill>
                  <a:schemeClr val="accent2"/>
                </a:solidFill>
                <a:latin typeface="Arial" panose="020B0604020202020204" pitchFamily="34" charset="0"/>
                <a:cs typeface="Arial" panose="020B0604020202020204" pitchFamily="34" charset="0"/>
              </a:rPr>
              <a:t>“</a:t>
            </a:r>
          </a:p>
        </p:txBody>
      </p:sp>
      <p:sp>
        <p:nvSpPr>
          <p:cNvPr id="6" name="Text Placeholder 5">
            <a:extLst>
              <a:ext uri="{FF2B5EF4-FFF2-40B4-BE49-F238E27FC236}">
                <a16:creationId xmlns:a16="http://schemas.microsoft.com/office/drawing/2014/main" id="{A6047EF4-41C3-46AC-8EB5-33D2AB91A4A9}"/>
              </a:ext>
            </a:extLst>
          </p:cNvPr>
          <p:cNvSpPr>
            <a:spLocks noGrp="1"/>
          </p:cNvSpPr>
          <p:nvPr>
            <p:ph type="body" sz="quarter" idx="15" hasCustomPrompt="1"/>
          </p:nvPr>
        </p:nvSpPr>
        <p:spPr>
          <a:xfrm>
            <a:off x="2705100" y="1500505"/>
            <a:ext cx="8648700" cy="2911475"/>
          </a:xfrm>
        </p:spPr>
        <p:txBody>
          <a:bodyPr>
            <a:noAutofit/>
          </a:bodyPr>
          <a:lstStyle>
            <a:lvl1pPr marL="0" indent="0">
              <a:buNone/>
              <a:defRPr sz="2400"/>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err="1"/>
              <a:t>Vivamus</a:t>
            </a:r>
            <a:r>
              <a:rPr lang="en-US"/>
              <a:t> </a:t>
            </a:r>
            <a:r>
              <a:rPr lang="en-US" err="1"/>
              <a:t>pretium</a:t>
            </a:r>
            <a:r>
              <a:rPr lang="en-US"/>
              <a:t> </a:t>
            </a:r>
            <a:r>
              <a:rPr lang="en-US" err="1"/>
              <a:t>auctor</a:t>
            </a:r>
            <a:r>
              <a:rPr lang="en-US"/>
              <a:t> ipsum, </a:t>
            </a:r>
            <a:r>
              <a:rPr lang="en-US" err="1"/>
              <a:t>nec</a:t>
            </a:r>
            <a:r>
              <a:rPr lang="en-US"/>
              <a:t> </a:t>
            </a:r>
            <a:r>
              <a:rPr lang="en-US" err="1"/>
              <a:t>vulputate</a:t>
            </a:r>
            <a:r>
              <a:rPr lang="en-US"/>
              <a:t> </a:t>
            </a:r>
            <a:r>
              <a:rPr lang="en-US" err="1"/>
              <a:t>quam</a:t>
            </a:r>
            <a:r>
              <a:rPr lang="en-US"/>
              <a:t> </a:t>
            </a:r>
            <a:r>
              <a:rPr lang="en-US" err="1"/>
              <a:t>tempor</a:t>
            </a:r>
            <a:r>
              <a:rPr lang="en-US"/>
              <a:t> </a:t>
            </a:r>
            <a:r>
              <a:rPr lang="en-US" err="1"/>
              <a:t>nec</a:t>
            </a:r>
            <a:r>
              <a:rPr lang="en-US"/>
              <a:t>. Maecenas a </a:t>
            </a:r>
            <a:r>
              <a:rPr lang="en-US" err="1"/>
              <a:t>nunc</a:t>
            </a:r>
            <a:r>
              <a:rPr lang="en-US"/>
              <a:t> </a:t>
            </a:r>
            <a:r>
              <a:rPr lang="en-US" err="1"/>
              <a:t>ut</a:t>
            </a:r>
            <a:r>
              <a:rPr lang="en-US"/>
              <a:t> </a:t>
            </a:r>
            <a:r>
              <a:rPr lang="en-US" err="1"/>
              <a:t>lacus</a:t>
            </a:r>
            <a:r>
              <a:rPr lang="en-US"/>
              <a:t> cursus </a:t>
            </a:r>
            <a:r>
              <a:rPr lang="en-US" err="1"/>
              <a:t>tristique</a:t>
            </a:r>
            <a:r>
              <a:rPr lang="en-US"/>
              <a:t> non </a:t>
            </a:r>
            <a:r>
              <a:rPr lang="en-US" err="1"/>
              <a:t>non</a:t>
            </a:r>
            <a:r>
              <a:rPr lang="en-US"/>
              <a:t> </a:t>
            </a:r>
            <a:r>
              <a:rPr lang="en-US" err="1"/>
              <a:t>lacus</a:t>
            </a:r>
            <a:r>
              <a:rPr lang="en-US"/>
              <a:t>. </a:t>
            </a:r>
            <a:r>
              <a:rPr lang="en-US" err="1"/>
              <a:t>Aenean</a:t>
            </a:r>
            <a:r>
              <a:rPr lang="en-US"/>
              <a:t> sit </a:t>
            </a:r>
            <a:r>
              <a:rPr lang="en-US" err="1"/>
              <a:t>amet</a:t>
            </a:r>
            <a:r>
              <a:rPr lang="en-US"/>
              <a:t> lorem sed dui </a:t>
            </a:r>
            <a:r>
              <a:rPr lang="en-US" err="1"/>
              <a:t>egestas</a:t>
            </a:r>
            <a:r>
              <a:rPr lang="en-US"/>
              <a:t> </a:t>
            </a:r>
            <a:r>
              <a:rPr lang="en-US" err="1"/>
              <a:t>molestie</a:t>
            </a:r>
            <a:r>
              <a:rPr lang="en-US"/>
              <a:t>. </a:t>
            </a:r>
            <a:r>
              <a:rPr lang="en-US" err="1"/>
              <a:t>Fusce</a:t>
            </a:r>
            <a:r>
              <a:rPr lang="en-US"/>
              <a:t> semper </a:t>
            </a:r>
            <a:r>
              <a:rPr lang="en-US" err="1"/>
              <a:t>tortor</a:t>
            </a:r>
            <a:r>
              <a:rPr lang="en-US"/>
              <a:t> </a:t>
            </a:r>
            <a:r>
              <a:rPr lang="en-US" err="1"/>
              <a:t>ut</a:t>
            </a:r>
            <a:r>
              <a:rPr lang="en-US"/>
              <a:t> </a:t>
            </a:r>
            <a:r>
              <a:rPr lang="en-US" err="1"/>
              <a:t>sem</a:t>
            </a:r>
            <a:r>
              <a:rPr lang="en-US"/>
              <a:t> cursus </a:t>
            </a:r>
            <a:r>
              <a:rPr lang="en-US" err="1"/>
              <a:t>volutpat</a:t>
            </a:r>
            <a:r>
              <a:rPr lang="en-US"/>
              <a:t>.</a:t>
            </a:r>
          </a:p>
        </p:txBody>
      </p:sp>
      <p:sp>
        <p:nvSpPr>
          <p:cNvPr id="25" name="TextBox 24">
            <a:extLst>
              <a:ext uri="{FF2B5EF4-FFF2-40B4-BE49-F238E27FC236}">
                <a16:creationId xmlns:a16="http://schemas.microsoft.com/office/drawing/2014/main" id="{1087F3AB-D7F7-4A06-914A-3AE71107C0F6}"/>
              </a:ext>
            </a:extLst>
          </p:cNvPr>
          <p:cNvSpPr txBox="1"/>
          <p:nvPr userDrawn="1"/>
        </p:nvSpPr>
        <p:spPr>
          <a:xfrm rot="10800000">
            <a:off x="10126980" y="2991579"/>
            <a:ext cx="1386840" cy="2215991"/>
          </a:xfrm>
          <a:prstGeom prst="rect">
            <a:avLst/>
          </a:prstGeom>
          <a:noFill/>
        </p:spPr>
        <p:txBody>
          <a:bodyPr wrap="square" rtlCol="0">
            <a:spAutoFit/>
          </a:bodyPr>
          <a:lstStyle/>
          <a:p>
            <a:r>
              <a:rPr lang="en-US" sz="13800" b="1">
                <a:solidFill>
                  <a:schemeClr val="accent2"/>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51594043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561065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0" name="Rectangle 9">
            <a:extLst>
              <a:ext uri="{FF2B5EF4-FFF2-40B4-BE49-F238E27FC236}">
                <a16:creationId xmlns:a16="http://schemas.microsoft.com/office/drawing/2014/main" id="{DAC9FE8B-B8CC-466C-BA58-5605BED4871B}"/>
              </a:ext>
            </a:extLst>
          </p:cNvPr>
          <p:cNvSpPr/>
          <p:nvPr userDrawn="1"/>
        </p:nvSpPr>
        <p:spPr>
          <a:xfrm>
            <a:off x="6210300" y="0"/>
            <a:ext cx="59817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Picture Placeholder 19">
            <a:extLst>
              <a:ext uri="{FF2B5EF4-FFF2-40B4-BE49-F238E27FC236}">
                <a16:creationId xmlns:a16="http://schemas.microsoft.com/office/drawing/2014/main" id="{2EE18A2D-389D-4539-A70B-3FD76986A34A}"/>
              </a:ext>
            </a:extLst>
          </p:cNvPr>
          <p:cNvSpPr>
            <a:spLocks noGrp="1"/>
          </p:cNvSpPr>
          <p:nvPr>
            <p:ph type="pic" sz="quarter" idx="16"/>
          </p:nvPr>
        </p:nvSpPr>
        <p:spPr>
          <a:xfrm>
            <a:off x="6210300" y="0"/>
            <a:ext cx="5981700" cy="6858000"/>
          </a:xfrm>
          <a:custGeom>
            <a:avLst/>
            <a:gdLst>
              <a:gd name="connsiteX0" fmla="*/ 0 w 5958840"/>
              <a:gd name="connsiteY0" fmla="*/ 0 h 6858000"/>
              <a:gd name="connsiteX1" fmla="*/ 5958840 w 5958840"/>
              <a:gd name="connsiteY1" fmla="*/ 0 h 6858000"/>
              <a:gd name="connsiteX2" fmla="*/ 5958840 w 5958840"/>
              <a:gd name="connsiteY2" fmla="*/ 6858000 h 6858000"/>
              <a:gd name="connsiteX3" fmla="*/ 0 w 5958840"/>
              <a:gd name="connsiteY3" fmla="*/ 6858000 h 6858000"/>
              <a:gd name="connsiteX4" fmla="*/ 0 w 5958840"/>
              <a:gd name="connsiteY4" fmla="*/ 5117967 h 6858000"/>
              <a:gd name="connsiteX5" fmla="*/ 178736 w 5958840"/>
              <a:gd name="connsiteY5" fmla="*/ 5126361 h 6858000"/>
              <a:gd name="connsiteX6" fmla="*/ 1815657 w 5958840"/>
              <a:gd name="connsiteY6" fmla="*/ 6812636 h 6858000"/>
              <a:gd name="connsiteX7" fmla="*/ 1813193 w 5958840"/>
              <a:gd name="connsiteY7" fmla="*/ 6857998 h 6858000"/>
              <a:gd name="connsiteX8" fmla="*/ 2940696 w 5958840"/>
              <a:gd name="connsiteY8" fmla="*/ 6857998 h 6858000"/>
              <a:gd name="connsiteX9" fmla="*/ 2943159 w 5958840"/>
              <a:gd name="connsiteY9" fmla="*/ 6812636 h 6858000"/>
              <a:gd name="connsiteX10" fmla="*/ 294080 w 5958840"/>
              <a:gd name="connsiteY10" fmla="*/ 4083244 h 6858000"/>
              <a:gd name="connsiteX11" fmla="*/ 0 w 5958840"/>
              <a:gd name="connsiteY11" fmla="*/ 40694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58840" h="6858000">
                <a:moveTo>
                  <a:pt x="0" y="0"/>
                </a:moveTo>
                <a:lnTo>
                  <a:pt x="5958840" y="0"/>
                </a:lnTo>
                <a:lnTo>
                  <a:pt x="5958840" y="6858000"/>
                </a:lnTo>
                <a:lnTo>
                  <a:pt x="0" y="6858000"/>
                </a:lnTo>
                <a:lnTo>
                  <a:pt x="0" y="5117967"/>
                </a:lnTo>
                <a:lnTo>
                  <a:pt x="178736" y="5126361"/>
                </a:lnTo>
                <a:cubicBezTo>
                  <a:pt x="1097862" y="5213170"/>
                  <a:pt x="1815657" y="5935069"/>
                  <a:pt x="1815657" y="6812636"/>
                </a:cubicBezTo>
                <a:lnTo>
                  <a:pt x="1813193" y="6857998"/>
                </a:lnTo>
                <a:lnTo>
                  <a:pt x="2940696" y="6857998"/>
                </a:lnTo>
                <a:lnTo>
                  <a:pt x="2943159" y="6812636"/>
                </a:lnTo>
                <a:cubicBezTo>
                  <a:pt x="2943159" y="5392116"/>
                  <a:pt x="1782032" y="4223742"/>
                  <a:pt x="294080" y="4083244"/>
                </a:cubicBezTo>
                <a:lnTo>
                  <a:pt x="0" y="4069437"/>
                </a:lnTo>
                <a:close/>
              </a:path>
            </a:pathLst>
          </a:custGeom>
        </p:spPr>
        <p:txBody>
          <a:bodyPr wrap="square">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38" name="Text Placeholder 16">
            <a:extLst>
              <a:ext uri="{FF2B5EF4-FFF2-40B4-BE49-F238E27FC236}">
                <a16:creationId xmlns:a16="http://schemas.microsoft.com/office/drawing/2014/main" id="{08A9C4CC-BE26-4895-BC3D-9615B6B22DE6}"/>
              </a:ext>
            </a:extLst>
          </p:cNvPr>
          <p:cNvSpPr>
            <a:spLocks noGrp="1"/>
          </p:cNvSpPr>
          <p:nvPr>
            <p:ph type="body" sz="quarter" idx="14" hasCustomPrompt="1"/>
          </p:nvPr>
        </p:nvSpPr>
        <p:spPr>
          <a:xfrm>
            <a:off x="838200" y="5733907"/>
            <a:ext cx="4762500" cy="438293"/>
          </a:xfrm>
        </p:spPr>
        <p:txBody>
          <a:bodyPr>
            <a:noAutofit/>
          </a:bodyPr>
          <a:lstStyle>
            <a:lvl1pPr marL="0" indent="0" algn="r">
              <a:buNone/>
              <a:defRPr sz="1600">
                <a:solidFill>
                  <a:schemeClr val="accent3"/>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Author</a:t>
            </a:r>
          </a:p>
        </p:txBody>
      </p:sp>
      <p:sp>
        <p:nvSpPr>
          <p:cNvPr id="6" name="Text Placeholder 5">
            <a:extLst>
              <a:ext uri="{FF2B5EF4-FFF2-40B4-BE49-F238E27FC236}">
                <a16:creationId xmlns:a16="http://schemas.microsoft.com/office/drawing/2014/main" id="{A6047EF4-41C3-46AC-8EB5-33D2AB91A4A9}"/>
              </a:ext>
            </a:extLst>
          </p:cNvPr>
          <p:cNvSpPr>
            <a:spLocks noGrp="1"/>
          </p:cNvSpPr>
          <p:nvPr>
            <p:ph type="body" sz="quarter" idx="15" hasCustomPrompt="1"/>
          </p:nvPr>
        </p:nvSpPr>
        <p:spPr>
          <a:xfrm>
            <a:off x="838200" y="1135380"/>
            <a:ext cx="4732020" cy="3848100"/>
          </a:xfrm>
        </p:spPr>
        <p:txBody>
          <a:bodyPr>
            <a:noAutofit/>
          </a:bodyPr>
          <a:lstStyle>
            <a:lvl1pPr marL="0" indent="0">
              <a:buNone/>
              <a:defRPr sz="2000"/>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err="1"/>
              <a:t>Vivamus</a:t>
            </a:r>
            <a:r>
              <a:rPr lang="en-US"/>
              <a:t> </a:t>
            </a:r>
            <a:r>
              <a:rPr lang="en-US" err="1"/>
              <a:t>pretium</a:t>
            </a:r>
            <a:r>
              <a:rPr lang="en-US"/>
              <a:t> </a:t>
            </a:r>
            <a:r>
              <a:rPr lang="en-US" err="1"/>
              <a:t>auctor</a:t>
            </a:r>
            <a:r>
              <a:rPr lang="en-US"/>
              <a:t> ipsum, </a:t>
            </a:r>
            <a:r>
              <a:rPr lang="en-US" err="1"/>
              <a:t>nec</a:t>
            </a:r>
            <a:r>
              <a:rPr lang="en-US"/>
              <a:t> </a:t>
            </a:r>
            <a:r>
              <a:rPr lang="en-US" err="1"/>
              <a:t>vulputate</a:t>
            </a:r>
            <a:r>
              <a:rPr lang="en-US"/>
              <a:t> </a:t>
            </a:r>
            <a:r>
              <a:rPr lang="en-US" err="1"/>
              <a:t>quam</a:t>
            </a:r>
            <a:r>
              <a:rPr lang="en-US"/>
              <a:t> </a:t>
            </a:r>
            <a:r>
              <a:rPr lang="en-US" err="1"/>
              <a:t>tempor</a:t>
            </a:r>
            <a:r>
              <a:rPr lang="en-US"/>
              <a:t> </a:t>
            </a:r>
            <a:r>
              <a:rPr lang="en-US" err="1"/>
              <a:t>nec</a:t>
            </a:r>
            <a:r>
              <a:rPr lang="en-US"/>
              <a:t>. Maecenas a </a:t>
            </a:r>
            <a:r>
              <a:rPr lang="en-US" err="1"/>
              <a:t>nunc</a:t>
            </a:r>
            <a:r>
              <a:rPr lang="en-US"/>
              <a:t> </a:t>
            </a:r>
            <a:r>
              <a:rPr lang="en-US" err="1"/>
              <a:t>ut</a:t>
            </a:r>
            <a:r>
              <a:rPr lang="en-US"/>
              <a:t> </a:t>
            </a:r>
            <a:r>
              <a:rPr lang="en-US" err="1"/>
              <a:t>lacus</a:t>
            </a:r>
            <a:r>
              <a:rPr lang="en-US"/>
              <a:t> cursus </a:t>
            </a:r>
            <a:r>
              <a:rPr lang="en-US" err="1"/>
              <a:t>tristique</a:t>
            </a:r>
            <a:r>
              <a:rPr lang="en-US"/>
              <a:t> non </a:t>
            </a:r>
            <a:r>
              <a:rPr lang="en-US" err="1"/>
              <a:t>non</a:t>
            </a:r>
            <a:r>
              <a:rPr lang="en-US"/>
              <a:t> </a:t>
            </a:r>
            <a:r>
              <a:rPr lang="en-US" err="1"/>
              <a:t>lacus</a:t>
            </a:r>
            <a:r>
              <a:rPr lang="en-US"/>
              <a:t>. </a:t>
            </a:r>
            <a:r>
              <a:rPr lang="en-US" err="1"/>
              <a:t>Aenean</a:t>
            </a:r>
            <a:r>
              <a:rPr lang="en-US"/>
              <a:t> sit </a:t>
            </a:r>
            <a:r>
              <a:rPr lang="en-US" err="1"/>
              <a:t>amet</a:t>
            </a:r>
            <a:r>
              <a:rPr lang="en-US"/>
              <a:t> lorem sed dui </a:t>
            </a:r>
            <a:r>
              <a:rPr lang="en-US" err="1"/>
              <a:t>egestas</a:t>
            </a:r>
            <a:r>
              <a:rPr lang="en-US"/>
              <a:t> </a:t>
            </a:r>
            <a:r>
              <a:rPr lang="en-US" err="1"/>
              <a:t>molestie</a:t>
            </a:r>
            <a:r>
              <a:rPr lang="en-US"/>
              <a:t>. </a:t>
            </a:r>
            <a:r>
              <a:rPr lang="en-US" err="1"/>
              <a:t>Fusce</a:t>
            </a:r>
            <a:r>
              <a:rPr lang="en-US"/>
              <a:t> semper </a:t>
            </a:r>
            <a:r>
              <a:rPr lang="en-US" err="1"/>
              <a:t>tortor</a:t>
            </a:r>
            <a:r>
              <a:rPr lang="en-US"/>
              <a:t> </a:t>
            </a:r>
            <a:r>
              <a:rPr lang="en-US" err="1"/>
              <a:t>ut</a:t>
            </a:r>
            <a:r>
              <a:rPr lang="en-US"/>
              <a:t> </a:t>
            </a:r>
            <a:r>
              <a:rPr lang="en-US" err="1"/>
              <a:t>sem</a:t>
            </a:r>
            <a:r>
              <a:rPr lang="en-US"/>
              <a:t> cursus </a:t>
            </a:r>
            <a:r>
              <a:rPr lang="en-US" err="1"/>
              <a:t>volutpat</a:t>
            </a:r>
            <a:r>
              <a:rPr lang="en-US"/>
              <a:t>.</a:t>
            </a:r>
          </a:p>
          <a:p>
            <a:pPr lvl="0"/>
            <a:r>
              <a:rPr lang="en-US"/>
              <a:t>Sed </a:t>
            </a:r>
            <a:r>
              <a:rPr lang="en-US" err="1"/>
              <a:t>pellentesque</a:t>
            </a:r>
            <a:r>
              <a:rPr lang="en-US"/>
              <a:t> </a:t>
            </a:r>
            <a:r>
              <a:rPr lang="en-US" err="1"/>
              <a:t>eros</a:t>
            </a:r>
            <a:r>
              <a:rPr lang="en-US"/>
              <a:t> </a:t>
            </a:r>
            <a:r>
              <a:rPr lang="en-US" err="1"/>
              <a:t>nec</a:t>
            </a:r>
            <a:r>
              <a:rPr lang="en-US"/>
              <a:t> </a:t>
            </a:r>
            <a:r>
              <a:rPr lang="en-US" err="1"/>
              <a:t>elit</a:t>
            </a:r>
            <a:r>
              <a:rPr lang="en-US"/>
              <a:t> </a:t>
            </a:r>
            <a:r>
              <a:rPr lang="en-US" err="1"/>
              <a:t>venenatis</a:t>
            </a:r>
            <a:r>
              <a:rPr lang="en-US"/>
              <a:t> </a:t>
            </a:r>
            <a:r>
              <a:rPr lang="en-US" err="1"/>
              <a:t>fringilla</a:t>
            </a:r>
            <a:r>
              <a:rPr lang="en-US"/>
              <a:t>. Integer </a:t>
            </a:r>
            <a:r>
              <a:rPr lang="en-US" err="1"/>
              <a:t>rutrum</a:t>
            </a:r>
            <a:r>
              <a:rPr lang="en-US"/>
              <a:t> ipsum </a:t>
            </a:r>
            <a:r>
              <a:rPr lang="en-US" err="1"/>
              <a:t>nibh</a:t>
            </a:r>
            <a:r>
              <a:rPr lang="en-US"/>
              <a:t>, </a:t>
            </a:r>
            <a:r>
              <a:rPr lang="en-US" err="1"/>
              <a:t>nec</a:t>
            </a:r>
            <a:r>
              <a:rPr lang="en-US"/>
              <a:t> </a:t>
            </a:r>
            <a:r>
              <a:rPr lang="en-US" err="1"/>
              <a:t>sagittis</a:t>
            </a:r>
            <a:r>
              <a:rPr lang="en-US"/>
              <a:t> ligula </a:t>
            </a:r>
            <a:r>
              <a:rPr lang="en-US" err="1"/>
              <a:t>facilisis</a:t>
            </a:r>
            <a:r>
              <a:rPr lang="en-US"/>
              <a:t> vitae.</a:t>
            </a:r>
          </a:p>
        </p:txBody>
      </p:sp>
      <p:sp>
        <p:nvSpPr>
          <p:cNvPr id="28" name="Freeform: Shape 27">
            <a:extLst>
              <a:ext uri="{FF2B5EF4-FFF2-40B4-BE49-F238E27FC236}">
                <a16:creationId xmlns:a16="http://schemas.microsoft.com/office/drawing/2014/main" id="{FD6E21CA-7F60-4DF8-8287-6157DAE730A8}"/>
              </a:ext>
            </a:extLst>
          </p:cNvPr>
          <p:cNvSpPr/>
          <p:nvPr userDrawn="1"/>
        </p:nvSpPr>
        <p:spPr>
          <a:xfrm rot="5400000">
            <a:off x="3447781" y="4004044"/>
            <a:ext cx="2796537" cy="2911380"/>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3">
              <a:alpha val="15000"/>
            </a:schemeClr>
          </a:solidFill>
          <a:ln w="926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9035376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ustom Layout_Bullets">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2F9D91F4-C7FE-4C74-BA0E-A17BDCAA2D30}"/>
              </a:ext>
            </a:extLst>
          </p:cNvPr>
          <p:cNvSpPr/>
          <p:nvPr userDrawn="1"/>
        </p:nvSpPr>
        <p:spPr>
          <a:xfrm rot="5400000">
            <a:off x="5648785" y="314786"/>
            <a:ext cx="6411566" cy="667486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2" name="Title 1">
            <a:extLst>
              <a:ext uri="{FF2B5EF4-FFF2-40B4-BE49-F238E27FC236}">
                <a16:creationId xmlns:a16="http://schemas.microsoft.com/office/drawing/2014/main" id="{25C5CDA7-3277-4BEF-B83F-00A6A1F359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7452D38-F127-4220-828A-AD175D044060}"/>
              </a:ext>
            </a:extLst>
          </p:cNvPr>
          <p:cNvSpPr>
            <a:spLocks noGrp="1"/>
          </p:cNvSpPr>
          <p:nvPr>
            <p:ph type="sldNum" sz="quarter" idx="10"/>
          </p:nvPr>
        </p:nvSpPr>
        <p:spPr/>
        <p:txBody>
          <a:bodyPr/>
          <a:lstStyle/>
          <a:p>
            <a:fld id="{A1471D42-392E-4D14-982B-D9D765EA1509}" type="slidenum">
              <a:rPr lang="en-US" smtClean="0"/>
              <a:pPr/>
              <a:t>‹#›</a:t>
            </a:fld>
            <a:endParaRPr lang="en-US"/>
          </a:p>
        </p:txBody>
      </p:sp>
      <p:sp>
        <p:nvSpPr>
          <p:cNvPr id="5" name="Text Placeholder 4">
            <a:extLst>
              <a:ext uri="{FF2B5EF4-FFF2-40B4-BE49-F238E27FC236}">
                <a16:creationId xmlns:a16="http://schemas.microsoft.com/office/drawing/2014/main" id="{77B1E8FD-61C8-4EC3-96A2-10CED7ABF8BB}"/>
              </a:ext>
            </a:extLst>
          </p:cNvPr>
          <p:cNvSpPr>
            <a:spLocks noGrp="1"/>
          </p:cNvSpPr>
          <p:nvPr>
            <p:ph type="body" sz="quarter" idx="11"/>
          </p:nvPr>
        </p:nvSpPr>
        <p:spPr>
          <a:xfrm>
            <a:off x="838200" y="1790700"/>
            <a:ext cx="10515600" cy="4381500"/>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aphic 6">
            <a:extLst>
              <a:ext uri="{FF2B5EF4-FFF2-40B4-BE49-F238E27FC236}">
                <a16:creationId xmlns:a16="http://schemas.microsoft.com/office/drawing/2014/main" id="{DE975AE8-D97D-409D-B91F-2FF9FCDDCF5F}"/>
              </a:ext>
            </a:extLst>
          </p:cNvPr>
          <p:cNvGrpSpPr/>
          <p:nvPr userDrawn="1"/>
        </p:nvGrpSpPr>
        <p:grpSpPr>
          <a:xfrm>
            <a:off x="891988" y="6394893"/>
            <a:ext cx="432890" cy="187030"/>
            <a:chOff x="85969" y="3646150"/>
            <a:chExt cx="1544103" cy="667132"/>
          </a:xfrm>
          <a:solidFill>
            <a:srgbClr val="FF9E18"/>
          </a:solidFill>
        </p:grpSpPr>
        <p:sp>
          <p:nvSpPr>
            <p:cNvPr id="8" name="Freeform: Shape 7">
              <a:extLst>
                <a:ext uri="{FF2B5EF4-FFF2-40B4-BE49-F238E27FC236}">
                  <a16:creationId xmlns:a16="http://schemas.microsoft.com/office/drawing/2014/main" id="{5B031496-4712-4206-8C9C-5F67A69A0ECC}"/>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A3CF591A-50D5-4354-8B34-EA52089486C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C20CD4A5-19D8-4542-B3F1-467A2FBE3F54}"/>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71C4DDE9-CD5B-42C2-A8B8-AF3770590DD6}"/>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Tree>
    <p:extLst>
      <p:ext uri="{BB962C8B-B14F-4D97-AF65-F5344CB8AC3E}">
        <p14:creationId xmlns:p14="http://schemas.microsoft.com/office/powerpoint/2010/main" val="134029244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Our_Services">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852039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a:off x="7043889" y="1"/>
            <a:ext cx="5148111" cy="535952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lvl1pPr>
          </a:lstStyle>
          <a:p>
            <a:r>
              <a:rPr lang="en-US"/>
              <a:t>Our Services</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0" name="Picture Placeholder 6">
            <a:extLst>
              <a:ext uri="{FF2B5EF4-FFF2-40B4-BE49-F238E27FC236}">
                <a16:creationId xmlns:a16="http://schemas.microsoft.com/office/drawing/2014/main" id="{51F0FD9E-3AFB-4B29-92E4-ADCA8C32D219}"/>
              </a:ext>
            </a:extLst>
          </p:cNvPr>
          <p:cNvSpPr>
            <a:spLocks noGrp="1"/>
          </p:cNvSpPr>
          <p:nvPr>
            <p:ph type="pic" sz="quarter" idx="18"/>
          </p:nvPr>
        </p:nvSpPr>
        <p:spPr>
          <a:xfrm>
            <a:off x="1212850" y="2394133"/>
            <a:ext cx="1485900" cy="1485900"/>
          </a:xfrm>
        </p:spPr>
        <p:txBody>
          <a:bodyPr/>
          <a:lstStyle/>
          <a:p>
            <a:endParaRPr lang="en-US"/>
          </a:p>
        </p:txBody>
      </p:sp>
      <p:sp>
        <p:nvSpPr>
          <p:cNvPr id="23" name="Picture Placeholder 6">
            <a:extLst>
              <a:ext uri="{FF2B5EF4-FFF2-40B4-BE49-F238E27FC236}">
                <a16:creationId xmlns:a16="http://schemas.microsoft.com/office/drawing/2014/main" id="{963FF6B3-47CC-45EA-AEC0-F0B8E77D37DC}"/>
              </a:ext>
            </a:extLst>
          </p:cNvPr>
          <p:cNvSpPr>
            <a:spLocks noGrp="1"/>
          </p:cNvSpPr>
          <p:nvPr>
            <p:ph type="pic" sz="quarter" idx="19"/>
          </p:nvPr>
        </p:nvSpPr>
        <p:spPr>
          <a:xfrm>
            <a:off x="3931448" y="2394133"/>
            <a:ext cx="1485900" cy="1485900"/>
          </a:xfrm>
        </p:spPr>
        <p:txBody>
          <a:bodyPr/>
          <a:lstStyle/>
          <a:p>
            <a:endParaRPr lang="en-US"/>
          </a:p>
        </p:txBody>
      </p:sp>
      <p:sp>
        <p:nvSpPr>
          <p:cNvPr id="32" name="Text Placeholder 16">
            <a:extLst>
              <a:ext uri="{FF2B5EF4-FFF2-40B4-BE49-F238E27FC236}">
                <a16:creationId xmlns:a16="http://schemas.microsoft.com/office/drawing/2014/main" id="{62E1362D-EABA-407E-8EE8-E13D3342FFF9}"/>
              </a:ext>
            </a:extLst>
          </p:cNvPr>
          <p:cNvSpPr>
            <a:spLocks noGrp="1"/>
          </p:cNvSpPr>
          <p:nvPr>
            <p:ph type="body" sz="quarter" idx="14" hasCustomPrompt="1"/>
          </p:nvPr>
        </p:nvSpPr>
        <p:spPr>
          <a:xfrm>
            <a:off x="838200" y="4165854"/>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nergy Efficiency</a:t>
            </a:r>
          </a:p>
        </p:txBody>
      </p:sp>
      <p:sp>
        <p:nvSpPr>
          <p:cNvPr id="34" name="Text Placeholder 16">
            <a:extLst>
              <a:ext uri="{FF2B5EF4-FFF2-40B4-BE49-F238E27FC236}">
                <a16:creationId xmlns:a16="http://schemas.microsoft.com/office/drawing/2014/main" id="{A017B11C-6696-4537-8B33-B38F803B27FE}"/>
              </a:ext>
            </a:extLst>
          </p:cNvPr>
          <p:cNvSpPr>
            <a:spLocks noGrp="1"/>
          </p:cNvSpPr>
          <p:nvPr>
            <p:ph type="body" sz="quarter" idx="21" hasCustomPrompt="1"/>
          </p:nvPr>
        </p:nvSpPr>
        <p:spPr>
          <a:xfrm>
            <a:off x="3594470" y="4165854"/>
            <a:ext cx="2159856"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Building Electrification</a:t>
            </a:r>
          </a:p>
        </p:txBody>
      </p:sp>
      <p:sp>
        <p:nvSpPr>
          <p:cNvPr id="35" name="Picture Placeholder 6">
            <a:extLst>
              <a:ext uri="{FF2B5EF4-FFF2-40B4-BE49-F238E27FC236}">
                <a16:creationId xmlns:a16="http://schemas.microsoft.com/office/drawing/2014/main" id="{8D2FD841-A331-4B64-A0A5-3E0A3D1BFA0F}"/>
              </a:ext>
            </a:extLst>
          </p:cNvPr>
          <p:cNvSpPr>
            <a:spLocks noGrp="1"/>
          </p:cNvSpPr>
          <p:nvPr>
            <p:ph type="pic" sz="quarter" idx="22"/>
          </p:nvPr>
        </p:nvSpPr>
        <p:spPr>
          <a:xfrm>
            <a:off x="9453416" y="2397729"/>
            <a:ext cx="1485900" cy="1485900"/>
          </a:xfrm>
        </p:spPr>
        <p:txBody>
          <a:bodyPr/>
          <a:lstStyle/>
          <a:p>
            <a:endParaRPr lang="en-US"/>
          </a:p>
        </p:txBody>
      </p:sp>
      <p:sp>
        <p:nvSpPr>
          <p:cNvPr id="37" name="Text Placeholder 16">
            <a:extLst>
              <a:ext uri="{FF2B5EF4-FFF2-40B4-BE49-F238E27FC236}">
                <a16:creationId xmlns:a16="http://schemas.microsoft.com/office/drawing/2014/main" id="{4AD9E344-7E5F-4F9F-9DA4-0599F10F492E}"/>
              </a:ext>
            </a:extLst>
          </p:cNvPr>
          <p:cNvSpPr>
            <a:spLocks noGrp="1"/>
          </p:cNvSpPr>
          <p:nvPr>
            <p:ph type="body" sz="quarter" idx="24" hasCustomPrompt="1"/>
          </p:nvPr>
        </p:nvSpPr>
        <p:spPr>
          <a:xfrm>
            <a:off x="6327626" y="4165854"/>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ransportation Electrification </a:t>
            </a:r>
          </a:p>
        </p:txBody>
      </p:sp>
      <p:sp>
        <p:nvSpPr>
          <p:cNvPr id="26" name="Text Placeholder 16">
            <a:extLst>
              <a:ext uri="{FF2B5EF4-FFF2-40B4-BE49-F238E27FC236}">
                <a16:creationId xmlns:a16="http://schemas.microsoft.com/office/drawing/2014/main" id="{B88CB82A-9E2B-4C70-A96C-FB83F05CAAB0}"/>
              </a:ext>
            </a:extLst>
          </p:cNvPr>
          <p:cNvSpPr>
            <a:spLocks noGrp="1"/>
          </p:cNvSpPr>
          <p:nvPr>
            <p:ph type="body" sz="quarter" idx="26" hasCustomPrompt="1"/>
          </p:nvPr>
        </p:nvSpPr>
        <p:spPr>
          <a:xfrm>
            <a:off x="9078766" y="4165854"/>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ean &amp; Flexible Grid </a:t>
            </a:r>
          </a:p>
        </p:txBody>
      </p:sp>
      <p:sp>
        <p:nvSpPr>
          <p:cNvPr id="27" name="Picture Placeholder 6">
            <a:extLst>
              <a:ext uri="{FF2B5EF4-FFF2-40B4-BE49-F238E27FC236}">
                <a16:creationId xmlns:a16="http://schemas.microsoft.com/office/drawing/2014/main" id="{D5A0D7A4-5125-43F6-B103-0F8056DE298F}"/>
              </a:ext>
            </a:extLst>
          </p:cNvPr>
          <p:cNvSpPr>
            <a:spLocks noGrp="1"/>
          </p:cNvSpPr>
          <p:nvPr>
            <p:ph type="pic" sz="quarter" idx="27"/>
          </p:nvPr>
        </p:nvSpPr>
        <p:spPr>
          <a:xfrm>
            <a:off x="6702276" y="2394133"/>
            <a:ext cx="1485900" cy="1485900"/>
          </a:xfrm>
        </p:spPr>
        <p:txBody>
          <a:bodyPr/>
          <a:lstStyle/>
          <a:p>
            <a:endParaRPr lang="en-US"/>
          </a:p>
        </p:txBody>
      </p:sp>
    </p:spTree>
    <p:extLst>
      <p:ext uri="{BB962C8B-B14F-4D97-AF65-F5344CB8AC3E}">
        <p14:creationId xmlns:p14="http://schemas.microsoft.com/office/powerpoint/2010/main" val="235913528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Our Story 2">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1865983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a:latin typeface="Poppins ExtraBold" panose="00000900000000000000" pitchFamily="2" charset="0"/>
              <a:ea typeface="+mj-ea"/>
              <a:cs typeface="+mj-cs"/>
              <a:sym typeface="Poppins ExtraBold" panose="00000900000000000000" pitchFamily="2" charset="0"/>
            </a:endParaRPr>
          </a:p>
        </p:txBody>
      </p:sp>
      <p:sp>
        <p:nvSpPr>
          <p:cNvPr id="20" name="Rectangle 19">
            <a:extLst>
              <a:ext uri="{FF2B5EF4-FFF2-40B4-BE49-F238E27FC236}">
                <a16:creationId xmlns:a16="http://schemas.microsoft.com/office/drawing/2014/main" id="{3330F4D7-4A9E-4DEE-8885-046C363D1BAC}"/>
              </a:ext>
            </a:extLst>
          </p:cNvPr>
          <p:cNvSpPr/>
          <p:nvPr userDrawn="1"/>
        </p:nvSpPr>
        <p:spPr>
          <a:xfrm>
            <a:off x="609600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A45E6AC7-8A04-4EC4-B2DB-FCA79FA474B9}"/>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lvl1pPr>
              <a:defRPr>
                <a:solidFill>
                  <a:schemeClr val="bg1"/>
                </a:solidFill>
              </a:defRPr>
            </a:lvl1pPr>
          </a:lstStyle>
          <a:p>
            <a:fld id="{A1471D42-392E-4D14-982B-D9D765EA1509}" type="slidenum">
              <a:rPr lang="en-US" smtClean="0"/>
              <a:pPr/>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1" name="Text Placeholder 20">
            <a:extLst>
              <a:ext uri="{FF2B5EF4-FFF2-40B4-BE49-F238E27FC236}">
                <a16:creationId xmlns:a16="http://schemas.microsoft.com/office/drawing/2014/main" id="{DDA99C94-57EF-4B02-9671-725FC468AD7B}"/>
              </a:ext>
            </a:extLst>
          </p:cNvPr>
          <p:cNvSpPr>
            <a:spLocks noGrp="1"/>
          </p:cNvSpPr>
          <p:nvPr>
            <p:ph type="body" sz="quarter" idx="13"/>
          </p:nvPr>
        </p:nvSpPr>
        <p:spPr>
          <a:xfrm>
            <a:off x="838200" y="1905641"/>
            <a:ext cx="3390900" cy="2804246"/>
          </a:xfrm>
        </p:spPr>
        <p:txBody>
          <a:bodyPr rIns="457200">
            <a:no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0">
            <a:extLst>
              <a:ext uri="{FF2B5EF4-FFF2-40B4-BE49-F238E27FC236}">
                <a16:creationId xmlns:a16="http://schemas.microsoft.com/office/drawing/2014/main" id="{948741A6-2BFC-4770-9DCE-F80BD2A66B29}"/>
              </a:ext>
            </a:extLst>
          </p:cNvPr>
          <p:cNvSpPr>
            <a:spLocks noGrp="1"/>
          </p:cNvSpPr>
          <p:nvPr>
            <p:ph type="body" sz="quarter" idx="15" hasCustomPrompt="1"/>
          </p:nvPr>
        </p:nvSpPr>
        <p:spPr>
          <a:xfrm>
            <a:off x="7529873" y="1291772"/>
            <a:ext cx="3342554" cy="1589315"/>
          </a:xfrm>
        </p:spPr>
        <p:txBody>
          <a:bodyPr anchor="ctr">
            <a:noAutofit/>
          </a:bodyPr>
          <a:lstStyle>
            <a:lvl1pPr marL="0" indent="0" algn="ctr">
              <a:buNone/>
              <a:defRPr sz="8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0</a:t>
            </a:r>
          </a:p>
        </p:txBody>
      </p:sp>
      <p:sp>
        <p:nvSpPr>
          <p:cNvPr id="28" name="Text Placeholder 20">
            <a:extLst>
              <a:ext uri="{FF2B5EF4-FFF2-40B4-BE49-F238E27FC236}">
                <a16:creationId xmlns:a16="http://schemas.microsoft.com/office/drawing/2014/main" id="{80FC398A-D951-4440-BD74-C11F06328371}"/>
              </a:ext>
            </a:extLst>
          </p:cNvPr>
          <p:cNvSpPr>
            <a:spLocks noGrp="1"/>
          </p:cNvSpPr>
          <p:nvPr>
            <p:ph type="body" sz="quarter" idx="16" hasCustomPrompt="1"/>
          </p:nvPr>
        </p:nvSpPr>
        <p:spPr>
          <a:xfrm>
            <a:off x="838200" y="723900"/>
            <a:ext cx="5143500" cy="807357"/>
          </a:xfrm>
        </p:spPr>
        <p:txBody>
          <a:bodyPr anchor="ctr">
            <a:noAutofit/>
          </a:bodyPr>
          <a:lstStyle>
            <a:lvl1pPr marL="0" indent="0">
              <a:buNone/>
              <a:defRPr sz="3200" b="1">
                <a:solidFill>
                  <a:schemeClr val="bg1"/>
                </a:solidFill>
              </a:defRPr>
            </a:lvl1pPr>
          </a:lstStyle>
          <a:p>
            <a:pPr lvl="0"/>
            <a:r>
              <a:rPr lang="en-US"/>
              <a:t>Title</a:t>
            </a:r>
          </a:p>
        </p:txBody>
      </p:sp>
      <p:sp>
        <p:nvSpPr>
          <p:cNvPr id="32" name="Picture Placeholder 31">
            <a:extLst>
              <a:ext uri="{FF2B5EF4-FFF2-40B4-BE49-F238E27FC236}">
                <a16:creationId xmlns:a16="http://schemas.microsoft.com/office/drawing/2014/main" id="{45838521-3A84-49F1-AD26-4C3192EBD1B7}"/>
              </a:ext>
            </a:extLst>
          </p:cNvPr>
          <p:cNvSpPr>
            <a:spLocks noGrp="1"/>
          </p:cNvSpPr>
          <p:nvPr>
            <p:ph type="pic" sz="quarter" idx="19"/>
          </p:nvPr>
        </p:nvSpPr>
        <p:spPr>
          <a:xfrm>
            <a:off x="8354219" y="3735615"/>
            <a:ext cx="1693862" cy="1693863"/>
          </a:xfrm>
        </p:spPr>
        <p:txBody>
          <a:bodyPr/>
          <a:lstStyle/>
          <a:p>
            <a:endParaRPr lang="en-US"/>
          </a:p>
        </p:txBody>
      </p:sp>
      <p:sp>
        <p:nvSpPr>
          <p:cNvPr id="35" name="Text Placeholder 20">
            <a:extLst>
              <a:ext uri="{FF2B5EF4-FFF2-40B4-BE49-F238E27FC236}">
                <a16:creationId xmlns:a16="http://schemas.microsoft.com/office/drawing/2014/main" id="{2C9FA576-1A26-4161-92E1-11BA7290CE94}"/>
              </a:ext>
            </a:extLst>
          </p:cNvPr>
          <p:cNvSpPr>
            <a:spLocks noGrp="1"/>
          </p:cNvSpPr>
          <p:nvPr>
            <p:ph type="body" sz="quarter" idx="20" hasCustomPrompt="1"/>
          </p:nvPr>
        </p:nvSpPr>
        <p:spPr>
          <a:xfrm>
            <a:off x="7529873" y="2957463"/>
            <a:ext cx="3342554" cy="431624"/>
          </a:xfrm>
        </p:spPr>
        <p:txBody>
          <a:bodyPr anchor="ctr">
            <a:noAutofit/>
          </a:bodyPr>
          <a:lstStyle>
            <a:lvl1pPr marL="0" indent="0" algn="ctr">
              <a:buNone/>
              <a:defRPr sz="24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sp>
        <p:nvSpPr>
          <p:cNvPr id="37" name="Freeform: Shape 36">
            <a:extLst>
              <a:ext uri="{FF2B5EF4-FFF2-40B4-BE49-F238E27FC236}">
                <a16:creationId xmlns:a16="http://schemas.microsoft.com/office/drawing/2014/main" id="{7340DF83-3CD2-447D-9FD3-C3FE745A35DE}"/>
              </a:ext>
            </a:extLst>
          </p:cNvPr>
          <p:cNvSpPr/>
          <p:nvPr userDrawn="1"/>
        </p:nvSpPr>
        <p:spPr>
          <a:xfrm>
            <a:off x="4735174" y="5642430"/>
            <a:ext cx="1360827" cy="1215571"/>
          </a:xfrm>
          <a:custGeom>
            <a:avLst/>
            <a:gdLst>
              <a:gd name="connsiteX0" fmla="*/ 1360827 w 1360827"/>
              <a:gd name="connsiteY0" fmla="*/ 0 h 1215571"/>
              <a:gd name="connsiteX1" fmla="*/ 1360827 w 1360827"/>
              <a:gd name="connsiteY1" fmla="*/ 538257 h 1215571"/>
              <a:gd name="connsiteX2" fmla="*/ 577847 w 1360827"/>
              <a:gd name="connsiteY2" fmla="*/ 1069710 h 1215571"/>
              <a:gd name="connsiteX3" fmla="*/ 533645 w 1360827"/>
              <a:gd name="connsiteY3" fmla="*/ 1215571 h 1215571"/>
              <a:gd name="connsiteX4" fmla="*/ 0 w 1360827"/>
              <a:gd name="connsiteY4" fmla="*/ 1215571 h 1215571"/>
              <a:gd name="connsiteX5" fmla="*/ 13564 w 1360827"/>
              <a:gd name="connsiteY5" fmla="*/ 1124551 h 1215571"/>
              <a:gd name="connsiteX6" fmla="*/ 1360827 w 1360827"/>
              <a:gd name="connsiteY6" fmla="*/ 0 h 121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0827" h="1215571">
                <a:moveTo>
                  <a:pt x="1360827" y="0"/>
                </a:moveTo>
                <a:lnTo>
                  <a:pt x="1360827" y="538257"/>
                </a:lnTo>
                <a:cubicBezTo>
                  <a:pt x="1008730" y="538257"/>
                  <a:pt x="706804" y="757411"/>
                  <a:pt x="577847" y="1069710"/>
                </a:cubicBezTo>
                <a:lnTo>
                  <a:pt x="533645" y="1215571"/>
                </a:lnTo>
                <a:lnTo>
                  <a:pt x="0" y="1215571"/>
                </a:lnTo>
                <a:lnTo>
                  <a:pt x="13564" y="1124551"/>
                </a:lnTo>
                <a:cubicBezTo>
                  <a:pt x="141797" y="482772"/>
                  <a:pt x="696260" y="0"/>
                  <a:pt x="136082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Shape 38">
            <a:extLst>
              <a:ext uri="{FF2B5EF4-FFF2-40B4-BE49-F238E27FC236}">
                <a16:creationId xmlns:a16="http://schemas.microsoft.com/office/drawing/2014/main" id="{A8A6BFCA-2D02-4C07-A64F-967D92D8044A}"/>
              </a:ext>
            </a:extLst>
          </p:cNvPr>
          <p:cNvSpPr/>
          <p:nvPr userDrawn="1"/>
        </p:nvSpPr>
        <p:spPr>
          <a:xfrm>
            <a:off x="6096000" y="5642429"/>
            <a:ext cx="1360910" cy="1215571"/>
          </a:xfrm>
          <a:custGeom>
            <a:avLst/>
            <a:gdLst>
              <a:gd name="connsiteX0" fmla="*/ 0 w 1360910"/>
              <a:gd name="connsiteY0" fmla="*/ 0 h 1215571"/>
              <a:gd name="connsiteX1" fmla="*/ 1347380 w 1360910"/>
              <a:gd name="connsiteY1" fmla="*/ 1124551 h 1215571"/>
              <a:gd name="connsiteX2" fmla="*/ 1360910 w 1360910"/>
              <a:gd name="connsiteY2" fmla="*/ 1215571 h 1215571"/>
              <a:gd name="connsiteX3" fmla="*/ 828096 w 1360910"/>
              <a:gd name="connsiteY3" fmla="*/ 1215571 h 1215571"/>
              <a:gd name="connsiteX4" fmla="*/ 811549 w 1360910"/>
              <a:gd name="connsiteY4" fmla="*/ 1149652 h 1215571"/>
              <a:gd name="connsiteX5" fmla="*/ 0 w 1360910"/>
              <a:gd name="connsiteY5" fmla="*/ 538257 h 121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0910" h="1215571">
                <a:moveTo>
                  <a:pt x="0" y="0"/>
                </a:moveTo>
                <a:cubicBezTo>
                  <a:pt x="664874" y="0"/>
                  <a:pt x="1219373" y="482772"/>
                  <a:pt x="1347380" y="1124551"/>
                </a:cubicBezTo>
                <a:lnTo>
                  <a:pt x="1360910" y="1215571"/>
                </a:lnTo>
                <a:lnTo>
                  <a:pt x="828096" y="1215571"/>
                </a:lnTo>
                <a:lnTo>
                  <a:pt x="811549" y="1149652"/>
                </a:lnTo>
                <a:cubicBezTo>
                  <a:pt x="704000" y="795458"/>
                  <a:pt x="381442" y="538257"/>
                  <a:pt x="0" y="53825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5504875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Our Story 2">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2636991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a:latin typeface="Poppins ExtraBold" panose="00000900000000000000" pitchFamily="2" charset="0"/>
              <a:ea typeface="+mj-ea"/>
              <a:cs typeface="+mj-cs"/>
              <a:sym typeface="Poppins ExtraBold" panose="00000900000000000000" pitchFamily="2" charset="0"/>
            </a:endParaRPr>
          </a:p>
        </p:txBody>
      </p:sp>
      <p:sp>
        <p:nvSpPr>
          <p:cNvPr id="43" name="Rectangle 42">
            <a:extLst>
              <a:ext uri="{FF2B5EF4-FFF2-40B4-BE49-F238E27FC236}">
                <a16:creationId xmlns:a16="http://schemas.microsoft.com/office/drawing/2014/main" id="{98848DF4-74E0-42EC-BE79-4CB4CDEC1717}"/>
              </a:ext>
            </a:extLst>
          </p:cNvPr>
          <p:cNvSpPr/>
          <p:nvPr userDrawn="1"/>
        </p:nvSpPr>
        <p:spPr>
          <a:xfrm>
            <a:off x="-1" y="0"/>
            <a:ext cx="4971143" cy="6858000"/>
          </a:xfrm>
          <a:prstGeom prst="rect">
            <a:avLst/>
          </a:prstGeom>
          <a:gradFill>
            <a:gsLst>
              <a:gs pos="0">
                <a:schemeClr val="accent5">
                  <a:lumMod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BBD28020-CB11-4020-9334-84B4904674F7}"/>
              </a:ext>
            </a:extLst>
          </p:cNvPr>
          <p:cNvSpPr/>
          <p:nvPr userDrawn="1"/>
        </p:nvSpPr>
        <p:spPr>
          <a:xfrm>
            <a:off x="4457700" y="0"/>
            <a:ext cx="50292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lvl1pPr>
              <a:defRPr>
                <a:solidFill>
                  <a:schemeClr val="bg1"/>
                </a:solidFill>
              </a:defRPr>
            </a:lvl1pPr>
          </a:lstStyle>
          <a:p>
            <a:fld id="{A1471D42-392E-4D14-982B-D9D765EA1509}" type="slidenum">
              <a:rPr lang="en-US" smtClean="0"/>
              <a:pPr/>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20">
            <a:extLst>
              <a:ext uri="{FF2B5EF4-FFF2-40B4-BE49-F238E27FC236}">
                <a16:creationId xmlns:a16="http://schemas.microsoft.com/office/drawing/2014/main" id="{80FC398A-D951-4440-BD74-C11F06328371}"/>
              </a:ext>
            </a:extLst>
          </p:cNvPr>
          <p:cNvSpPr>
            <a:spLocks noGrp="1"/>
          </p:cNvSpPr>
          <p:nvPr>
            <p:ph type="body" sz="quarter" idx="16" hasCustomPrompt="1"/>
          </p:nvPr>
        </p:nvSpPr>
        <p:spPr>
          <a:xfrm>
            <a:off x="838200" y="723899"/>
            <a:ext cx="3390900" cy="2723243"/>
          </a:xfrm>
        </p:spPr>
        <p:txBody>
          <a:bodyPr anchor="t">
            <a:noAutofit/>
          </a:bodyPr>
          <a:lstStyle>
            <a:lvl1pPr marL="0" indent="0">
              <a:buNone/>
              <a:defRPr sz="3200" b="1">
                <a:solidFill>
                  <a:schemeClr val="bg1"/>
                </a:solidFill>
              </a:defRPr>
            </a:lvl1pPr>
          </a:lstStyle>
          <a:p>
            <a:pPr lvl="0"/>
            <a:r>
              <a:rPr lang="en-US"/>
              <a:t>Title</a:t>
            </a:r>
          </a:p>
        </p:txBody>
      </p:sp>
      <p:sp>
        <p:nvSpPr>
          <p:cNvPr id="32" name="Picture Placeholder 31">
            <a:extLst>
              <a:ext uri="{FF2B5EF4-FFF2-40B4-BE49-F238E27FC236}">
                <a16:creationId xmlns:a16="http://schemas.microsoft.com/office/drawing/2014/main" id="{45838521-3A84-49F1-AD26-4C3192EBD1B7}"/>
              </a:ext>
            </a:extLst>
          </p:cNvPr>
          <p:cNvSpPr>
            <a:spLocks noGrp="1"/>
          </p:cNvSpPr>
          <p:nvPr>
            <p:ph type="pic" sz="quarter" idx="19"/>
          </p:nvPr>
        </p:nvSpPr>
        <p:spPr>
          <a:xfrm>
            <a:off x="5219700" y="3764644"/>
            <a:ext cx="1524000" cy="1524000"/>
          </a:xfrm>
        </p:spPr>
        <p:txBody>
          <a:bodyPr/>
          <a:lstStyle/>
          <a:p>
            <a:endParaRPr lang="en-US"/>
          </a:p>
        </p:txBody>
      </p:sp>
      <p:cxnSp>
        <p:nvCxnSpPr>
          <p:cNvPr id="11" name="Straight Connector 10">
            <a:extLst>
              <a:ext uri="{FF2B5EF4-FFF2-40B4-BE49-F238E27FC236}">
                <a16:creationId xmlns:a16="http://schemas.microsoft.com/office/drawing/2014/main" id="{C2201BE5-3F99-48C1-BBBD-D79A641EAD20}"/>
              </a:ext>
            </a:extLst>
          </p:cNvPr>
          <p:cNvCxnSpPr>
            <a:cxnSpLocks/>
          </p:cNvCxnSpPr>
          <p:nvPr userDrawn="1"/>
        </p:nvCxnSpPr>
        <p:spPr>
          <a:xfrm flipH="1">
            <a:off x="5219700" y="3571415"/>
            <a:ext cx="355418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Text Placeholder 20">
            <a:extLst>
              <a:ext uri="{FF2B5EF4-FFF2-40B4-BE49-F238E27FC236}">
                <a16:creationId xmlns:a16="http://schemas.microsoft.com/office/drawing/2014/main" id="{948741A6-2BFC-4770-9DCE-F80BD2A66B29}"/>
              </a:ext>
            </a:extLst>
          </p:cNvPr>
          <p:cNvSpPr>
            <a:spLocks noGrp="1"/>
          </p:cNvSpPr>
          <p:nvPr>
            <p:ph type="body" sz="quarter" idx="15" hasCustomPrompt="1"/>
          </p:nvPr>
        </p:nvSpPr>
        <p:spPr>
          <a:xfrm>
            <a:off x="5219700" y="1124857"/>
            <a:ext cx="3505200" cy="624116"/>
          </a:xfrm>
        </p:spPr>
        <p:txBody>
          <a:bodyPr lIns="0" anchor="ctr">
            <a:noAutofit/>
          </a:bodyPr>
          <a:lstStyle>
            <a:lvl1pPr marL="0" indent="0" algn="l">
              <a:buNone/>
              <a:defRPr sz="2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0</a:t>
            </a:r>
          </a:p>
        </p:txBody>
      </p:sp>
      <p:sp>
        <p:nvSpPr>
          <p:cNvPr id="31" name="Text Placeholder 20">
            <a:extLst>
              <a:ext uri="{FF2B5EF4-FFF2-40B4-BE49-F238E27FC236}">
                <a16:creationId xmlns:a16="http://schemas.microsoft.com/office/drawing/2014/main" id="{93A674FC-63C8-448C-8A63-A918B5893DA5}"/>
              </a:ext>
            </a:extLst>
          </p:cNvPr>
          <p:cNvSpPr>
            <a:spLocks noGrp="1"/>
          </p:cNvSpPr>
          <p:nvPr>
            <p:ph type="body" sz="quarter" idx="21" hasCustomPrompt="1"/>
          </p:nvPr>
        </p:nvSpPr>
        <p:spPr>
          <a:xfrm>
            <a:off x="5219700" y="1816420"/>
            <a:ext cx="3526971" cy="1434780"/>
          </a:xfrm>
        </p:spPr>
        <p:txBody>
          <a:bodyPr lIns="0" rIns="457200">
            <a:noAutofit/>
          </a:bodyPr>
          <a:lstStyle>
            <a:lvl1pPr marL="0" indent="0" algn="l">
              <a:buNone/>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Tree>
    <p:extLst>
      <p:ext uri="{BB962C8B-B14F-4D97-AF65-F5344CB8AC3E}">
        <p14:creationId xmlns:p14="http://schemas.microsoft.com/office/powerpoint/2010/main" val="330128444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Our Story">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330952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a:latin typeface="Poppins ExtraBold" panose="00000900000000000000" pitchFamily="2" charset="0"/>
              <a:ea typeface="+mj-ea"/>
              <a:cs typeface="+mj-cs"/>
              <a:sym typeface="Poppins ExtraBold" panose="00000900000000000000" pitchFamily="2" charset="0"/>
            </a:endParaRPr>
          </a:p>
        </p:txBody>
      </p:sp>
      <p:sp>
        <p:nvSpPr>
          <p:cNvPr id="38" name="Rectangle 37">
            <a:extLst>
              <a:ext uri="{FF2B5EF4-FFF2-40B4-BE49-F238E27FC236}">
                <a16:creationId xmlns:a16="http://schemas.microsoft.com/office/drawing/2014/main" id="{BBD28020-CB11-4020-9334-84B4904674F7}"/>
              </a:ext>
            </a:extLst>
          </p:cNvPr>
          <p:cNvSpPr/>
          <p:nvPr userDrawn="1"/>
        </p:nvSpPr>
        <p:spPr>
          <a:xfrm>
            <a:off x="0" y="0"/>
            <a:ext cx="576217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lvl1pPr>
              <a:defRPr>
                <a:solidFill>
                  <a:schemeClr val="bg1"/>
                </a:solidFill>
              </a:defRPr>
            </a:lvl1pPr>
          </a:lstStyle>
          <a:p>
            <a:fld id="{A1471D42-392E-4D14-982B-D9D765EA1509}" type="slidenum">
              <a:rPr lang="en-US" smtClean="0"/>
              <a:pPr/>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20">
            <a:extLst>
              <a:ext uri="{FF2B5EF4-FFF2-40B4-BE49-F238E27FC236}">
                <a16:creationId xmlns:a16="http://schemas.microsoft.com/office/drawing/2014/main" id="{80FC398A-D951-4440-BD74-C11F06328371}"/>
              </a:ext>
            </a:extLst>
          </p:cNvPr>
          <p:cNvSpPr>
            <a:spLocks noGrp="1"/>
          </p:cNvSpPr>
          <p:nvPr>
            <p:ph type="body" sz="quarter" idx="16" hasCustomPrompt="1"/>
          </p:nvPr>
        </p:nvSpPr>
        <p:spPr>
          <a:xfrm>
            <a:off x="838200" y="723899"/>
            <a:ext cx="4379686" cy="2839358"/>
          </a:xfrm>
        </p:spPr>
        <p:txBody>
          <a:bodyPr anchor="t">
            <a:noAutofit/>
          </a:bodyPr>
          <a:lstStyle>
            <a:lvl1pPr marL="0" indent="0">
              <a:buNone/>
              <a:defRPr sz="3200" b="1">
                <a:solidFill>
                  <a:schemeClr val="bg1"/>
                </a:solidFill>
              </a:defRPr>
            </a:lvl1pPr>
          </a:lstStyle>
          <a:p>
            <a:pPr lvl="0"/>
            <a:r>
              <a:rPr lang="en-US"/>
              <a:t>Title</a:t>
            </a:r>
          </a:p>
        </p:txBody>
      </p:sp>
      <p:sp>
        <p:nvSpPr>
          <p:cNvPr id="32" name="Picture Placeholder 31">
            <a:extLst>
              <a:ext uri="{FF2B5EF4-FFF2-40B4-BE49-F238E27FC236}">
                <a16:creationId xmlns:a16="http://schemas.microsoft.com/office/drawing/2014/main" id="{45838521-3A84-49F1-AD26-4C3192EBD1B7}"/>
              </a:ext>
            </a:extLst>
          </p:cNvPr>
          <p:cNvSpPr>
            <a:spLocks noGrp="1"/>
          </p:cNvSpPr>
          <p:nvPr>
            <p:ph type="pic" sz="quarter" idx="19"/>
          </p:nvPr>
        </p:nvSpPr>
        <p:spPr>
          <a:xfrm>
            <a:off x="866775" y="3764644"/>
            <a:ext cx="1524000" cy="1524000"/>
          </a:xfrm>
        </p:spPr>
        <p:txBody>
          <a:bodyPr/>
          <a:lstStyle/>
          <a:p>
            <a:endParaRPr lang="en-US"/>
          </a:p>
        </p:txBody>
      </p:sp>
      <p:sp>
        <p:nvSpPr>
          <p:cNvPr id="25" name="Text Placeholder 20">
            <a:extLst>
              <a:ext uri="{FF2B5EF4-FFF2-40B4-BE49-F238E27FC236}">
                <a16:creationId xmlns:a16="http://schemas.microsoft.com/office/drawing/2014/main" id="{948741A6-2BFC-4770-9DCE-F80BD2A66B29}"/>
              </a:ext>
            </a:extLst>
          </p:cNvPr>
          <p:cNvSpPr>
            <a:spLocks noGrp="1"/>
          </p:cNvSpPr>
          <p:nvPr>
            <p:ph type="body" sz="quarter" idx="15" hasCustomPrompt="1"/>
          </p:nvPr>
        </p:nvSpPr>
        <p:spPr>
          <a:xfrm>
            <a:off x="6210299" y="869043"/>
            <a:ext cx="5111751" cy="624116"/>
          </a:xfrm>
        </p:spPr>
        <p:txBody>
          <a:bodyPr lIns="0" anchor="ctr">
            <a:noAutofit/>
          </a:bodyPr>
          <a:lstStyle>
            <a:lvl1pPr marL="0" indent="0" algn="l">
              <a:buNone/>
              <a:defRPr sz="2400">
                <a:solidFill>
                  <a:schemeClr val="accent2"/>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0</a:t>
            </a:r>
          </a:p>
        </p:txBody>
      </p:sp>
      <p:sp>
        <p:nvSpPr>
          <p:cNvPr id="31" name="Text Placeholder 20">
            <a:extLst>
              <a:ext uri="{FF2B5EF4-FFF2-40B4-BE49-F238E27FC236}">
                <a16:creationId xmlns:a16="http://schemas.microsoft.com/office/drawing/2014/main" id="{93A674FC-63C8-448C-8A63-A918B5893DA5}"/>
              </a:ext>
            </a:extLst>
          </p:cNvPr>
          <p:cNvSpPr>
            <a:spLocks noGrp="1"/>
          </p:cNvSpPr>
          <p:nvPr>
            <p:ph type="body" sz="quarter" idx="21" hasCustomPrompt="1"/>
          </p:nvPr>
        </p:nvSpPr>
        <p:spPr>
          <a:xfrm>
            <a:off x="6210300" y="1560606"/>
            <a:ext cx="5143500" cy="1434780"/>
          </a:xfrm>
        </p:spPr>
        <p:txBody>
          <a:bodyPr lIns="0" rIns="457200">
            <a:noAutofit/>
          </a:bodyPr>
          <a:lstStyle>
            <a:lvl1pPr marL="0" indent="0" algn="l">
              <a:buNone/>
              <a:defRPr sz="2000">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3" name="Picture Placeholder 2">
            <a:extLst>
              <a:ext uri="{FF2B5EF4-FFF2-40B4-BE49-F238E27FC236}">
                <a16:creationId xmlns:a16="http://schemas.microsoft.com/office/drawing/2014/main" id="{0E004348-55EF-4B40-8BD9-E45F6263C057}"/>
              </a:ext>
            </a:extLst>
          </p:cNvPr>
          <p:cNvSpPr>
            <a:spLocks noGrp="1"/>
          </p:cNvSpPr>
          <p:nvPr>
            <p:ph type="pic" sz="quarter" idx="22"/>
          </p:nvPr>
        </p:nvSpPr>
        <p:spPr>
          <a:xfrm>
            <a:off x="5760218" y="3592286"/>
            <a:ext cx="6431782" cy="3265714"/>
          </a:xfrm>
        </p:spPr>
        <p:txBody>
          <a:bodyPr/>
          <a:lstStyle/>
          <a:p>
            <a:endParaRPr lang="en-US"/>
          </a:p>
        </p:txBody>
      </p:sp>
    </p:spTree>
    <p:extLst>
      <p:ext uri="{BB962C8B-B14F-4D97-AF65-F5344CB8AC3E}">
        <p14:creationId xmlns:p14="http://schemas.microsoft.com/office/powerpoint/2010/main" val="255099156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Our Story 2">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1983060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a:latin typeface="Poppins ExtraBold" panose="00000900000000000000" pitchFamily="2" charset="0"/>
              <a:ea typeface="+mj-ea"/>
              <a:cs typeface="+mj-cs"/>
              <a:sym typeface="Poppins ExtraBold" panose="00000900000000000000" pitchFamily="2" charset="0"/>
            </a:endParaRPr>
          </a:p>
        </p:txBody>
      </p:sp>
      <p:sp>
        <p:nvSpPr>
          <p:cNvPr id="20" name="Rectangle 19">
            <a:extLst>
              <a:ext uri="{FF2B5EF4-FFF2-40B4-BE49-F238E27FC236}">
                <a16:creationId xmlns:a16="http://schemas.microsoft.com/office/drawing/2014/main" id="{3330F4D7-4A9E-4DEE-8885-046C363D1BAC}"/>
              </a:ext>
            </a:extLst>
          </p:cNvPr>
          <p:cNvSpPr/>
          <p:nvPr userDrawn="1"/>
        </p:nvSpPr>
        <p:spPr>
          <a:xfrm>
            <a:off x="6210300" y="0"/>
            <a:ext cx="59817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4C48CBC-9FBB-43DF-BD4A-B3216FB008EC}"/>
              </a:ext>
            </a:extLst>
          </p:cNvPr>
          <p:cNvSpPr>
            <a:spLocks noGrp="1"/>
          </p:cNvSpPr>
          <p:nvPr>
            <p:ph type="title" hasCustomPrompt="1"/>
          </p:nvPr>
        </p:nvSpPr>
        <p:spPr>
          <a:xfrm>
            <a:off x="838200" y="719016"/>
            <a:ext cx="5143500" cy="472010"/>
          </a:xfrm>
        </p:spPr>
        <p:txBody>
          <a:bodyPr anchor="ctr">
            <a:normAutofit/>
          </a:bodyPr>
          <a:lstStyle>
            <a:lvl1pPr>
              <a:defRPr sz="2000">
                <a:solidFill>
                  <a:schemeClr val="accent2"/>
                </a:solidFill>
              </a:defRPr>
            </a:lvl1pPr>
          </a:lstStyle>
          <a:p>
            <a:r>
              <a:rPr lang="en-US"/>
              <a:t>Our Story</a:t>
            </a:r>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lvl1pPr>
              <a:defRPr>
                <a:solidFill>
                  <a:schemeClr val="bg1"/>
                </a:solidFill>
              </a:defRPr>
            </a:lvl1pPr>
          </a:lstStyle>
          <a:p>
            <a:fld id="{A1471D42-392E-4D14-982B-D9D765EA1509}" type="slidenum">
              <a:rPr lang="en-US" smtClean="0"/>
              <a:pPr/>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1" name="Text Placeholder 20">
            <a:extLst>
              <a:ext uri="{FF2B5EF4-FFF2-40B4-BE49-F238E27FC236}">
                <a16:creationId xmlns:a16="http://schemas.microsoft.com/office/drawing/2014/main" id="{DDA99C94-57EF-4B02-9671-725FC468AD7B}"/>
              </a:ext>
            </a:extLst>
          </p:cNvPr>
          <p:cNvSpPr>
            <a:spLocks noGrp="1"/>
          </p:cNvSpPr>
          <p:nvPr>
            <p:ph type="body" sz="quarter" idx="13"/>
          </p:nvPr>
        </p:nvSpPr>
        <p:spPr>
          <a:xfrm>
            <a:off x="838200" y="1905641"/>
            <a:ext cx="5143500" cy="1836484"/>
          </a:xfrm>
        </p:spPr>
        <p:txBody>
          <a:bodyPr rIns="457200">
            <a:no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edit Master text styles</a:t>
            </a:r>
          </a:p>
          <a:p>
            <a:pPr lvl="1"/>
            <a:r>
              <a:rPr lang="en-US"/>
              <a:t>Second level</a:t>
            </a:r>
          </a:p>
          <a:p>
            <a:pPr lvl="2"/>
            <a:r>
              <a:rPr lang="en-US"/>
              <a:t>Third level</a:t>
            </a:r>
          </a:p>
        </p:txBody>
      </p:sp>
      <p:sp>
        <p:nvSpPr>
          <p:cNvPr id="24" name="Text Placeholder 20">
            <a:extLst>
              <a:ext uri="{FF2B5EF4-FFF2-40B4-BE49-F238E27FC236}">
                <a16:creationId xmlns:a16="http://schemas.microsoft.com/office/drawing/2014/main" id="{3C53C450-2C06-4D6C-9F56-E2B9598D72CC}"/>
              </a:ext>
            </a:extLst>
          </p:cNvPr>
          <p:cNvSpPr>
            <a:spLocks noGrp="1"/>
          </p:cNvSpPr>
          <p:nvPr>
            <p:ph type="body" sz="quarter" idx="14"/>
          </p:nvPr>
        </p:nvSpPr>
        <p:spPr>
          <a:xfrm>
            <a:off x="7529873" y="3818964"/>
            <a:ext cx="3342554" cy="1759643"/>
          </a:xfrm>
        </p:spPr>
        <p:txBody>
          <a:bodyPr lIns="0">
            <a:noAutofit/>
          </a:bodyPr>
          <a:lstStyle>
            <a:lvl1pPr marL="0" indent="0" algn="ctr">
              <a:buNone/>
              <a:defRPr sz="2000">
                <a:solidFill>
                  <a:schemeClr val="bg1"/>
                </a:solidFill>
              </a:defRPr>
            </a:lvl1pPr>
            <a:lvl2pPr marL="457200" indent="0" algn="ctr">
              <a:buNone/>
              <a:defRPr sz="2000">
                <a:solidFill>
                  <a:schemeClr val="bg1"/>
                </a:solidFill>
              </a:defRPr>
            </a:lvl2pPr>
            <a:lvl3pPr marL="914400" indent="0" algn="ctr">
              <a:buNone/>
              <a:defRPr sz="2000">
                <a:solidFill>
                  <a:schemeClr val="bg1"/>
                </a:solidFill>
              </a:defRPr>
            </a:lvl3pPr>
            <a:lvl4pPr marL="1371600" indent="0" algn="ctr">
              <a:buNone/>
              <a:defRPr sz="2000">
                <a:solidFill>
                  <a:schemeClr val="bg1"/>
                </a:solidFill>
              </a:defRPr>
            </a:lvl4pPr>
            <a:lvl5pPr marL="1828800" indent="0" algn="ctr">
              <a:buNone/>
              <a:defRPr sz="200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948741A6-2BFC-4770-9DCE-F80BD2A66B29}"/>
              </a:ext>
            </a:extLst>
          </p:cNvPr>
          <p:cNvSpPr>
            <a:spLocks noGrp="1"/>
          </p:cNvSpPr>
          <p:nvPr>
            <p:ph type="body" sz="quarter" idx="15" hasCustomPrompt="1"/>
          </p:nvPr>
        </p:nvSpPr>
        <p:spPr>
          <a:xfrm>
            <a:off x="7529873" y="2442205"/>
            <a:ext cx="3342554" cy="785089"/>
          </a:xfrm>
        </p:spPr>
        <p:txBody>
          <a:bodyPr anchor="b">
            <a:normAutofit/>
          </a:bodyPr>
          <a:lstStyle>
            <a:lvl1pPr marL="0" indent="0" algn="ctr">
              <a:buNone/>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a</a:t>
            </a:r>
          </a:p>
        </p:txBody>
      </p:sp>
      <p:cxnSp>
        <p:nvCxnSpPr>
          <p:cNvPr id="27" name="Straight Connector 26">
            <a:extLst>
              <a:ext uri="{FF2B5EF4-FFF2-40B4-BE49-F238E27FC236}">
                <a16:creationId xmlns:a16="http://schemas.microsoft.com/office/drawing/2014/main" id="{3B70946F-47C3-453A-8FE2-78A660D30A5A}"/>
              </a:ext>
            </a:extLst>
          </p:cNvPr>
          <p:cNvCxnSpPr>
            <a:cxnSpLocks/>
          </p:cNvCxnSpPr>
          <p:nvPr userDrawn="1"/>
        </p:nvCxnSpPr>
        <p:spPr>
          <a:xfrm>
            <a:off x="7506821" y="3526971"/>
            <a:ext cx="338865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20">
            <a:extLst>
              <a:ext uri="{FF2B5EF4-FFF2-40B4-BE49-F238E27FC236}">
                <a16:creationId xmlns:a16="http://schemas.microsoft.com/office/drawing/2014/main" id="{80FC398A-D951-4440-BD74-C11F06328371}"/>
              </a:ext>
            </a:extLst>
          </p:cNvPr>
          <p:cNvSpPr>
            <a:spLocks noGrp="1"/>
          </p:cNvSpPr>
          <p:nvPr>
            <p:ph type="body" sz="quarter" idx="16" hasCustomPrompt="1"/>
          </p:nvPr>
        </p:nvSpPr>
        <p:spPr>
          <a:xfrm>
            <a:off x="838200" y="1413862"/>
            <a:ext cx="5143500" cy="437989"/>
          </a:xfrm>
        </p:spPr>
        <p:txBody>
          <a:bodyPr anchor="ctr">
            <a:normAutofit/>
          </a:bodyPr>
          <a:lstStyle>
            <a:lvl1pPr marL="0" indent="0">
              <a:buNone/>
              <a:defRPr sz="1600" b="1">
                <a:solidFill>
                  <a:schemeClr val="accent1"/>
                </a:solidFill>
              </a:defRPr>
            </a:lvl1pPr>
          </a:lstStyle>
          <a:p>
            <a:pPr lvl="0"/>
            <a:r>
              <a:rPr lang="en-US"/>
              <a:t>Subtitle</a:t>
            </a:r>
          </a:p>
        </p:txBody>
      </p:sp>
      <p:sp>
        <p:nvSpPr>
          <p:cNvPr id="29" name="Text Placeholder 20">
            <a:extLst>
              <a:ext uri="{FF2B5EF4-FFF2-40B4-BE49-F238E27FC236}">
                <a16:creationId xmlns:a16="http://schemas.microsoft.com/office/drawing/2014/main" id="{BC5038E9-558D-4E1B-B8A4-E22A82F12495}"/>
              </a:ext>
            </a:extLst>
          </p:cNvPr>
          <p:cNvSpPr>
            <a:spLocks noGrp="1"/>
          </p:cNvSpPr>
          <p:nvPr>
            <p:ph type="body" sz="quarter" idx="17"/>
          </p:nvPr>
        </p:nvSpPr>
        <p:spPr>
          <a:xfrm>
            <a:off x="838200" y="4335716"/>
            <a:ext cx="5143500" cy="1836484"/>
          </a:xfrm>
        </p:spPr>
        <p:txBody>
          <a:bodyPr rIns="457200">
            <a:noAutofit/>
          </a:bodyPr>
          <a:lstStyle>
            <a:lvl1pPr marL="171450" indent="-171450">
              <a:buFont typeface="Arial" panose="020B0604020202020204" pitchFamily="34" charset="0"/>
              <a:buChar char="•"/>
              <a:defRPr sz="2000"/>
            </a:lvl1pPr>
            <a:lvl2pPr marL="628650" indent="-171450">
              <a:buFont typeface="Arial" panose="020B0604020202020204" pitchFamily="34" charset="0"/>
              <a:buChar char="•"/>
              <a:defRPr sz="2000"/>
            </a:lvl2pPr>
            <a:lvl3pPr marL="1085850" indent="-171450">
              <a:buFont typeface="Arial" panose="020B0604020202020204" pitchFamily="34" charset="0"/>
              <a:buChar char="•"/>
              <a:defRPr sz="2000"/>
            </a:lvl3pPr>
            <a:lvl4pPr marL="1543050" indent="-171450">
              <a:buFont typeface="Arial" panose="020B0604020202020204" pitchFamily="34" charset="0"/>
              <a:buChar char="•"/>
              <a:defRPr sz="2000"/>
            </a:lvl4pPr>
            <a:lvl5pPr marL="2000250" indent="-17145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p:txBody>
      </p:sp>
      <p:sp>
        <p:nvSpPr>
          <p:cNvPr id="30" name="Text Placeholder 20">
            <a:extLst>
              <a:ext uri="{FF2B5EF4-FFF2-40B4-BE49-F238E27FC236}">
                <a16:creationId xmlns:a16="http://schemas.microsoft.com/office/drawing/2014/main" id="{7B913968-860C-4789-9A01-7F02A2918391}"/>
              </a:ext>
            </a:extLst>
          </p:cNvPr>
          <p:cNvSpPr>
            <a:spLocks noGrp="1"/>
          </p:cNvSpPr>
          <p:nvPr>
            <p:ph type="body" sz="quarter" idx="18" hasCustomPrompt="1"/>
          </p:nvPr>
        </p:nvSpPr>
        <p:spPr>
          <a:xfrm>
            <a:off x="838200" y="3843937"/>
            <a:ext cx="5143500" cy="437989"/>
          </a:xfrm>
        </p:spPr>
        <p:txBody>
          <a:bodyPr anchor="ctr">
            <a:normAutofit/>
          </a:bodyPr>
          <a:lstStyle>
            <a:lvl1pPr marL="0" indent="0">
              <a:buNone/>
              <a:defRPr sz="1200" b="1">
                <a:solidFill>
                  <a:schemeClr val="accent3"/>
                </a:solidFill>
              </a:defRPr>
            </a:lvl1pPr>
          </a:lstStyle>
          <a:p>
            <a:pPr lvl="0"/>
            <a:r>
              <a:rPr lang="en-US"/>
              <a:t>Sub Subtitle</a:t>
            </a:r>
          </a:p>
        </p:txBody>
      </p:sp>
      <p:sp>
        <p:nvSpPr>
          <p:cNvPr id="32" name="Picture Placeholder 31">
            <a:extLst>
              <a:ext uri="{FF2B5EF4-FFF2-40B4-BE49-F238E27FC236}">
                <a16:creationId xmlns:a16="http://schemas.microsoft.com/office/drawing/2014/main" id="{45838521-3A84-49F1-AD26-4C3192EBD1B7}"/>
              </a:ext>
            </a:extLst>
          </p:cNvPr>
          <p:cNvSpPr>
            <a:spLocks noGrp="1"/>
          </p:cNvSpPr>
          <p:nvPr>
            <p:ph type="pic" sz="quarter" idx="19"/>
          </p:nvPr>
        </p:nvSpPr>
        <p:spPr>
          <a:xfrm>
            <a:off x="8354219" y="723900"/>
            <a:ext cx="1693862" cy="1693863"/>
          </a:xfrm>
        </p:spPr>
        <p:txBody>
          <a:bodyPr/>
          <a:lstStyle/>
          <a:p>
            <a:endParaRPr lang="en-US"/>
          </a:p>
        </p:txBody>
      </p:sp>
    </p:spTree>
    <p:extLst>
      <p:ext uri="{BB962C8B-B14F-4D97-AF65-F5344CB8AC3E}">
        <p14:creationId xmlns:p14="http://schemas.microsoft.com/office/powerpoint/2010/main" val="282515870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Our Brand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5F4472-CEB9-4592-B1B7-4610AEF42C05}"/>
              </a:ext>
            </a:extLst>
          </p:cNvPr>
          <p:cNvGraphicFramePr>
            <a:graphicFrameLocks noChangeAspect="1"/>
          </p:cNvGraphicFramePr>
          <p:nvPr userDrawn="1">
            <p:custDataLst>
              <p:tags r:id="rId1"/>
            </p:custDataLst>
            <p:extLst>
              <p:ext uri="{D42A27DB-BD31-4B8C-83A1-F6EECF244321}">
                <p14:modId xmlns:p14="http://schemas.microsoft.com/office/powerpoint/2010/main" val="1669301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D35F4472-CEB9-4592-B1B7-4610AEF42C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7C16CAF-5ACD-4872-90BC-31DC5A3DFF2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FB1A2F0C-A90C-470A-BB72-C652598A68D8}"/>
              </a:ext>
            </a:extLst>
          </p:cNvPr>
          <p:cNvSpPr/>
          <p:nvPr userDrawn="1"/>
        </p:nvSpPr>
        <p:spPr>
          <a:xfrm>
            <a:off x="0" y="2305050"/>
            <a:ext cx="12192000" cy="4552951"/>
          </a:xfrm>
          <a:prstGeom prst="rect">
            <a:avLst/>
          </a:prstGeom>
          <a:solidFill>
            <a:srgbClr val="F1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23901"/>
            <a:ext cx="3390900" cy="1352549"/>
          </a:xfrm>
        </p:spPr>
        <p:txBody>
          <a:bodyPr anchor="ctr"/>
          <a:lstStyle>
            <a:lvl1pPr>
              <a:defRPr>
                <a:solidFill>
                  <a:schemeClr val="accent1"/>
                </a:solidFill>
              </a:defRPr>
            </a:lvl1pPr>
          </a:lstStyle>
          <a:p>
            <a:r>
              <a:rPr lang="en-US"/>
              <a:t>Our Brands</a:t>
            </a:r>
          </a:p>
        </p:txBody>
      </p:sp>
      <p:grpSp>
        <p:nvGrpSpPr>
          <p:cNvPr id="12" name="Graphic 6">
            <a:extLst>
              <a:ext uri="{FF2B5EF4-FFF2-40B4-BE49-F238E27FC236}">
                <a16:creationId xmlns:a16="http://schemas.microsoft.com/office/drawing/2014/main" id="{6F33694D-A696-4E5F-BD7B-B2D3E1792923}"/>
              </a:ext>
            </a:extLst>
          </p:cNvPr>
          <p:cNvGrpSpPr/>
          <p:nvPr userDrawn="1"/>
        </p:nvGrpSpPr>
        <p:grpSpPr>
          <a:xfrm>
            <a:off x="891988" y="6394893"/>
            <a:ext cx="432890" cy="187030"/>
            <a:chOff x="85969" y="3646150"/>
            <a:chExt cx="1544103" cy="667132"/>
          </a:xfrm>
          <a:solidFill>
            <a:srgbClr val="FF9E18"/>
          </a:solidFill>
        </p:grpSpPr>
        <p:sp>
          <p:nvSpPr>
            <p:cNvPr id="13" name="Freeform: Shape 12">
              <a:extLst>
                <a:ext uri="{FF2B5EF4-FFF2-40B4-BE49-F238E27FC236}">
                  <a16:creationId xmlns:a16="http://schemas.microsoft.com/office/drawing/2014/main" id="{4E997645-76A6-49E6-8465-BB96BCA3442C}"/>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0BA2DA5-8DC0-4A39-A0DD-C6FA0B705841}"/>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044468FC-750A-48E4-B0A2-BB3CA471C07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B197554-4C1B-41D3-91BF-0ECA2E5F3D40}"/>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7" name="Text Placeholder 20">
            <a:extLst>
              <a:ext uri="{FF2B5EF4-FFF2-40B4-BE49-F238E27FC236}">
                <a16:creationId xmlns:a16="http://schemas.microsoft.com/office/drawing/2014/main" id="{17EB5151-8A2B-4DF7-A176-234B652A196D}"/>
              </a:ext>
            </a:extLst>
          </p:cNvPr>
          <p:cNvSpPr>
            <a:spLocks noGrp="1"/>
          </p:cNvSpPr>
          <p:nvPr>
            <p:ph type="body" sz="quarter" idx="13"/>
          </p:nvPr>
        </p:nvSpPr>
        <p:spPr>
          <a:xfrm>
            <a:off x="4457700" y="723901"/>
            <a:ext cx="6896099" cy="1352549"/>
          </a:xfrm>
        </p:spPr>
        <p:txBody>
          <a:bodyPr rIns="457200" anchor="ctr">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CB97D16F-D6D5-47A8-AE9E-031CBC7FF4B7}"/>
              </a:ext>
            </a:extLst>
          </p:cNvPr>
          <p:cNvSpPr>
            <a:spLocks noGrp="1"/>
          </p:cNvSpPr>
          <p:nvPr>
            <p:ph type="pic" sz="quarter" idx="14"/>
          </p:nvPr>
        </p:nvSpPr>
        <p:spPr>
          <a:xfrm>
            <a:off x="838200" y="2581275"/>
            <a:ext cx="3390900" cy="1143000"/>
          </a:xfrm>
        </p:spPr>
        <p:txBody>
          <a:bodyPr/>
          <a:lstStyle/>
          <a:p>
            <a:endParaRPr lang="en-US"/>
          </a:p>
        </p:txBody>
      </p:sp>
      <p:sp>
        <p:nvSpPr>
          <p:cNvPr id="18" name="Picture Placeholder 8">
            <a:extLst>
              <a:ext uri="{FF2B5EF4-FFF2-40B4-BE49-F238E27FC236}">
                <a16:creationId xmlns:a16="http://schemas.microsoft.com/office/drawing/2014/main" id="{B8D53610-0D24-49E1-BAC5-0444D3028599}"/>
              </a:ext>
            </a:extLst>
          </p:cNvPr>
          <p:cNvSpPr>
            <a:spLocks noGrp="1"/>
          </p:cNvSpPr>
          <p:nvPr>
            <p:ph type="pic" sz="quarter" idx="15"/>
          </p:nvPr>
        </p:nvSpPr>
        <p:spPr>
          <a:xfrm>
            <a:off x="4457700" y="2581275"/>
            <a:ext cx="3276600" cy="1143000"/>
          </a:xfrm>
        </p:spPr>
        <p:txBody>
          <a:bodyPr/>
          <a:lstStyle/>
          <a:p>
            <a:endParaRPr lang="en-US"/>
          </a:p>
        </p:txBody>
      </p:sp>
      <p:sp>
        <p:nvSpPr>
          <p:cNvPr id="19" name="Picture Placeholder 8">
            <a:extLst>
              <a:ext uri="{FF2B5EF4-FFF2-40B4-BE49-F238E27FC236}">
                <a16:creationId xmlns:a16="http://schemas.microsoft.com/office/drawing/2014/main" id="{E6D617FE-A67B-4DD8-88A1-35D63BE0B19A}"/>
              </a:ext>
            </a:extLst>
          </p:cNvPr>
          <p:cNvSpPr>
            <a:spLocks noGrp="1"/>
          </p:cNvSpPr>
          <p:nvPr>
            <p:ph type="pic" sz="quarter" idx="16"/>
          </p:nvPr>
        </p:nvSpPr>
        <p:spPr>
          <a:xfrm>
            <a:off x="7962900" y="2581275"/>
            <a:ext cx="3390900" cy="1143000"/>
          </a:xfrm>
        </p:spPr>
        <p:txBody>
          <a:bodyPr/>
          <a:lstStyle/>
          <a:p>
            <a:endParaRPr lang="en-US"/>
          </a:p>
        </p:txBody>
      </p:sp>
      <p:sp>
        <p:nvSpPr>
          <p:cNvPr id="20" name="Picture Placeholder 8">
            <a:extLst>
              <a:ext uri="{FF2B5EF4-FFF2-40B4-BE49-F238E27FC236}">
                <a16:creationId xmlns:a16="http://schemas.microsoft.com/office/drawing/2014/main" id="{2B37B88F-897D-4DA8-8CC0-CBD93C958E20}"/>
              </a:ext>
            </a:extLst>
          </p:cNvPr>
          <p:cNvSpPr>
            <a:spLocks noGrp="1"/>
          </p:cNvSpPr>
          <p:nvPr>
            <p:ph type="pic" sz="quarter" idx="17"/>
          </p:nvPr>
        </p:nvSpPr>
        <p:spPr>
          <a:xfrm>
            <a:off x="838200" y="3800475"/>
            <a:ext cx="3390900" cy="1143000"/>
          </a:xfrm>
        </p:spPr>
        <p:txBody>
          <a:bodyPr/>
          <a:lstStyle/>
          <a:p>
            <a:endParaRPr lang="en-US"/>
          </a:p>
        </p:txBody>
      </p:sp>
      <p:sp>
        <p:nvSpPr>
          <p:cNvPr id="21" name="Picture Placeholder 8">
            <a:extLst>
              <a:ext uri="{FF2B5EF4-FFF2-40B4-BE49-F238E27FC236}">
                <a16:creationId xmlns:a16="http://schemas.microsoft.com/office/drawing/2014/main" id="{4529DA02-79DA-4D0A-BD75-97ACAABD1C6C}"/>
              </a:ext>
            </a:extLst>
          </p:cNvPr>
          <p:cNvSpPr>
            <a:spLocks noGrp="1"/>
          </p:cNvSpPr>
          <p:nvPr>
            <p:ph type="pic" sz="quarter" idx="18"/>
          </p:nvPr>
        </p:nvSpPr>
        <p:spPr>
          <a:xfrm>
            <a:off x="4457700" y="3800475"/>
            <a:ext cx="3276600" cy="1143000"/>
          </a:xfrm>
        </p:spPr>
        <p:txBody>
          <a:bodyPr/>
          <a:lstStyle/>
          <a:p>
            <a:endParaRPr lang="en-US"/>
          </a:p>
        </p:txBody>
      </p:sp>
      <p:sp>
        <p:nvSpPr>
          <p:cNvPr id="22" name="Picture Placeholder 8">
            <a:extLst>
              <a:ext uri="{FF2B5EF4-FFF2-40B4-BE49-F238E27FC236}">
                <a16:creationId xmlns:a16="http://schemas.microsoft.com/office/drawing/2014/main" id="{B19DEB20-57E3-4DCD-9506-84653157FD9A}"/>
              </a:ext>
            </a:extLst>
          </p:cNvPr>
          <p:cNvSpPr>
            <a:spLocks noGrp="1"/>
          </p:cNvSpPr>
          <p:nvPr>
            <p:ph type="pic" sz="quarter" idx="19"/>
          </p:nvPr>
        </p:nvSpPr>
        <p:spPr>
          <a:xfrm>
            <a:off x="7962900" y="3800475"/>
            <a:ext cx="3390900" cy="1143000"/>
          </a:xfrm>
        </p:spPr>
        <p:txBody>
          <a:bodyPr/>
          <a:lstStyle/>
          <a:p>
            <a:endParaRPr lang="en-US"/>
          </a:p>
        </p:txBody>
      </p:sp>
      <p:sp>
        <p:nvSpPr>
          <p:cNvPr id="23" name="Picture Placeholder 8">
            <a:extLst>
              <a:ext uri="{FF2B5EF4-FFF2-40B4-BE49-F238E27FC236}">
                <a16:creationId xmlns:a16="http://schemas.microsoft.com/office/drawing/2014/main" id="{9C2FAE33-AA4B-4812-BDD2-B690F530879C}"/>
              </a:ext>
            </a:extLst>
          </p:cNvPr>
          <p:cNvSpPr>
            <a:spLocks noGrp="1"/>
          </p:cNvSpPr>
          <p:nvPr>
            <p:ph type="pic" sz="quarter" idx="20"/>
          </p:nvPr>
        </p:nvSpPr>
        <p:spPr>
          <a:xfrm>
            <a:off x="838200" y="5029200"/>
            <a:ext cx="3390900" cy="1143000"/>
          </a:xfrm>
        </p:spPr>
        <p:txBody>
          <a:bodyPr/>
          <a:lstStyle/>
          <a:p>
            <a:endParaRPr lang="en-US"/>
          </a:p>
        </p:txBody>
      </p:sp>
      <p:sp>
        <p:nvSpPr>
          <p:cNvPr id="24" name="Picture Placeholder 8">
            <a:extLst>
              <a:ext uri="{FF2B5EF4-FFF2-40B4-BE49-F238E27FC236}">
                <a16:creationId xmlns:a16="http://schemas.microsoft.com/office/drawing/2014/main" id="{9B17764A-C197-4D8D-B458-77B67EE351D0}"/>
              </a:ext>
            </a:extLst>
          </p:cNvPr>
          <p:cNvSpPr>
            <a:spLocks noGrp="1"/>
          </p:cNvSpPr>
          <p:nvPr>
            <p:ph type="pic" sz="quarter" idx="21"/>
          </p:nvPr>
        </p:nvSpPr>
        <p:spPr>
          <a:xfrm>
            <a:off x="4457700" y="5029200"/>
            <a:ext cx="3276600" cy="1143000"/>
          </a:xfrm>
        </p:spPr>
        <p:txBody>
          <a:bodyPr/>
          <a:lstStyle/>
          <a:p>
            <a:endParaRPr lang="en-US"/>
          </a:p>
        </p:txBody>
      </p:sp>
      <p:sp>
        <p:nvSpPr>
          <p:cNvPr id="25" name="Picture Placeholder 8">
            <a:extLst>
              <a:ext uri="{FF2B5EF4-FFF2-40B4-BE49-F238E27FC236}">
                <a16:creationId xmlns:a16="http://schemas.microsoft.com/office/drawing/2014/main" id="{5B95AF2C-B7AE-4664-8D95-1A03768FF9AE}"/>
              </a:ext>
            </a:extLst>
          </p:cNvPr>
          <p:cNvSpPr>
            <a:spLocks noGrp="1"/>
          </p:cNvSpPr>
          <p:nvPr>
            <p:ph type="pic" sz="quarter" idx="22"/>
          </p:nvPr>
        </p:nvSpPr>
        <p:spPr>
          <a:xfrm>
            <a:off x="7962900" y="5029200"/>
            <a:ext cx="3390900" cy="1143000"/>
          </a:xfrm>
        </p:spPr>
        <p:txBody>
          <a:bodyPr/>
          <a:lstStyle/>
          <a:p>
            <a:endParaRPr lang="en-US"/>
          </a:p>
        </p:txBody>
      </p:sp>
      <p:sp>
        <p:nvSpPr>
          <p:cNvPr id="34" name="Freeform: Shape 33">
            <a:extLst>
              <a:ext uri="{FF2B5EF4-FFF2-40B4-BE49-F238E27FC236}">
                <a16:creationId xmlns:a16="http://schemas.microsoft.com/office/drawing/2014/main" id="{374ADB05-763D-4249-BA0D-D6D50F1A21A5}"/>
              </a:ext>
            </a:extLst>
          </p:cNvPr>
          <p:cNvSpPr/>
          <p:nvPr userDrawn="1"/>
        </p:nvSpPr>
        <p:spPr>
          <a:xfrm>
            <a:off x="3457815" y="721254"/>
            <a:ext cx="618886" cy="1236708"/>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a:p>
        </p:txBody>
      </p:sp>
      <p:sp>
        <p:nvSpPr>
          <p:cNvPr id="26" name="Slide Number Placeholder 4">
            <a:extLst>
              <a:ext uri="{FF2B5EF4-FFF2-40B4-BE49-F238E27FC236}">
                <a16:creationId xmlns:a16="http://schemas.microsoft.com/office/drawing/2014/main" id="{FD45A763-4776-4827-8FB8-2182F03C6419}"/>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281783000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Our Brand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5F4472-CEB9-4592-B1B7-4610AEF42C05}"/>
              </a:ext>
            </a:extLst>
          </p:cNvPr>
          <p:cNvGraphicFramePr>
            <a:graphicFrameLocks noChangeAspect="1"/>
          </p:cNvGraphicFramePr>
          <p:nvPr userDrawn="1">
            <p:custDataLst>
              <p:tags r:id="rId1"/>
            </p:custDataLst>
            <p:extLst>
              <p:ext uri="{D42A27DB-BD31-4B8C-83A1-F6EECF244321}">
                <p14:modId xmlns:p14="http://schemas.microsoft.com/office/powerpoint/2010/main" val="3729669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D35F4472-CEB9-4592-B1B7-4610AEF42C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7C16CAF-5ACD-4872-90BC-31DC5A3DFF2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a:latin typeface="Poppins ExtraBold" panose="00000900000000000000" pitchFamily="2" charset="0"/>
              <a:ea typeface="+mj-ea"/>
              <a:cs typeface="+mj-cs"/>
              <a:sym typeface="Poppins ExtraBold" panose="00000900000000000000" pitchFamily="2" charset="0"/>
            </a:endParaRPr>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4457700" y="723902"/>
            <a:ext cx="5143500" cy="504824"/>
          </a:xfrm>
        </p:spPr>
        <p:txBody>
          <a:bodyPr anchor="ctr">
            <a:normAutofit/>
          </a:bodyPr>
          <a:lstStyle>
            <a:lvl1pPr>
              <a:defRPr sz="2000">
                <a:solidFill>
                  <a:schemeClr val="accent3"/>
                </a:solidFill>
              </a:defRPr>
            </a:lvl1pPr>
          </a:lstStyle>
          <a:p>
            <a:r>
              <a:rPr lang="en-US"/>
              <a:t>Our Brands</a:t>
            </a:r>
          </a:p>
        </p:txBody>
      </p:sp>
      <p:grpSp>
        <p:nvGrpSpPr>
          <p:cNvPr id="12" name="Graphic 6">
            <a:extLst>
              <a:ext uri="{FF2B5EF4-FFF2-40B4-BE49-F238E27FC236}">
                <a16:creationId xmlns:a16="http://schemas.microsoft.com/office/drawing/2014/main" id="{6F33694D-A696-4E5F-BD7B-B2D3E1792923}"/>
              </a:ext>
            </a:extLst>
          </p:cNvPr>
          <p:cNvGrpSpPr/>
          <p:nvPr userDrawn="1"/>
        </p:nvGrpSpPr>
        <p:grpSpPr>
          <a:xfrm>
            <a:off x="891988" y="6394893"/>
            <a:ext cx="432890" cy="187030"/>
            <a:chOff x="85969" y="3646150"/>
            <a:chExt cx="1544103" cy="667132"/>
          </a:xfrm>
          <a:solidFill>
            <a:schemeClr val="bg1"/>
          </a:solidFill>
        </p:grpSpPr>
        <p:sp>
          <p:nvSpPr>
            <p:cNvPr id="13" name="Freeform: Shape 12">
              <a:extLst>
                <a:ext uri="{FF2B5EF4-FFF2-40B4-BE49-F238E27FC236}">
                  <a16:creationId xmlns:a16="http://schemas.microsoft.com/office/drawing/2014/main" id="{4E997645-76A6-49E6-8465-BB96BCA3442C}"/>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0BA2DA5-8DC0-4A39-A0DD-C6FA0B705841}"/>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044468FC-750A-48E4-B0A2-BB3CA471C07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B197554-4C1B-41D3-91BF-0ECA2E5F3D40}"/>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17" name="Text Placeholder 20">
            <a:extLst>
              <a:ext uri="{FF2B5EF4-FFF2-40B4-BE49-F238E27FC236}">
                <a16:creationId xmlns:a16="http://schemas.microsoft.com/office/drawing/2014/main" id="{17EB5151-8A2B-4DF7-A176-234B652A196D}"/>
              </a:ext>
            </a:extLst>
          </p:cNvPr>
          <p:cNvSpPr>
            <a:spLocks noGrp="1"/>
          </p:cNvSpPr>
          <p:nvPr>
            <p:ph type="body" sz="quarter" idx="13"/>
          </p:nvPr>
        </p:nvSpPr>
        <p:spPr>
          <a:xfrm>
            <a:off x="4457700" y="3019425"/>
            <a:ext cx="3276600" cy="3152775"/>
          </a:xfrm>
        </p:spPr>
        <p:txBody>
          <a:bodyPr rIns="457200" anchor="t">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Picture Placeholder 8">
            <a:extLst>
              <a:ext uri="{FF2B5EF4-FFF2-40B4-BE49-F238E27FC236}">
                <a16:creationId xmlns:a16="http://schemas.microsoft.com/office/drawing/2014/main" id="{CB97D16F-D6D5-47A8-AE9E-031CBC7FF4B7}"/>
              </a:ext>
            </a:extLst>
          </p:cNvPr>
          <p:cNvSpPr>
            <a:spLocks noGrp="1"/>
          </p:cNvSpPr>
          <p:nvPr>
            <p:ph type="pic" sz="quarter" idx="14" hasCustomPrompt="1"/>
          </p:nvPr>
        </p:nvSpPr>
        <p:spPr>
          <a:xfrm>
            <a:off x="4457700" y="1485901"/>
            <a:ext cx="5029200" cy="1266613"/>
          </a:xfrm>
        </p:spPr>
        <p:txBody>
          <a:bodyPr/>
          <a:lstStyle>
            <a:lvl1pPr marL="0" indent="0">
              <a:buNone/>
              <a:defRPr/>
            </a:lvl1pPr>
          </a:lstStyle>
          <a:p>
            <a:r>
              <a:rPr lang="en-US"/>
              <a:t>Logo</a:t>
            </a:r>
          </a:p>
        </p:txBody>
      </p:sp>
      <p:sp>
        <p:nvSpPr>
          <p:cNvPr id="32" name="Text Placeholder 20">
            <a:extLst>
              <a:ext uri="{FF2B5EF4-FFF2-40B4-BE49-F238E27FC236}">
                <a16:creationId xmlns:a16="http://schemas.microsoft.com/office/drawing/2014/main" id="{E1D2C878-2455-4DCF-9C58-FBE3A4E1CC5B}"/>
              </a:ext>
            </a:extLst>
          </p:cNvPr>
          <p:cNvSpPr>
            <a:spLocks noGrp="1"/>
          </p:cNvSpPr>
          <p:nvPr>
            <p:ph type="body" sz="quarter" idx="18"/>
          </p:nvPr>
        </p:nvSpPr>
        <p:spPr>
          <a:xfrm>
            <a:off x="7962899" y="3019425"/>
            <a:ext cx="3390901" cy="3152775"/>
          </a:xfrm>
        </p:spPr>
        <p:txBody>
          <a:bodyPr rIns="457200" anchor="t">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Picture Placeholder 34">
            <a:extLst>
              <a:ext uri="{FF2B5EF4-FFF2-40B4-BE49-F238E27FC236}">
                <a16:creationId xmlns:a16="http://schemas.microsoft.com/office/drawing/2014/main" id="{CA8E0223-D0C0-4746-A259-980410DAA881}"/>
              </a:ext>
            </a:extLst>
          </p:cNvPr>
          <p:cNvSpPr>
            <a:spLocks noGrp="1"/>
          </p:cNvSpPr>
          <p:nvPr>
            <p:ph type="pic" sz="quarter" idx="19"/>
          </p:nvPr>
        </p:nvSpPr>
        <p:spPr>
          <a:xfrm>
            <a:off x="0" y="0"/>
            <a:ext cx="4229100" cy="6858000"/>
          </a:xfrm>
          <a:custGeom>
            <a:avLst/>
            <a:gdLst>
              <a:gd name="connsiteX0" fmla="*/ 0 w 4229100"/>
              <a:gd name="connsiteY0" fmla="*/ 0 h 6858000"/>
              <a:gd name="connsiteX1" fmla="*/ 4229100 w 4229100"/>
              <a:gd name="connsiteY1" fmla="*/ 0 h 6858000"/>
              <a:gd name="connsiteX2" fmla="*/ 4229100 w 4229100"/>
              <a:gd name="connsiteY2" fmla="*/ 304800 h 6858000"/>
              <a:gd name="connsiteX3" fmla="*/ 4205781 w 4229100"/>
              <a:gd name="connsiteY3" fmla="*/ 304800 h 6858000"/>
              <a:gd name="connsiteX4" fmla="*/ 3571875 w 4229100"/>
              <a:gd name="connsiteY4" fmla="*/ 2354176 h 6858000"/>
              <a:gd name="connsiteX5" fmla="*/ 3963790 w 4229100"/>
              <a:gd name="connsiteY5" fmla="*/ 2354176 h 6858000"/>
              <a:gd name="connsiteX6" fmla="*/ 4229100 w 4229100"/>
              <a:gd name="connsiteY6" fmla="*/ 1496103 h 6858000"/>
              <a:gd name="connsiteX7" fmla="*/ 4229100 w 4229100"/>
              <a:gd name="connsiteY7" fmla="*/ 6858000 h 6858000"/>
              <a:gd name="connsiteX8" fmla="*/ 0 w 42291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29100" h="6858000">
                <a:moveTo>
                  <a:pt x="0" y="0"/>
                </a:moveTo>
                <a:lnTo>
                  <a:pt x="4229100" y="0"/>
                </a:lnTo>
                <a:lnTo>
                  <a:pt x="4229100" y="304800"/>
                </a:lnTo>
                <a:lnTo>
                  <a:pt x="4205781" y="304800"/>
                </a:lnTo>
                <a:lnTo>
                  <a:pt x="3571875" y="2354176"/>
                </a:lnTo>
                <a:lnTo>
                  <a:pt x="3963790" y="2354176"/>
                </a:lnTo>
                <a:lnTo>
                  <a:pt x="4229100" y="1496103"/>
                </a:lnTo>
                <a:lnTo>
                  <a:pt x="4229100" y="6858000"/>
                </a:lnTo>
                <a:lnTo>
                  <a:pt x="0" y="6858000"/>
                </a:lnTo>
                <a:close/>
              </a:path>
            </a:pathLst>
          </a:custGeom>
        </p:spPr>
        <p:txBody>
          <a:bodyPr wrap="square">
            <a:noAutofit/>
          </a:bodyPr>
          <a:lstStyle>
            <a:lvl1pPr marL="0" indent="0">
              <a:buNone/>
              <a:defRPr/>
            </a:lvl1pPr>
          </a:lstStyle>
          <a:p>
            <a:endParaRPr lang="en-US"/>
          </a:p>
        </p:txBody>
      </p:sp>
      <p:sp>
        <p:nvSpPr>
          <p:cNvPr id="36" name="Freeform: Shape 35">
            <a:extLst>
              <a:ext uri="{FF2B5EF4-FFF2-40B4-BE49-F238E27FC236}">
                <a16:creationId xmlns:a16="http://schemas.microsoft.com/office/drawing/2014/main" id="{EB9E08B4-EF63-4F80-922D-C550A504ADDD}"/>
              </a:ext>
            </a:extLst>
          </p:cNvPr>
          <p:cNvSpPr/>
          <p:nvPr userDrawn="1"/>
        </p:nvSpPr>
        <p:spPr>
          <a:xfrm>
            <a:off x="3571875" y="304800"/>
            <a:ext cx="1025568" cy="2049373"/>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a:p>
        </p:txBody>
      </p:sp>
      <p:sp>
        <p:nvSpPr>
          <p:cNvPr id="18" name="Slide Number Placeholder 4">
            <a:extLst>
              <a:ext uri="{FF2B5EF4-FFF2-40B4-BE49-F238E27FC236}">
                <a16:creationId xmlns:a16="http://schemas.microsoft.com/office/drawing/2014/main" id="{2B89CB77-4084-4635-A449-0EDD7BD833B2}"/>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24947606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eam Profile">
    <p:bg>
      <p:bgPr>
        <a:solidFill>
          <a:schemeClr val="accent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F5784DC4-BA7E-4CD6-8261-36189368A205}"/>
              </a:ext>
            </a:extLst>
          </p:cNvPr>
          <p:cNvGraphicFramePr>
            <a:graphicFrameLocks noChangeAspect="1"/>
          </p:cNvGraphicFramePr>
          <p:nvPr userDrawn="1">
            <p:custDataLst>
              <p:tags r:id="rId1"/>
            </p:custDataLst>
            <p:extLst>
              <p:ext uri="{D42A27DB-BD31-4B8C-83A1-F6EECF244321}">
                <p14:modId xmlns:p14="http://schemas.microsoft.com/office/powerpoint/2010/main" val="2229739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17" name="Object 16" hidden="1">
                        <a:extLst>
                          <a:ext uri="{FF2B5EF4-FFF2-40B4-BE49-F238E27FC236}">
                            <a16:creationId xmlns:a16="http://schemas.microsoft.com/office/drawing/2014/main" id="{F5784DC4-BA7E-4CD6-8261-36189368A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5"/>
            <a:ext cx="3390900" cy="971673"/>
          </a:xfrm>
        </p:spPr>
        <p:txBody>
          <a:bodyPr/>
          <a:lstStyle>
            <a:lvl1pPr>
              <a:defRPr>
                <a:solidFill>
                  <a:schemeClr val="bg1"/>
                </a:solidFill>
              </a:defRPr>
            </a:lvl1pPr>
          </a:lstStyle>
          <a:p>
            <a:r>
              <a:rPr lang="en-US"/>
              <a:t>Team</a:t>
            </a:r>
          </a:p>
        </p:txBody>
      </p:sp>
      <p:sp>
        <p:nvSpPr>
          <p:cNvPr id="14" name="Text Placeholder 13">
            <a:extLst>
              <a:ext uri="{FF2B5EF4-FFF2-40B4-BE49-F238E27FC236}">
                <a16:creationId xmlns:a16="http://schemas.microsoft.com/office/drawing/2014/main" id="{C0811CD2-1DB2-420B-BAC1-7B518B611B2A}"/>
              </a:ext>
            </a:extLst>
          </p:cNvPr>
          <p:cNvSpPr>
            <a:spLocks noGrp="1"/>
          </p:cNvSpPr>
          <p:nvPr>
            <p:ph type="body" sz="quarter" idx="13" hasCustomPrompt="1"/>
          </p:nvPr>
        </p:nvSpPr>
        <p:spPr>
          <a:xfrm>
            <a:off x="838200" y="4621213"/>
            <a:ext cx="3390900" cy="485775"/>
          </a:xfrm>
        </p:spPr>
        <p:txBody>
          <a:bodyPr>
            <a:normAutofit/>
          </a:bodyPr>
          <a:lstStyle>
            <a:lvl1pPr marL="0" indent="0">
              <a:buNone/>
              <a:defRPr sz="20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15" name="Text Placeholder 13">
            <a:extLst>
              <a:ext uri="{FF2B5EF4-FFF2-40B4-BE49-F238E27FC236}">
                <a16:creationId xmlns:a16="http://schemas.microsoft.com/office/drawing/2014/main" id="{7D8A4C1E-6D32-4CDB-9417-EE3F36011FB7}"/>
              </a:ext>
            </a:extLst>
          </p:cNvPr>
          <p:cNvSpPr>
            <a:spLocks noGrp="1"/>
          </p:cNvSpPr>
          <p:nvPr>
            <p:ph type="body" sz="quarter" idx="14" hasCustomPrompt="1"/>
          </p:nvPr>
        </p:nvSpPr>
        <p:spPr>
          <a:xfrm>
            <a:off x="838200" y="5242720"/>
            <a:ext cx="3390900" cy="485775"/>
          </a:xfrm>
        </p:spPr>
        <p:txBody>
          <a:bodyPr>
            <a:normAutofit/>
          </a:bodyPr>
          <a:lstStyle>
            <a:lvl1pPr marL="0" indent="0">
              <a:buNone/>
              <a:defRPr sz="20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38" name="Picture Placeholder 37">
            <a:extLst>
              <a:ext uri="{FF2B5EF4-FFF2-40B4-BE49-F238E27FC236}">
                <a16:creationId xmlns:a16="http://schemas.microsoft.com/office/drawing/2014/main" id="{F2F5CC39-276F-481F-9FAF-ACA1D1BF08AA}"/>
              </a:ext>
            </a:extLst>
          </p:cNvPr>
          <p:cNvSpPr>
            <a:spLocks noGrp="1"/>
          </p:cNvSpPr>
          <p:nvPr>
            <p:ph type="pic" sz="quarter" idx="16"/>
          </p:nvPr>
        </p:nvSpPr>
        <p:spPr>
          <a:xfrm>
            <a:off x="1307728" y="2043112"/>
            <a:ext cx="2337544" cy="2338388"/>
          </a:xfrm>
          <a:custGeom>
            <a:avLst/>
            <a:gdLst>
              <a:gd name="connsiteX0" fmla="*/ 0 w 2337544"/>
              <a:gd name="connsiteY0" fmla="*/ 0 h 2338388"/>
              <a:gd name="connsiteX1" fmla="*/ 2337544 w 2337544"/>
              <a:gd name="connsiteY1" fmla="*/ 0 h 2338388"/>
              <a:gd name="connsiteX2" fmla="*/ 2337544 w 2337544"/>
              <a:gd name="connsiteY2" fmla="*/ 1076152 h 2338388"/>
              <a:gd name="connsiteX3" fmla="*/ 2228376 w 2337544"/>
              <a:gd name="connsiteY3" fmla="*/ 1076152 h 2338388"/>
              <a:gd name="connsiteX4" fmla="*/ 2228376 w 2337544"/>
              <a:gd name="connsiteY4" fmla="*/ 2338388 h 2338388"/>
              <a:gd name="connsiteX5" fmla="*/ 0 w 2337544"/>
              <a:gd name="connsiteY5" fmla="*/ 2338388 h 233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7544" h="2338388">
                <a:moveTo>
                  <a:pt x="0" y="0"/>
                </a:moveTo>
                <a:lnTo>
                  <a:pt x="2337544" y="0"/>
                </a:lnTo>
                <a:lnTo>
                  <a:pt x="2337544" y="1076152"/>
                </a:lnTo>
                <a:lnTo>
                  <a:pt x="2228376" y="1076152"/>
                </a:lnTo>
                <a:lnTo>
                  <a:pt x="2228376" y="2338388"/>
                </a:lnTo>
                <a:lnTo>
                  <a:pt x="0" y="2338388"/>
                </a:lnTo>
                <a:close/>
              </a:path>
            </a:pathLst>
          </a:custGeom>
        </p:spPr>
        <p:txBody>
          <a:bodyPr wrap="square">
            <a:noAutofit/>
          </a:bodyPr>
          <a:lstStyle/>
          <a:p>
            <a:endParaRPr lang="en-US"/>
          </a:p>
        </p:txBody>
      </p:sp>
      <p:grpSp>
        <p:nvGrpSpPr>
          <p:cNvPr id="19" name="Graphic 6">
            <a:extLst>
              <a:ext uri="{FF2B5EF4-FFF2-40B4-BE49-F238E27FC236}">
                <a16:creationId xmlns:a16="http://schemas.microsoft.com/office/drawing/2014/main" id="{DD290130-1E75-444F-8F09-713B51C7C729}"/>
              </a:ext>
            </a:extLst>
          </p:cNvPr>
          <p:cNvGrpSpPr/>
          <p:nvPr userDrawn="1"/>
        </p:nvGrpSpPr>
        <p:grpSpPr>
          <a:xfrm>
            <a:off x="891988" y="6394893"/>
            <a:ext cx="432890" cy="187030"/>
            <a:chOff x="85969" y="3646150"/>
            <a:chExt cx="1544103" cy="667132"/>
          </a:xfrm>
          <a:solidFill>
            <a:srgbClr val="FF9E18"/>
          </a:solidFill>
        </p:grpSpPr>
        <p:sp>
          <p:nvSpPr>
            <p:cNvPr id="20" name="Freeform: Shape 19">
              <a:extLst>
                <a:ext uri="{FF2B5EF4-FFF2-40B4-BE49-F238E27FC236}">
                  <a16:creationId xmlns:a16="http://schemas.microsoft.com/office/drawing/2014/main" id="{639238C4-371B-4437-B0F5-51468234F992}"/>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CB37F20-79FC-4E99-B375-D406CB1369E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737F4C62-08FC-47EA-8EFD-D1374335C14E}"/>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DEB37DA1-805B-4348-A2C9-8CF09BA56B1F}"/>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4" name="Text Placeholder 13">
            <a:extLst>
              <a:ext uri="{FF2B5EF4-FFF2-40B4-BE49-F238E27FC236}">
                <a16:creationId xmlns:a16="http://schemas.microsoft.com/office/drawing/2014/main" id="{FDE879AB-A1EF-44CA-9D41-445FAE3EB8D8}"/>
              </a:ext>
            </a:extLst>
          </p:cNvPr>
          <p:cNvSpPr>
            <a:spLocks noGrp="1"/>
          </p:cNvSpPr>
          <p:nvPr>
            <p:ph type="body" sz="quarter" idx="17" hasCustomPrompt="1"/>
          </p:nvPr>
        </p:nvSpPr>
        <p:spPr>
          <a:xfrm>
            <a:off x="4457700" y="4621213"/>
            <a:ext cx="3276600" cy="485775"/>
          </a:xfrm>
        </p:spPr>
        <p:txBody>
          <a:bodyPr>
            <a:normAutofit/>
          </a:bodyPr>
          <a:lstStyle>
            <a:lvl1pPr marL="0" indent="0">
              <a:buNone/>
              <a:defRPr sz="20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27" name="Text Placeholder 13">
            <a:extLst>
              <a:ext uri="{FF2B5EF4-FFF2-40B4-BE49-F238E27FC236}">
                <a16:creationId xmlns:a16="http://schemas.microsoft.com/office/drawing/2014/main" id="{4F1DA13A-D068-4A1F-80B4-A2F0A90FD45C}"/>
              </a:ext>
            </a:extLst>
          </p:cNvPr>
          <p:cNvSpPr>
            <a:spLocks noGrp="1"/>
          </p:cNvSpPr>
          <p:nvPr>
            <p:ph type="body" sz="quarter" idx="18" hasCustomPrompt="1"/>
          </p:nvPr>
        </p:nvSpPr>
        <p:spPr>
          <a:xfrm>
            <a:off x="4457700" y="5242720"/>
            <a:ext cx="3276600" cy="485775"/>
          </a:xfrm>
        </p:spPr>
        <p:txBody>
          <a:bodyPr>
            <a:normAutofit/>
          </a:bodyPr>
          <a:lstStyle>
            <a:lvl1pPr marL="0" indent="0">
              <a:buNone/>
              <a:defRPr sz="20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39" name="Picture Placeholder 38">
            <a:extLst>
              <a:ext uri="{FF2B5EF4-FFF2-40B4-BE49-F238E27FC236}">
                <a16:creationId xmlns:a16="http://schemas.microsoft.com/office/drawing/2014/main" id="{0EE16E40-420E-4B28-925C-69B1021839BA}"/>
              </a:ext>
            </a:extLst>
          </p:cNvPr>
          <p:cNvSpPr>
            <a:spLocks noGrp="1"/>
          </p:cNvSpPr>
          <p:nvPr>
            <p:ph type="pic" sz="quarter" idx="19"/>
          </p:nvPr>
        </p:nvSpPr>
        <p:spPr>
          <a:xfrm>
            <a:off x="4860553" y="2043112"/>
            <a:ext cx="2337544" cy="2338388"/>
          </a:xfrm>
          <a:custGeom>
            <a:avLst/>
            <a:gdLst>
              <a:gd name="connsiteX0" fmla="*/ 0 w 2337544"/>
              <a:gd name="connsiteY0" fmla="*/ 0 h 2338388"/>
              <a:gd name="connsiteX1" fmla="*/ 2337544 w 2337544"/>
              <a:gd name="connsiteY1" fmla="*/ 0 h 2338388"/>
              <a:gd name="connsiteX2" fmla="*/ 2337544 w 2337544"/>
              <a:gd name="connsiteY2" fmla="*/ 1076152 h 2338388"/>
              <a:gd name="connsiteX3" fmla="*/ 2228648 w 2337544"/>
              <a:gd name="connsiteY3" fmla="*/ 1076152 h 2338388"/>
              <a:gd name="connsiteX4" fmla="*/ 2228648 w 2337544"/>
              <a:gd name="connsiteY4" fmla="*/ 2338388 h 2338388"/>
              <a:gd name="connsiteX5" fmla="*/ 0 w 2337544"/>
              <a:gd name="connsiteY5" fmla="*/ 2338388 h 233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7544" h="2338388">
                <a:moveTo>
                  <a:pt x="0" y="0"/>
                </a:moveTo>
                <a:lnTo>
                  <a:pt x="2337544" y="0"/>
                </a:lnTo>
                <a:lnTo>
                  <a:pt x="2337544" y="1076152"/>
                </a:lnTo>
                <a:lnTo>
                  <a:pt x="2228648" y="1076152"/>
                </a:lnTo>
                <a:lnTo>
                  <a:pt x="2228648" y="2338388"/>
                </a:lnTo>
                <a:lnTo>
                  <a:pt x="0" y="2338388"/>
                </a:lnTo>
                <a:close/>
              </a:path>
            </a:pathLst>
          </a:custGeom>
        </p:spPr>
        <p:txBody>
          <a:bodyPr wrap="square">
            <a:noAutofit/>
          </a:bodyPr>
          <a:lstStyle/>
          <a:p>
            <a:endParaRPr lang="en-US"/>
          </a:p>
        </p:txBody>
      </p:sp>
      <p:sp>
        <p:nvSpPr>
          <p:cNvPr id="30" name="Text Placeholder 13">
            <a:extLst>
              <a:ext uri="{FF2B5EF4-FFF2-40B4-BE49-F238E27FC236}">
                <a16:creationId xmlns:a16="http://schemas.microsoft.com/office/drawing/2014/main" id="{DE1DBC1B-535E-4C6A-B1C1-EEBDE85404E7}"/>
              </a:ext>
            </a:extLst>
          </p:cNvPr>
          <p:cNvSpPr>
            <a:spLocks noGrp="1"/>
          </p:cNvSpPr>
          <p:nvPr>
            <p:ph type="body" sz="quarter" idx="20" hasCustomPrompt="1"/>
          </p:nvPr>
        </p:nvSpPr>
        <p:spPr>
          <a:xfrm>
            <a:off x="7962900" y="4621213"/>
            <a:ext cx="3390900" cy="485775"/>
          </a:xfrm>
        </p:spPr>
        <p:txBody>
          <a:bodyPr>
            <a:normAutofit/>
          </a:bodyPr>
          <a:lstStyle>
            <a:lvl1pPr marL="0" indent="0">
              <a:buNone/>
              <a:defRPr sz="20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31" name="Text Placeholder 13">
            <a:extLst>
              <a:ext uri="{FF2B5EF4-FFF2-40B4-BE49-F238E27FC236}">
                <a16:creationId xmlns:a16="http://schemas.microsoft.com/office/drawing/2014/main" id="{C6C9F7BD-76C9-4BD4-B6CC-739306F017DD}"/>
              </a:ext>
            </a:extLst>
          </p:cNvPr>
          <p:cNvSpPr>
            <a:spLocks noGrp="1"/>
          </p:cNvSpPr>
          <p:nvPr>
            <p:ph type="body" sz="quarter" idx="21" hasCustomPrompt="1"/>
          </p:nvPr>
        </p:nvSpPr>
        <p:spPr>
          <a:xfrm>
            <a:off x="7962900" y="5242720"/>
            <a:ext cx="3390900" cy="485775"/>
          </a:xfrm>
        </p:spPr>
        <p:txBody>
          <a:bodyPr>
            <a:normAutofit/>
          </a:bodyPr>
          <a:lstStyle>
            <a:lvl1pPr marL="0" indent="0">
              <a:buNone/>
              <a:defRPr sz="20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40" name="Picture Placeholder 39">
            <a:extLst>
              <a:ext uri="{FF2B5EF4-FFF2-40B4-BE49-F238E27FC236}">
                <a16:creationId xmlns:a16="http://schemas.microsoft.com/office/drawing/2014/main" id="{CBB45527-ECAB-456D-8FE4-DC48C3DAE7CB}"/>
              </a:ext>
            </a:extLst>
          </p:cNvPr>
          <p:cNvSpPr>
            <a:spLocks noGrp="1"/>
          </p:cNvSpPr>
          <p:nvPr>
            <p:ph type="pic" sz="quarter" idx="22"/>
          </p:nvPr>
        </p:nvSpPr>
        <p:spPr>
          <a:xfrm>
            <a:off x="8432428" y="2043112"/>
            <a:ext cx="2337544" cy="2338388"/>
          </a:xfrm>
          <a:custGeom>
            <a:avLst/>
            <a:gdLst>
              <a:gd name="connsiteX0" fmla="*/ 0 w 2337544"/>
              <a:gd name="connsiteY0" fmla="*/ 0 h 2338388"/>
              <a:gd name="connsiteX1" fmla="*/ 2337544 w 2337544"/>
              <a:gd name="connsiteY1" fmla="*/ 0 h 2338388"/>
              <a:gd name="connsiteX2" fmla="*/ 2337544 w 2337544"/>
              <a:gd name="connsiteY2" fmla="*/ 1076152 h 2338388"/>
              <a:gd name="connsiteX3" fmla="*/ 2218579 w 2337544"/>
              <a:gd name="connsiteY3" fmla="*/ 1076152 h 2338388"/>
              <a:gd name="connsiteX4" fmla="*/ 2218579 w 2337544"/>
              <a:gd name="connsiteY4" fmla="*/ 2338388 h 2338388"/>
              <a:gd name="connsiteX5" fmla="*/ 0 w 2337544"/>
              <a:gd name="connsiteY5" fmla="*/ 2338388 h 233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7544" h="2338388">
                <a:moveTo>
                  <a:pt x="0" y="0"/>
                </a:moveTo>
                <a:lnTo>
                  <a:pt x="2337544" y="0"/>
                </a:lnTo>
                <a:lnTo>
                  <a:pt x="2337544" y="1076152"/>
                </a:lnTo>
                <a:lnTo>
                  <a:pt x="2218579" y="1076152"/>
                </a:lnTo>
                <a:lnTo>
                  <a:pt x="2218579" y="2338388"/>
                </a:lnTo>
                <a:lnTo>
                  <a:pt x="0" y="2338388"/>
                </a:lnTo>
                <a:close/>
              </a:path>
            </a:pathLst>
          </a:custGeom>
        </p:spPr>
        <p:txBody>
          <a:bodyPr wrap="square">
            <a:noAutofit/>
          </a:bodyPr>
          <a:lstStyle/>
          <a:p>
            <a:endParaRPr lang="en-US"/>
          </a:p>
        </p:txBody>
      </p:sp>
      <p:sp>
        <p:nvSpPr>
          <p:cNvPr id="41" name="Freeform: Shape 40">
            <a:extLst>
              <a:ext uri="{FF2B5EF4-FFF2-40B4-BE49-F238E27FC236}">
                <a16:creationId xmlns:a16="http://schemas.microsoft.com/office/drawing/2014/main" id="{B0C6A9C9-8E71-480A-8CB1-A3992C6D7E26}"/>
              </a:ext>
            </a:extLst>
          </p:cNvPr>
          <p:cNvSpPr/>
          <p:nvPr userDrawn="1"/>
        </p:nvSpPr>
        <p:spPr>
          <a:xfrm>
            <a:off x="3536104" y="3119264"/>
            <a:ext cx="240765" cy="1262236"/>
          </a:xfrm>
          <a:custGeom>
            <a:avLst/>
            <a:gdLst>
              <a:gd name="connsiteX0" fmla="*/ 0 w 143969"/>
              <a:gd name="connsiteY0" fmla="*/ 0 h 754773"/>
              <a:gd name="connsiteX1" fmla="*/ 143969 w 143969"/>
              <a:gd name="connsiteY1" fmla="*/ 0 h 754773"/>
              <a:gd name="connsiteX2" fmla="*/ 143969 w 143969"/>
              <a:gd name="connsiteY2" fmla="*/ 754774 h 754773"/>
              <a:gd name="connsiteX3" fmla="*/ 0 w 143969"/>
              <a:gd name="connsiteY3" fmla="*/ 754774 h 754773"/>
            </a:gdLst>
            <a:ahLst/>
            <a:cxnLst>
              <a:cxn ang="0">
                <a:pos x="connsiteX0" y="connsiteY0"/>
              </a:cxn>
              <a:cxn ang="0">
                <a:pos x="connsiteX1" y="connsiteY1"/>
              </a:cxn>
              <a:cxn ang="0">
                <a:pos x="connsiteX2" y="connsiteY2"/>
              </a:cxn>
              <a:cxn ang="0">
                <a:pos x="connsiteX3" y="connsiteY3"/>
              </a:cxn>
            </a:cxnLst>
            <a:rect l="l" t="t" r="r" b="b"/>
            <a:pathLst>
              <a:path w="143969" h="754773">
                <a:moveTo>
                  <a:pt x="0" y="0"/>
                </a:moveTo>
                <a:lnTo>
                  <a:pt x="143969" y="0"/>
                </a:lnTo>
                <a:lnTo>
                  <a:pt x="143969" y="754774"/>
                </a:lnTo>
                <a:lnTo>
                  <a:pt x="0" y="754774"/>
                </a:lnTo>
                <a:close/>
              </a:path>
            </a:pathLst>
          </a:custGeom>
          <a:solidFill>
            <a:srgbClr val="FF9E18"/>
          </a:solidFill>
          <a:ln w="9264"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9D97A63D-CE4B-416E-AF23-97A19AD2DAB2}"/>
              </a:ext>
            </a:extLst>
          </p:cNvPr>
          <p:cNvSpPr/>
          <p:nvPr userDrawn="1"/>
        </p:nvSpPr>
        <p:spPr>
          <a:xfrm>
            <a:off x="7089201" y="3119264"/>
            <a:ext cx="240765" cy="1262236"/>
          </a:xfrm>
          <a:custGeom>
            <a:avLst/>
            <a:gdLst>
              <a:gd name="connsiteX0" fmla="*/ 0 w 143969"/>
              <a:gd name="connsiteY0" fmla="*/ 0 h 754773"/>
              <a:gd name="connsiteX1" fmla="*/ 143969 w 143969"/>
              <a:gd name="connsiteY1" fmla="*/ 0 h 754773"/>
              <a:gd name="connsiteX2" fmla="*/ 143969 w 143969"/>
              <a:gd name="connsiteY2" fmla="*/ 754774 h 754773"/>
              <a:gd name="connsiteX3" fmla="*/ 0 w 143969"/>
              <a:gd name="connsiteY3" fmla="*/ 754774 h 754773"/>
            </a:gdLst>
            <a:ahLst/>
            <a:cxnLst>
              <a:cxn ang="0">
                <a:pos x="connsiteX0" y="connsiteY0"/>
              </a:cxn>
              <a:cxn ang="0">
                <a:pos x="connsiteX1" y="connsiteY1"/>
              </a:cxn>
              <a:cxn ang="0">
                <a:pos x="connsiteX2" y="connsiteY2"/>
              </a:cxn>
              <a:cxn ang="0">
                <a:pos x="connsiteX3" y="connsiteY3"/>
              </a:cxn>
            </a:cxnLst>
            <a:rect l="l" t="t" r="r" b="b"/>
            <a:pathLst>
              <a:path w="143969" h="754773">
                <a:moveTo>
                  <a:pt x="0" y="0"/>
                </a:moveTo>
                <a:lnTo>
                  <a:pt x="143969" y="0"/>
                </a:lnTo>
                <a:lnTo>
                  <a:pt x="143969" y="754774"/>
                </a:lnTo>
                <a:lnTo>
                  <a:pt x="0" y="754774"/>
                </a:lnTo>
                <a:close/>
              </a:path>
            </a:pathLst>
          </a:custGeom>
          <a:solidFill>
            <a:srgbClr val="FF9E18"/>
          </a:solidFill>
          <a:ln w="9264"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2A2B9481-EC0D-46EA-9A58-72D3D820C808}"/>
              </a:ext>
            </a:extLst>
          </p:cNvPr>
          <p:cNvSpPr/>
          <p:nvPr userDrawn="1"/>
        </p:nvSpPr>
        <p:spPr>
          <a:xfrm>
            <a:off x="10651007" y="3119264"/>
            <a:ext cx="240765" cy="1262236"/>
          </a:xfrm>
          <a:custGeom>
            <a:avLst/>
            <a:gdLst>
              <a:gd name="connsiteX0" fmla="*/ 0 w 143969"/>
              <a:gd name="connsiteY0" fmla="*/ 0 h 754773"/>
              <a:gd name="connsiteX1" fmla="*/ 143969 w 143969"/>
              <a:gd name="connsiteY1" fmla="*/ 0 h 754773"/>
              <a:gd name="connsiteX2" fmla="*/ 143969 w 143969"/>
              <a:gd name="connsiteY2" fmla="*/ 754774 h 754773"/>
              <a:gd name="connsiteX3" fmla="*/ 0 w 143969"/>
              <a:gd name="connsiteY3" fmla="*/ 754774 h 754773"/>
            </a:gdLst>
            <a:ahLst/>
            <a:cxnLst>
              <a:cxn ang="0">
                <a:pos x="connsiteX0" y="connsiteY0"/>
              </a:cxn>
              <a:cxn ang="0">
                <a:pos x="connsiteX1" y="connsiteY1"/>
              </a:cxn>
              <a:cxn ang="0">
                <a:pos x="connsiteX2" y="connsiteY2"/>
              </a:cxn>
              <a:cxn ang="0">
                <a:pos x="connsiteX3" y="connsiteY3"/>
              </a:cxn>
            </a:cxnLst>
            <a:rect l="l" t="t" r="r" b="b"/>
            <a:pathLst>
              <a:path w="143969" h="754773">
                <a:moveTo>
                  <a:pt x="0" y="0"/>
                </a:moveTo>
                <a:lnTo>
                  <a:pt x="143969" y="0"/>
                </a:lnTo>
                <a:lnTo>
                  <a:pt x="143969" y="754774"/>
                </a:lnTo>
                <a:lnTo>
                  <a:pt x="0" y="754774"/>
                </a:lnTo>
                <a:close/>
              </a:path>
            </a:pathLst>
          </a:custGeom>
          <a:solidFill>
            <a:srgbClr val="FF9E18"/>
          </a:solidFill>
          <a:ln w="9264" cap="flat">
            <a:noFill/>
            <a:prstDash val="solid"/>
            <a:miter/>
          </a:ln>
        </p:spPr>
        <p:txBody>
          <a:bodyPr rtlCol="0" anchor="ctr"/>
          <a:lstStyle/>
          <a:p>
            <a:endParaRPr lang="en-US"/>
          </a:p>
        </p:txBody>
      </p:sp>
      <p:sp>
        <p:nvSpPr>
          <p:cNvPr id="25" name="Slide Number Placeholder 4">
            <a:extLst>
              <a:ext uri="{FF2B5EF4-FFF2-40B4-BE49-F238E27FC236}">
                <a16:creationId xmlns:a16="http://schemas.microsoft.com/office/drawing/2014/main" id="{848C5101-F20E-456D-8C0D-6D8151CA620A}"/>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28277330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Team Profile">
    <p:bg>
      <p:bgPr>
        <a:solidFill>
          <a:schemeClr val="accent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F5784DC4-BA7E-4CD6-8261-36189368A205}"/>
              </a:ext>
            </a:extLst>
          </p:cNvPr>
          <p:cNvGraphicFramePr>
            <a:graphicFrameLocks noChangeAspect="1"/>
          </p:cNvGraphicFramePr>
          <p:nvPr userDrawn="1">
            <p:custDataLst>
              <p:tags r:id="rId1"/>
            </p:custDataLst>
            <p:extLst>
              <p:ext uri="{D42A27DB-BD31-4B8C-83A1-F6EECF244321}">
                <p14:modId xmlns:p14="http://schemas.microsoft.com/office/powerpoint/2010/main" val="299052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17" name="Object 16" hidden="1">
                        <a:extLst>
                          <a:ext uri="{FF2B5EF4-FFF2-40B4-BE49-F238E27FC236}">
                            <a16:creationId xmlns:a16="http://schemas.microsoft.com/office/drawing/2014/main" id="{F5784DC4-BA7E-4CD6-8261-36189368A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5"/>
            <a:ext cx="3390900" cy="971673"/>
          </a:xfrm>
        </p:spPr>
        <p:txBody>
          <a:bodyPr/>
          <a:lstStyle>
            <a:lvl1pPr>
              <a:defRPr>
                <a:solidFill>
                  <a:schemeClr val="bg1"/>
                </a:solidFill>
              </a:defRPr>
            </a:lvl1pPr>
          </a:lstStyle>
          <a:p>
            <a:r>
              <a:rPr lang="en-US"/>
              <a:t>Team</a:t>
            </a:r>
          </a:p>
        </p:txBody>
      </p:sp>
      <p:sp>
        <p:nvSpPr>
          <p:cNvPr id="14" name="Text Placeholder 13">
            <a:extLst>
              <a:ext uri="{FF2B5EF4-FFF2-40B4-BE49-F238E27FC236}">
                <a16:creationId xmlns:a16="http://schemas.microsoft.com/office/drawing/2014/main" id="{C0811CD2-1DB2-420B-BAC1-7B518B611B2A}"/>
              </a:ext>
            </a:extLst>
          </p:cNvPr>
          <p:cNvSpPr>
            <a:spLocks noGrp="1"/>
          </p:cNvSpPr>
          <p:nvPr>
            <p:ph type="body" sz="quarter" idx="13" hasCustomPrompt="1"/>
          </p:nvPr>
        </p:nvSpPr>
        <p:spPr>
          <a:xfrm>
            <a:off x="838200" y="4040188"/>
            <a:ext cx="16383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15" name="Text Placeholder 13">
            <a:extLst>
              <a:ext uri="{FF2B5EF4-FFF2-40B4-BE49-F238E27FC236}">
                <a16:creationId xmlns:a16="http://schemas.microsoft.com/office/drawing/2014/main" id="{7D8A4C1E-6D32-4CDB-9417-EE3F36011FB7}"/>
              </a:ext>
            </a:extLst>
          </p:cNvPr>
          <p:cNvSpPr>
            <a:spLocks noGrp="1"/>
          </p:cNvSpPr>
          <p:nvPr>
            <p:ph type="body" sz="quarter" idx="14" hasCustomPrompt="1"/>
          </p:nvPr>
        </p:nvSpPr>
        <p:spPr>
          <a:xfrm>
            <a:off x="838200" y="4756945"/>
            <a:ext cx="16383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grpSp>
        <p:nvGrpSpPr>
          <p:cNvPr id="19" name="Graphic 6">
            <a:extLst>
              <a:ext uri="{FF2B5EF4-FFF2-40B4-BE49-F238E27FC236}">
                <a16:creationId xmlns:a16="http://schemas.microsoft.com/office/drawing/2014/main" id="{DD290130-1E75-444F-8F09-713B51C7C729}"/>
              </a:ext>
            </a:extLst>
          </p:cNvPr>
          <p:cNvGrpSpPr/>
          <p:nvPr userDrawn="1"/>
        </p:nvGrpSpPr>
        <p:grpSpPr>
          <a:xfrm>
            <a:off x="891988" y="6394893"/>
            <a:ext cx="432890" cy="187030"/>
            <a:chOff x="85969" y="3646150"/>
            <a:chExt cx="1544103" cy="667132"/>
          </a:xfrm>
          <a:solidFill>
            <a:srgbClr val="FF9E18"/>
          </a:solidFill>
        </p:grpSpPr>
        <p:sp>
          <p:nvSpPr>
            <p:cNvPr id="20" name="Freeform: Shape 19">
              <a:extLst>
                <a:ext uri="{FF2B5EF4-FFF2-40B4-BE49-F238E27FC236}">
                  <a16:creationId xmlns:a16="http://schemas.microsoft.com/office/drawing/2014/main" id="{639238C4-371B-4437-B0F5-51468234F992}"/>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CB37F20-79FC-4E99-B375-D406CB1369E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737F4C62-08FC-47EA-8EFD-D1374335C14E}"/>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DEB37DA1-805B-4348-A2C9-8CF09BA56B1F}"/>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4" name="Text Placeholder 13">
            <a:extLst>
              <a:ext uri="{FF2B5EF4-FFF2-40B4-BE49-F238E27FC236}">
                <a16:creationId xmlns:a16="http://schemas.microsoft.com/office/drawing/2014/main" id="{FDE879AB-A1EF-44CA-9D41-445FAE3EB8D8}"/>
              </a:ext>
            </a:extLst>
          </p:cNvPr>
          <p:cNvSpPr>
            <a:spLocks noGrp="1"/>
          </p:cNvSpPr>
          <p:nvPr>
            <p:ph type="body" sz="quarter" idx="17" hasCustomPrompt="1"/>
          </p:nvPr>
        </p:nvSpPr>
        <p:spPr>
          <a:xfrm>
            <a:off x="2705100" y="4040188"/>
            <a:ext cx="15240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27" name="Text Placeholder 13">
            <a:extLst>
              <a:ext uri="{FF2B5EF4-FFF2-40B4-BE49-F238E27FC236}">
                <a16:creationId xmlns:a16="http://schemas.microsoft.com/office/drawing/2014/main" id="{4F1DA13A-D068-4A1F-80B4-A2F0A90FD45C}"/>
              </a:ext>
            </a:extLst>
          </p:cNvPr>
          <p:cNvSpPr>
            <a:spLocks noGrp="1"/>
          </p:cNvSpPr>
          <p:nvPr>
            <p:ph type="body" sz="quarter" idx="18" hasCustomPrompt="1"/>
          </p:nvPr>
        </p:nvSpPr>
        <p:spPr>
          <a:xfrm>
            <a:off x="2705100" y="4756945"/>
            <a:ext cx="15240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30" name="Text Placeholder 13">
            <a:extLst>
              <a:ext uri="{FF2B5EF4-FFF2-40B4-BE49-F238E27FC236}">
                <a16:creationId xmlns:a16="http://schemas.microsoft.com/office/drawing/2014/main" id="{DE1DBC1B-535E-4C6A-B1C1-EEBDE85404E7}"/>
              </a:ext>
            </a:extLst>
          </p:cNvPr>
          <p:cNvSpPr>
            <a:spLocks noGrp="1"/>
          </p:cNvSpPr>
          <p:nvPr>
            <p:ph type="body" sz="quarter" idx="20" hasCustomPrompt="1"/>
          </p:nvPr>
        </p:nvSpPr>
        <p:spPr>
          <a:xfrm>
            <a:off x="4457701" y="4040188"/>
            <a:ext cx="15240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31" name="Text Placeholder 13">
            <a:extLst>
              <a:ext uri="{FF2B5EF4-FFF2-40B4-BE49-F238E27FC236}">
                <a16:creationId xmlns:a16="http://schemas.microsoft.com/office/drawing/2014/main" id="{C6C9F7BD-76C9-4BD4-B6CC-739306F017DD}"/>
              </a:ext>
            </a:extLst>
          </p:cNvPr>
          <p:cNvSpPr>
            <a:spLocks noGrp="1"/>
          </p:cNvSpPr>
          <p:nvPr>
            <p:ph type="body" sz="quarter" idx="21" hasCustomPrompt="1"/>
          </p:nvPr>
        </p:nvSpPr>
        <p:spPr>
          <a:xfrm>
            <a:off x="4457701" y="4756945"/>
            <a:ext cx="15240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4" name="Picture Placeholder 3">
            <a:extLst>
              <a:ext uri="{FF2B5EF4-FFF2-40B4-BE49-F238E27FC236}">
                <a16:creationId xmlns:a16="http://schemas.microsoft.com/office/drawing/2014/main" id="{DAA0C7BE-47DB-4735-986A-E1FC962A1380}"/>
              </a:ext>
            </a:extLst>
          </p:cNvPr>
          <p:cNvSpPr>
            <a:spLocks noGrp="1"/>
          </p:cNvSpPr>
          <p:nvPr>
            <p:ph type="pic" sz="quarter" idx="22"/>
          </p:nvPr>
        </p:nvSpPr>
        <p:spPr>
          <a:xfrm>
            <a:off x="904875" y="2295525"/>
            <a:ext cx="1524000" cy="1524000"/>
          </a:xfrm>
          <a:solidFill>
            <a:schemeClr val="accent1">
              <a:lumMod val="90000"/>
              <a:lumOff val="10000"/>
            </a:schemeClr>
          </a:solidFill>
        </p:spPr>
        <p:txBody>
          <a:bodyPr/>
          <a:lstStyle/>
          <a:p>
            <a:endParaRPr lang="en-US"/>
          </a:p>
        </p:txBody>
      </p:sp>
      <p:sp>
        <p:nvSpPr>
          <p:cNvPr id="34" name="Picture Placeholder 3">
            <a:extLst>
              <a:ext uri="{FF2B5EF4-FFF2-40B4-BE49-F238E27FC236}">
                <a16:creationId xmlns:a16="http://schemas.microsoft.com/office/drawing/2014/main" id="{41DBA8A2-021A-4106-8852-A4F52EFE04DC}"/>
              </a:ext>
            </a:extLst>
          </p:cNvPr>
          <p:cNvSpPr>
            <a:spLocks noGrp="1"/>
          </p:cNvSpPr>
          <p:nvPr>
            <p:ph type="pic" sz="quarter" idx="23"/>
          </p:nvPr>
        </p:nvSpPr>
        <p:spPr>
          <a:xfrm>
            <a:off x="2686050" y="2295525"/>
            <a:ext cx="1524000" cy="1524000"/>
          </a:xfrm>
          <a:solidFill>
            <a:schemeClr val="accent1">
              <a:lumMod val="90000"/>
              <a:lumOff val="10000"/>
            </a:schemeClr>
          </a:solidFill>
        </p:spPr>
        <p:txBody>
          <a:bodyPr/>
          <a:lstStyle/>
          <a:p>
            <a:endParaRPr lang="en-US"/>
          </a:p>
        </p:txBody>
      </p:sp>
      <p:sp>
        <p:nvSpPr>
          <p:cNvPr id="35" name="Picture Placeholder 3">
            <a:extLst>
              <a:ext uri="{FF2B5EF4-FFF2-40B4-BE49-F238E27FC236}">
                <a16:creationId xmlns:a16="http://schemas.microsoft.com/office/drawing/2014/main" id="{59E29696-440A-4E04-BBC1-365F3FDBD60A}"/>
              </a:ext>
            </a:extLst>
          </p:cNvPr>
          <p:cNvSpPr>
            <a:spLocks noGrp="1"/>
          </p:cNvSpPr>
          <p:nvPr>
            <p:ph type="pic" sz="quarter" idx="24"/>
          </p:nvPr>
        </p:nvSpPr>
        <p:spPr>
          <a:xfrm>
            <a:off x="4448175" y="2295525"/>
            <a:ext cx="1524000" cy="1524000"/>
          </a:xfrm>
          <a:solidFill>
            <a:schemeClr val="accent1">
              <a:lumMod val="90000"/>
              <a:lumOff val="10000"/>
            </a:schemeClr>
          </a:solidFill>
        </p:spPr>
        <p:txBody>
          <a:bodyPr/>
          <a:lstStyle/>
          <a:p>
            <a:endParaRPr lang="en-US"/>
          </a:p>
        </p:txBody>
      </p:sp>
      <p:sp>
        <p:nvSpPr>
          <p:cNvPr id="36" name="Picture Placeholder 3">
            <a:extLst>
              <a:ext uri="{FF2B5EF4-FFF2-40B4-BE49-F238E27FC236}">
                <a16:creationId xmlns:a16="http://schemas.microsoft.com/office/drawing/2014/main" id="{60D79008-36E4-4DE9-8C42-CC3A07E94F2B}"/>
              </a:ext>
            </a:extLst>
          </p:cNvPr>
          <p:cNvSpPr>
            <a:spLocks noGrp="1"/>
          </p:cNvSpPr>
          <p:nvPr>
            <p:ph type="pic" sz="quarter" idx="25"/>
          </p:nvPr>
        </p:nvSpPr>
        <p:spPr>
          <a:xfrm>
            <a:off x="6210300" y="2295525"/>
            <a:ext cx="1524000" cy="1524000"/>
          </a:xfrm>
          <a:solidFill>
            <a:schemeClr val="accent1">
              <a:lumMod val="90000"/>
              <a:lumOff val="10000"/>
            </a:schemeClr>
          </a:solidFill>
        </p:spPr>
        <p:txBody>
          <a:bodyPr/>
          <a:lstStyle/>
          <a:p>
            <a:endParaRPr lang="en-US"/>
          </a:p>
        </p:txBody>
      </p:sp>
      <p:sp>
        <p:nvSpPr>
          <p:cNvPr id="37" name="Picture Placeholder 3">
            <a:extLst>
              <a:ext uri="{FF2B5EF4-FFF2-40B4-BE49-F238E27FC236}">
                <a16:creationId xmlns:a16="http://schemas.microsoft.com/office/drawing/2014/main" id="{4D66CA38-6404-4484-A669-769D2297C601}"/>
              </a:ext>
            </a:extLst>
          </p:cNvPr>
          <p:cNvSpPr>
            <a:spLocks noGrp="1"/>
          </p:cNvSpPr>
          <p:nvPr>
            <p:ph type="pic" sz="quarter" idx="26"/>
          </p:nvPr>
        </p:nvSpPr>
        <p:spPr>
          <a:xfrm>
            <a:off x="7981950" y="2295525"/>
            <a:ext cx="1524000" cy="1524000"/>
          </a:xfrm>
          <a:solidFill>
            <a:schemeClr val="accent1">
              <a:lumMod val="90000"/>
              <a:lumOff val="10000"/>
            </a:schemeClr>
          </a:solidFill>
        </p:spPr>
        <p:txBody>
          <a:bodyPr/>
          <a:lstStyle/>
          <a:p>
            <a:endParaRPr lang="en-US"/>
          </a:p>
        </p:txBody>
      </p:sp>
      <p:sp>
        <p:nvSpPr>
          <p:cNvPr id="38" name="Picture Placeholder 3">
            <a:extLst>
              <a:ext uri="{FF2B5EF4-FFF2-40B4-BE49-F238E27FC236}">
                <a16:creationId xmlns:a16="http://schemas.microsoft.com/office/drawing/2014/main" id="{B70E6A87-6DE0-40FE-B2B6-3308465535DE}"/>
              </a:ext>
            </a:extLst>
          </p:cNvPr>
          <p:cNvSpPr>
            <a:spLocks noGrp="1"/>
          </p:cNvSpPr>
          <p:nvPr>
            <p:ph type="pic" sz="quarter" idx="27"/>
          </p:nvPr>
        </p:nvSpPr>
        <p:spPr>
          <a:xfrm>
            <a:off x="9772650" y="2295525"/>
            <a:ext cx="1524000" cy="1524000"/>
          </a:xfrm>
          <a:solidFill>
            <a:schemeClr val="accent1">
              <a:lumMod val="90000"/>
              <a:lumOff val="10000"/>
            </a:schemeClr>
          </a:solidFill>
        </p:spPr>
        <p:txBody>
          <a:bodyPr/>
          <a:lstStyle/>
          <a:p>
            <a:endParaRPr lang="en-US"/>
          </a:p>
        </p:txBody>
      </p:sp>
      <p:sp>
        <p:nvSpPr>
          <p:cNvPr id="39" name="Text Placeholder 13">
            <a:extLst>
              <a:ext uri="{FF2B5EF4-FFF2-40B4-BE49-F238E27FC236}">
                <a16:creationId xmlns:a16="http://schemas.microsoft.com/office/drawing/2014/main" id="{9BDD1C70-D87D-4DDA-A8E2-89B0110720CB}"/>
              </a:ext>
            </a:extLst>
          </p:cNvPr>
          <p:cNvSpPr>
            <a:spLocks noGrp="1"/>
          </p:cNvSpPr>
          <p:nvPr>
            <p:ph type="body" sz="quarter" idx="28" hasCustomPrompt="1"/>
          </p:nvPr>
        </p:nvSpPr>
        <p:spPr>
          <a:xfrm>
            <a:off x="6210300" y="4040188"/>
            <a:ext cx="15240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40" name="Text Placeholder 13">
            <a:extLst>
              <a:ext uri="{FF2B5EF4-FFF2-40B4-BE49-F238E27FC236}">
                <a16:creationId xmlns:a16="http://schemas.microsoft.com/office/drawing/2014/main" id="{9F1C30BF-28E8-4F3C-B79A-95CB5B51231B}"/>
              </a:ext>
            </a:extLst>
          </p:cNvPr>
          <p:cNvSpPr>
            <a:spLocks noGrp="1"/>
          </p:cNvSpPr>
          <p:nvPr>
            <p:ph type="body" sz="quarter" idx="29" hasCustomPrompt="1"/>
          </p:nvPr>
        </p:nvSpPr>
        <p:spPr>
          <a:xfrm>
            <a:off x="6210300" y="4756945"/>
            <a:ext cx="15240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41" name="Text Placeholder 13">
            <a:extLst>
              <a:ext uri="{FF2B5EF4-FFF2-40B4-BE49-F238E27FC236}">
                <a16:creationId xmlns:a16="http://schemas.microsoft.com/office/drawing/2014/main" id="{814B45AE-7A7F-42AB-9507-2037225C8945}"/>
              </a:ext>
            </a:extLst>
          </p:cNvPr>
          <p:cNvSpPr>
            <a:spLocks noGrp="1"/>
          </p:cNvSpPr>
          <p:nvPr>
            <p:ph type="body" sz="quarter" idx="30" hasCustomPrompt="1"/>
          </p:nvPr>
        </p:nvSpPr>
        <p:spPr>
          <a:xfrm>
            <a:off x="7962900" y="4040188"/>
            <a:ext cx="15240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42" name="Text Placeholder 13">
            <a:extLst>
              <a:ext uri="{FF2B5EF4-FFF2-40B4-BE49-F238E27FC236}">
                <a16:creationId xmlns:a16="http://schemas.microsoft.com/office/drawing/2014/main" id="{9F048E2C-B721-4DA7-BFA5-2A7C43F5822E}"/>
              </a:ext>
            </a:extLst>
          </p:cNvPr>
          <p:cNvSpPr>
            <a:spLocks noGrp="1"/>
          </p:cNvSpPr>
          <p:nvPr>
            <p:ph type="body" sz="quarter" idx="31" hasCustomPrompt="1"/>
          </p:nvPr>
        </p:nvSpPr>
        <p:spPr>
          <a:xfrm>
            <a:off x="7962900" y="4756945"/>
            <a:ext cx="15240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43" name="Text Placeholder 13">
            <a:extLst>
              <a:ext uri="{FF2B5EF4-FFF2-40B4-BE49-F238E27FC236}">
                <a16:creationId xmlns:a16="http://schemas.microsoft.com/office/drawing/2014/main" id="{47099115-BFC3-49BF-8AD8-F18132FB0692}"/>
              </a:ext>
            </a:extLst>
          </p:cNvPr>
          <p:cNvSpPr>
            <a:spLocks noGrp="1"/>
          </p:cNvSpPr>
          <p:nvPr>
            <p:ph type="body" sz="quarter" idx="32" hasCustomPrompt="1"/>
          </p:nvPr>
        </p:nvSpPr>
        <p:spPr>
          <a:xfrm>
            <a:off x="9715500" y="4040188"/>
            <a:ext cx="15240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44" name="Text Placeholder 13">
            <a:extLst>
              <a:ext uri="{FF2B5EF4-FFF2-40B4-BE49-F238E27FC236}">
                <a16:creationId xmlns:a16="http://schemas.microsoft.com/office/drawing/2014/main" id="{60BE0D90-070C-4070-86BC-9FD68562DEC7}"/>
              </a:ext>
            </a:extLst>
          </p:cNvPr>
          <p:cNvSpPr>
            <a:spLocks noGrp="1"/>
          </p:cNvSpPr>
          <p:nvPr>
            <p:ph type="body" sz="quarter" idx="33" hasCustomPrompt="1"/>
          </p:nvPr>
        </p:nvSpPr>
        <p:spPr>
          <a:xfrm>
            <a:off x="9715500" y="4756945"/>
            <a:ext cx="15240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29" name="Slide Number Placeholder 4">
            <a:extLst>
              <a:ext uri="{FF2B5EF4-FFF2-40B4-BE49-F238E27FC236}">
                <a16:creationId xmlns:a16="http://schemas.microsoft.com/office/drawing/2014/main" id="{1B26799C-64B9-46CE-95E8-E48465746754}"/>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4460159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F5784DC4-BA7E-4CD6-8261-36189368A205}"/>
              </a:ext>
            </a:extLst>
          </p:cNvPr>
          <p:cNvGraphicFramePr>
            <a:graphicFrameLocks noChangeAspect="1"/>
          </p:cNvGraphicFramePr>
          <p:nvPr userDrawn="1">
            <p:custDataLst>
              <p:tags r:id="rId1"/>
            </p:custDataLst>
            <p:extLst>
              <p:ext uri="{D42A27DB-BD31-4B8C-83A1-F6EECF244321}">
                <p14:modId xmlns:p14="http://schemas.microsoft.com/office/powerpoint/2010/main" val="3884984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17" name="Object 16" hidden="1">
                        <a:extLst>
                          <a:ext uri="{FF2B5EF4-FFF2-40B4-BE49-F238E27FC236}">
                            <a16:creationId xmlns:a16="http://schemas.microsoft.com/office/drawing/2014/main" id="{F5784DC4-BA7E-4CD6-8261-36189368A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64E21C4-15C7-49DA-A377-AA33AB70A21F}"/>
              </a:ext>
            </a:extLst>
          </p:cNvPr>
          <p:cNvSpPr/>
          <p:nvPr userDrawn="1"/>
        </p:nvSpPr>
        <p:spPr>
          <a:xfrm>
            <a:off x="7962899" y="0"/>
            <a:ext cx="4229101"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5"/>
            <a:ext cx="3390900" cy="971673"/>
          </a:xfrm>
        </p:spPr>
        <p:txBody>
          <a:bodyPr/>
          <a:lstStyle>
            <a:lvl1pPr>
              <a:defRPr/>
            </a:lvl1pPr>
          </a:lstStyle>
          <a:p>
            <a:r>
              <a:rPr lang="en-US"/>
              <a:t>Team</a:t>
            </a:r>
          </a:p>
        </p:txBody>
      </p:sp>
      <p:sp>
        <p:nvSpPr>
          <p:cNvPr id="14" name="Text Placeholder 13">
            <a:extLst>
              <a:ext uri="{FF2B5EF4-FFF2-40B4-BE49-F238E27FC236}">
                <a16:creationId xmlns:a16="http://schemas.microsoft.com/office/drawing/2014/main" id="{C0811CD2-1DB2-420B-BAC1-7B518B611B2A}"/>
              </a:ext>
            </a:extLst>
          </p:cNvPr>
          <p:cNvSpPr>
            <a:spLocks noGrp="1"/>
          </p:cNvSpPr>
          <p:nvPr>
            <p:ph type="body" sz="quarter" idx="13" hasCustomPrompt="1"/>
          </p:nvPr>
        </p:nvSpPr>
        <p:spPr>
          <a:xfrm>
            <a:off x="838200" y="1935163"/>
            <a:ext cx="3390900" cy="485775"/>
          </a:xfrm>
        </p:spPr>
        <p:txBody>
          <a:bodyPr>
            <a:normAutofit/>
          </a:bodyPr>
          <a:lstStyle>
            <a:lvl1pPr marL="0" indent="0">
              <a:buNone/>
              <a:defRPr sz="20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15" name="Text Placeholder 13">
            <a:extLst>
              <a:ext uri="{FF2B5EF4-FFF2-40B4-BE49-F238E27FC236}">
                <a16:creationId xmlns:a16="http://schemas.microsoft.com/office/drawing/2014/main" id="{7D8A4C1E-6D32-4CDB-9417-EE3F36011FB7}"/>
              </a:ext>
            </a:extLst>
          </p:cNvPr>
          <p:cNvSpPr>
            <a:spLocks noGrp="1"/>
          </p:cNvSpPr>
          <p:nvPr>
            <p:ph type="body" sz="quarter" idx="14" hasCustomPrompt="1"/>
          </p:nvPr>
        </p:nvSpPr>
        <p:spPr>
          <a:xfrm>
            <a:off x="838200" y="2556670"/>
            <a:ext cx="3390900" cy="485775"/>
          </a:xfrm>
        </p:spPr>
        <p:txBody>
          <a:bodyPr>
            <a:normAutofit/>
          </a:bodyPr>
          <a:lstStyle>
            <a:lvl1pPr marL="0" indent="0">
              <a:buNone/>
              <a:defRPr sz="2000" b="0">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16" name="Text Placeholder 13">
            <a:extLst>
              <a:ext uri="{FF2B5EF4-FFF2-40B4-BE49-F238E27FC236}">
                <a16:creationId xmlns:a16="http://schemas.microsoft.com/office/drawing/2014/main" id="{43583008-EDA3-4D44-A36D-FEE807B52BC6}"/>
              </a:ext>
            </a:extLst>
          </p:cNvPr>
          <p:cNvSpPr>
            <a:spLocks noGrp="1"/>
          </p:cNvSpPr>
          <p:nvPr>
            <p:ph type="body" sz="quarter" idx="15" hasCustomPrompt="1"/>
          </p:nvPr>
        </p:nvSpPr>
        <p:spPr>
          <a:xfrm>
            <a:off x="838200" y="3206751"/>
            <a:ext cx="3390900" cy="2965449"/>
          </a:xfrm>
        </p:spPr>
        <p:txBody>
          <a:bodyPr>
            <a:normAutofit/>
          </a:bodyPr>
          <a:lstStyle>
            <a:lvl1pPr marL="0" indent="0">
              <a:buNone/>
              <a:defRPr sz="2000" b="0">
                <a:solidFill>
                  <a:schemeClr val="tx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ext</a:t>
            </a:r>
          </a:p>
        </p:txBody>
      </p:sp>
      <p:sp>
        <p:nvSpPr>
          <p:cNvPr id="27" name="Picture Placeholder 26">
            <a:extLst>
              <a:ext uri="{FF2B5EF4-FFF2-40B4-BE49-F238E27FC236}">
                <a16:creationId xmlns:a16="http://schemas.microsoft.com/office/drawing/2014/main" id="{60DC98B7-61C0-4F16-9F13-9DF892749F8F}"/>
              </a:ext>
            </a:extLst>
          </p:cNvPr>
          <p:cNvSpPr>
            <a:spLocks noGrp="1"/>
          </p:cNvSpPr>
          <p:nvPr>
            <p:ph type="pic" sz="quarter" idx="16"/>
          </p:nvPr>
        </p:nvSpPr>
        <p:spPr>
          <a:xfrm>
            <a:off x="6543673" y="1392238"/>
            <a:ext cx="4392613" cy="4394200"/>
          </a:xfrm>
          <a:custGeom>
            <a:avLst/>
            <a:gdLst>
              <a:gd name="connsiteX0" fmla="*/ 0 w 4392613"/>
              <a:gd name="connsiteY0" fmla="*/ 0 h 4394200"/>
              <a:gd name="connsiteX1" fmla="*/ 4392613 w 4392613"/>
              <a:gd name="connsiteY1" fmla="*/ 0 h 4394200"/>
              <a:gd name="connsiteX2" fmla="*/ 4392613 w 4392613"/>
              <a:gd name="connsiteY2" fmla="*/ 1873455 h 4394200"/>
              <a:gd name="connsiteX3" fmla="*/ 4170946 w 4392613"/>
              <a:gd name="connsiteY3" fmla="*/ 1873455 h 4394200"/>
              <a:gd name="connsiteX4" fmla="*/ 4170946 w 4392613"/>
              <a:gd name="connsiteY4" fmla="*/ 4394200 h 4394200"/>
              <a:gd name="connsiteX5" fmla="*/ 0 w 4392613"/>
              <a:gd name="connsiteY5" fmla="*/ 4394200 h 439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2613" h="4394200">
                <a:moveTo>
                  <a:pt x="0" y="0"/>
                </a:moveTo>
                <a:lnTo>
                  <a:pt x="4392613" y="0"/>
                </a:lnTo>
                <a:lnTo>
                  <a:pt x="4392613" y="1873455"/>
                </a:lnTo>
                <a:lnTo>
                  <a:pt x="4170946" y="1873455"/>
                </a:lnTo>
                <a:lnTo>
                  <a:pt x="4170946" y="4394200"/>
                </a:lnTo>
                <a:lnTo>
                  <a:pt x="0" y="4394200"/>
                </a:lnTo>
                <a:close/>
              </a:path>
            </a:pathLst>
          </a:custGeom>
        </p:spPr>
        <p:txBody>
          <a:bodyPr wrap="square">
            <a:noAutofit/>
          </a:bodyPr>
          <a:lstStyle/>
          <a:p>
            <a:endParaRPr lang="en-US"/>
          </a:p>
        </p:txBody>
      </p:sp>
      <p:grpSp>
        <p:nvGrpSpPr>
          <p:cNvPr id="19" name="Graphic 6">
            <a:extLst>
              <a:ext uri="{FF2B5EF4-FFF2-40B4-BE49-F238E27FC236}">
                <a16:creationId xmlns:a16="http://schemas.microsoft.com/office/drawing/2014/main" id="{DD290130-1E75-444F-8F09-713B51C7C729}"/>
              </a:ext>
            </a:extLst>
          </p:cNvPr>
          <p:cNvGrpSpPr/>
          <p:nvPr userDrawn="1"/>
        </p:nvGrpSpPr>
        <p:grpSpPr>
          <a:xfrm>
            <a:off x="891988" y="6394893"/>
            <a:ext cx="432890" cy="187030"/>
            <a:chOff x="85969" y="3646150"/>
            <a:chExt cx="1544103" cy="667132"/>
          </a:xfrm>
          <a:solidFill>
            <a:srgbClr val="FF9E18"/>
          </a:solidFill>
        </p:grpSpPr>
        <p:sp>
          <p:nvSpPr>
            <p:cNvPr id="20" name="Freeform: Shape 19">
              <a:extLst>
                <a:ext uri="{FF2B5EF4-FFF2-40B4-BE49-F238E27FC236}">
                  <a16:creationId xmlns:a16="http://schemas.microsoft.com/office/drawing/2014/main" id="{639238C4-371B-4437-B0F5-51468234F992}"/>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CB37F20-79FC-4E99-B375-D406CB1369E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737F4C62-08FC-47EA-8EFD-D1374335C14E}"/>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DEB37DA1-805B-4348-A2C9-8CF09BA56B1F}"/>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Freeform: Shape 27">
            <a:extLst>
              <a:ext uri="{FF2B5EF4-FFF2-40B4-BE49-F238E27FC236}">
                <a16:creationId xmlns:a16="http://schemas.microsoft.com/office/drawing/2014/main" id="{6CBC233A-3287-4953-A953-C9BCB6C735AC}"/>
              </a:ext>
            </a:extLst>
          </p:cNvPr>
          <p:cNvSpPr/>
          <p:nvPr userDrawn="1"/>
        </p:nvSpPr>
        <p:spPr>
          <a:xfrm>
            <a:off x="10714619" y="3265693"/>
            <a:ext cx="480819" cy="2520745"/>
          </a:xfrm>
          <a:custGeom>
            <a:avLst/>
            <a:gdLst>
              <a:gd name="connsiteX0" fmla="*/ 0 w 143969"/>
              <a:gd name="connsiteY0" fmla="*/ 0 h 754773"/>
              <a:gd name="connsiteX1" fmla="*/ 143969 w 143969"/>
              <a:gd name="connsiteY1" fmla="*/ 0 h 754773"/>
              <a:gd name="connsiteX2" fmla="*/ 143969 w 143969"/>
              <a:gd name="connsiteY2" fmla="*/ 754774 h 754773"/>
              <a:gd name="connsiteX3" fmla="*/ 0 w 143969"/>
              <a:gd name="connsiteY3" fmla="*/ 754774 h 754773"/>
            </a:gdLst>
            <a:ahLst/>
            <a:cxnLst>
              <a:cxn ang="0">
                <a:pos x="connsiteX0" y="connsiteY0"/>
              </a:cxn>
              <a:cxn ang="0">
                <a:pos x="connsiteX1" y="connsiteY1"/>
              </a:cxn>
              <a:cxn ang="0">
                <a:pos x="connsiteX2" y="connsiteY2"/>
              </a:cxn>
              <a:cxn ang="0">
                <a:pos x="connsiteX3" y="connsiteY3"/>
              </a:cxn>
            </a:cxnLst>
            <a:rect l="l" t="t" r="r" b="b"/>
            <a:pathLst>
              <a:path w="143969" h="754773">
                <a:moveTo>
                  <a:pt x="0" y="0"/>
                </a:moveTo>
                <a:lnTo>
                  <a:pt x="143969" y="0"/>
                </a:lnTo>
                <a:lnTo>
                  <a:pt x="143969" y="754774"/>
                </a:lnTo>
                <a:lnTo>
                  <a:pt x="0" y="754774"/>
                </a:lnTo>
                <a:close/>
              </a:path>
            </a:pathLst>
          </a:custGeom>
          <a:solidFill>
            <a:srgbClr val="FF9E18"/>
          </a:solidFill>
          <a:ln w="9264" cap="flat">
            <a:noFill/>
            <a:prstDash val="solid"/>
            <a:miter/>
          </a:ln>
        </p:spPr>
        <p:txBody>
          <a:bodyPr rtlCol="0" anchor="ctr"/>
          <a:lstStyle/>
          <a:p>
            <a:endParaRPr lang="en-US"/>
          </a:p>
        </p:txBody>
      </p:sp>
      <p:sp>
        <p:nvSpPr>
          <p:cNvPr id="24" name="Slide Number Placeholder 4">
            <a:extLst>
              <a:ext uri="{FF2B5EF4-FFF2-40B4-BE49-F238E27FC236}">
                <a16:creationId xmlns:a16="http://schemas.microsoft.com/office/drawing/2014/main" id="{911D301F-E57D-4BEB-AA98-5609D7D46FB5}"/>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9350847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Custom Layout_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5CDA7-3277-4BEF-B83F-00A6A1F359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7452D38-F127-4220-828A-AD175D044060}"/>
              </a:ext>
            </a:extLst>
          </p:cNvPr>
          <p:cNvSpPr>
            <a:spLocks noGrp="1"/>
          </p:cNvSpPr>
          <p:nvPr>
            <p:ph type="sldNum" sz="quarter" idx="10"/>
          </p:nvPr>
        </p:nvSpPr>
        <p:spPr/>
        <p:txBody>
          <a:bodyPr/>
          <a:lstStyle/>
          <a:p>
            <a:fld id="{A1471D42-392E-4D14-982B-D9D765EA1509}" type="slidenum">
              <a:rPr lang="en-US" smtClean="0"/>
              <a:pPr/>
              <a:t>‹#›</a:t>
            </a:fld>
            <a:endParaRPr lang="en-US"/>
          </a:p>
        </p:txBody>
      </p:sp>
      <p:sp>
        <p:nvSpPr>
          <p:cNvPr id="5" name="Text Placeholder 4">
            <a:extLst>
              <a:ext uri="{FF2B5EF4-FFF2-40B4-BE49-F238E27FC236}">
                <a16:creationId xmlns:a16="http://schemas.microsoft.com/office/drawing/2014/main" id="{77B1E8FD-61C8-4EC3-96A2-10CED7ABF8BB}"/>
              </a:ext>
            </a:extLst>
          </p:cNvPr>
          <p:cNvSpPr>
            <a:spLocks noGrp="1"/>
          </p:cNvSpPr>
          <p:nvPr>
            <p:ph type="body" sz="quarter" idx="11"/>
          </p:nvPr>
        </p:nvSpPr>
        <p:spPr>
          <a:xfrm>
            <a:off x="838200" y="1790700"/>
            <a:ext cx="10515600" cy="4381500"/>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aphic 6">
            <a:extLst>
              <a:ext uri="{FF2B5EF4-FFF2-40B4-BE49-F238E27FC236}">
                <a16:creationId xmlns:a16="http://schemas.microsoft.com/office/drawing/2014/main" id="{D3B01B5E-C40E-429D-81D7-E6C46C61E6AA}"/>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75B0A86A-8BBE-4CB7-B3F8-97337298D550}"/>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A5953E6C-7296-422E-B272-1A7E574A65BE}"/>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111E1F10-4036-4DDA-AE93-06B835097A80}"/>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81A7BA27-C6BB-4D63-9A2D-7F645E853B96}"/>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Tree>
    <p:extLst>
      <p:ext uri="{BB962C8B-B14F-4D97-AF65-F5344CB8AC3E}">
        <p14:creationId xmlns:p14="http://schemas.microsoft.com/office/powerpoint/2010/main" val="287573528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ase Study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14F259-7EEC-424D-95C6-048D2B28A844}"/>
              </a:ext>
            </a:extLst>
          </p:cNvPr>
          <p:cNvGraphicFramePr>
            <a:graphicFrameLocks noChangeAspect="1"/>
          </p:cNvGraphicFramePr>
          <p:nvPr userDrawn="1">
            <p:custDataLst>
              <p:tags r:id="rId1"/>
            </p:custDataLst>
            <p:extLst>
              <p:ext uri="{D42A27DB-BD31-4B8C-83A1-F6EECF244321}">
                <p14:modId xmlns:p14="http://schemas.microsoft.com/office/powerpoint/2010/main" val="2974149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2" name="Object 1" hidden="1">
                        <a:extLst>
                          <a:ext uri="{FF2B5EF4-FFF2-40B4-BE49-F238E27FC236}">
                            <a16:creationId xmlns:a16="http://schemas.microsoft.com/office/drawing/2014/main" id="{6014F259-7EEC-424D-95C6-048D2B28A8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737AA5D5-0EBC-49AE-B509-F550D2783B67}"/>
              </a:ext>
            </a:extLst>
          </p:cNvPr>
          <p:cNvSpPr>
            <a:spLocks noGrp="1"/>
          </p:cNvSpPr>
          <p:nvPr>
            <p:ph type="body" sz="quarter" idx="14" hasCustomPrompt="1"/>
          </p:nvPr>
        </p:nvSpPr>
        <p:spPr>
          <a:xfrm>
            <a:off x="6210300" y="723900"/>
            <a:ext cx="5143500" cy="447675"/>
          </a:xfrm>
        </p:spPr>
        <p:txBody>
          <a:bodyPr>
            <a:noAutofit/>
          </a:bodyPr>
          <a:lstStyle>
            <a:lvl1pPr marL="0" indent="0">
              <a:buNone/>
              <a:defRPr sz="2000" b="1">
                <a:solidFill>
                  <a:schemeClr val="accent2"/>
                </a:solidFill>
              </a:defRPr>
            </a:lvl1pPr>
          </a:lstStyle>
          <a:p>
            <a:pPr lvl="0"/>
            <a:r>
              <a:rPr lang="en-US"/>
              <a:t>Case Studies</a:t>
            </a:r>
          </a:p>
        </p:txBody>
      </p:sp>
      <p:sp>
        <p:nvSpPr>
          <p:cNvPr id="10" name="Text Placeholder 5">
            <a:extLst>
              <a:ext uri="{FF2B5EF4-FFF2-40B4-BE49-F238E27FC236}">
                <a16:creationId xmlns:a16="http://schemas.microsoft.com/office/drawing/2014/main" id="{11DA8E6A-AB91-40FA-A8C7-EBE1BBF874FD}"/>
              </a:ext>
            </a:extLst>
          </p:cNvPr>
          <p:cNvSpPr>
            <a:spLocks noGrp="1"/>
          </p:cNvSpPr>
          <p:nvPr>
            <p:ph type="body" sz="quarter" idx="15" hasCustomPrompt="1"/>
          </p:nvPr>
        </p:nvSpPr>
        <p:spPr>
          <a:xfrm>
            <a:off x="6210300" y="14168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a:t>Title Case </a:t>
            </a:r>
            <a:br>
              <a:rPr lang="en-US"/>
            </a:br>
            <a:r>
              <a:rPr lang="en-US"/>
              <a:t>Study</a:t>
            </a:r>
          </a:p>
        </p:txBody>
      </p:sp>
      <p:sp>
        <p:nvSpPr>
          <p:cNvPr id="11" name="Text Placeholder 5">
            <a:extLst>
              <a:ext uri="{FF2B5EF4-FFF2-40B4-BE49-F238E27FC236}">
                <a16:creationId xmlns:a16="http://schemas.microsoft.com/office/drawing/2014/main" id="{9A711CA4-CADD-4212-9147-301712D21BA3}"/>
              </a:ext>
            </a:extLst>
          </p:cNvPr>
          <p:cNvSpPr>
            <a:spLocks noGrp="1"/>
          </p:cNvSpPr>
          <p:nvPr>
            <p:ph type="body" sz="quarter" idx="16" hasCustomPrompt="1"/>
          </p:nvPr>
        </p:nvSpPr>
        <p:spPr>
          <a:xfrm>
            <a:off x="6210300" y="3188493"/>
            <a:ext cx="3276600" cy="2983707"/>
          </a:xfrm>
        </p:spPr>
        <p:txBody>
          <a:bodyPr vert="horz" lIns="91440" tIns="45720" rIns="91440" bIns="45720" rtlCol="0">
            <a:normAutofit/>
          </a:bodyPr>
          <a:lstStyle>
            <a:lvl1pPr marL="0" indent="0">
              <a:buNone/>
              <a:defRPr lang="en-US" sz="2000" b="0" dirty="0"/>
            </a:lvl1pPr>
          </a:lstStyle>
          <a:p>
            <a:pPr lvl="0"/>
            <a:r>
              <a:rPr lang="en-US"/>
              <a:t>Case  Study Description</a:t>
            </a:r>
          </a:p>
        </p:txBody>
      </p:sp>
      <p:grpSp>
        <p:nvGrpSpPr>
          <p:cNvPr id="17" name="Graphic 6">
            <a:extLst>
              <a:ext uri="{FF2B5EF4-FFF2-40B4-BE49-F238E27FC236}">
                <a16:creationId xmlns:a16="http://schemas.microsoft.com/office/drawing/2014/main" id="{A9B30032-0DB4-4EB6-9D7C-AC4025FBE795}"/>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DF55D1D1-FF8E-4EE8-A06F-8DED619F926D}"/>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6C0B83B-EC3D-45BB-BFAC-D612D6C76204}"/>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35598E6-AFF0-4C48-BA53-D5A0565B1D8E}"/>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C21131DF-3FD2-43A2-A2DE-D6B7192D39E2}"/>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33" name="Picture Placeholder 32">
            <a:extLst>
              <a:ext uri="{FF2B5EF4-FFF2-40B4-BE49-F238E27FC236}">
                <a16:creationId xmlns:a16="http://schemas.microsoft.com/office/drawing/2014/main" id="{8C000C89-7210-4E54-BDB6-AFFF7815B317}"/>
              </a:ext>
            </a:extLst>
          </p:cNvPr>
          <p:cNvSpPr>
            <a:spLocks noGrp="1"/>
          </p:cNvSpPr>
          <p:nvPr>
            <p:ph type="pic" sz="quarter" idx="17"/>
          </p:nvPr>
        </p:nvSpPr>
        <p:spPr>
          <a:xfrm>
            <a:off x="838200" y="723900"/>
            <a:ext cx="5143500" cy="5448300"/>
          </a:xfrm>
          <a:custGeom>
            <a:avLst/>
            <a:gdLst>
              <a:gd name="connsiteX0" fmla="*/ 4678441 w 5143500"/>
              <a:gd name="connsiteY0" fmla="*/ 0 h 5448300"/>
              <a:gd name="connsiteX1" fmla="*/ 5143500 w 5143500"/>
              <a:gd name="connsiteY1" fmla="*/ 0 h 5448300"/>
              <a:gd name="connsiteX2" fmla="*/ 5143500 w 5143500"/>
              <a:gd name="connsiteY2" fmla="*/ 5448300 h 5448300"/>
              <a:gd name="connsiteX3" fmla="*/ 0 w 5143500"/>
              <a:gd name="connsiteY3" fmla="*/ 5448300 h 5448300"/>
              <a:gd name="connsiteX4" fmla="*/ 0 w 5143500"/>
              <a:gd name="connsiteY4" fmla="*/ 3438760 h 5448300"/>
              <a:gd name="connsiteX5" fmla="*/ 77319 w 5143500"/>
              <a:gd name="connsiteY5" fmla="*/ 3451111 h 5448300"/>
              <a:gd name="connsiteX6" fmla="*/ 626875 w 5143500"/>
              <a:gd name="connsiteY6" fmla="*/ 3488385 h 5448300"/>
              <a:gd name="connsiteX7" fmla="*/ 4656686 w 5143500"/>
              <a:gd name="connsiteY7" fmla="*/ 125021 h 5448300"/>
              <a:gd name="connsiteX8" fmla="*/ 0 w 5143500"/>
              <a:gd name="connsiteY8" fmla="*/ 0 h 5448300"/>
              <a:gd name="connsiteX9" fmla="*/ 3066634 w 5143500"/>
              <a:gd name="connsiteY9" fmla="*/ 0 h 5448300"/>
              <a:gd name="connsiteX10" fmla="*/ 3054096 w 5143500"/>
              <a:gd name="connsiteY10" fmla="*/ 49949 h 5448300"/>
              <a:gd name="connsiteX11" fmla="*/ 626875 w 5143500"/>
              <a:gd name="connsiteY11" fmla="*/ 1878538 h 5448300"/>
              <a:gd name="connsiteX12" fmla="*/ 52770 w 5143500"/>
              <a:gd name="connsiteY12" fmla="*/ 1811892 h 5448300"/>
              <a:gd name="connsiteX13" fmla="*/ 0 w 5143500"/>
              <a:gd name="connsiteY13" fmla="*/ 1797276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3500" h="5448300">
                <a:moveTo>
                  <a:pt x="4678441" y="0"/>
                </a:moveTo>
                <a:lnTo>
                  <a:pt x="5143500" y="0"/>
                </a:lnTo>
                <a:lnTo>
                  <a:pt x="5143500" y="5448300"/>
                </a:lnTo>
                <a:lnTo>
                  <a:pt x="0" y="5448300"/>
                </a:lnTo>
                <a:lnTo>
                  <a:pt x="0" y="3438760"/>
                </a:lnTo>
                <a:lnTo>
                  <a:pt x="77319" y="3451111"/>
                </a:lnTo>
                <a:cubicBezTo>
                  <a:pt x="257091" y="3475695"/>
                  <a:pt x="440536" y="3488385"/>
                  <a:pt x="626875" y="3488385"/>
                </a:cubicBezTo>
                <a:cubicBezTo>
                  <a:pt x="2615413" y="3488385"/>
                  <a:pt x="4273839" y="2044485"/>
                  <a:pt x="4656686" y="125021"/>
                </a:cubicBezTo>
                <a:close/>
                <a:moveTo>
                  <a:pt x="0" y="0"/>
                </a:moveTo>
                <a:lnTo>
                  <a:pt x="3066634" y="0"/>
                </a:lnTo>
                <a:lnTo>
                  <a:pt x="3054096" y="49949"/>
                </a:lnTo>
                <a:cubicBezTo>
                  <a:pt x="2732433" y="1109290"/>
                  <a:pt x="1767711" y="1878538"/>
                  <a:pt x="626875" y="1878538"/>
                </a:cubicBezTo>
                <a:cubicBezTo>
                  <a:pt x="429425" y="1878538"/>
                  <a:pt x="237249" y="1855495"/>
                  <a:pt x="52770" y="1811892"/>
                </a:cubicBezTo>
                <a:lnTo>
                  <a:pt x="0" y="1797276"/>
                </a:lnTo>
                <a:close/>
              </a:path>
            </a:pathLst>
          </a:custGeom>
        </p:spPr>
        <p:txBody>
          <a:bodyPr wrap="square">
            <a:noAutofit/>
          </a:bodyPr>
          <a:lstStyle/>
          <a:p>
            <a:endParaRPr lang="en-US"/>
          </a:p>
        </p:txBody>
      </p:sp>
      <p:sp>
        <p:nvSpPr>
          <p:cNvPr id="34" name="Freeform: Shape 33">
            <a:extLst>
              <a:ext uri="{FF2B5EF4-FFF2-40B4-BE49-F238E27FC236}">
                <a16:creationId xmlns:a16="http://schemas.microsoft.com/office/drawing/2014/main" id="{9965D754-D0A4-41F2-9129-5F3ACE25208A}"/>
              </a:ext>
            </a:extLst>
          </p:cNvPr>
          <p:cNvSpPr/>
          <p:nvPr userDrawn="1"/>
        </p:nvSpPr>
        <p:spPr>
          <a:xfrm flipV="1">
            <a:off x="1" y="0"/>
            <a:ext cx="5578109" cy="4212285"/>
          </a:xfrm>
          <a:custGeom>
            <a:avLst/>
            <a:gdLst>
              <a:gd name="connsiteX0" fmla="*/ 1465074 w 5578109"/>
              <a:gd name="connsiteY0" fmla="*/ 0 h 4212285"/>
              <a:gd name="connsiteX1" fmla="*/ 5578109 w 5578109"/>
              <a:gd name="connsiteY1" fmla="*/ 4212284 h 4212285"/>
              <a:gd name="connsiteX2" fmla="*/ 5578109 w 5578109"/>
              <a:gd name="connsiteY2" fmla="*/ 4212285 h 4212285"/>
              <a:gd name="connsiteX3" fmla="*/ 4006509 w 5578109"/>
              <a:gd name="connsiteY3" fmla="*/ 4212285 h 4212285"/>
              <a:gd name="connsiteX4" fmla="*/ 4006509 w 5578109"/>
              <a:gd name="connsiteY4" fmla="*/ 4212284 h 4212285"/>
              <a:gd name="connsiteX5" fmla="*/ 1465074 w 5578109"/>
              <a:gd name="connsiteY5" fmla="*/ 1609847 h 4212285"/>
              <a:gd name="connsiteX6" fmla="*/ 43918 w 5578109"/>
              <a:gd name="connsiteY6" fmla="*/ 2054329 h 4212285"/>
              <a:gd name="connsiteX7" fmla="*/ 0 w 5578109"/>
              <a:gd name="connsiteY7" fmla="*/ 2087962 h 4212285"/>
              <a:gd name="connsiteX8" fmla="*/ 0 w 5578109"/>
              <a:gd name="connsiteY8" fmla="*/ 276145 h 4212285"/>
              <a:gd name="connsiteX9" fmla="*/ 50876 w 5578109"/>
              <a:gd name="connsiteY9" fmla="*/ 255601 h 4212285"/>
              <a:gd name="connsiteX10" fmla="*/ 1465074 w 5578109"/>
              <a:gd name="connsiteY10" fmla="*/ 0 h 421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8109" h="4212285">
                <a:moveTo>
                  <a:pt x="1465074" y="0"/>
                </a:moveTo>
                <a:cubicBezTo>
                  <a:pt x="3737689" y="0"/>
                  <a:pt x="5579136" y="1885910"/>
                  <a:pt x="5578109" y="4212284"/>
                </a:cubicBezTo>
                <a:lnTo>
                  <a:pt x="5578109" y="4212285"/>
                </a:lnTo>
                <a:lnTo>
                  <a:pt x="4006509" y="4212285"/>
                </a:lnTo>
                <a:lnTo>
                  <a:pt x="4006509" y="4212284"/>
                </a:lnTo>
                <a:cubicBezTo>
                  <a:pt x="4006509" y="2775099"/>
                  <a:pt x="2869180" y="1609847"/>
                  <a:pt x="1465074" y="1609847"/>
                </a:cubicBezTo>
                <a:cubicBezTo>
                  <a:pt x="938539" y="1609847"/>
                  <a:pt x="449517" y="1773711"/>
                  <a:pt x="43918" y="2054329"/>
                </a:cubicBezTo>
                <a:lnTo>
                  <a:pt x="0" y="2087962"/>
                </a:lnTo>
                <a:lnTo>
                  <a:pt x="0" y="276145"/>
                </a:lnTo>
                <a:lnTo>
                  <a:pt x="50876" y="255601"/>
                </a:lnTo>
                <a:cubicBezTo>
                  <a:pt x="491845" y="90244"/>
                  <a:pt x="968169" y="0"/>
                  <a:pt x="146507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4">
            <a:extLst>
              <a:ext uri="{FF2B5EF4-FFF2-40B4-BE49-F238E27FC236}">
                <a16:creationId xmlns:a16="http://schemas.microsoft.com/office/drawing/2014/main" id="{BE6EAFEE-2533-4E93-A3C2-B0195187D6DB}"/>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314477520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Case Study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3434AE-51C8-435C-BBF2-2467D2AEFAB9}"/>
              </a:ext>
            </a:extLst>
          </p:cNvPr>
          <p:cNvGraphicFramePr>
            <a:graphicFrameLocks noChangeAspect="1"/>
          </p:cNvGraphicFramePr>
          <p:nvPr userDrawn="1">
            <p:custDataLst>
              <p:tags r:id="rId1"/>
            </p:custDataLst>
            <p:extLst>
              <p:ext uri="{D42A27DB-BD31-4B8C-83A1-F6EECF244321}">
                <p14:modId xmlns:p14="http://schemas.microsoft.com/office/powerpoint/2010/main" val="616007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F83434AE-51C8-435C-BBF2-2467D2AEFA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reeform: Shape 8">
            <a:extLst>
              <a:ext uri="{FF2B5EF4-FFF2-40B4-BE49-F238E27FC236}">
                <a16:creationId xmlns:a16="http://schemas.microsoft.com/office/drawing/2014/main" id="{DE072136-3D7D-4EC3-A9A8-874146A822C5}"/>
              </a:ext>
            </a:extLst>
          </p:cNvPr>
          <p:cNvSpPr/>
          <p:nvPr userDrawn="1"/>
        </p:nvSpPr>
        <p:spPr>
          <a:xfrm rot="10800000">
            <a:off x="6627642" y="199786"/>
            <a:ext cx="5564358" cy="4198173"/>
          </a:xfrm>
          <a:custGeom>
            <a:avLst/>
            <a:gdLst>
              <a:gd name="connsiteX0" fmla="*/ 3998023 w 5564358"/>
              <a:gd name="connsiteY0" fmla="*/ 0 h 4198173"/>
              <a:gd name="connsiteX1" fmla="*/ 5564358 w 5564358"/>
              <a:gd name="connsiteY1" fmla="*/ 0 h 4198173"/>
              <a:gd name="connsiteX2" fmla="*/ 1465102 w 5564358"/>
              <a:gd name="connsiteY2" fmla="*/ 4198173 h 4198173"/>
              <a:gd name="connsiteX3" fmla="*/ 55641 w 5564358"/>
              <a:gd name="connsiteY3" fmla="*/ 3943429 h 4198173"/>
              <a:gd name="connsiteX4" fmla="*/ 0 w 5564358"/>
              <a:gd name="connsiteY4" fmla="*/ 3920960 h 4198173"/>
              <a:gd name="connsiteX5" fmla="*/ 0 w 5564358"/>
              <a:gd name="connsiteY5" fmla="*/ 2113083 h 4198173"/>
              <a:gd name="connsiteX6" fmla="*/ 49161 w 5564358"/>
              <a:gd name="connsiteY6" fmla="*/ 2150726 h 4198173"/>
              <a:gd name="connsiteX7" fmla="*/ 1465102 w 5564358"/>
              <a:gd name="connsiteY7" fmla="*/ 2593719 h 4198173"/>
              <a:gd name="connsiteX8" fmla="*/ 3998023 w 5564358"/>
              <a:gd name="connsiteY8" fmla="*/ 0 h 4198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4358" h="4198173">
                <a:moveTo>
                  <a:pt x="3998023" y="0"/>
                </a:moveTo>
                <a:lnTo>
                  <a:pt x="5564358" y="0"/>
                </a:lnTo>
                <a:cubicBezTo>
                  <a:pt x="5564358" y="2318582"/>
                  <a:pt x="3729070" y="4198173"/>
                  <a:pt x="1465102" y="4198173"/>
                </a:cubicBezTo>
                <a:cubicBezTo>
                  <a:pt x="969861" y="4198173"/>
                  <a:pt x="495133" y="4108232"/>
                  <a:pt x="55641" y="3943429"/>
                </a:cubicBezTo>
                <a:lnTo>
                  <a:pt x="0" y="3920960"/>
                </a:lnTo>
                <a:lnTo>
                  <a:pt x="0" y="2113083"/>
                </a:lnTo>
                <a:lnTo>
                  <a:pt x="49161" y="2150726"/>
                </a:lnTo>
                <a:cubicBezTo>
                  <a:pt x="453432" y="2430405"/>
                  <a:pt x="940718" y="2593719"/>
                  <a:pt x="1465102" y="2593719"/>
                </a:cubicBezTo>
                <a:cubicBezTo>
                  <a:pt x="2864504" y="2593719"/>
                  <a:pt x="3998023" y="1432371"/>
                  <a:pt x="3998023"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5">
            <a:extLst>
              <a:ext uri="{FF2B5EF4-FFF2-40B4-BE49-F238E27FC236}">
                <a16:creationId xmlns:a16="http://schemas.microsoft.com/office/drawing/2014/main" id="{11DA8E6A-AB91-40FA-A8C7-EBE1BBF874FD}"/>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a:t>Title Case </a:t>
            </a:r>
            <a:br>
              <a:rPr lang="en-US"/>
            </a:br>
            <a:r>
              <a:rPr lang="en-US"/>
              <a:t>Study</a:t>
            </a:r>
          </a:p>
        </p:txBody>
      </p:sp>
      <p:sp>
        <p:nvSpPr>
          <p:cNvPr id="2" name="Rectangle 1">
            <a:extLst>
              <a:ext uri="{FF2B5EF4-FFF2-40B4-BE49-F238E27FC236}">
                <a16:creationId xmlns:a16="http://schemas.microsoft.com/office/drawing/2014/main" id="{C6AB6A79-39B0-4F13-ADD8-62A7AE0FA8DB}"/>
              </a:ext>
            </a:extLst>
          </p:cNvPr>
          <p:cNvSpPr/>
          <p:nvPr userDrawn="1"/>
        </p:nvSpPr>
        <p:spPr>
          <a:xfrm>
            <a:off x="0" y="3086101"/>
            <a:ext cx="12192000" cy="3771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aphic 6">
            <a:extLst>
              <a:ext uri="{FF2B5EF4-FFF2-40B4-BE49-F238E27FC236}">
                <a16:creationId xmlns:a16="http://schemas.microsoft.com/office/drawing/2014/main" id="{A9B30032-0DB4-4EB6-9D7C-AC4025FBE795}"/>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DF55D1D1-FF8E-4EE8-A06F-8DED619F926D}"/>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6C0B83B-EC3D-45BB-BFAC-D612D6C76204}"/>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35598E6-AFF0-4C48-BA53-D5A0565B1D8E}"/>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C21131DF-3FD2-43A2-A2DE-D6B7192D39E2}"/>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4" name="Text Placeholder 5">
            <a:extLst>
              <a:ext uri="{FF2B5EF4-FFF2-40B4-BE49-F238E27FC236}">
                <a16:creationId xmlns:a16="http://schemas.microsoft.com/office/drawing/2014/main" id="{3B3C661D-85A5-4279-ABF4-B3E4635BB89D}"/>
              </a:ext>
            </a:extLst>
          </p:cNvPr>
          <p:cNvSpPr>
            <a:spLocks noGrp="1"/>
          </p:cNvSpPr>
          <p:nvPr>
            <p:ph type="body" sz="quarter" idx="16" hasCustomPrompt="1"/>
          </p:nvPr>
        </p:nvSpPr>
        <p:spPr>
          <a:xfrm>
            <a:off x="838200" y="3570849"/>
            <a:ext cx="3390900" cy="366495"/>
          </a:xfrm>
        </p:spPr>
        <p:txBody>
          <a:bodyPr vert="horz" lIns="91440" tIns="45720" rIns="91440" bIns="45720" rtlCol="0">
            <a:normAutofit/>
          </a:bodyPr>
          <a:lstStyle>
            <a:lvl1pPr marL="0" indent="0">
              <a:buNone/>
              <a:defRPr lang="en-US" sz="1400" b="1" dirty="0">
                <a:solidFill>
                  <a:schemeClr val="accent1"/>
                </a:solidFill>
              </a:defRPr>
            </a:lvl1pPr>
          </a:lstStyle>
          <a:p>
            <a:pPr lvl="0"/>
            <a:r>
              <a:rPr lang="en-US"/>
              <a:t>Client</a:t>
            </a:r>
          </a:p>
        </p:txBody>
      </p:sp>
      <p:sp>
        <p:nvSpPr>
          <p:cNvPr id="22" name="Text Placeholder 5">
            <a:extLst>
              <a:ext uri="{FF2B5EF4-FFF2-40B4-BE49-F238E27FC236}">
                <a16:creationId xmlns:a16="http://schemas.microsoft.com/office/drawing/2014/main" id="{048B43A0-604D-46B6-B37A-3E178B08BE21}"/>
              </a:ext>
            </a:extLst>
          </p:cNvPr>
          <p:cNvSpPr>
            <a:spLocks noGrp="1"/>
          </p:cNvSpPr>
          <p:nvPr>
            <p:ph type="body" sz="quarter" idx="17" hasCustomPrompt="1"/>
          </p:nvPr>
        </p:nvSpPr>
        <p:spPr>
          <a:xfrm>
            <a:off x="838200" y="3907521"/>
            <a:ext cx="3390900" cy="327074"/>
          </a:xfrm>
        </p:spPr>
        <p:txBody>
          <a:bodyPr vert="horz" lIns="91440" tIns="45720" rIns="91440" bIns="45720" rtlCol="0">
            <a:noAutofit/>
          </a:bodyPr>
          <a:lstStyle>
            <a:lvl1pPr marL="0" indent="0">
              <a:buNone/>
              <a:defRPr lang="en-US" sz="2000" b="0" dirty="0"/>
            </a:lvl1pPr>
          </a:lstStyle>
          <a:p>
            <a:pPr lvl="0"/>
            <a:r>
              <a:rPr lang="en-US"/>
              <a:t>Case  Study Description</a:t>
            </a:r>
          </a:p>
        </p:txBody>
      </p:sp>
      <p:sp>
        <p:nvSpPr>
          <p:cNvPr id="23" name="Text Placeholder 5">
            <a:extLst>
              <a:ext uri="{FF2B5EF4-FFF2-40B4-BE49-F238E27FC236}">
                <a16:creationId xmlns:a16="http://schemas.microsoft.com/office/drawing/2014/main" id="{D4DB360B-A66F-40EB-B438-ECB1BFDBE027}"/>
              </a:ext>
            </a:extLst>
          </p:cNvPr>
          <p:cNvSpPr>
            <a:spLocks noGrp="1"/>
          </p:cNvSpPr>
          <p:nvPr>
            <p:ph type="body" sz="quarter" idx="18" hasCustomPrompt="1"/>
          </p:nvPr>
        </p:nvSpPr>
        <p:spPr>
          <a:xfrm>
            <a:off x="838200" y="4453598"/>
            <a:ext cx="3390900" cy="366495"/>
          </a:xfrm>
        </p:spPr>
        <p:txBody>
          <a:bodyPr vert="horz" lIns="91440" tIns="45720" rIns="91440" bIns="45720" rtlCol="0">
            <a:normAutofit/>
          </a:bodyPr>
          <a:lstStyle>
            <a:lvl1pPr marL="0" indent="0">
              <a:buNone/>
              <a:defRPr lang="en-US" sz="1400" b="1" dirty="0">
                <a:solidFill>
                  <a:schemeClr val="accent1"/>
                </a:solidFill>
              </a:defRPr>
            </a:lvl1pPr>
          </a:lstStyle>
          <a:p>
            <a:pPr lvl="0"/>
            <a:r>
              <a:rPr lang="en-US"/>
              <a:t>Date</a:t>
            </a:r>
          </a:p>
        </p:txBody>
      </p:sp>
      <p:sp>
        <p:nvSpPr>
          <p:cNvPr id="24" name="Text Placeholder 5">
            <a:extLst>
              <a:ext uri="{FF2B5EF4-FFF2-40B4-BE49-F238E27FC236}">
                <a16:creationId xmlns:a16="http://schemas.microsoft.com/office/drawing/2014/main" id="{ED011166-445D-4FC6-B7B9-E36D79F78683}"/>
              </a:ext>
            </a:extLst>
          </p:cNvPr>
          <p:cNvSpPr>
            <a:spLocks noGrp="1"/>
          </p:cNvSpPr>
          <p:nvPr>
            <p:ph type="body" sz="quarter" idx="19" hasCustomPrompt="1"/>
          </p:nvPr>
        </p:nvSpPr>
        <p:spPr>
          <a:xfrm>
            <a:off x="838200" y="4790270"/>
            <a:ext cx="3390900" cy="327074"/>
          </a:xfrm>
        </p:spPr>
        <p:txBody>
          <a:bodyPr vert="horz" lIns="91440" tIns="45720" rIns="91440" bIns="45720" rtlCol="0">
            <a:noAutofit/>
          </a:bodyPr>
          <a:lstStyle>
            <a:lvl1pPr marL="0" indent="0">
              <a:buNone/>
              <a:defRPr lang="en-US" sz="2000" b="0" dirty="0"/>
            </a:lvl1pPr>
          </a:lstStyle>
          <a:p>
            <a:pPr lvl="0"/>
            <a:r>
              <a:rPr lang="en-US"/>
              <a:t>Case  Study Description</a:t>
            </a:r>
          </a:p>
        </p:txBody>
      </p:sp>
      <p:sp>
        <p:nvSpPr>
          <p:cNvPr id="25" name="Text Placeholder 5">
            <a:extLst>
              <a:ext uri="{FF2B5EF4-FFF2-40B4-BE49-F238E27FC236}">
                <a16:creationId xmlns:a16="http://schemas.microsoft.com/office/drawing/2014/main" id="{5320FEEF-D5F2-4FC1-97DE-F8D9594A91C8}"/>
              </a:ext>
            </a:extLst>
          </p:cNvPr>
          <p:cNvSpPr>
            <a:spLocks noGrp="1"/>
          </p:cNvSpPr>
          <p:nvPr>
            <p:ph type="body" sz="quarter" idx="20" hasCustomPrompt="1"/>
          </p:nvPr>
        </p:nvSpPr>
        <p:spPr>
          <a:xfrm>
            <a:off x="838200" y="5331722"/>
            <a:ext cx="3390900" cy="366495"/>
          </a:xfrm>
        </p:spPr>
        <p:txBody>
          <a:bodyPr vert="horz" lIns="91440" tIns="45720" rIns="91440" bIns="45720" rtlCol="0">
            <a:normAutofit/>
          </a:bodyPr>
          <a:lstStyle>
            <a:lvl1pPr marL="0" indent="0">
              <a:buNone/>
              <a:defRPr lang="en-US" sz="1400" b="1" dirty="0">
                <a:solidFill>
                  <a:schemeClr val="accent1"/>
                </a:solidFill>
              </a:defRPr>
            </a:lvl1pPr>
          </a:lstStyle>
          <a:p>
            <a:pPr lvl="0"/>
            <a:r>
              <a:rPr lang="en-US"/>
              <a:t>Industry</a:t>
            </a:r>
          </a:p>
        </p:txBody>
      </p:sp>
      <p:sp>
        <p:nvSpPr>
          <p:cNvPr id="26" name="Text Placeholder 5">
            <a:extLst>
              <a:ext uri="{FF2B5EF4-FFF2-40B4-BE49-F238E27FC236}">
                <a16:creationId xmlns:a16="http://schemas.microsoft.com/office/drawing/2014/main" id="{471FBF21-8288-4677-8734-42B54F7B1FC3}"/>
              </a:ext>
            </a:extLst>
          </p:cNvPr>
          <p:cNvSpPr>
            <a:spLocks noGrp="1"/>
          </p:cNvSpPr>
          <p:nvPr>
            <p:ph type="body" sz="quarter" idx="21" hasCustomPrompt="1"/>
          </p:nvPr>
        </p:nvSpPr>
        <p:spPr>
          <a:xfrm>
            <a:off x="838200" y="5668394"/>
            <a:ext cx="3390900" cy="327074"/>
          </a:xfrm>
        </p:spPr>
        <p:txBody>
          <a:bodyPr vert="horz" lIns="91440" tIns="45720" rIns="91440" bIns="45720" rtlCol="0">
            <a:noAutofit/>
          </a:bodyPr>
          <a:lstStyle>
            <a:lvl1pPr marL="0" indent="0">
              <a:buNone/>
              <a:defRPr lang="en-US" sz="2000" b="0" dirty="0"/>
            </a:lvl1pPr>
          </a:lstStyle>
          <a:p>
            <a:pPr lvl="0"/>
            <a:r>
              <a:rPr lang="en-US"/>
              <a:t>Case  Study Description</a:t>
            </a:r>
          </a:p>
        </p:txBody>
      </p:sp>
      <p:sp>
        <p:nvSpPr>
          <p:cNvPr id="27" name="Text Placeholder 5">
            <a:extLst>
              <a:ext uri="{FF2B5EF4-FFF2-40B4-BE49-F238E27FC236}">
                <a16:creationId xmlns:a16="http://schemas.microsoft.com/office/drawing/2014/main" id="{8BB4EACB-9D30-4946-8721-999A6A6901FF}"/>
              </a:ext>
            </a:extLst>
          </p:cNvPr>
          <p:cNvSpPr>
            <a:spLocks noGrp="1"/>
          </p:cNvSpPr>
          <p:nvPr>
            <p:ph type="body" sz="quarter" idx="22" hasCustomPrompt="1"/>
          </p:nvPr>
        </p:nvSpPr>
        <p:spPr>
          <a:xfrm>
            <a:off x="4457700" y="3570850"/>
            <a:ext cx="3276600" cy="428625"/>
          </a:xfrm>
        </p:spPr>
        <p:txBody>
          <a:bodyPr vert="horz" lIns="91440" tIns="45720" rIns="91440" bIns="45720" rtlCol="0">
            <a:normAutofit/>
          </a:bodyPr>
          <a:lstStyle>
            <a:lvl1pPr marL="0" indent="0">
              <a:buNone/>
              <a:defRPr lang="en-US" sz="1400" b="1" dirty="0">
                <a:solidFill>
                  <a:schemeClr val="accent1"/>
                </a:solidFill>
              </a:defRPr>
            </a:lvl1pPr>
          </a:lstStyle>
          <a:p>
            <a:pPr lvl="0"/>
            <a:r>
              <a:rPr lang="en-US"/>
              <a:t>Partners</a:t>
            </a:r>
          </a:p>
        </p:txBody>
      </p:sp>
      <p:sp>
        <p:nvSpPr>
          <p:cNvPr id="28" name="Text Placeholder 5">
            <a:extLst>
              <a:ext uri="{FF2B5EF4-FFF2-40B4-BE49-F238E27FC236}">
                <a16:creationId xmlns:a16="http://schemas.microsoft.com/office/drawing/2014/main" id="{28B14752-4892-4559-8255-33F57172FE79}"/>
              </a:ext>
            </a:extLst>
          </p:cNvPr>
          <p:cNvSpPr>
            <a:spLocks noGrp="1"/>
          </p:cNvSpPr>
          <p:nvPr>
            <p:ph type="body" sz="quarter" idx="23" hasCustomPrompt="1"/>
          </p:nvPr>
        </p:nvSpPr>
        <p:spPr>
          <a:xfrm>
            <a:off x="4457700" y="4060435"/>
            <a:ext cx="3276600" cy="2111765"/>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29" name="Text Placeholder 5">
            <a:extLst>
              <a:ext uri="{FF2B5EF4-FFF2-40B4-BE49-F238E27FC236}">
                <a16:creationId xmlns:a16="http://schemas.microsoft.com/office/drawing/2014/main" id="{2F0C3921-918C-4392-81EE-7FDFD5A87C02}"/>
              </a:ext>
            </a:extLst>
          </p:cNvPr>
          <p:cNvSpPr>
            <a:spLocks noGrp="1"/>
          </p:cNvSpPr>
          <p:nvPr>
            <p:ph type="body" sz="quarter" idx="24" hasCustomPrompt="1"/>
          </p:nvPr>
        </p:nvSpPr>
        <p:spPr>
          <a:xfrm>
            <a:off x="7962900" y="3570849"/>
            <a:ext cx="3390900" cy="428625"/>
          </a:xfrm>
        </p:spPr>
        <p:txBody>
          <a:bodyPr vert="horz" lIns="91440" tIns="45720" rIns="91440" bIns="45720" rtlCol="0">
            <a:normAutofit/>
          </a:bodyPr>
          <a:lstStyle>
            <a:lvl1pPr marL="0" indent="0">
              <a:buNone/>
              <a:defRPr lang="en-US" sz="1400" b="1" dirty="0">
                <a:solidFill>
                  <a:schemeClr val="accent1"/>
                </a:solidFill>
              </a:defRPr>
            </a:lvl1pPr>
          </a:lstStyle>
          <a:p>
            <a:pPr lvl="0"/>
            <a:r>
              <a:rPr lang="en-US"/>
              <a:t>Services applied</a:t>
            </a:r>
          </a:p>
        </p:txBody>
      </p:sp>
      <p:sp>
        <p:nvSpPr>
          <p:cNvPr id="30" name="Text Placeholder 5">
            <a:extLst>
              <a:ext uri="{FF2B5EF4-FFF2-40B4-BE49-F238E27FC236}">
                <a16:creationId xmlns:a16="http://schemas.microsoft.com/office/drawing/2014/main" id="{41074C79-77B2-48D3-8081-76765420E5AB}"/>
              </a:ext>
            </a:extLst>
          </p:cNvPr>
          <p:cNvSpPr>
            <a:spLocks noGrp="1"/>
          </p:cNvSpPr>
          <p:nvPr>
            <p:ph type="body" sz="quarter" idx="25" hasCustomPrompt="1"/>
          </p:nvPr>
        </p:nvSpPr>
        <p:spPr>
          <a:xfrm>
            <a:off x="7962900" y="4060434"/>
            <a:ext cx="3390900" cy="2111765"/>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33" name="Text Placeholder 5">
            <a:extLst>
              <a:ext uri="{FF2B5EF4-FFF2-40B4-BE49-F238E27FC236}">
                <a16:creationId xmlns:a16="http://schemas.microsoft.com/office/drawing/2014/main" id="{17D49FD4-CE4C-4BA6-BA07-7B9B9E656C34}"/>
              </a:ext>
            </a:extLst>
          </p:cNvPr>
          <p:cNvSpPr>
            <a:spLocks noGrp="1"/>
          </p:cNvSpPr>
          <p:nvPr>
            <p:ph type="body" sz="quarter" idx="26"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Case  Study</a:t>
            </a:r>
          </a:p>
        </p:txBody>
      </p:sp>
      <p:sp>
        <p:nvSpPr>
          <p:cNvPr id="31" name="Slide Number Placeholder 4">
            <a:extLst>
              <a:ext uri="{FF2B5EF4-FFF2-40B4-BE49-F238E27FC236}">
                <a16:creationId xmlns:a16="http://schemas.microsoft.com/office/drawing/2014/main" id="{1E4B1623-1910-4A00-8D56-B898FA25F312}"/>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34231683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Case Study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3434AE-51C8-435C-BBF2-2467D2AEFAB9}"/>
              </a:ext>
            </a:extLst>
          </p:cNvPr>
          <p:cNvGraphicFramePr>
            <a:graphicFrameLocks noChangeAspect="1"/>
          </p:cNvGraphicFramePr>
          <p:nvPr userDrawn="1">
            <p:custDataLst>
              <p:tags r:id="rId1"/>
            </p:custDataLst>
            <p:extLst>
              <p:ext uri="{D42A27DB-BD31-4B8C-83A1-F6EECF244321}">
                <p14:modId xmlns:p14="http://schemas.microsoft.com/office/powerpoint/2010/main" val="629074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F83434AE-51C8-435C-BBF2-2467D2AEFA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5">
            <a:extLst>
              <a:ext uri="{FF2B5EF4-FFF2-40B4-BE49-F238E27FC236}">
                <a16:creationId xmlns:a16="http://schemas.microsoft.com/office/drawing/2014/main" id="{11DA8E6A-AB91-40FA-A8C7-EBE1BBF874FD}"/>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a:t>Title Case </a:t>
            </a:r>
            <a:br>
              <a:rPr lang="en-US"/>
            </a:br>
            <a:r>
              <a:rPr lang="en-US"/>
              <a:t>Study</a:t>
            </a:r>
          </a:p>
        </p:txBody>
      </p:sp>
      <p:sp>
        <p:nvSpPr>
          <p:cNvPr id="2" name="Rectangle 1">
            <a:extLst>
              <a:ext uri="{FF2B5EF4-FFF2-40B4-BE49-F238E27FC236}">
                <a16:creationId xmlns:a16="http://schemas.microsoft.com/office/drawing/2014/main" id="{C6AB6A79-39B0-4F13-ADD8-62A7AE0FA8DB}"/>
              </a:ext>
            </a:extLst>
          </p:cNvPr>
          <p:cNvSpPr/>
          <p:nvPr userDrawn="1"/>
        </p:nvSpPr>
        <p:spPr>
          <a:xfrm>
            <a:off x="5440296" y="0"/>
            <a:ext cx="6751703"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 Placeholder 5">
            <a:extLst>
              <a:ext uri="{FF2B5EF4-FFF2-40B4-BE49-F238E27FC236}">
                <a16:creationId xmlns:a16="http://schemas.microsoft.com/office/drawing/2014/main" id="{17D49FD4-CE4C-4BA6-BA07-7B9B9E656C34}"/>
              </a:ext>
            </a:extLst>
          </p:cNvPr>
          <p:cNvSpPr>
            <a:spLocks noGrp="1"/>
          </p:cNvSpPr>
          <p:nvPr>
            <p:ph type="body" sz="quarter" idx="26"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Case  Study</a:t>
            </a:r>
          </a:p>
        </p:txBody>
      </p:sp>
      <p:sp>
        <p:nvSpPr>
          <p:cNvPr id="31" name="Text Placeholder 13">
            <a:extLst>
              <a:ext uri="{FF2B5EF4-FFF2-40B4-BE49-F238E27FC236}">
                <a16:creationId xmlns:a16="http://schemas.microsoft.com/office/drawing/2014/main" id="{2E9120A4-8990-4E96-8757-98998F42D94C}"/>
              </a:ext>
            </a:extLst>
          </p:cNvPr>
          <p:cNvSpPr>
            <a:spLocks noGrp="1"/>
          </p:cNvSpPr>
          <p:nvPr>
            <p:ph type="body" sz="quarter" idx="13" hasCustomPrompt="1"/>
          </p:nvPr>
        </p:nvSpPr>
        <p:spPr>
          <a:xfrm>
            <a:off x="7962900" y="768404"/>
            <a:ext cx="3390900" cy="500195"/>
          </a:xfrm>
        </p:spPr>
        <p:txBody>
          <a:bodyPr anchor="b">
            <a:normAutofit/>
          </a:bodyPr>
          <a:lstStyle>
            <a:lvl1pPr marL="0" indent="0">
              <a:lnSpc>
                <a:spcPct val="100000"/>
              </a:lnSpc>
              <a:buNone/>
              <a:defRPr sz="2000" b="1">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32" name="Text Placeholder 13">
            <a:extLst>
              <a:ext uri="{FF2B5EF4-FFF2-40B4-BE49-F238E27FC236}">
                <a16:creationId xmlns:a16="http://schemas.microsoft.com/office/drawing/2014/main" id="{7659F821-5BF8-4719-ABAE-7BBF6D609253}"/>
              </a:ext>
            </a:extLst>
          </p:cNvPr>
          <p:cNvSpPr>
            <a:spLocks noGrp="1"/>
          </p:cNvSpPr>
          <p:nvPr>
            <p:ph type="body" sz="quarter" idx="14" hasCustomPrompt="1"/>
          </p:nvPr>
        </p:nvSpPr>
        <p:spPr>
          <a:xfrm>
            <a:off x="7962900" y="1386869"/>
            <a:ext cx="3390900" cy="758030"/>
          </a:xfrm>
        </p:spPr>
        <p:txBody>
          <a:bodyPr>
            <a:normAutofit/>
          </a:bodyPr>
          <a:lstStyle>
            <a:lvl1pPr marL="0" indent="0">
              <a:lnSpc>
                <a:spcPct val="100000"/>
              </a:lnSpc>
              <a:buNone/>
              <a:defRPr sz="2000" b="0">
                <a:solidFill>
                  <a:schemeClr val="tx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38" name="Picture Placeholder 3">
            <a:extLst>
              <a:ext uri="{FF2B5EF4-FFF2-40B4-BE49-F238E27FC236}">
                <a16:creationId xmlns:a16="http://schemas.microsoft.com/office/drawing/2014/main" id="{DA7E6E2C-4BDE-4F52-AF0D-9E2B36C86E56}"/>
              </a:ext>
            </a:extLst>
          </p:cNvPr>
          <p:cNvSpPr>
            <a:spLocks noGrp="1"/>
          </p:cNvSpPr>
          <p:nvPr>
            <p:ph type="pic" sz="quarter" idx="22"/>
          </p:nvPr>
        </p:nvSpPr>
        <p:spPr>
          <a:xfrm>
            <a:off x="6210301" y="723899"/>
            <a:ext cx="1524000" cy="1502549"/>
          </a:xfrm>
          <a:solidFill>
            <a:schemeClr val="bg1"/>
          </a:solidFill>
        </p:spPr>
        <p:txBody>
          <a:bodyPr/>
          <a:lstStyle>
            <a:lvl1pPr marL="0" indent="0">
              <a:buNone/>
              <a:defRPr/>
            </a:lvl1pPr>
          </a:lstStyle>
          <a:p>
            <a:endParaRPr lang="en-US"/>
          </a:p>
        </p:txBody>
      </p:sp>
      <p:sp>
        <p:nvSpPr>
          <p:cNvPr id="39" name="Picture Placeholder 3">
            <a:extLst>
              <a:ext uri="{FF2B5EF4-FFF2-40B4-BE49-F238E27FC236}">
                <a16:creationId xmlns:a16="http://schemas.microsoft.com/office/drawing/2014/main" id="{0D65E76A-4840-4186-B051-687C64DFEE9A}"/>
              </a:ext>
            </a:extLst>
          </p:cNvPr>
          <p:cNvSpPr>
            <a:spLocks noGrp="1"/>
          </p:cNvSpPr>
          <p:nvPr>
            <p:ph type="pic" sz="quarter" idx="23"/>
          </p:nvPr>
        </p:nvSpPr>
        <p:spPr>
          <a:xfrm>
            <a:off x="6210301" y="2696775"/>
            <a:ext cx="1524000" cy="1502549"/>
          </a:xfrm>
          <a:solidFill>
            <a:schemeClr val="bg1"/>
          </a:solidFill>
        </p:spPr>
        <p:txBody>
          <a:bodyPr/>
          <a:lstStyle>
            <a:lvl1pPr marL="0" indent="0">
              <a:buNone/>
              <a:defRPr/>
            </a:lvl1pPr>
          </a:lstStyle>
          <a:p>
            <a:endParaRPr lang="en-US"/>
          </a:p>
        </p:txBody>
      </p:sp>
      <p:sp>
        <p:nvSpPr>
          <p:cNvPr id="40" name="Picture Placeholder 3">
            <a:extLst>
              <a:ext uri="{FF2B5EF4-FFF2-40B4-BE49-F238E27FC236}">
                <a16:creationId xmlns:a16="http://schemas.microsoft.com/office/drawing/2014/main" id="{AEA3F334-7F19-4FFB-A738-E97B8735976A}"/>
              </a:ext>
            </a:extLst>
          </p:cNvPr>
          <p:cNvSpPr>
            <a:spLocks noGrp="1"/>
          </p:cNvSpPr>
          <p:nvPr>
            <p:ph type="pic" sz="quarter" idx="24"/>
          </p:nvPr>
        </p:nvSpPr>
        <p:spPr>
          <a:xfrm>
            <a:off x="6210301" y="4669651"/>
            <a:ext cx="1524000" cy="1502549"/>
          </a:xfrm>
          <a:solidFill>
            <a:schemeClr val="bg1"/>
          </a:solidFill>
        </p:spPr>
        <p:txBody>
          <a:bodyPr/>
          <a:lstStyle>
            <a:lvl1pPr marL="0" indent="0">
              <a:buNone/>
              <a:defRPr/>
            </a:lvl1pPr>
          </a:lstStyle>
          <a:p>
            <a:endParaRPr lang="en-US"/>
          </a:p>
        </p:txBody>
      </p:sp>
      <p:sp>
        <p:nvSpPr>
          <p:cNvPr id="41" name="Text Placeholder 13">
            <a:extLst>
              <a:ext uri="{FF2B5EF4-FFF2-40B4-BE49-F238E27FC236}">
                <a16:creationId xmlns:a16="http://schemas.microsoft.com/office/drawing/2014/main" id="{2D61AC73-E33F-4D5B-8BA9-F51AD6BFC9CB}"/>
              </a:ext>
            </a:extLst>
          </p:cNvPr>
          <p:cNvSpPr>
            <a:spLocks noGrp="1"/>
          </p:cNvSpPr>
          <p:nvPr>
            <p:ph type="body" sz="quarter" idx="27" hasCustomPrompt="1"/>
          </p:nvPr>
        </p:nvSpPr>
        <p:spPr>
          <a:xfrm>
            <a:off x="7962900" y="2758569"/>
            <a:ext cx="3390900" cy="500195"/>
          </a:xfrm>
        </p:spPr>
        <p:txBody>
          <a:bodyPr anchor="b">
            <a:normAutofit/>
          </a:bodyPr>
          <a:lstStyle>
            <a:lvl1pPr marL="0" indent="0">
              <a:lnSpc>
                <a:spcPct val="100000"/>
              </a:lnSpc>
              <a:buNone/>
              <a:defRPr sz="2000" b="1">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42" name="Text Placeholder 13">
            <a:extLst>
              <a:ext uri="{FF2B5EF4-FFF2-40B4-BE49-F238E27FC236}">
                <a16:creationId xmlns:a16="http://schemas.microsoft.com/office/drawing/2014/main" id="{4EFB90C0-CA59-426F-BED0-111EFAFB63A3}"/>
              </a:ext>
            </a:extLst>
          </p:cNvPr>
          <p:cNvSpPr>
            <a:spLocks noGrp="1"/>
          </p:cNvSpPr>
          <p:nvPr>
            <p:ph type="body" sz="quarter" idx="28" hasCustomPrompt="1"/>
          </p:nvPr>
        </p:nvSpPr>
        <p:spPr>
          <a:xfrm>
            <a:off x="7962900" y="3377034"/>
            <a:ext cx="3390900" cy="758030"/>
          </a:xfrm>
        </p:spPr>
        <p:txBody>
          <a:bodyPr>
            <a:normAutofit/>
          </a:bodyPr>
          <a:lstStyle>
            <a:lvl1pPr marL="0" indent="0">
              <a:lnSpc>
                <a:spcPct val="100000"/>
              </a:lnSpc>
              <a:buNone/>
              <a:defRPr sz="2000" b="0">
                <a:solidFill>
                  <a:schemeClr val="tx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43" name="Text Placeholder 13">
            <a:extLst>
              <a:ext uri="{FF2B5EF4-FFF2-40B4-BE49-F238E27FC236}">
                <a16:creationId xmlns:a16="http://schemas.microsoft.com/office/drawing/2014/main" id="{272DF56C-704F-416A-AE4E-0AE9ECE06441}"/>
              </a:ext>
            </a:extLst>
          </p:cNvPr>
          <p:cNvSpPr>
            <a:spLocks noGrp="1"/>
          </p:cNvSpPr>
          <p:nvPr>
            <p:ph type="body" sz="quarter" idx="29" hasCustomPrompt="1"/>
          </p:nvPr>
        </p:nvSpPr>
        <p:spPr>
          <a:xfrm>
            <a:off x="7962900" y="4741917"/>
            <a:ext cx="3390900" cy="500195"/>
          </a:xfrm>
        </p:spPr>
        <p:txBody>
          <a:bodyPr anchor="b">
            <a:normAutofit/>
          </a:bodyPr>
          <a:lstStyle>
            <a:lvl1pPr marL="0" indent="0">
              <a:lnSpc>
                <a:spcPct val="100000"/>
              </a:lnSpc>
              <a:buNone/>
              <a:defRPr sz="2000" b="1">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44" name="Text Placeholder 13">
            <a:extLst>
              <a:ext uri="{FF2B5EF4-FFF2-40B4-BE49-F238E27FC236}">
                <a16:creationId xmlns:a16="http://schemas.microsoft.com/office/drawing/2014/main" id="{A59A8550-97AC-4C55-A180-D895048D848E}"/>
              </a:ext>
            </a:extLst>
          </p:cNvPr>
          <p:cNvSpPr>
            <a:spLocks noGrp="1"/>
          </p:cNvSpPr>
          <p:nvPr>
            <p:ph type="body" sz="quarter" idx="30" hasCustomPrompt="1"/>
          </p:nvPr>
        </p:nvSpPr>
        <p:spPr>
          <a:xfrm>
            <a:off x="7962900" y="5360382"/>
            <a:ext cx="3390900" cy="758030"/>
          </a:xfrm>
        </p:spPr>
        <p:txBody>
          <a:bodyPr>
            <a:normAutofit/>
          </a:bodyPr>
          <a:lstStyle>
            <a:lvl1pPr marL="0" indent="0">
              <a:lnSpc>
                <a:spcPct val="100000"/>
              </a:lnSpc>
              <a:buNone/>
              <a:defRPr sz="2000" b="0">
                <a:solidFill>
                  <a:schemeClr val="tx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grpSp>
        <p:nvGrpSpPr>
          <p:cNvPr id="45" name="Graphic 6">
            <a:extLst>
              <a:ext uri="{FF2B5EF4-FFF2-40B4-BE49-F238E27FC236}">
                <a16:creationId xmlns:a16="http://schemas.microsoft.com/office/drawing/2014/main" id="{F0FB3F8A-BE7B-42AA-8ACE-67B0C0623002}"/>
              </a:ext>
            </a:extLst>
          </p:cNvPr>
          <p:cNvGrpSpPr/>
          <p:nvPr userDrawn="1"/>
        </p:nvGrpSpPr>
        <p:grpSpPr>
          <a:xfrm>
            <a:off x="891988" y="6394893"/>
            <a:ext cx="432890" cy="187030"/>
            <a:chOff x="85969" y="3646150"/>
            <a:chExt cx="1544103" cy="667132"/>
          </a:xfrm>
          <a:solidFill>
            <a:srgbClr val="FF9E18"/>
          </a:solidFill>
        </p:grpSpPr>
        <p:sp>
          <p:nvSpPr>
            <p:cNvPr id="46" name="Freeform: Shape 45">
              <a:extLst>
                <a:ext uri="{FF2B5EF4-FFF2-40B4-BE49-F238E27FC236}">
                  <a16:creationId xmlns:a16="http://schemas.microsoft.com/office/drawing/2014/main" id="{ADEA5017-7460-472A-B209-58EF6625045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BA6FF322-A4E5-4F46-B54D-5F1E937D7992}"/>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923A4141-2CD8-4778-AD26-96EA4874FCD6}"/>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C41B2C57-D883-4C46-A50A-4E60235E3602}"/>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50" name="Text Placeholder 5">
            <a:extLst>
              <a:ext uri="{FF2B5EF4-FFF2-40B4-BE49-F238E27FC236}">
                <a16:creationId xmlns:a16="http://schemas.microsoft.com/office/drawing/2014/main" id="{51DA9864-4FC0-465A-8888-C1B98D376F2A}"/>
              </a:ext>
            </a:extLst>
          </p:cNvPr>
          <p:cNvSpPr>
            <a:spLocks noGrp="1"/>
          </p:cNvSpPr>
          <p:nvPr>
            <p:ph type="body" sz="quarter" idx="31" hasCustomPrompt="1"/>
          </p:nvPr>
        </p:nvSpPr>
        <p:spPr>
          <a:xfrm>
            <a:off x="838200" y="3719072"/>
            <a:ext cx="3390900" cy="2453128"/>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51" name="Text Placeholder 5">
            <a:extLst>
              <a:ext uri="{FF2B5EF4-FFF2-40B4-BE49-F238E27FC236}">
                <a16:creationId xmlns:a16="http://schemas.microsoft.com/office/drawing/2014/main" id="{CC213105-C3E0-4D12-8ACD-6C750A97A243}"/>
              </a:ext>
            </a:extLst>
          </p:cNvPr>
          <p:cNvSpPr>
            <a:spLocks noGrp="1"/>
          </p:cNvSpPr>
          <p:nvPr>
            <p:ph type="body" sz="quarter" idx="32" hasCustomPrompt="1"/>
          </p:nvPr>
        </p:nvSpPr>
        <p:spPr>
          <a:xfrm>
            <a:off x="838200" y="3058245"/>
            <a:ext cx="3390900" cy="422622"/>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Team</a:t>
            </a:r>
          </a:p>
        </p:txBody>
      </p:sp>
      <p:sp>
        <p:nvSpPr>
          <p:cNvPr id="24" name="Slide Number Placeholder 4">
            <a:extLst>
              <a:ext uri="{FF2B5EF4-FFF2-40B4-BE49-F238E27FC236}">
                <a16:creationId xmlns:a16="http://schemas.microsoft.com/office/drawing/2014/main" id="{DB0F4494-AA2B-4045-A5A4-F1B9C2D3B0DF}"/>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355315031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ase Study 2">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F939BFC-D51C-4F62-94F5-28778A2A2FE4}"/>
              </a:ext>
            </a:extLst>
          </p:cNvPr>
          <p:cNvGraphicFramePr>
            <a:graphicFrameLocks noChangeAspect="1"/>
          </p:cNvGraphicFramePr>
          <p:nvPr userDrawn="1">
            <p:custDataLst>
              <p:tags r:id="rId1"/>
            </p:custDataLst>
            <p:extLst>
              <p:ext uri="{D42A27DB-BD31-4B8C-83A1-F6EECF244321}">
                <p14:modId xmlns:p14="http://schemas.microsoft.com/office/powerpoint/2010/main" val="2666686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5F939BFC-D51C-4F62-94F5-28778A2A2F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1FAE93-871C-416D-88ED-322972D2980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8" name="Freeform: Shape 27">
            <a:extLst>
              <a:ext uri="{FF2B5EF4-FFF2-40B4-BE49-F238E27FC236}">
                <a16:creationId xmlns:a16="http://schemas.microsoft.com/office/drawing/2014/main" id="{3E338455-F163-4D18-8C66-A52D781CA037}"/>
              </a:ext>
            </a:extLst>
          </p:cNvPr>
          <p:cNvSpPr/>
          <p:nvPr userDrawn="1"/>
        </p:nvSpPr>
        <p:spPr>
          <a:xfrm>
            <a:off x="9715500" y="1146361"/>
            <a:ext cx="2476500" cy="4565278"/>
          </a:xfrm>
          <a:custGeom>
            <a:avLst/>
            <a:gdLst>
              <a:gd name="connsiteX0" fmla="*/ 2228850 w 2476500"/>
              <a:gd name="connsiteY0" fmla="*/ 0 h 4565278"/>
              <a:gd name="connsiteX1" fmla="*/ 2456837 w 2476500"/>
              <a:gd name="connsiteY1" fmla="*/ 11785 h 4565278"/>
              <a:gd name="connsiteX2" fmla="*/ 2476500 w 2476500"/>
              <a:gd name="connsiteY2" fmla="*/ 14857 h 4565278"/>
              <a:gd name="connsiteX3" fmla="*/ 2476500 w 2476500"/>
              <a:gd name="connsiteY3" fmla="*/ 896346 h 4565278"/>
              <a:gd name="connsiteX4" fmla="*/ 2369707 w 2476500"/>
              <a:gd name="connsiteY4" fmla="*/ 879659 h 4565278"/>
              <a:gd name="connsiteX5" fmla="*/ 2228850 w 2476500"/>
              <a:gd name="connsiteY5" fmla="*/ 872377 h 4565278"/>
              <a:gd name="connsiteX6" fmla="*/ 851651 w 2476500"/>
              <a:gd name="connsiteY6" fmla="*/ 2282639 h 4565278"/>
              <a:gd name="connsiteX7" fmla="*/ 2228850 w 2476500"/>
              <a:gd name="connsiteY7" fmla="*/ 3692901 h 4565278"/>
              <a:gd name="connsiteX8" fmla="*/ 2369707 w 2476500"/>
              <a:gd name="connsiteY8" fmla="*/ 3685620 h 4565278"/>
              <a:gd name="connsiteX9" fmla="*/ 2476500 w 2476500"/>
              <a:gd name="connsiteY9" fmla="*/ 3668933 h 4565278"/>
              <a:gd name="connsiteX10" fmla="*/ 2476500 w 2476500"/>
              <a:gd name="connsiteY10" fmla="*/ 4550404 h 4565278"/>
              <a:gd name="connsiteX11" fmla="*/ 2456739 w 2476500"/>
              <a:gd name="connsiteY11" fmla="*/ 4553493 h 4565278"/>
              <a:gd name="connsiteX12" fmla="*/ 2228850 w 2476500"/>
              <a:gd name="connsiteY12" fmla="*/ 4565278 h 4565278"/>
              <a:gd name="connsiteX13" fmla="*/ 0 w 2476500"/>
              <a:gd name="connsiteY13" fmla="*/ 2282639 h 4565278"/>
              <a:gd name="connsiteX14" fmla="*/ 2228850 w 2476500"/>
              <a:gd name="connsiteY14" fmla="*/ 0 h 456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76500" h="4565278">
                <a:moveTo>
                  <a:pt x="2228850" y="0"/>
                </a:moveTo>
                <a:cubicBezTo>
                  <a:pt x="2305821" y="0"/>
                  <a:pt x="2381879" y="3992"/>
                  <a:pt x="2456837" y="11785"/>
                </a:cubicBezTo>
                <a:lnTo>
                  <a:pt x="2476500" y="14857"/>
                </a:lnTo>
                <a:lnTo>
                  <a:pt x="2476500" y="896346"/>
                </a:lnTo>
                <a:lnTo>
                  <a:pt x="2369707" y="879659"/>
                </a:lnTo>
                <a:cubicBezTo>
                  <a:pt x="2323396" y="874844"/>
                  <a:pt x="2276405" y="872377"/>
                  <a:pt x="2228850" y="872377"/>
                </a:cubicBezTo>
                <a:cubicBezTo>
                  <a:pt x="1467970" y="872377"/>
                  <a:pt x="851651" y="1503828"/>
                  <a:pt x="851651" y="2282639"/>
                </a:cubicBezTo>
                <a:cubicBezTo>
                  <a:pt x="851651" y="3061451"/>
                  <a:pt x="1468533" y="3692901"/>
                  <a:pt x="2228850" y="3692901"/>
                </a:cubicBezTo>
                <a:cubicBezTo>
                  <a:pt x="2276405" y="3692901"/>
                  <a:pt x="2323396" y="3690435"/>
                  <a:pt x="2369707" y="3685620"/>
                </a:cubicBezTo>
                <a:lnTo>
                  <a:pt x="2476500" y="3668933"/>
                </a:lnTo>
                <a:lnTo>
                  <a:pt x="2476500" y="4550404"/>
                </a:lnTo>
                <a:lnTo>
                  <a:pt x="2456739" y="4553493"/>
                </a:lnTo>
                <a:cubicBezTo>
                  <a:pt x="2381811" y="4561286"/>
                  <a:pt x="2305786" y="4565278"/>
                  <a:pt x="2228850" y="4565278"/>
                </a:cubicBezTo>
                <a:cubicBezTo>
                  <a:pt x="997887" y="4565278"/>
                  <a:pt x="0" y="3543303"/>
                  <a:pt x="0" y="2282639"/>
                </a:cubicBezTo>
                <a:cubicBezTo>
                  <a:pt x="0" y="1021975"/>
                  <a:pt x="997887" y="0"/>
                  <a:pt x="2228850" y="0"/>
                </a:cubicBezTo>
                <a:close/>
              </a:path>
            </a:pathLst>
          </a:custGeom>
          <a:solidFill>
            <a:srgbClr val="FF9E18"/>
          </a:solidFill>
          <a:ln w="9264" cap="flat">
            <a:noFill/>
            <a:prstDash val="solid"/>
            <a:miter/>
          </a:ln>
        </p:spPr>
        <p:txBody>
          <a:bodyPr wrap="square" rtlCol="0" anchor="ctr">
            <a:noAutofit/>
          </a:bodyPr>
          <a:lstStyle/>
          <a:p>
            <a:pPr marL="0" indent="0">
              <a:buFont typeface="Arial" panose="020B0604020202020204" pitchFamily="34" charset="0"/>
              <a:buNone/>
            </a:pPr>
            <a:endParaRPr lang="en-US"/>
          </a:p>
        </p:txBody>
      </p:sp>
      <p:sp>
        <p:nvSpPr>
          <p:cNvPr id="8" name="Rectangle 7">
            <a:extLst>
              <a:ext uri="{FF2B5EF4-FFF2-40B4-BE49-F238E27FC236}">
                <a16:creationId xmlns:a16="http://schemas.microsoft.com/office/drawing/2014/main" id="{803CC3B7-AD1C-4AB1-AB04-F6AB43C5E159}"/>
              </a:ext>
            </a:extLst>
          </p:cNvPr>
          <p:cNvSpPr/>
          <p:nvPr userDrawn="1"/>
        </p:nvSpPr>
        <p:spPr>
          <a:xfrm>
            <a:off x="0" y="3429000"/>
            <a:ext cx="12192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DF0078AD-20B7-4AE5-B019-FE0290E75B8B}"/>
              </a:ext>
            </a:extLst>
          </p:cNvPr>
          <p:cNvSpPr/>
          <p:nvPr userDrawn="1"/>
        </p:nvSpPr>
        <p:spPr>
          <a:xfrm>
            <a:off x="9715500" y="3429001"/>
            <a:ext cx="2476500" cy="2282639"/>
          </a:xfrm>
          <a:custGeom>
            <a:avLst/>
            <a:gdLst>
              <a:gd name="connsiteX0" fmla="*/ 0 w 2476500"/>
              <a:gd name="connsiteY0" fmla="*/ 0 h 2282639"/>
              <a:gd name="connsiteX1" fmla="*/ 851651 w 2476500"/>
              <a:gd name="connsiteY1" fmla="*/ 0 h 2282639"/>
              <a:gd name="connsiteX2" fmla="*/ 2228850 w 2476500"/>
              <a:gd name="connsiteY2" fmla="*/ 1410262 h 2282639"/>
              <a:gd name="connsiteX3" fmla="*/ 2369707 w 2476500"/>
              <a:gd name="connsiteY3" fmla="*/ 1402981 h 2282639"/>
              <a:gd name="connsiteX4" fmla="*/ 2476500 w 2476500"/>
              <a:gd name="connsiteY4" fmla="*/ 1386294 h 2282639"/>
              <a:gd name="connsiteX5" fmla="*/ 2476500 w 2476500"/>
              <a:gd name="connsiteY5" fmla="*/ 2267766 h 2282639"/>
              <a:gd name="connsiteX6" fmla="*/ 2456739 w 2476500"/>
              <a:gd name="connsiteY6" fmla="*/ 2270854 h 2282639"/>
              <a:gd name="connsiteX7" fmla="*/ 2228850 w 2476500"/>
              <a:gd name="connsiteY7" fmla="*/ 2282639 h 2282639"/>
              <a:gd name="connsiteX8" fmla="*/ 0 w 2476500"/>
              <a:gd name="connsiteY8" fmla="*/ 0 h 2282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0" h="2282639">
                <a:moveTo>
                  <a:pt x="0" y="0"/>
                </a:moveTo>
                <a:lnTo>
                  <a:pt x="851651" y="0"/>
                </a:lnTo>
                <a:cubicBezTo>
                  <a:pt x="851651" y="778812"/>
                  <a:pt x="1468533" y="1410262"/>
                  <a:pt x="2228850" y="1410262"/>
                </a:cubicBezTo>
                <a:cubicBezTo>
                  <a:pt x="2276405" y="1410262"/>
                  <a:pt x="2323396" y="1407796"/>
                  <a:pt x="2369707" y="1402981"/>
                </a:cubicBezTo>
                <a:lnTo>
                  <a:pt x="2476500" y="1386294"/>
                </a:lnTo>
                <a:lnTo>
                  <a:pt x="2476500" y="2267766"/>
                </a:lnTo>
                <a:lnTo>
                  <a:pt x="2456739" y="2270854"/>
                </a:lnTo>
                <a:cubicBezTo>
                  <a:pt x="2381811" y="2278647"/>
                  <a:pt x="2305786" y="2282639"/>
                  <a:pt x="2228850" y="2282639"/>
                </a:cubicBezTo>
                <a:cubicBezTo>
                  <a:pt x="997887" y="2282639"/>
                  <a:pt x="0" y="1260664"/>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Arial" panose="020B0604020202020204" pitchFamily="34" charset="0"/>
              <a:buNone/>
            </a:pPr>
            <a:endParaRPr lang="en-US"/>
          </a:p>
        </p:txBody>
      </p:sp>
      <p:sp>
        <p:nvSpPr>
          <p:cNvPr id="10" name="Freeform: Shape 9">
            <a:extLst>
              <a:ext uri="{FF2B5EF4-FFF2-40B4-BE49-F238E27FC236}">
                <a16:creationId xmlns:a16="http://schemas.microsoft.com/office/drawing/2014/main" id="{BBC3A9FF-87A7-4063-9803-2B47410131E5}"/>
              </a:ext>
            </a:extLst>
          </p:cNvPr>
          <p:cNvSpPr/>
          <p:nvPr userDrawn="1"/>
        </p:nvSpPr>
        <p:spPr>
          <a:xfrm>
            <a:off x="7962900" y="3940913"/>
            <a:ext cx="406747" cy="416527"/>
          </a:xfrm>
          <a:custGeom>
            <a:avLst/>
            <a:gdLst>
              <a:gd name="connsiteX0" fmla="*/ 366038 w 732076"/>
              <a:gd name="connsiteY0" fmla="*/ 0 h 749678"/>
              <a:gd name="connsiteX1" fmla="*/ 366038 w 732076"/>
              <a:gd name="connsiteY1" fmla="*/ 0 h 749678"/>
              <a:gd name="connsiteX2" fmla="*/ 0 w 732076"/>
              <a:gd name="connsiteY2" fmla="*/ 374839 h 749678"/>
              <a:gd name="connsiteX3" fmla="*/ 0 w 732076"/>
              <a:gd name="connsiteY3" fmla="*/ 374839 h 749678"/>
              <a:gd name="connsiteX4" fmla="*/ 366038 w 732076"/>
              <a:gd name="connsiteY4" fmla="*/ 749678 h 749678"/>
              <a:gd name="connsiteX5" fmla="*/ 366038 w 732076"/>
              <a:gd name="connsiteY5" fmla="*/ 749678 h 749678"/>
              <a:gd name="connsiteX6" fmla="*/ 732076 w 732076"/>
              <a:gd name="connsiteY6" fmla="*/ 374839 h 749678"/>
              <a:gd name="connsiteX7" fmla="*/ 732076 w 732076"/>
              <a:gd name="connsiteY7" fmla="*/ 374839 h 749678"/>
              <a:gd name="connsiteX8" fmla="*/ 366038 w 732076"/>
              <a:gd name="connsiteY8" fmla="*/ 0 h 749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076" h="749678">
                <a:moveTo>
                  <a:pt x="366038" y="0"/>
                </a:moveTo>
                <a:lnTo>
                  <a:pt x="366038" y="0"/>
                </a:lnTo>
                <a:cubicBezTo>
                  <a:pt x="163888" y="0"/>
                  <a:pt x="0" y="167779"/>
                  <a:pt x="0" y="374839"/>
                </a:cubicBezTo>
                <a:lnTo>
                  <a:pt x="0" y="374839"/>
                </a:lnTo>
                <a:cubicBezTo>
                  <a:pt x="0" y="581807"/>
                  <a:pt x="163888" y="749678"/>
                  <a:pt x="366038" y="749678"/>
                </a:cubicBezTo>
                <a:lnTo>
                  <a:pt x="366038" y="749678"/>
                </a:lnTo>
                <a:cubicBezTo>
                  <a:pt x="568188" y="749678"/>
                  <a:pt x="732076" y="581899"/>
                  <a:pt x="732076" y="374839"/>
                </a:cubicBezTo>
                <a:lnTo>
                  <a:pt x="732076" y="374839"/>
                </a:lnTo>
                <a:cubicBezTo>
                  <a:pt x="732076" y="167779"/>
                  <a:pt x="568188" y="0"/>
                  <a:pt x="366038" y="0"/>
                </a:cubicBez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a:p>
        </p:txBody>
      </p:sp>
      <p:sp>
        <p:nvSpPr>
          <p:cNvPr id="11" name="Freeform: Shape 10">
            <a:extLst>
              <a:ext uri="{FF2B5EF4-FFF2-40B4-BE49-F238E27FC236}">
                <a16:creationId xmlns:a16="http://schemas.microsoft.com/office/drawing/2014/main" id="{BEB61926-672E-44FE-865C-DB93F2E6E46E}"/>
              </a:ext>
            </a:extLst>
          </p:cNvPr>
          <p:cNvSpPr/>
          <p:nvPr userDrawn="1"/>
        </p:nvSpPr>
        <p:spPr>
          <a:xfrm>
            <a:off x="4569410" y="3940586"/>
            <a:ext cx="79990" cy="419356"/>
          </a:xfrm>
          <a:custGeom>
            <a:avLst/>
            <a:gdLst>
              <a:gd name="connsiteX0" fmla="*/ 0 w 143969"/>
              <a:gd name="connsiteY0" fmla="*/ 0 h 754773"/>
              <a:gd name="connsiteX1" fmla="*/ 143969 w 143969"/>
              <a:gd name="connsiteY1" fmla="*/ 0 h 754773"/>
              <a:gd name="connsiteX2" fmla="*/ 143969 w 143969"/>
              <a:gd name="connsiteY2" fmla="*/ 754774 h 754773"/>
              <a:gd name="connsiteX3" fmla="*/ 0 w 143969"/>
              <a:gd name="connsiteY3" fmla="*/ 754774 h 754773"/>
            </a:gdLst>
            <a:ahLst/>
            <a:cxnLst>
              <a:cxn ang="0">
                <a:pos x="connsiteX0" y="connsiteY0"/>
              </a:cxn>
              <a:cxn ang="0">
                <a:pos x="connsiteX1" y="connsiteY1"/>
              </a:cxn>
              <a:cxn ang="0">
                <a:pos x="connsiteX2" y="connsiteY2"/>
              </a:cxn>
              <a:cxn ang="0">
                <a:pos x="connsiteX3" y="connsiteY3"/>
              </a:cxn>
            </a:cxnLst>
            <a:rect l="l" t="t" r="r" b="b"/>
            <a:pathLst>
              <a:path w="143969" h="754773">
                <a:moveTo>
                  <a:pt x="0" y="0"/>
                </a:moveTo>
                <a:lnTo>
                  <a:pt x="143969" y="0"/>
                </a:lnTo>
                <a:lnTo>
                  <a:pt x="143969" y="754774"/>
                </a:lnTo>
                <a:lnTo>
                  <a:pt x="0" y="754774"/>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E6DA1C5F-9319-4992-93DB-264687E4EDB5}"/>
              </a:ext>
            </a:extLst>
          </p:cNvPr>
          <p:cNvSpPr/>
          <p:nvPr userDrawn="1"/>
        </p:nvSpPr>
        <p:spPr>
          <a:xfrm>
            <a:off x="838200" y="3940625"/>
            <a:ext cx="409526" cy="419409"/>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1267883"/>
            <a:ext cx="10515600" cy="716879"/>
          </a:xfrm>
        </p:spPr>
        <p:txBody>
          <a:bodyPr/>
          <a:lstStyle>
            <a:lvl1pPr marL="0" indent="0">
              <a:buFont typeface="Arial" panose="020B0604020202020204" pitchFamily="34" charset="0"/>
              <a:buNone/>
              <a:defRPr/>
            </a:lvl1pPr>
          </a:lstStyle>
          <a:p>
            <a:r>
              <a:rPr lang="en-US"/>
              <a:t>Click to edit Master title style</a:t>
            </a:r>
          </a:p>
        </p:txBody>
      </p:sp>
      <p:sp>
        <p:nvSpPr>
          <p:cNvPr id="15" name="Text Placeholder 5">
            <a:extLst>
              <a:ext uri="{FF2B5EF4-FFF2-40B4-BE49-F238E27FC236}">
                <a16:creationId xmlns:a16="http://schemas.microsoft.com/office/drawing/2014/main" id="{516052CA-AD47-4BA4-9E3A-238E32F990E9}"/>
              </a:ext>
            </a:extLst>
          </p:cNvPr>
          <p:cNvSpPr>
            <a:spLocks noGrp="1"/>
          </p:cNvSpPr>
          <p:nvPr>
            <p:ph type="body" sz="quarter" idx="16" hasCustomPrompt="1"/>
          </p:nvPr>
        </p:nvSpPr>
        <p:spPr>
          <a:xfrm>
            <a:off x="838200" y="2064544"/>
            <a:ext cx="5143500" cy="1221581"/>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16" name="Text Placeholder 5">
            <a:extLst>
              <a:ext uri="{FF2B5EF4-FFF2-40B4-BE49-F238E27FC236}">
                <a16:creationId xmlns:a16="http://schemas.microsoft.com/office/drawing/2014/main" id="{85EC9A31-5CD0-444A-9092-2DA5FFC33C11}"/>
              </a:ext>
            </a:extLst>
          </p:cNvPr>
          <p:cNvSpPr>
            <a:spLocks noGrp="1"/>
          </p:cNvSpPr>
          <p:nvPr>
            <p:ph type="body" sz="quarter" idx="17" hasCustomPrompt="1"/>
          </p:nvPr>
        </p:nvSpPr>
        <p:spPr>
          <a:xfrm>
            <a:off x="838200" y="4629150"/>
            <a:ext cx="3390900" cy="1221581"/>
          </a:xfrm>
        </p:spPr>
        <p:txBody>
          <a:bodyPr vert="horz" lIns="91440" tIns="45720" rIns="457200" bIns="45720" rtlCol="0">
            <a:normAutofit/>
          </a:bodyPr>
          <a:lstStyle>
            <a:lvl1pPr marL="0" indent="0">
              <a:buNone/>
              <a:defRPr lang="en-US" sz="2000" b="0" dirty="0"/>
            </a:lvl1pPr>
          </a:lstStyle>
          <a:p>
            <a:pPr lvl="0"/>
            <a:r>
              <a:rPr lang="en-US"/>
              <a:t>Case  Study Description</a:t>
            </a:r>
          </a:p>
        </p:txBody>
      </p:sp>
      <p:sp>
        <p:nvSpPr>
          <p:cNvPr id="17" name="Text Placeholder 5">
            <a:extLst>
              <a:ext uri="{FF2B5EF4-FFF2-40B4-BE49-F238E27FC236}">
                <a16:creationId xmlns:a16="http://schemas.microsoft.com/office/drawing/2014/main" id="{C5116724-EDC1-4E4F-9F86-05E608C02E08}"/>
              </a:ext>
            </a:extLst>
          </p:cNvPr>
          <p:cNvSpPr>
            <a:spLocks noGrp="1"/>
          </p:cNvSpPr>
          <p:nvPr>
            <p:ph type="body" sz="quarter" idx="18" hasCustomPrompt="1"/>
          </p:nvPr>
        </p:nvSpPr>
        <p:spPr>
          <a:xfrm>
            <a:off x="1335881" y="3879058"/>
            <a:ext cx="2893219" cy="564356"/>
          </a:xfrm>
        </p:spPr>
        <p:txBody>
          <a:bodyPr vert="horz" lIns="91440" tIns="45720" rIns="91440" bIns="45720" rtlCol="0" anchor="ctr">
            <a:normAutofit/>
          </a:bodyPr>
          <a:lstStyle>
            <a:lvl1pPr marL="0" indent="0">
              <a:buNone/>
              <a:defRPr lang="en-US" sz="2000" b="1" dirty="0">
                <a:solidFill>
                  <a:schemeClr val="accent1"/>
                </a:solidFill>
              </a:defRPr>
            </a:lvl1pPr>
          </a:lstStyle>
          <a:p>
            <a:pPr lvl="0"/>
            <a:r>
              <a:rPr lang="en-US"/>
              <a:t>The Challenge</a:t>
            </a:r>
          </a:p>
        </p:txBody>
      </p:sp>
      <p:sp>
        <p:nvSpPr>
          <p:cNvPr id="23" name="Text Placeholder 5">
            <a:extLst>
              <a:ext uri="{FF2B5EF4-FFF2-40B4-BE49-F238E27FC236}">
                <a16:creationId xmlns:a16="http://schemas.microsoft.com/office/drawing/2014/main" id="{219B670D-29A8-43D9-8E2F-11DC50D67327}"/>
              </a:ext>
            </a:extLst>
          </p:cNvPr>
          <p:cNvSpPr>
            <a:spLocks noGrp="1"/>
          </p:cNvSpPr>
          <p:nvPr>
            <p:ph type="body" sz="quarter" idx="19" hasCustomPrompt="1"/>
          </p:nvPr>
        </p:nvSpPr>
        <p:spPr>
          <a:xfrm>
            <a:off x="4457700" y="4629150"/>
            <a:ext cx="3390900" cy="1221581"/>
          </a:xfrm>
        </p:spPr>
        <p:txBody>
          <a:bodyPr vert="horz" lIns="91440" tIns="45720" rIns="457200" bIns="45720" rtlCol="0">
            <a:normAutofit/>
          </a:bodyPr>
          <a:lstStyle>
            <a:lvl1pPr marL="0" indent="0">
              <a:buNone/>
              <a:defRPr lang="en-US" sz="2000" b="0" dirty="0"/>
            </a:lvl1pPr>
          </a:lstStyle>
          <a:p>
            <a:pPr lvl="0"/>
            <a:r>
              <a:rPr lang="en-US"/>
              <a:t>Case  Study Description</a:t>
            </a:r>
          </a:p>
        </p:txBody>
      </p:sp>
      <p:sp>
        <p:nvSpPr>
          <p:cNvPr id="24" name="Text Placeholder 5">
            <a:extLst>
              <a:ext uri="{FF2B5EF4-FFF2-40B4-BE49-F238E27FC236}">
                <a16:creationId xmlns:a16="http://schemas.microsoft.com/office/drawing/2014/main" id="{4488C209-81F0-4621-B02E-677305C466A5}"/>
              </a:ext>
            </a:extLst>
          </p:cNvPr>
          <p:cNvSpPr>
            <a:spLocks noGrp="1"/>
          </p:cNvSpPr>
          <p:nvPr>
            <p:ph type="body" sz="quarter" idx="20" hasCustomPrompt="1"/>
          </p:nvPr>
        </p:nvSpPr>
        <p:spPr>
          <a:xfrm>
            <a:off x="4763690" y="3879058"/>
            <a:ext cx="2893219" cy="564356"/>
          </a:xfrm>
        </p:spPr>
        <p:txBody>
          <a:bodyPr vert="horz" lIns="91440" tIns="45720" rIns="91440" bIns="45720" rtlCol="0" anchor="ctr">
            <a:normAutofit/>
          </a:bodyPr>
          <a:lstStyle>
            <a:lvl1pPr marL="0" indent="0">
              <a:buNone/>
              <a:defRPr lang="en-US" sz="2000" b="1" dirty="0">
                <a:solidFill>
                  <a:schemeClr val="accent1"/>
                </a:solidFill>
              </a:defRPr>
            </a:lvl1pPr>
          </a:lstStyle>
          <a:p>
            <a:pPr lvl="0"/>
            <a:r>
              <a:rPr lang="en-US"/>
              <a:t>The Solution</a:t>
            </a:r>
          </a:p>
        </p:txBody>
      </p:sp>
      <p:sp>
        <p:nvSpPr>
          <p:cNvPr id="25" name="Text Placeholder 5">
            <a:extLst>
              <a:ext uri="{FF2B5EF4-FFF2-40B4-BE49-F238E27FC236}">
                <a16:creationId xmlns:a16="http://schemas.microsoft.com/office/drawing/2014/main" id="{1038F4B9-3067-46D4-82C3-EB758399CA35}"/>
              </a:ext>
            </a:extLst>
          </p:cNvPr>
          <p:cNvSpPr>
            <a:spLocks noGrp="1"/>
          </p:cNvSpPr>
          <p:nvPr>
            <p:ph type="body" sz="quarter" idx="21" hasCustomPrompt="1"/>
          </p:nvPr>
        </p:nvSpPr>
        <p:spPr>
          <a:xfrm>
            <a:off x="7962900" y="4629150"/>
            <a:ext cx="3390900" cy="1221581"/>
          </a:xfrm>
        </p:spPr>
        <p:txBody>
          <a:bodyPr vert="horz" lIns="91440" tIns="45720" rIns="457200" bIns="45720" rtlCol="0">
            <a:normAutofit/>
          </a:bodyPr>
          <a:lstStyle>
            <a:lvl1pPr marL="0" indent="0">
              <a:buNone/>
              <a:defRPr lang="en-US" sz="2000" b="0" dirty="0"/>
            </a:lvl1pPr>
          </a:lstStyle>
          <a:p>
            <a:pPr lvl="0"/>
            <a:r>
              <a:rPr lang="en-US"/>
              <a:t>Case  Study Description</a:t>
            </a:r>
          </a:p>
        </p:txBody>
      </p:sp>
      <p:sp>
        <p:nvSpPr>
          <p:cNvPr id="26" name="Text Placeholder 5">
            <a:extLst>
              <a:ext uri="{FF2B5EF4-FFF2-40B4-BE49-F238E27FC236}">
                <a16:creationId xmlns:a16="http://schemas.microsoft.com/office/drawing/2014/main" id="{8A2DF699-0D32-4000-BEF6-19DCFE7DB613}"/>
              </a:ext>
            </a:extLst>
          </p:cNvPr>
          <p:cNvSpPr>
            <a:spLocks noGrp="1"/>
          </p:cNvSpPr>
          <p:nvPr>
            <p:ph type="body" sz="quarter" idx="22" hasCustomPrompt="1"/>
          </p:nvPr>
        </p:nvSpPr>
        <p:spPr>
          <a:xfrm>
            <a:off x="8460581" y="3879058"/>
            <a:ext cx="2893219" cy="564356"/>
          </a:xfrm>
        </p:spPr>
        <p:txBody>
          <a:bodyPr vert="horz" lIns="91440" tIns="45720" rIns="91440" bIns="45720" rtlCol="0" anchor="ctr">
            <a:normAutofit/>
          </a:bodyPr>
          <a:lstStyle>
            <a:lvl1pPr marL="0" indent="0">
              <a:buNone/>
              <a:defRPr lang="en-US" sz="2000" b="1" dirty="0">
                <a:solidFill>
                  <a:schemeClr val="accent1"/>
                </a:solidFill>
              </a:defRPr>
            </a:lvl1pPr>
          </a:lstStyle>
          <a:p>
            <a:pPr lvl="0"/>
            <a:r>
              <a:rPr lang="en-US"/>
              <a:t>The Impact</a:t>
            </a:r>
          </a:p>
        </p:txBody>
      </p:sp>
      <p:sp>
        <p:nvSpPr>
          <p:cNvPr id="29" name="Text Placeholder 5">
            <a:extLst>
              <a:ext uri="{FF2B5EF4-FFF2-40B4-BE49-F238E27FC236}">
                <a16:creationId xmlns:a16="http://schemas.microsoft.com/office/drawing/2014/main" id="{BF5E323F-ECA5-4F0E-9837-00195A040D09}"/>
              </a:ext>
            </a:extLst>
          </p:cNvPr>
          <p:cNvSpPr>
            <a:spLocks noGrp="1"/>
          </p:cNvSpPr>
          <p:nvPr>
            <p:ph type="body" sz="quarter" idx="23" hasCustomPrompt="1"/>
          </p:nvPr>
        </p:nvSpPr>
        <p:spPr>
          <a:xfrm>
            <a:off x="838200" y="723901"/>
            <a:ext cx="10515600" cy="447674"/>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Case  Study</a:t>
            </a:r>
          </a:p>
        </p:txBody>
      </p:sp>
      <p:grpSp>
        <p:nvGrpSpPr>
          <p:cNvPr id="27" name="Graphic 6">
            <a:extLst>
              <a:ext uri="{FF2B5EF4-FFF2-40B4-BE49-F238E27FC236}">
                <a16:creationId xmlns:a16="http://schemas.microsoft.com/office/drawing/2014/main" id="{04DD9971-27BE-4AF5-9977-7EB36E2A07D7}"/>
              </a:ext>
            </a:extLst>
          </p:cNvPr>
          <p:cNvGrpSpPr/>
          <p:nvPr userDrawn="1"/>
        </p:nvGrpSpPr>
        <p:grpSpPr>
          <a:xfrm>
            <a:off x="891988" y="6394893"/>
            <a:ext cx="432890" cy="187030"/>
            <a:chOff x="85969" y="3646150"/>
            <a:chExt cx="1544103" cy="667132"/>
          </a:xfrm>
          <a:solidFill>
            <a:srgbClr val="FF9E18"/>
          </a:solidFill>
        </p:grpSpPr>
        <p:sp>
          <p:nvSpPr>
            <p:cNvPr id="30" name="Freeform: Shape 29">
              <a:extLst>
                <a:ext uri="{FF2B5EF4-FFF2-40B4-BE49-F238E27FC236}">
                  <a16:creationId xmlns:a16="http://schemas.microsoft.com/office/drawing/2014/main" id="{9FA4255B-77C8-45D6-B54F-5CC6FBD79C7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86443E3A-A556-4A2B-B4EF-914A520065B4}"/>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F6DAE9F3-BF40-4CB4-9A0F-FF946A5DEB26}"/>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A664B689-8051-4A19-BCA2-8EB05890E42A}"/>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34" name="Slide Number Placeholder 4">
            <a:extLst>
              <a:ext uri="{FF2B5EF4-FFF2-40B4-BE49-F238E27FC236}">
                <a16:creationId xmlns:a16="http://schemas.microsoft.com/office/drawing/2014/main" id="{01F6E271-958A-447E-BD52-A07ED1BFC774}"/>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203191803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ase Study Graph">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3464884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781E62F8-2399-4409-92D5-8384E7AC2023}"/>
              </a:ext>
            </a:extLst>
          </p:cNvPr>
          <p:cNvSpPr/>
          <p:nvPr userDrawn="1"/>
        </p:nvSpPr>
        <p:spPr>
          <a:xfrm>
            <a:off x="6210300" y="0"/>
            <a:ext cx="598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5">
            <a:extLst>
              <a:ext uri="{FF2B5EF4-FFF2-40B4-BE49-F238E27FC236}">
                <a16:creationId xmlns:a16="http://schemas.microsoft.com/office/drawing/2014/main" id="{8B97D3AC-80EB-4480-B618-1EE09FD3D242}"/>
              </a:ext>
            </a:extLst>
          </p:cNvPr>
          <p:cNvSpPr>
            <a:spLocks noGrp="1"/>
          </p:cNvSpPr>
          <p:nvPr>
            <p:ph type="body" sz="quarter" idx="16" hasCustomPrompt="1"/>
          </p:nvPr>
        </p:nvSpPr>
        <p:spPr>
          <a:xfrm>
            <a:off x="838200" y="2871368"/>
            <a:ext cx="3390900" cy="357187"/>
          </a:xfrm>
        </p:spPr>
        <p:txBody>
          <a:bodyPr vert="horz" lIns="91440" tIns="45720" rIns="91440" bIns="45720" rtlCol="0">
            <a:noAutofit/>
          </a:bodyPr>
          <a:lstStyle>
            <a:lvl1pPr marL="0" indent="0">
              <a:buNone/>
              <a:defRPr lang="en-US" sz="2000" b="1" dirty="0">
                <a:solidFill>
                  <a:schemeClr val="accent3"/>
                </a:solidFill>
              </a:defRPr>
            </a:lvl1pPr>
          </a:lstStyle>
          <a:p>
            <a:pPr lvl="0"/>
            <a:r>
              <a:rPr lang="en-US"/>
              <a:t>Case  Study Description</a:t>
            </a:r>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Case  Study</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838200" y="3350000"/>
            <a:ext cx="3390900" cy="1037583"/>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13" name="Text Placeholder 5">
            <a:extLst>
              <a:ext uri="{FF2B5EF4-FFF2-40B4-BE49-F238E27FC236}">
                <a16:creationId xmlns:a16="http://schemas.microsoft.com/office/drawing/2014/main" id="{7CCD622F-FF4F-4C93-AE7A-2031527CFFFF}"/>
              </a:ext>
            </a:extLst>
          </p:cNvPr>
          <p:cNvSpPr>
            <a:spLocks noGrp="1"/>
          </p:cNvSpPr>
          <p:nvPr>
            <p:ph type="body" sz="quarter" idx="25" hasCustomPrompt="1"/>
          </p:nvPr>
        </p:nvSpPr>
        <p:spPr>
          <a:xfrm>
            <a:off x="838200" y="4465443"/>
            <a:ext cx="3390900" cy="357187"/>
          </a:xfrm>
        </p:spPr>
        <p:txBody>
          <a:bodyPr vert="horz" lIns="91440" tIns="45720" rIns="91440" bIns="45720" rtlCol="0">
            <a:noAutofit/>
          </a:bodyPr>
          <a:lstStyle>
            <a:lvl1pPr marL="0" indent="0">
              <a:buNone/>
              <a:defRPr lang="en-US" sz="2000" b="1" dirty="0">
                <a:solidFill>
                  <a:schemeClr val="accent3"/>
                </a:solidFill>
              </a:defRPr>
            </a:lvl1pPr>
          </a:lstStyle>
          <a:p>
            <a:pPr lvl="0"/>
            <a:r>
              <a:rPr lang="en-US"/>
              <a:t>Case  Study Description</a:t>
            </a:r>
          </a:p>
        </p:txBody>
      </p:sp>
      <p:sp>
        <p:nvSpPr>
          <p:cNvPr id="14" name="Text Placeholder 5">
            <a:extLst>
              <a:ext uri="{FF2B5EF4-FFF2-40B4-BE49-F238E27FC236}">
                <a16:creationId xmlns:a16="http://schemas.microsoft.com/office/drawing/2014/main" id="{9324FC69-B0AE-4534-8EAE-988ABB55EBD3}"/>
              </a:ext>
            </a:extLst>
          </p:cNvPr>
          <p:cNvSpPr>
            <a:spLocks noGrp="1"/>
          </p:cNvSpPr>
          <p:nvPr>
            <p:ph type="body" sz="quarter" idx="26" hasCustomPrompt="1"/>
          </p:nvPr>
        </p:nvSpPr>
        <p:spPr>
          <a:xfrm>
            <a:off x="838200" y="4944075"/>
            <a:ext cx="3390900" cy="1228125"/>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16" name="Chart Placeholder 15">
            <a:extLst>
              <a:ext uri="{FF2B5EF4-FFF2-40B4-BE49-F238E27FC236}">
                <a16:creationId xmlns:a16="http://schemas.microsoft.com/office/drawing/2014/main" id="{43F4447D-C018-42A9-AE80-93A258880302}"/>
              </a:ext>
            </a:extLst>
          </p:cNvPr>
          <p:cNvSpPr>
            <a:spLocks noGrp="1"/>
          </p:cNvSpPr>
          <p:nvPr>
            <p:ph type="chart" sz="quarter" idx="27"/>
          </p:nvPr>
        </p:nvSpPr>
        <p:spPr>
          <a:xfrm>
            <a:off x="7029450" y="723900"/>
            <a:ext cx="4324350" cy="5448300"/>
          </a:xfrm>
        </p:spPr>
        <p:txBody>
          <a:bodyPr/>
          <a:lstStyle/>
          <a:p>
            <a:endParaRPr lang="en-US"/>
          </a:p>
        </p:txBody>
      </p:sp>
      <p:grpSp>
        <p:nvGrpSpPr>
          <p:cNvPr id="22" name="Graphic 6">
            <a:extLst>
              <a:ext uri="{FF2B5EF4-FFF2-40B4-BE49-F238E27FC236}">
                <a16:creationId xmlns:a16="http://schemas.microsoft.com/office/drawing/2014/main" id="{2FD4EFFE-B26B-4EB9-9D51-469E1664CD6F}"/>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D185C758-2100-41A6-ADB8-6203E61D9D8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488A24F2-E440-48C2-A426-AA8851B82B4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A8302A8-BA0E-4C3A-AF3B-90712150C5F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BC50E6C-9E76-4F85-BED0-0D39E99D5E66}"/>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7" name="Text Placeholder 5">
            <a:extLst>
              <a:ext uri="{FF2B5EF4-FFF2-40B4-BE49-F238E27FC236}">
                <a16:creationId xmlns:a16="http://schemas.microsoft.com/office/drawing/2014/main" id="{A42282EB-59F5-44AA-9187-AB86B6797796}"/>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a:t>Title Case </a:t>
            </a:r>
            <a:br>
              <a:rPr lang="en-US"/>
            </a:br>
            <a:r>
              <a:rPr lang="en-US"/>
              <a:t>Study</a:t>
            </a:r>
          </a:p>
        </p:txBody>
      </p:sp>
      <p:sp>
        <p:nvSpPr>
          <p:cNvPr id="19" name="Slide Number Placeholder 4">
            <a:extLst>
              <a:ext uri="{FF2B5EF4-FFF2-40B4-BE49-F238E27FC236}">
                <a16:creationId xmlns:a16="http://schemas.microsoft.com/office/drawing/2014/main" id="{5E107A10-0180-46E9-AD8F-4BA29E548020}"/>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264277919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ase Study Graph">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1413039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0" name="Text Placeholder 5">
            <a:extLst>
              <a:ext uri="{FF2B5EF4-FFF2-40B4-BE49-F238E27FC236}">
                <a16:creationId xmlns:a16="http://schemas.microsoft.com/office/drawing/2014/main" id="{8B97D3AC-80EB-4480-B618-1EE09FD3D242}"/>
              </a:ext>
            </a:extLst>
          </p:cNvPr>
          <p:cNvSpPr>
            <a:spLocks noGrp="1"/>
          </p:cNvSpPr>
          <p:nvPr>
            <p:ph type="body" sz="quarter" idx="16" hasCustomPrompt="1"/>
          </p:nvPr>
        </p:nvSpPr>
        <p:spPr>
          <a:xfrm>
            <a:off x="838200" y="2871368"/>
            <a:ext cx="3390900" cy="357187"/>
          </a:xfrm>
        </p:spPr>
        <p:txBody>
          <a:bodyPr vert="horz" lIns="91440" tIns="45720" rIns="91440" bIns="45720" rtlCol="0">
            <a:noAutofit/>
          </a:bodyPr>
          <a:lstStyle>
            <a:lvl1pPr marL="0" indent="0">
              <a:buNone/>
              <a:defRPr lang="en-US" sz="2000" b="1" dirty="0">
                <a:solidFill>
                  <a:schemeClr val="accent3"/>
                </a:solidFill>
              </a:defRPr>
            </a:lvl1pPr>
          </a:lstStyle>
          <a:p>
            <a:pPr lvl="0"/>
            <a:r>
              <a:rPr lang="en-US"/>
              <a:t>Case  Study Description</a:t>
            </a:r>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Case  Study</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838200" y="3350000"/>
            <a:ext cx="2636520" cy="2822200"/>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16" name="Chart Placeholder 15">
            <a:extLst>
              <a:ext uri="{FF2B5EF4-FFF2-40B4-BE49-F238E27FC236}">
                <a16:creationId xmlns:a16="http://schemas.microsoft.com/office/drawing/2014/main" id="{43F4447D-C018-42A9-AE80-93A258880302}"/>
              </a:ext>
            </a:extLst>
          </p:cNvPr>
          <p:cNvSpPr>
            <a:spLocks noGrp="1"/>
          </p:cNvSpPr>
          <p:nvPr>
            <p:ph type="chart" sz="quarter" idx="27"/>
          </p:nvPr>
        </p:nvSpPr>
        <p:spPr>
          <a:xfrm>
            <a:off x="7029450" y="723900"/>
            <a:ext cx="4324350" cy="5448300"/>
          </a:xfrm>
        </p:spPr>
        <p:txBody>
          <a:bodyPr/>
          <a:lstStyle/>
          <a:p>
            <a:endParaRPr lang="en-US"/>
          </a:p>
        </p:txBody>
      </p:sp>
      <p:grpSp>
        <p:nvGrpSpPr>
          <p:cNvPr id="22" name="Graphic 6">
            <a:extLst>
              <a:ext uri="{FF2B5EF4-FFF2-40B4-BE49-F238E27FC236}">
                <a16:creationId xmlns:a16="http://schemas.microsoft.com/office/drawing/2014/main" id="{2FD4EFFE-B26B-4EB9-9D51-469E1664CD6F}"/>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D185C758-2100-41A6-ADB8-6203E61D9D8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488A24F2-E440-48C2-A426-AA8851B82B4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A8302A8-BA0E-4C3A-AF3B-90712150C5F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BC50E6C-9E76-4F85-BED0-0D39E99D5E66}"/>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7" name="Text Placeholder 5">
            <a:extLst>
              <a:ext uri="{FF2B5EF4-FFF2-40B4-BE49-F238E27FC236}">
                <a16:creationId xmlns:a16="http://schemas.microsoft.com/office/drawing/2014/main" id="{A42282EB-59F5-44AA-9187-AB86B6797796}"/>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a:t>Title Case </a:t>
            </a:r>
            <a:br>
              <a:rPr lang="en-US"/>
            </a:br>
            <a:r>
              <a:rPr lang="en-US"/>
              <a:t>Study</a:t>
            </a:r>
          </a:p>
        </p:txBody>
      </p:sp>
      <p:sp>
        <p:nvSpPr>
          <p:cNvPr id="17" name="Slide Number Placeholder 4">
            <a:extLst>
              <a:ext uri="{FF2B5EF4-FFF2-40B4-BE49-F238E27FC236}">
                <a16:creationId xmlns:a16="http://schemas.microsoft.com/office/drawing/2014/main" id="{3DC266FA-91A1-48F3-A104-54D27DB42912}"/>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342086892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ase Study Photo">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4081420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781E62F8-2399-4409-92D5-8384E7AC2023}"/>
              </a:ext>
            </a:extLst>
          </p:cNvPr>
          <p:cNvSpPr/>
          <p:nvPr userDrawn="1"/>
        </p:nvSpPr>
        <p:spPr>
          <a:xfrm>
            <a:off x="6210300" y="0"/>
            <a:ext cx="598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Case  Study</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838200" y="2935300"/>
            <a:ext cx="5143500" cy="3236899"/>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3" name="Picture Placeholder 2">
            <a:extLst>
              <a:ext uri="{FF2B5EF4-FFF2-40B4-BE49-F238E27FC236}">
                <a16:creationId xmlns:a16="http://schemas.microsoft.com/office/drawing/2014/main" id="{D7874009-3BCB-4592-A258-546119245B98}"/>
              </a:ext>
            </a:extLst>
          </p:cNvPr>
          <p:cNvSpPr>
            <a:spLocks noGrp="1"/>
          </p:cNvSpPr>
          <p:nvPr>
            <p:ph type="pic" sz="quarter" idx="25"/>
          </p:nvPr>
        </p:nvSpPr>
        <p:spPr>
          <a:xfrm>
            <a:off x="6815138" y="723899"/>
            <a:ext cx="4538662" cy="2632869"/>
          </a:xfrm>
        </p:spPr>
        <p:txBody>
          <a:bodyPr/>
          <a:lstStyle/>
          <a:p>
            <a:endParaRPr lang="en-US"/>
          </a:p>
        </p:txBody>
      </p:sp>
      <p:sp>
        <p:nvSpPr>
          <p:cNvPr id="22" name="Picture Placeholder 2">
            <a:extLst>
              <a:ext uri="{FF2B5EF4-FFF2-40B4-BE49-F238E27FC236}">
                <a16:creationId xmlns:a16="http://schemas.microsoft.com/office/drawing/2014/main" id="{1617D6D4-A98F-448D-B673-DFD960F3527A}"/>
              </a:ext>
            </a:extLst>
          </p:cNvPr>
          <p:cNvSpPr>
            <a:spLocks noGrp="1"/>
          </p:cNvSpPr>
          <p:nvPr>
            <p:ph type="pic" sz="quarter" idx="26"/>
          </p:nvPr>
        </p:nvSpPr>
        <p:spPr>
          <a:xfrm>
            <a:off x="6815138" y="3539332"/>
            <a:ext cx="4538662" cy="2531056"/>
          </a:xfrm>
        </p:spPr>
        <p:txBody>
          <a:bodyPr/>
          <a:lstStyle/>
          <a:p>
            <a:endParaRPr lang="en-US"/>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a:t>Title Case </a:t>
            </a:r>
            <a:br>
              <a:rPr lang="en-US"/>
            </a:br>
            <a:r>
              <a:rPr lang="en-US"/>
              <a:t>Study</a:t>
            </a:r>
          </a:p>
        </p:txBody>
      </p:sp>
      <p:sp>
        <p:nvSpPr>
          <p:cNvPr id="17" name="Slide Number Placeholder 4">
            <a:extLst>
              <a:ext uri="{FF2B5EF4-FFF2-40B4-BE49-F238E27FC236}">
                <a16:creationId xmlns:a16="http://schemas.microsoft.com/office/drawing/2014/main" id="{A52DD083-A699-4EF9-AF89-ECF112590966}"/>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67995467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Case Study Photo">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3893176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6" name="Slide Number Placeholder 5">
            <a:extLst>
              <a:ext uri="{FF2B5EF4-FFF2-40B4-BE49-F238E27FC236}">
                <a16:creationId xmlns:a16="http://schemas.microsoft.com/office/drawing/2014/main" id="{EA169C3E-7DB9-4953-89D2-AAAA9487ECAE}"/>
              </a:ext>
            </a:extLst>
          </p:cNvPr>
          <p:cNvSpPr>
            <a:spLocks noGrp="1"/>
          </p:cNvSpPr>
          <p:nvPr>
            <p:ph type="sldNum" sz="quarter" idx="12"/>
          </p:nvPr>
        </p:nvSpPr>
        <p:spPr>
          <a:xfrm>
            <a:off x="10564238" y="5924143"/>
            <a:ext cx="789562" cy="690326"/>
          </a:xfrm>
        </p:spPr>
        <p:txBody>
          <a:bodyPr/>
          <a:lstStyle/>
          <a:p>
            <a:fld id="{A1471D42-392E-4D14-982B-D9D765EA1509}" type="slidenum">
              <a:rPr lang="en-US" smtClean="0"/>
              <a:t>‹#›</a:t>
            </a:fld>
            <a:endParaRPr lang="en-US"/>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Case  Study</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838200" y="2935300"/>
            <a:ext cx="3390900" cy="3236899"/>
          </a:xfrm>
        </p:spPr>
        <p:txBody>
          <a:bodyPr vert="horz" lIns="91440" tIns="45720" rIns="91440" bIns="45720" rtlCol="0">
            <a:normAutofit/>
          </a:bodyPr>
          <a:lstStyle>
            <a:lvl1pPr marL="0" indent="0">
              <a:buNone/>
              <a:defRPr lang="en-US" sz="2000" b="0" dirty="0"/>
            </a:lvl1pPr>
          </a:lstStyle>
          <a:p>
            <a:pPr lvl="0"/>
            <a:r>
              <a:rPr lang="en-US"/>
              <a:t>Case  Study Description</a:t>
            </a:r>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a:t>Title Case </a:t>
            </a:r>
            <a:br>
              <a:rPr lang="en-US"/>
            </a:br>
            <a:r>
              <a:rPr lang="en-US"/>
              <a:t>Study</a:t>
            </a:r>
          </a:p>
        </p:txBody>
      </p:sp>
      <p:sp>
        <p:nvSpPr>
          <p:cNvPr id="21" name="Picture Placeholder 20">
            <a:extLst>
              <a:ext uri="{FF2B5EF4-FFF2-40B4-BE49-F238E27FC236}">
                <a16:creationId xmlns:a16="http://schemas.microsoft.com/office/drawing/2014/main" id="{70E94853-D3CA-48A6-A288-384895119FA4}"/>
              </a:ext>
            </a:extLst>
          </p:cNvPr>
          <p:cNvSpPr>
            <a:spLocks noGrp="1"/>
          </p:cNvSpPr>
          <p:nvPr>
            <p:ph type="pic" sz="quarter" idx="25"/>
          </p:nvPr>
        </p:nvSpPr>
        <p:spPr>
          <a:xfrm>
            <a:off x="5264150" y="1259956"/>
            <a:ext cx="6927850" cy="5598045"/>
          </a:xfrm>
          <a:custGeom>
            <a:avLst/>
            <a:gdLst>
              <a:gd name="connsiteX0" fmla="*/ 4222750 w 6927850"/>
              <a:gd name="connsiteY0" fmla="*/ 0 h 5598045"/>
              <a:gd name="connsiteX1" fmla="*/ 6908811 w 6927850"/>
              <a:gd name="connsiteY1" fmla="*/ 964271 h 5598045"/>
              <a:gd name="connsiteX2" fmla="*/ 6927850 w 6927850"/>
              <a:gd name="connsiteY2" fmla="*/ 981575 h 5598045"/>
              <a:gd name="connsiteX3" fmla="*/ 6927850 w 6927850"/>
              <a:gd name="connsiteY3" fmla="*/ 5598045 h 5598045"/>
              <a:gd name="connsiteX4" fmla="*/ 230308 w 6927850"/>
              <a:gd name="connsiteY4" fmla="*/ 5598045 h 5598045"/>
              <a:gd name="connsiteX5" fmla="*/ 189847 w 6927850"/>
              <a:gd name="connsiteY5" fmla="*/ 5478467 h 5598045"/>
              <a:gd name="connsiteX6" fmla="*/ 0 w 6927850"/>
              <a:gd name="connsiteY6" fmla="*/ 4222750 h 5598045"/>
              <a:gd name="connsiteX7" fmla="*/ 4222750 w 6927850"/>
              <a:gd name="connsiteY7" fmla="*/ 0 h 5598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7850" h="5598045">
                <a:moveTo>
                  <a:pt x="4222750" y="0"/>
                </a:moveTo>
                <a:cubicBezTo>
                  <a:pt x="5243070" y="0"/>
                  <a:pt x="6178871" y="361871"/>
                  <a:pt x="6908811" y="964271"/>
                </a:cubicBezTo>
                <a:lnTo>
                  <a:pt x="6927850" y="981575"/>
                </a:lnTo>
                <a:lnTo>
                  <a:pt x="6927850" y="5598045"/>
                </a:lnTo>
                <a:lnTo>
                  <a:pt x="230308" y="5598045"/>
                </a:lnTo>
                <a:lnTo>
                  <a:pt x="189847" y="5478467"/>
                </a:lnTo>
                <a:cubicBezTo>
                  <a:pt x="66466" y="5081786"/>
                  <a:pt x="0" y="4660030"/>
                  <a:pt x="0" y="4222750"/>
                </a:cubicBezTo>
                <a:cubicBezTo>
                  <a:pt x="0" y="1890590"/>
                  <a:pt x="1890590" y="0"/>
                  <a:pt x="4222750" y="0"/>
                </a:cubicBezTo>
                <a:close/>
              </a:path>
            </a:pathLst>
          </a:custGeom>
          <a:solidFill>
            <a:schemeClr val="accent5"/>
          </a:solidFill>
        </p:spPr>
        <p:txBody>
          <a:bodyPr wrap="square">
            <a:noAutofit/>
          </a:bodyPr>
          <a:lstStyle/>
          <a:p>
            <a:endParaRPr lang="en-US"/>
          </a:p>
        </p:txBody>
      </p:sp>
    </p:spTree>
    <p:extLst>
      <p:ext uri="{BB962C8B-B14F-4D97-AF65-F5344CB8AC3E}">
        <p14:creationId xmlns:p14="http://schemas.microsoft.com/office/powerpoint/2010/main" val="298308732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rvic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3611039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Services</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838200" y="3425371"/>
            <a:ext cx="5143500" cy="2746828"/>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21" name="Picture Placeholder 20">
            <a:extLst>
              <a:ext uri="{FF2B5EF4-FFF2-40B4-BE49-F238E27FC236}">
                <a16:creationId xmlns:a16="http://schemas.microsoft.com/office/drawing/2014/main" id="{9F0EF881-13A7-40C7-89DE-076F7FE9507B}"/>
              </a:ext>
            </a:extLst>
          </p:cNvPr>
          <p:cNvSpPr>
            <a:spLocks noGrp="1"/>
          </p:cNvSpPr>
          <p:nvPr>
            <p:ph type="pic" sz="quarter" idx="25"/>
          </p:nvPr>
        </p:nvSpPr>
        <p:spPr>
          <a:xfrm>
            <a:off x="6210300" y="0"/>
            <a:ext cx="5981700" cy="6857999"/>
          </a:xfrm>
          <a:custGeom>
            <a:avLst/>
            <a:gdLst>
              <a:gd name="connsiteX0" fmla="*/ 5369405 w 5981700"/>
              <a:gd name="connsiteY0" fmla="*/ 5336403 h 6857999"/>
              <a:gd name="connsiteX1" fmla="*/ 5947922 w 5981700"/>
              <a:gd name="connsiteY1" fmla="*/ 5455986 h 6857999"/>
              <a:gd name="connsiteX2" fmla="*/ 5981700 w 5981700"/>
              <a:gd name="connsiteY2" fmla="*/ 5472649 h 6857999"/>
              <a:gd name="connsiteX3" fmla="*/ 5981700 w 5981700"/>
              <a:gd name="connsiteY3" fmla="*/ 6857999 h 6857999"/>
              <a:gd name="connsiteX4" fmla="*/ 3883482 w 5981700"/>
              <a:gd name="connsiteY4" fmla="*/ 6857999 h 6857999"/>
              <a:gd name="connsiteX5" fmla="*/ 3891150 w 5981700"/>
              <a:gd name="connsiteY5" fmla="*/ 6702435 h 6857999"/>
              <a:gd name="connsiteX6" fmla="*/ 5369405 w 5981700"/>
              <a:gd name="connsiteY6" fmla="*/ 5336403 h 6857999"/>
              <a:gd name="connsiteX7" fmla="*/ 0 w 5981700"/>
              <a:gd name="connsiteY7" fmla="*/ 0 h 6857999"/>
              <a:gd name="connsiteX8" fmla="*/ 5981700 w 5981700"/>
              <a:gd name="connsiteY8" fmla="*/ 0 h 6857999"/>
              <a:gd name="connsiteX9" fmla="*/ 5981700 w 5981700"/>
              <a:gd name="connsiteY9" fmla="*/ 4478740 h 6857999"/>
              <a:gd name="connsiteX10" fmla="*/ 5854260 w 5981700"/>
              <a:gd name="connsiteY10" fmla="*/ 4445192 h 6857999"/>
              <a:gd name="connsiteX11" fmla="*/ 5369405 w 5981700"/>
              <a:gd name="connsiteY11" fmla="*/ 4395155 h 6857999"/>
              <a:gd name="connsiteX12" fmla="*/ 2977012 w 5981700"/>
              <a:gd name="connsiteY12" fmla="*/ 6606189 h 6857999"/>
              <a:gd name="connsiteX13" fmla="*/ 2964596 w 5981700"/>
              <a:gd name="connsiteY13" fmla="*/ 6857999 h 6857999"/>
              <a:gd name="connsiteX14" fmla="*/ 0 w 5981700"/>
              <a:gd name="connsiteY1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81700" h="6857999">
                <a:moveTo>
                  <a:pt x="5369405" y="5336403"/>
                </a:moveTo>
                <a:cubicBezTo>
                  <a:pt x="5574644" y="5336403"/>
                  <a:pt x="5770134" y="5378984"/>
                  <a:pt x="5947922" y="5455986"/>
                </a:cubicBezTo>
                <a:lnTo>
                  <a:pt x="5981700" y="5472649"/>
                </a:lnTo>
                <a:lnTo>
                  <a:pt x="5981700" y="6857999"/>
                </a:lnTo>
                <a:lnTo>
                  <a:pt x="3883482" y="6857999"/>
                </a:lnTo>
                <a:lnTo>
                  <a:pt x="3891150" y="6702435"/>
                </a:lnTo>
                <a:cubicBezTo>
                  <a:pt x="3967213" y="5935203"/>
                  <a:pt x="4599766" y="5336403"/>
                  <a:pt x="5369405" y="5336403"/>
                </a:cubicBezTo>
                <a:close/>
                <a:moveTo>
                  <a:pt x="0" y="0"/>
                </a:moveTo>
                <a:lnTo>
                  <a:pt x="5981700" y="0"/>
                </a:lnTo>
                <a:lnTo>
                  <a:pt x="5981700" y="4478740"/>
                </a:lnTo>
                <a:lnTo>
                  <a:pt x="5854260" y="4445192"/>
                </a:lnTo>
                <a:cubicBezTo>
                  <a:pt x="5697655" y="4412384"/>
                  <a:pt x="5535499" y="4395155"/>
                  <a:pt x="5369405" y="4395155"/>
                </a:cubicBezTo>
                <a:cubicBezTo>
                  <a:pt x="4124271" y="4395155"/>
                  <a:pt x="3100162" y="5364286"/>
                  <a:pt x="2977012" y="6606189"/>
                </a:cubicBezTo>
                <a:lnTo>
                  <a:pt x="2964596" y="6857999"/>
                </a:lnTo>
                <a:lnTo>
                  <a:pt x="0" y="6857999"/>
                </a:lnTo>
                <a:close/>
              </a:path>
            </a:pathLst>
          </a:custGeom>
        </p:spPr>
        <p:txBody>
          <a:bodyPr wrap="square">
            <a:noAutofit/>
          </a:bodyPr>
          <a:lstStyle/>
          <a:p>
            <a:endParaRPr lang="en-US"/>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a:t>Title Case </a:t>
            </a:r>
            <a:br>
              <a:rPr lang="en-US"/>
            </a:br>
            <a:r>
              <a:rPr lang="en-US"/>
              <a:t>Study</a:t>
            </a:r>
          </a:p>
        </p:txBody>
      </p:sp>
      <p:sp>
        <p:nvSpPr>
          <p:cNvPr id="17" name="Text Placeholder 5">
            <a:extLst>
              <a:ext uri="{FF2B5EF4-FFF2-40B4-BE49-F238E27FC236}">
                <a16:creationId xmlns:a16="http://schemas.microsoft.com/office/drawing/2014/main" id="{C3137C74-847E-4402-83B9-FC1E8B04153F}"/>
              </a:ext>
            </a:extLst>
          </p:cNvPr>
          <p:cNvSpPr>
            <a:spLocks noGrp="1"/>
          </p:cNvSpPr>
          <p:nvPr>
            <p:ph type="body" sz="quarter" idx="27" hasCustomPrompt="1"/>
          </p:nvPr>
        </p:nvSpPr>
        <p:spPr>
          <a:xfrm>
            <a:off x="838200" y="2973714"/>
            <a:ext cx="5143500" cy="408115"/>
          </a:xfrm>
        </p:spPr>
        <p:txBody>
          <a:bodyPr>
            <a:noAutofit/>
          </a:bodyPr>
          <a:lstStyle>
            <a:lvl1pPr marL="0" indent="0">
              <a:lnSpc>
                <a:spcPct val="100000"/>
              </a:lnSpc>
              <a:buNone/>
              <a:defRPr sz="1800" b="1">
                <a:solidFill>
                  <a:schemeClr val="accent3"/>
                </a:solidFill>
                <a:latin typeface="+mj-lt"/>
              </a:defRPr>
            </a:lvl1pPr>
          </a:lstStyle>
          <a:p>
            <a:pPr lvl="0"/>
            <a:r>
              <a:rPr lang="en-US"/>
              <a:t>Subtitle</a:t>
            </a:r>
          </a:p>
        </p:txBody>
      </p:sp>
      <p:sp>
        <p:nvSpPr>
          <p:cNvPr id="29" name="Freeform: Shape 28">
            <a:extLst>
              <a:ext uri="{FF2B5EF4-FFF2-40B4-BE49-F238E27FC236}">
                <a16:creationId xmlns:a16="http://schemas.microsoft.com/office/drawing/2014/main" id="{8F1CDB8D-36BA-45A8-A03B-F00B80AFF188}"/>
              </a:ext>
            </a:extLst>
          </p:cNvPr>
          <p:cNvSpPr/>
          <p:nvPr userDrawn="1"/>
        </p:nvSpPr>
        <p:spPr>
          <a:xfrm>
            <a:off x="9174896" y="4395155"/>
            <a:ext cx="3017105" cy="2462845"/>
          </a:xfrm>
          <a:custGeom>
            <a:avLst/>
            <a:gdLst>
              <a:gd name="connsiteX0" fmla="*/ 2404809 w 3017105"/>
              <a:gd name="connsiteY0" fmla="*/ 0 h 2462845"/>
              <a:gd name="connsiteX1" fmla="*/ 2889664 w 3017105"/>
              <a:gd name="connsiteY1" fmla="*/ 50037 h 2462845"/>
              <a:gd name="connsiteX2" fmla="*/ 3017105 w 3017105"/>
              <a:gd name="connsiteY2" fmla="*/ 83585 h 2462845"/>
              <a:gd name="connsiteX3" fmla="*/ 3017105 w 3017105"/>
              <a:gd name="connsiteY3" fmla="*/ 1077494 h 2462845"/>
              <a:gd name="connsiteX4" fmla="*/ 2983326 w 3017105"/>
              <a:gd name="connsiteY4" fmla="*/ 1060831 h 2462845"/>
              <a:gd name="connsiteX5" fmla="*/ 2404809 w 3017105"/>
              <a:gd name="connsiteY5" fmla="*/ 941248 h 2462845"/>
              <a:gd name="connsiteX6" fmla="*/ 918886 w 3017105"/>
              <a:gd name="connsiteY6" fmla="*/ 2462845 h 2462845"/>
              <a:gd name="connsiteX7" fmla="*/ 918886 w 3017105"/>
              <a:gd name="connsiteY7" fmla="*/ 2462845 h 2462845"/>
              <a:gd name="connsiteX8" fmla="*/ 0 w 3017105"/>
              <a:gd name="connsiteY8" fmla="*/ 2462845 h 2462845"/>
              <a:gd name="connsiteX9" fmla="*/ 0 w 3017105"/>
              <a:gd name="connsiteY9" fmla="*/ 2462845 h 2462845"/>
              <a:gd name="connsiteX10" fmla="*/ 2404809 w 3017105"/>
              <a:gd name="connsiteY10" fmla="*/ 0 h 2462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7105" h="2462845">
                <a:moveTo>
                  <a:pt x="2404809" y="0"/>
                </a:moveTo>
                <a:cubicBezTo>
                  <a:pt x="2570903" y="0"/>
                  <a:pt x="2733059" y="17229"/>
                  <a:pt x="2889664" y="50037"/>
                </a:cubicBezTo>
                <a:lnTo>
                  <a:pt x="3017105" y="83585"/>
                </a:lnTo>
                <a:lnTo>
                  <a:pt x="3017105" y="1077494"/>
                </a:lnTo>
                <a:lnTo>
                  <a:pt x="2983326" y="1060831"/>
                </a:lnTo>
                <a:cubicBezTo>
                  <a:pt x="2805538" y="983829"/>
                  <a:pt x="2610048" y="941248"/>
                  <a:pt x="2404809" y="941248"/>
                </a:cubicBezTo>
                <a:cubicBezTo>
                  <a:pt x="1583861" y="941248"/>
                  <a:pt x="918886" y="1622549"/>
                  <a:pt x="918886" y="2462845"/>
                </a:cubicBezTo>
                <a:lnTo>
                  <a:pt x="918886" y="2462845"/>
                </a:lnTo>
                <a:lnTo>
                  <a:pt x="0" y="2462845"/>
                </a:lnTo>
                <a:lnTo>
                  <a:pt x="0" y="2462845"/>
                </a:lnTo>
                <a:cubicBezTo>
                  <a:pt x="0" y="1102656"/>
                  <a:pt x="1076666" y="0"/>
                  <a:pt x="2404809" y="0"/>
                </a:cubicBezTo>
                <a:close/>
              </a:path>
            </a:pathLst>
          </a:custGeom>
          <a:solidFill>
            <a:srgbClr val="FF9E18"/>
          </a:solidFill>
          <a:ln w="9264" cap="flat">
            <a:noFill/>
            <a:prstDash val="solid"/>
            <a:miter/>
          </a:ln>
        </p:spPr>
        <p:txBody>
          <a:bodyPr wrap="square" rtlCol="0" anchor="ctr">
            <a:noAutofit/>
          </a:bodyPr>
          <a:lstStyle/>
          <a:p>
            <a:endParaRPr lang="en-US"/>
          </a:p>
        </p:txBody>
      </p:sp>
      <p:sp>
        <p:nvSpPr>
          <p:cNvPr id="18" name="Slide Number Placeholder 4">
            <a:extLst>
              <a:ext uri="{FF2B5EF4-FFF2-40B4-BE49-F238E27FC236}">
                <a16:creationId xmlns:a16="http://schemas.microsoft.com/office/drawing/2014/main" id="{FB9406CE-5C4F-47EE-9919-BA69D4031944}"/>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38764015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Servic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3182875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 name="Rectangle 1">
            <a:extLst>
              <a:ext uri="{FF2B5EF4-FFF2-40B4-BE49-F238E27FC236}">
                <a16:creationId xmlns:a16="http://schemas.microsoft.com/office/drawing/2014/main" id="{C839B2B1-C315-422E-BD3B-CABEBB902647}"/>
              </a:ext>
            </a:extLst>
          </p:cNvPr>
          <p:cNvSpPr/>
          <p:nvPr userDrawn="1"/>
        </p:nvSpPr>
        <p:spPr>
          <a:xfrm>
            <a:off x="2476500" y="2409371"/>
            <a:ext cx="9715500" cy="37628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Arial" panose="020B0604020202020204" pitchFamily="34" charset="0"/>
              <a:buNone/>
            </a:pPr>
            <a:endParaRPr lang="en-US"/>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16383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Services</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3145971" y="2699658"/>
            <a:ext cx="2835729" cy="1531257"/>
          </a:xfrm>
        </p:spPr>
        <p:txBody>
          <a:bodyPr vert="horz" lIns="91440" tIns="45720" rIns="91440" bIns="45720" rtlCol="0">
            <a:normAutofit/>
          </a:bodyPr>
          <a:lstStyle>
            <a:lvl1pPr marL="0" indent="0">
              <a:buNone/>
              <a:defRPr lang="en-US" sz="2000" b="0" dirty="0"/>
            </a:lvl1pPr>
          </a:lstStyle>
          <a:p>
            <a:pPr lvl="0"/>
            <a:r>
              <a:rPr lang="en-US"/>
              <a:t>Case  Study Description</a:t>
            </a:r>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2705100" y="1369885"/>
            <a:ext cx="8648700" cy="879829"/>
          </a:xfrm>
        </p:spPr>
        <p:txBody>
          <a:bodyPr anchor="ctr">
            <a:noAutofit/>
          </a:bodyPr>
          <a:lstStyle>
            <a:lvl1pPr marL="0" marR="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sz="3200" b="1">
                <a:solidFill>
                  <a:schemeClr val="accent1"/>
                </a:solidFill>
                <a:latin typeface="+mj-lt"/>
              </a:defRPr>
            </a:lvl1pPr>
          </a:lstStyle>
          <a:p>
            <a:pPr marL="457200" marR="0" lvl="0" indent="-457200" algn="l" defTabSz="914400" rtl="0" eaLnBrk="1" fontAlgn="auto" latinLnBrk="0" hangingPunct="1">
              <a:lnSpc>
                <a:spcPct val="100000"/>
              </a:lnSpc>
              <a:spcBef>
                <a:spcPts val="1200"/>
              </a:spcBef>
              <a:spcAft>
                <a:spcPts val="0"/>
              </a:spcAft>
              <a:buClrTx/>
              <a:buSzTx/>
              <a:tabLst/>
              <a:defRPr/>
            </a:pPr>
            <a:r>
              <a:rPr lang="en-US"/>
              <a:t>Challenges</a:t>
            </a:r>
          </a:p>
        </p:txBody>
      </p:sp>
      <p:sp>
        <p:nvSpPr>
          <p:cNvPr id="18" name="Freeform: Shape 17">
            <a:extLst>
              <a:ext uri="{FF2B5EF4-FFF2-40B4-BE49-F238E27FC236}">
                <a16:creationId xmlns:a16="http://schemas.microsoft.com/office/drawing/2014/main" id="{B84DCFD5-6A9C-4DB7-B536-806E96415153}"/>
              </a:ext>
            </a:extLst>
          </p:cNvPr>
          <p:cNvSpPr/>
          <p:nvPr userDrawn="1"/>
        </p:nvSpPr>
        <p:spPr>
          <a:xfrm>
            <a:off x="2790754" y="2769325"/>
            <a:ext cx="220960" cy="226292"/>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a:p>
        </p:txBody>
      </p:sp>
      <p:sp>
        <p:nvSpPr>
          <p:cNvPr id="19" name="Text Placeholder 5">
            <a:extLst>
              <a:ext uri="{FF2B5EF4-FFF2-40B4-BE49-F238E27FC236}">
                <a16:creationId xmlns:a16="http://schemas.microsoft.com/office/drawing/2014/main" id="{BC93A242-256A-4BFA-BF37-3902B0218AB4}"/>
              </a:ext>
            </a:extLst>
          </p:cNvPr>
          <p:cNvSpPr>
            <a:spLocks noGrp="1"/>
          </p:cNvSpPr>
          <p:nvPr>
            <p:ph type="body" sz="quarter" idx="25" hasCustomPrompt="1"/>
          </p:nvPr>
        </p:nvSpPr>
        <p:spPr>
          <a:xfrm>
            <a:off x="2705099" y="723901"/>
            <a:ext cx="8648701" cy="454818"/>
          </a:xfrm>
        </p:spPr>
        <p:txBody>
          <a:bodyPr vert="horz" lIns="91440" tIns="45720" rIns="91440" bIns="45720" rtlCol="0" anchor="ctr">
            <a:noAutofit/>
          </a:bodyPr>
          <a:lstStyle>
            <a:lvl1pPr marL="0" indent="0">
              <a:buNone/>
              <a:defRPr lang="en-US" sz="1600" b="0" dirty="0">
                <a:solidFill>
                  <a:schemeClr val="accent1"/>
                </a:solidFill>
                <a:latin typeface="+mn-lt"/>
                <a:ea typeface="+mj-ea"/>
                <a:cs typeface="+mj-cs"/>
              </a:defRPr>
            </a:lvl1pPr>
          </a:lstStyle>
          <a:p>
            <a:pPr lvl="0">
              <a:lnSpc>
                <a:spcPct val="90000"/>
              </a:lnSpc>
              <a:spcBef>
                <a:spcPct val="0"/>
              </a:spcBef>
            </a:pPr>
            <a:r>
              <a:rPr lang="en-US"/>
              <a:t>Title</a:t>
            </a:r>
          </a:p>
        </p:txBody>
      </p:sp>
      <p:sp>
        <p:nvSpPr>
          <p:cNvPr id="20" name="Text Placeholder 5">
            <a:extLst>
              <a:ext uri="{FF2B5EF4-FFF2-40B4-BE49-F238E27FC236}">
                <a16:creationId xmlns:a16="http://schemas.microsoft.com/office/drawing/2014/main" id="{0D696219-8291-4BB8-8AA8-2F73D2D62787}"/>
              </a:ext>
            </a:extLst>
          </p:cNvPr>
          <p:cNvSpPr>
            <a:spLocks noGrp="1"/>
          </p:cNvSpPr>
          <p:nvPr>
            <p:ph type="body" sz="quarter" idx="26" hasCustomPrompt="1"/>
          </p:nvPr>
        </p:nvSpPr>
        <p:spPr>
          <a:xfrm>
            <a:off x="6651171" y="2699658"/>
            <a:ext cx="2835729" cy="1531257"/>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22" name="Freeform: Shape 21">
            <a:extLst>
              <a:ext uri="{FF2B5EF4-FFF2-40B4-BE49-F238E27FC236}">
                <a16:creationId xmlns:a16="http://schemas.microsoft.com/office/drawing/2014/main" id="{414629A3-4478-4FF6-AE92-ECC9F8EEB269}"/>
              </a:ext>
            </a:extLst>
          </p:cNvPr>
          <p:cNvSpPr/>
          <p:nvPr userDrawn="1"/>
        </p:nvSpPr>
        <p:spPr>
          <a:xfrm>
            <a:off x="6295954" y="2769325"/>
            <a:ext cx="220960" cy="226292"/>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a:p>
        </p:txBody>
      </p:sp>
      <p:sp>
        <p:nvSpPr>
          <p:cNvPr id="30" name="Text Placeholder 5">
            <a:extLst>
              <a:ext uri="{FF2B5EF4-FFF2-40B4-BE49-F238E27FC236}">
                <a16:creationId xmlns:a16="http://schemas.microsoft.com/office/drawing/2014/main" id="{552EC2FD-5405-4BE8-B8AE-CFDBAEC54532}"/>
              </a:ext>
            </a:extLst>
          </p:cNvPr>
          <p:cNvSpPr>
            <a:spLocks noGrp="1"/>
          </p:cNvSpPr>
          <p:nvPr>
            <p:ph type="body" sz="quarter" idx="27" hasCustomPrompt="1"/>
          </p:nvPr>
        </p:nvSpPr>
        <p:spPr>
          <a:xfrm>
            <a:off x="3145971" y="4441373"/>
            <a:ext cx="2835729" cy="1531257"/>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31" name="Freeform: Shape 30">
            <a:extLst>
              <a:ext uri="{FF2B5EF4-FFF2-40B4-BE49-F238E27FC236}">
                <a16:creationId xmlns:a16="http://schemas.microsoft.com/office/drawing/2014/main" id="{C4C7685A-6CCC-4ECC-A3E4-6B26B7DF8E67}"/>
              </a:ext>
            </a:extLst>
          </p:cNvPr>
          <p:cNvSpPr/>
          <p:nvPr userDrawn="1"/>
        </p:nvSpPr>
        <p:spPr>
          <a:xfrm>
            <a:off x="2790754" y="4511040"/>
            <a:ext cx="220960" cy="226292"/>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a:p>
        </p:txBody>
      </p:sp>
      <p:sp>
        <p:nvSpPr>
          <p:cNvPr id="32" name="Text Placeholder 5">
            <a:extLst>
              <a:ext uri="{FF2B5EF4-FFF2-40B4-BE49-F238E27FC236}">
                <a16:creationId xmlns:a16="http://schemas.microsoft.com/office/drawing/2014/main" id="{5377545F-380E-45B5-B0EA-7B24FB6D1CFE}"/>
              </a:ext>
            </a:extLst>
          </p:cNvPr>
          <p:cNvSpPr>
            <a:spLocks noGrp="1"/>
          </p:cNvSpPr>
          <p:nvPr>
            <p:ph type="body" sz="quarter" idx="28" hasCustomPrompt="1"/>
          </p:nvPr>
        </p:nvSpPr>
        <p:spPr>
          <a:xfrm>
            <a:off x="6651171" y="4441373"/>
            <a:ext cx="2835729" cy="1531257"/>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33" name="Freeform: Shape 32">
            <a:extLst>
              <a:ext uri="{FF2B5EF4-FFF2-40B4-BE49-F238E27FC236}">
                <a16:creationId xmlns:a16="http://schemas.microsoft.com/office/drawing/2014/main" id="{117E217C-3579-4D9D-B3E2-2B2D89BD7CA6}"/>
              </a:ext>
            </a:extLst>
          </p:cNvPr>
          <p:cNvSpPr/>
          <p:nvPr userDrawn="1"/>
        </p:nvSpPr>
        <p:spPr>
          <a:xfrm>
            <a:off x="6295954" y="4511040"/>
            <a:ext cx="220960" cy="226292"/>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a:p>
        </p:txBody>
      </p:sp>
      <p:sp>
        <p:nvSpPr>
          <p:cNvPr id="7" name="Picture Placeholder 6">
            <a:extLst>
              <a:ext uri="{FF2B5EF4-FFF2-40B4-BE49-F238E27FC236}">
                <a16:creationId xmlns:a16="http://schemas.microsoft.com/office/drawing/2014/main" id="{E49B6C3F-8E59-4DBE-B426-864306595AAA}"/>
              </a:ext>
            </a:extLst>
          </p:cNvPr>
          <p:cNvSpPr>
            <a:spLocks noGrp="1"/>
          </p:cNvSpPr>
          <p:nvPr>
            <p:ph type="pic" sz="quarter" idx="29"/>
          </p:nvPr>
        </p:nvSpPr>
        <p:spPr>
          <a:xfrm>
            <a:off x="0" y="2423886"/>
            <a:ext cx="2476500" cy="3748314"/>
          </a:xfrm>
        </p:spPr>
        <p:txBody>
          <a:bodyPr/>
          <a:lstStyle>
            <a:lvl1pPr marL="0" indent="0">
              <a:buNone/>
              <a:defRPr/>
            </a:lvl1pPr>
          </a:lstStyle>
          <a:p>
            <a:endParaRPr lang="en-US"/>
          </a:p>
        </p:txBody>
      </p:sp>
      <p:sp>
        <p:nvSpPr>
          <p:cNvPr id="29" name="Slide Number Placeholder 4">
            <a:extLst>
              <a:ext uri="{FF2B5EF4-FFF2-40B4-BE49-F238E27FC236}">
                <a16:creationId xmlns:a16="http://schemas.microsoft.com/office/drawing/2014/main" id="{90C915D5-EE68-4F5A-9425-85CA2C6F2C9C}"/>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6227423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sclaimer/Notes Slid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1584378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C28D76B-1E4B-4CAD-91D0-7031CCB234FF}"/>
              </a:ext>
            </a:extLst>
          </p:cNvPr>
          <p:cNvSpPr/>
          <p:nvPr userDrawn="1"/>
        </p:nvSpPr>
        <p:spPr>
          <a:xfrm>
            <a:off x="6210300" y="1"/>
            <a:ext cx="59817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7048500" y="723900"/>
            <a:ext cx="4305300" cy="5448300"/>
          </a:xfrm>
        </p:spPr>
        <p:txBody>
          <a:bodyPr>
            <a:norm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Picture Placeholder 19">
            <a:extLst>
              <a:ext uri="{FF2B5EF4-FFF2-40B4-BE49-F238E27FC236}">
                <a16:creationId xmlns:a16="http://schemas.microsoft.com/office/drawing/2014/main" id="{068B1CBB-79E0-4045-89B1-4F42FC074C78}"/>
              </a:ext>
            </a:extLst>
          </p:cNvPr>
          <p:cNvSpPr>
            <a:spLocks noGrp="1"/>
          </p:cNvSpPr>
          <p:nvPr>
            <p:ph type="pic" sz="quarter" idx="13"/>
          </p:nvPr>
        </p:nvSpPr>
        <p:spPr>
          <a:xfrm>
            <a:off x="1982268" y="1251008"/>
            <a:ext cx="4229100" cy="5606992"/>
          </a:xfrm>
          <a:custGeom>
            <a:avLst/>
            <a:gdLst>
              <a:gd name="connsiteX0" fmla="*/ 4152900 w 4229100"/>
              <a:gd name="connsiteY0" fmla="*/ 0 h 5606992"/>
              <a:gd name="connsiteX1" fmla="*/ 4229100 w 4229100"/>
              <a:gd name="connsiteY1" fmla="*/ 1927 h 5606992"/>
              <a:gd name="connsiteX2" fmla="*/ 4229100 w 4229100"/>
              <a:gd name="connsiteY2" fmla="*/ 5606992 h 5606992"/>
              <a:gd name="connsiteX3" fmla="*/ 245888 w 4229100"/>
              <a:gd name="connsiteY3" fmla="*/ 5606992 h 5606992"/>
              <a:gd name="connsiteX4" fmla="*/ 241490 w 4229100"/>
              <a:gd name="connsiteY4" fmla="*/ 5595839 h 5606992"/>
              <a:gd name="connsiteX5" fmla="*/ 10313 w 4229100"/>
              <a:gd name="connsiteY5" fmla="*/ 4589840 h 5606992"/>
              <a:gd name="connsiteX6" fmla="*/ 0 w 4229100"/>
              <a:gd name="connsiteY6" fmla="*/ 4454219 h 5606992"/>
              <a:gd name="connsiteX7" fmla="*/ 0 w 4229100"/>
              <a:gd name="connsiteY7" fmla="*/ 3873954 h 5606992"/>
              <a:gd name="connsiteX8" fmla="*/ 10313 w 4229100"/>
              <a:gd name="connsiteY8" fmla="*/ 3738333 h 5606992"/>
              <a:gd name="connsiteX9" fmla="*/ 4152900 w 4229100"/>
              <a:gd name="connsiteY9" fmla="*/ 0 h 560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29100" h="5606992">
                <a:moveTo>
                  <a:pt x="4152900" y="0"/>
                </a:moveTo>
                <a:lnTo>
                  <a:pt x="4229100" y="1927"/>
                </a:lnTo>
                <a:lnTo>
                  <a:pt x="4229100" y="5606992"/>
                </a:lnTo>
                <a:lnTo>
                  <a:pt x="245888" y="5606992"/>
                </a:lnTo>
                <a:lnTo>
                  <a:pt x="241490" y="5595839"/>
                </a:lnTo>
                <a:cubicBezTo>
                  <a:pt x="124729" y="5276951"/>
                  <a:pt x="45853" y="4939801"/>
                  <a:pt x="10313" y="4589840"/>
                </a:cubicBezTo>
                <a:lnTo>
                  <a:pt x="0" y="4454219"/>
                </a:lnTo>
                <a:lnTo>
                  <a:pt x="0" y="3873954"/>
                </a:lnTo>
                <a:lnTo>
                  <a:pt x="10313" y="3738333"/>
                </a:lnTo>
                <a:cubicBezTo>
                  <a:pt x="223556" y="1638567"/>
                  <a:pt x="1996874" y="0"/>
                  <a:pt x="4152900" y="0"/>
                </a:cubicBezTo>
                <a:close/>
              </a:path>
            </a:pathLst>
          </a:custGeom>
          <a:solidFill>
            <a:schemeClr val="accent5"/>
          </a:solidFill>
          <a:ln>
            <a:noFill/>
          </a:ln>
        </p:spPr>
        <p:txBody>
          <a:bodyPr wrap="square" anchor="ctr">
            <a:noAutofit/>
          </a:bodyPr>
          <a:lstStyle>
            <a:lvl1pPr algn="ctr">
              <a:defRPr/>
            </a:lvl1pPr>
          </a:lstStyle>
          <a:p>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p:nvPr>
        </p:nvSpPr>
        <p:spPr>
          <a:xfrm>
            <a:off x="838200" y="719015"/>
            <a:ext cx="3390900" cy="3176710"/>
          </a:xfrm>
        </p:spPr>
        <p:txBody>
          <a:bodyPr anchor="t"/>
          <a:lstStyle/>
          <a:p>
            <a:r>
              <a:rPr lang="en-US"/>
              <a:t>Click to edit Master title styl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Tree>
    <p:extLst>
      <p:ext uri="{BB962C8B-B14F-4D97-AF65-F5344CB8AC3E}">
        <p14:creationId xmlns:p14="http://schemas.microsoft.com/office/powerpoint/2010/main" val="10023903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Servic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3371542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16383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Services</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2705100" y="2557463"/>
            <a:ext cx="3078843" cy="1299029"/>
          </a:xfrm>
        </p:spPr>
        <p:txBody>
          <a:bodyPr vert="horz" lIns="91440" tIns="45720" rIns="91440" bIns="45720" rtlCol="0">
            <a:normAutofit/>
          </a:bodyPr>
          <a:lstStyle>
            <a:lvl1pPr marL="0" indent="0">
              <a:buNone/>
              <a:defRPr lang="en-US" sz="6000" b="0" dirty="0">
                <a:solidFill>
                  <a:schemeClr val="accent1"/>
                </a:solidFill>
              </a:defRPr>
            </a:lvl1pPr>
          </a:lstStyle>
          <a:p>
            <a:pPr lvl="0"/>
            <a:r>
              <a:rPr lang="en-US"/>
              <a:t>00</a:t>
            </a:r>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2705100" y="1369885"/>
            <a:ext cx="8648700" cy="879829"/>
          </a:xfrm>
        </p:spPr>
        <p:txBody>
          <a:bodyPr anchor="ctr">
            <a:noAutofit/>
          </a:bodyPr>
          <a:lstStyle>
            <a:lvl1pPr marL="0" indent="0">
              <a:lnSpc>
                <a:spcPct val="100000"/>
              </a:lnSpc>
              <a:buNone/>
              <a:defRPr sz="3200" b="1">
                <a:solidFill>
                  <a:schemeClr val="accent1"/>
                </a:solidFill>
                <a:latin typeface="+mj-lt"/>
              </a:defRPr>
            </a:lvl1pPr>
          </a:lstStyle>
          <a:p>
            <a:pPr lvl="0"/>
            <a:r>
              <a:rPr lang="en-US"/>
              <a:t>Efficiency Impact</a:t>
            </a:r>
          </a:p>
        </p:txBody>
      </p:sp>
      <p:sp>
        <p:nvSpPr>
          <p:cNvPr id="19" name="Text Placeholder 5">
            <a:extLst>
              <a:ext uri="{FF2B5EF4-FFF2-40B4-BE49-F238E27FC236}">
                <a16:creationId xmlns:a16="http://schemas.microsoft.com/office/drawing/2014/main" id="{BC93A242-256A-4BFA-BF37-3902B0218AB4}"/>
              </a:ext>
            </a:extLst>
          </p:cNvPr>
          <p:cNvSpPr>
            <a:spLocks noGrp="1"/>
          </p:cNvSpPr>
          <p:nvPr>
            <p:ph type="body" sz="quarter" idx="25" hasCustomPrompt="1"/>
          </p:nvPr>
        </p:nvSpPr>
        <p:spPr>
          <a:xfrm>
            <a:off x="2705099" y="723901"/>
            <a:ext cx="8648701" cy="454818"/>
          </a:xfrm>
        </p:spPr>
        <p:txBody>
          <a:bodyPr vert="horz" lIns="91440" tIns="45720" rIns="91440" bIns="45720" rtlCol="0" anchor="ctr">
            <a:noAutofit/>
          </a:bodyPr>
          <a:lstStyle>
            <a:lvl1pPr marL="0" indent="0">
              <a:buNone/>
              <a:defRPr lang="en-US" sz="2000" b="0" dirty="0">
                <a:solidFill>
                  <a:schemeClr val="accent1"/>
                </a:solidFill>
                <a:latin typeface="+mn-lt"/>
                <a:ea typeface="+mj-ea"/>
                <a:cs typeface="+mj-cs"/>
              </a:defRPr>
            </a:lvl1pPr>
          </a:lstStyle>
          <a:p>
            <a:pPr lvl="0">
              <a:lnSpc>
                <a:spcPct val="90000"/>
              </a:lnSpc>
              <a:spcBef>
                <a:spcPct val="0"/>
              </a:spcBef>
            </a:pPr>
            <a:r>
              <a:rPr lang="en-US"/>
              <a:t>Title</a:t>
            </a:r>
          </a:p>
        </p:txBody>
      </p:sp>
      <p:sp>
        <p:nvSpPr>
          <p:cNvPr id="20" name="Text Placeholder 5">
            <a:extLst>
              <a:ext uri="{FF2B5EF4-FFF2-40B4-BE49-F238E27FC236}">
                <a16:creationId xmlns:a16="http://schemas.microsoft.com/office/drawing/2014/main" id="{0D696219-8291-4BB8-8AA8-2F73D2D62787}"/>
              </a:ext>
            </a:extLst>
          </p:cNvPr>
          <p:cNvSpPr>
            <a:spLocks noGrp="1"/>
          </p:cNvSpPr>
          <p:nvPr>
            <p:ph type="body" sz="quarter" idx="26" hasCustomPrompt="1"/>
          </p:nvPr>
        </p:nvSpPr>
        <p:spPr>
          <a:xfrm>
            <a:off x="2705100" y="3846287"/>
            <a:ext cx="3078843" cy="2325912"/>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30" name="Text Placeholder 5">
            <a:extLst>
              <a:ext uri="{FF2B5EF4-FFF2-40B4-BE49-F238E27FC236}">
                <a16:creationId xmlns:a16="http://schemas.microsoft.com/office/drawing/2014/main" id="{552EC2FD-5405-4BE8-B8AE-CFDBAEC54532}"/>
              </a:ext>
            </a:extLst>
          </p:cNvPr>
          <p:cNvSpPr>
            <a:spLocks noGrp="1"/>
          </p:cNvSpPr>
          <p:nvPr>
            <p:ph type="body" sz="quarter" idx="27" hasCustomPrompt="1"/>
          </p:nvPr>
        </p:nvSpPr>
        <p:spPr>
          <a:xfrm>
            <a:off x="6210300" y="2557463"/>
            <a:ext cx="3078843" cy="1299029"/>
          </a:xfrm>
        </p:spPr>
        <p:txBody>
          <a:bodyPr vert="horz" lIns="91440" tIns="45720" rIns="91440" bIns="45720" rtlCol="0">
            <a:normAutofit/>
          </a:bodyPr>
          <a:lstStyle>
            <a:lvl1pPr marL="0" indent="0">
              <a:buNone/>
              <a:defRPr lang="en-US" sz="6000" b="0" dirty="0">
                <a:solidFill>
                  <a:schemeClr val="accent1"/>
                </a:solidFill>
              </a:defRPr>
            </a:lvl1pPr>
          </a:lstStyle>
          <a:p>
            <a:pPr lvl="0"/>
            <a:r>
              <a:rPr lang="en-US"/>
              <a:t>00</a:t>
            </a:r>
          </a:p>
        </p:txBody>
      </p:sp>
      <p:sp>
        <p:nvSpPr>
          <p:cNvPr id="32" name="Text Placeholder 5">
            <a:extLst>
              <a:ext uri="{FF2B5EF4-FFF2-40B4-BE49-F238E27FC236}">
                <a16:creationId xmlns:a16="http://schemas.microsoft.com/office/drawing/2014/main" id="{5377545F-380E-45B5-B0EA-7B24FB6D1CFE}"/>
              </a:ext>
            </a:extLst>
          </p:cNvPr>
          <p:cNvSpPr>
            <a:spLocks noGrp="1"/>
          </p:cNvSpPr>
          <p:nvPr>
            <p:ph type="body" sz="quarter" idx="28" hasCustomPrompt="1"/>
          </p:nvPr>
        </p:nvSpPr>
        <p:spPr>
          <a:xfrm>
            <a:off x="6210300" y="3846288"/>
            <a:ext cx="3078843" cy="2325912"/>
          </a:xfrm>
        </p:spPr>
        <p:txBody>
          <a:bodyPr vert="horz" lIns="91440" tIns="45720" rIns="91440" bIns="45720" rtlCol="0">
            <a:normAutofit/>
          </a:bodyPr>
          <a:lstStyle>
            <a:lvl1pPr marL="0" indent="0">
              <a:buNone/>
              <a:defRPr lang="en-US" sz="2000" b="0" dirty="0"/>
            </a:lvl1pPr>
          </a:lstStyle>
          <a:p>
            <a:pPr lvl="0"/>
            <a:r>
              <a:rPr lang="en-US"/>
              <a:t>Case  Study Description</a:t>
            </a:r>
          </a:p>
        </p:txBody>
      </p:sp>
      <p:cxnSp>
        <p:nvCxnSpPr>
          <p:cNvPr id="10" name="Straight Connector 9">
            <a:extLst>
              <a:ext uri="{FF2B5EF4-FFF2-40B4-BE49-F238E27FC236}">
                <a16:creationId xmlns:a16="http://schemas.microsoft.com/office/drawing/2014/main" id="{A77F312A-B533-4FBF-834D-DD33B6925B24}"/>
              </a:ext>
            </a:extLst>
          </p:cNvPr>
          <p:cNvCxnSpPr>
            <a:cxnSpLocks/>
          </p:cNvCxnSpPr>
          <p:nvPr userDrawn="1"/>
        </p:nvCxnSpPr>
        <p:spPr>
          <a:xfrm>
            <a:off x="5981700" y="2844800"/>
            <a:ext cx="0" cy="33274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Picture Placeholder 14">
            <a:extLst>
              <a:ext uri="{FF2B5EF4-FFF2-40B4-BE49-F238E27FC236}">
                <a16:creationId xmlns:a16="http://schemas.microsoft.com/office/drawing/2014/main" id="{A6DAE905-E936-4718-B479-BA797F414549}"/>
              </a:ext>
            </a:extLst>
          </p:cNvPr>
          <p:cNvSpPr>
            <a:spLocks noGrp="1"/>
          </p:cNvSpPr>
          <p:nvPr>
            <p:ph type="pic" sz="quarter" idx="29"/>
          </p:nvPr>
        </p:nvSpPr>
        <p:spPr>
          <a:xfrm>
            <a:off x="934357" y="2483984"/>
            <a:ext cx="1445986" cy="1445986"/>
          </a:xfrm>
        </p:spPr>
        <p:txBody>
          <a:bodyPr/>
          <a:lstStyle>
            <a:lvl1pPr marL="0" indent="0">
              <a:buNone/>
              <a:defRPr/>
            </a:lvl1pPr>
          </a:lstStyle>
          <a:p>
            <a:endParaRPr lang="en-US"/>
          </a:p>
        </p:txBody>
      </p:sp>
      <p:sp>
        <p:nvSpPr>
          <p:cNvPr id="34" name="Picture Placeholder 14">
            <a:extLst>
              <a:ext uri="{FF2B5EF4-FFF2-40B4-BE49-F238E27FC236}">
                <a16:creationId xmlns:a16="http://schemas.microsoft.com/office/drawing/2014/main" id="{1C7DF88C-94AE-4FA5-92E5-F440A02525C9}"/>
              </a:ext>
            </a:extLst>
          </p:cNvPr>
          <p:cNvSpPr>
            <a:spLocks noGrp="1"/>
          </p:cNvSpPr>
          <p:nvPr>
            <p:ph type="pic" sz="quarter" idx="30"/>
          </p:nvPr>
        </p:nvSpPr>
        <p:spPr>
          <a:xfrm>
            <a:off x="9811657" y="2483984"/>
            <a:ext cx="1445986" cy="1445986"/>
          </a:xfrm>
        </p:spPr>
        <p:txBody>
          <a:bodyPr/>
          <a:lstStyle>
            <a:lvl1pPr marL="0" indent="0">
              <a:buNone/>
              <a:defRPr/>
            </a:lvl1pPr>
          </a:lstStyle>
          <a:p>
            <a:endParaRPr lang="en-US"/>
          </a:p>
        </p:txBody>
      </p:sp>
      <p:sp>
        <p:nvSpPr>
          <p:cNvPr id="21" name="Slide Number Placeholder 4">
            <a:extLst>
              <a:ext uri="{FF2B5EF4-FFF2-40B4-BE49-F238E27FC236}">
                <a16:creationId xmlns:a16="http://schemas.microsoft.com/office/drawing/2014/main" id="{6560B12E-155B-4185-B346-158066E030A2}"/>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67223019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Servic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1423095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16383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Services</a:t>
            </a:r>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2705100" y="1369885"/>
            <a:ext cx="8648700" cy="879829"/>
          </a:xfrm>
        </p:spPr>
        <p:txBody>
          <a:bodyPr anchor="ctr">
            <a:noAutofit/>
          </a:bodyPr>
          <a:lstStyle>
            <a:lvl1pPr marL="0" indent="0">
              <a:lnSpc>
                <a:spcPct val="100000"/>
              </a:lnSpc>
              <a:buNone/>
              <a:defRPr sz="3200" b="1">
                <a:solidFill>
                  <a:schemeClr val="accent1"/>
                </a:solidFill>
                <a:latin typeface="+mj-lt"/>
              </a:defRPr>
            </a:lvl1pPr>
          </a:lstStyle>
          <a:p>
            <a:pPr lvl="0"/>
            <a:r>
              <a:rPr lang="en-US"/>
              <a:t>Efficiency team leader</a:t>
            </a:r>
          </a:p>
        </p:txBody>
      </p:sp>
      <p:sp>
        <p:nvSpPr>
          <p:cNvPr id="19" name="Text Placeholder 5">
            <a:extLst>
              <a:ext uri="{FF2B5EF4-FFF2-40B4-BE49-F238E27FC236}">
                <a16:creationId xmlns:a16="http://schemas.microsoft.com/office/drawing/2014/main" id="{BC93A242-256A-4BFA-BF37-3902B0218AB4}"/>
              </a:ext>
            </a:extLst>
          </p:cNvPr>
          <p:cNvSpPr>
            <a:spLocks noGrp="1"/>
          </p:cNvSpPr>
          <p:nvPr>
            <p:ph type="body" sz="quarter" idx="25" hasCustomPrompt="1"/>
          </p:nvPr>
        </p:nvSpPr>
        <p:spPr>
          <a:xfrm>
            <a:off x="2705099" y="723901"/>
            <a:ext cx="8648701" cy="454818"/>
          </a:xfrm>
        </p:spPr>
        <p:txBody>
          <a:bodyPr vert="horz" lIns="91440" tIns="45720" rIns="91440" bIns="45720" rtlCol="0" anchor="ctr">
            <a:noAutofit/>
          </a:bodyPr>
          <a:lstStyle>
            <a:lvl1pPr marL="0" indent="0">
              <a:buNone/>
              <a:defRPr lang="en-US" sz="2000" b="0" dirty="0">
                <a:solidFill>
                  <a:schemeClr val="accent1"/>
                </a:solidFill>
                <a:latin typeface="+mn-lt"/>
                <a:ea typeface="+mj-ea"/>
                <a:cs typeface="+mj-cs"/>
              </a:defRPr>
            </a:lvl1pPr>
          </a:lstStyle>
          <a:p>
            <a:pPr lvl="0">
              <a:lnSpc>
                <a:spcPct val="90000"/>
              </a:lnSpc>
              <a:spcBef>
                <a:spcPct val="0"/>
              </a:spcBef>
            </a:pPr>
            <a:r>
              <a:rPr lang="en-US"/>
              <a:t>Title</a:t>
            </a:r>
          </a:p>
        </p:txBody>
      </p:sp>
      <p:sp>
        <p:nvSpPr>
          <p:cNvPr id="21" name="Text Placeholder 13">
            <a:extLst>
              <a:ext uri="{FF2B5EF4-FFF2-40B4-BE49-F238E27FC236}">
                <a16:creationId xmlns:a16="http://schemas.microsoft.com/office/drawing/2014/main" id="{4D6ACD3A-4E2C-4FBA-9EA1-7F3D19494E57}"/>
              </a:ext>
            </a:extLst>
          </p:cNvPr>
          <p:cNvSpPr>
            <a:spLocks noGrp="1"/>
          </p:cNvSpPr>
          <p:nvPr>
            <p:ph type="body" sz="quarter" idx="13" hasCustomPrompt="1"/>
          </p:nvPr>
        </p:nvSpPr>
        <p:spPr>
          <a:xfrm>
            <a:off x="6210300" y="4330473"/>
            <a:ext cx="1524000" cy="598487"/>
          </a:xfrm>
        </p:spPr>
        <p:txBody>
          <a:bodyPr lIns="0">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22" name="Text Placeholder 13">
            <a:extLst>
              <a:ext uri="{FF2B5EF4-FFF2-40B4-BE49-F238E27FC236}">
                <a16:creationId xmlns:a16="http://schemas.microsoft.com/office/drawing/2014/main" id="{0375A356-5A05-48D3-B136-202DB48B089D}"/>
              </a:ext>
            </a:extLst>
          </p:cNvPr>
          <p:cNvSpPr>
            <a:spLocks noGrp="1"/>
          </p:cNvSpPr>
          <p:nvPr>
            <p:ph type="body" sz="quarter" idx="14" hasCustomPrompt="1"/>
          </p:nvPr>
        </p:nvSpPr>
        <p:spPr>
          <a:xfrm>
            <a:off x="6210300" y="5047230"/>
            <a:ext cx="1524000" cy="1124970"/>
          </a:xfrm>
        </p:spPr>
        <p:txBody>
          <a:bodyPr lIns="0">
            <a:normAutofit/>
          </a:bodyPr>
          <a:lstStyle>
            <a:lvl1pPr marL="0" indent="0">
              <a:lnSpc>
                <a:spcPct val="100000"/>
              </a:lnSpc>
              <a:buNone/>
              <a:defRPr sz="2000" b="0">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29" name="Text Placeholder 13">
            <a:extLst>
              <a:ext uri="{FF2B5EF4-FFF2-40B4-BE49-F238E27FC236}">
                <a16:creationId xmlns:a16="http://schemas.microsoft.com/office/drawing/2014/main" id="{1249BF92-8310-4779-8826-12C381BCD586}"/>
              </a:ext>
            </a:extLst>
          </p:cNvPr>
          <p:cNvSpPr>
            <a:spLocks noGrp="1"/>
          </p:cNvSpPr>
          <p:nvPr>
            <p:ph type="body" sz="quarter" idx="17" hasCustomPrompt="1"/>
          </p:nvPr>
        </p:nvSpPr>
        <p:spPr>
          <a:xfrm>
            <a:off x="7962900" y="4330473"/>
            <a:ext cx="1524000" cy="598487"/>
          </a:xfrm>
        </p:spPr>
        <p:txBody>
          <a:bodyPr lIns="0">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31" name="Text Placeholder 13">
            <a:extLst>
              <a:ext uri="{FF2B5EF4-FFF2-40B4-BE49-F238E27FC236}">
                <a16:creationId xmlns:a16="http://schemas.microsoft.com/office/drawing/2014/main" id="{484142FA-E904-4086-8F6F-1A790F7B260C}"/>
              </a:ext>
            </a:extLst>
          </p:cNvPr>
          <p:cNvSpPr>
            <a:spLocks noGrp="1"/>
          </p:cNvSpPr>
          <p:nvPr>
            <p:ph type="body" sz="quarter" idx="18" hasCustomPrompt="1"/>
          </p:nvPr>
        </p:nvSpPr>
        <p:spPr>
          <a:xfrm>
            <a:off x="7962900" y="5047230"/>
            <a:ext cx="1524000" cy="1124970"/>
          </a:xfrm>
        </p:spPr>
        <p:txBody>
          <a:bodyPr lIns="0">
            <a:normAutofit/>
          </a:bodyPr>
          <a:lstStyle>
            <a:lvl1pPr marL="0" indent="0">
              <a:lnSpc>
                <a:spcPct val="100000"/>
              </a:lnSpc>
              <a:buNone/>
              <a:defRPr sz="2000" b="0">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33" name="Text Placeholder 13">
            <a:extLst>
              <a:ext uri="{FF2B5EF4-FFF2-40B4-BE49-F238E27FC236}">
                <a16:creationId xmlns:a16="http://schemas.microsoft.com/office/drawing/2014/main" id="{C98BC453-71C1-48E1-8728-ED6D126E8066}"/>
              </a:ext>
            </a:extLst>
          </p:cNvPr>
          <p:cNvSpPr>
            <a:spLocks noGrp="1"/>
          </p:cNvSpPr>
          <p:nvPr>
            <p:ph type="body" sz="quarter" idx="20" hasCustomPrompt="1"/>
          </p:nvPr>
        </p:nvSpPr>
        <p:spPr>
          <a:xfrm>
            <a:off x="9715500" y="4330473"/>
            <a:ext cx="1638301" cy="598487"/>
          </a:xfrm>
        </p:spPr>
        <p:txBody>
          <a:bodyPr lIns="0">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35" name="Text Placeholder 13">
            <a:extLst>
              <a:ext uri="{FF2B5EF4-FFF2-40B4-BE49-F238E27FC236}">
                <a16:creationId xmlns:a16="http://schemas.microsoft.com/office/drawing/2014/main" id="{7DE9F41F-1CE2-47D1-8588-438D24CAED12}"/>
              </a:ext>
            </a:extLst>
          </p:cNvPr>
          <p:cNvSpPr>
            <a:spLocks noGrp="1"/>
          </p:cNvSpPr>
          <p:nvPr>
            <p:ph type="body" sz="quarter" idx="21" hasCustomPrompt="1"/>
          </p:nvPr>
        </p:nvSpPr>
        <p:spPr>
          <a:xfrm>
            <a:off x="9715500" y="5047230"/>
            <a:ext cx="1638301" cy="1124970"/>
          </a:xfrm>
        </p:spPr>
        <p:txBody>
          <a:bodyPr lIns="0">
            <a:normAutofit/>
          </a:bodyPr>
          <a:lstStyle>
            <a:lvl1pPr marL="0" indent="0">
              <a:lnSpc>
                <a:spcPct val="100000"/>
              </a:lnSpc>
              <a:buNone/>
              <a:defRPr sz="2000" b="0">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36" name="Picture Placeholder 3">
            <a:extLst>
              <a:ext uri="{FF2B5EF4-FFF2-40B4-BE49-F238E27FC236}">
                <a16:creationId xmlns:a16="http://schemas.microsoft.com/office/drawing/2014/main" id="{3C5CB4AC-EB58-417C-9041-7FF2109D20EF}"/>
              </a:ext>
            </a:extLst>
          </p:cNvPr>
          <p:cNvSpPr>
            <a:spLocks noGrp="1"/>
          </p:cNvSpPr>
          <p:nvPr>
            <p:ph type="pic" sz="quarter" idx="22"/>
          </p:nvPr>
        </p:nvSpPr>
        <p:spPr>
          <a:xfrm>
            <a:off x="6209845" y="2585810"/>
            <a:ext cx="1524000" cy="1524000"/>
          </a:xfrm>
          <a:solidFill>
            <a:schemeClr val="accent1">
              <a:lumMod val="90000"/>
              <a:lumOff val="10000"/>
            </a:schemeClr>
          </a:solidFill>
        </p:spPr>
        <p:txBody>
          <a:bodyPr/>
          <a:lstStyle>
            <a:lvl1pPr marL="0" indent="0">
              <a:buNone/>
              <a:defRPr/>
            </a:lvl1pPr>
          </a:lstStyle>
          <a:p>
            <a:endParaRPr lang="en-US"/>
          </a:p>
        </p:txBody>
      </p:sp>
      <p:sp>
        <p:nvSpPr>
          <p:cNvPr id="37" name="Picture Placeholder 3">
            <a:extLst>
              <a:ext uri="{FF2B5EF4-FFF2-40B4-BE49-F238E27FC236}">
                <a16:creationId xmlns:a16="http://schemas.microsoft.com/office/drawing/2014/main" id="{E3544239-32CC-4AD4-8C4E-A5669C0ED5F1}"/>
              </a:ext>
            </a:extLst>
          </p:cNvPr>
          <p:cNvSpPr>
            <a:spLocks noGrp="1"/>
          </p:cNvSpPr>
          <p:nvPr>
            <p:ph type="pic" sz="quarter" idx="26"/>
          </p:nvPr>
        </p:nvSpPr>
        <p:spPr>
          <a:xfrm>
            <a:off x="7991020" y="2585810"/>
            <a:ext cx="1524000" cy="1524000"/>
          </a:xfrm>
          <a:solidFill>
            <a:schemeClr val="accent1">
              <a:lumMod val="90000"/>
              <a:lumOff val="10000"/>
            </a:schemeClr>
          </a:solidFill>
        </p:spPr>
        <p:txBody>
          <a:bodyPr/>
          <a:lstStyle>
            <a:lvl1pPr marL="0" indent="0">
              <a:buNone/>
              <a:defRPr/>
            </a:lvl1pPr>
          </a:lstStyle>
          <a:p>
            <a:endParaRPr lang="en-US"/>
          </a:p>
        </p:txBody>
      </p:sp>
      <p:sp>
        <p:nvSpPr>
          <p:cNvPr id="38" name="Picture Placeholder 3">
            <a:extLst>
              <a:ext uri="{FF2B5EF4-FFF2-40B4-BE49-F238E27FC236}">
                <a16:creationId xmlns:a16="http://schemas.microsoft.com/office/drawing/2014/main" id="{93AF9B94-8A78-47FB-8CE8-2471F90892ED}"/>
              </a:ext>
            </a:extLst>
          </p:cNvPr>
          <p:cNvSpPr>
            <a:spLocks noGrp="1"/>
          </p:cNvSpPr>
          <p:nvPr>
            <p:ph type="pic" sz="quarter" idx="24"/>
          </p:nvPr>
        </p:nvSpPr>
        <p:spPr>
          <a:xfrm>
            <a:off x="9753145" y="2585810"/>
            <a:ext cx="1524000" cy="1524000"/>
          </a:xfrm>
          <a:solidFill>
            <a:schemeClr val="accent1">
              <a:lumMod val="90000"/>
              <a:lumOff val="10000"/>
            </a:schemeClr>
          </a:solidFill>
        </p:spPr>
        <p:txBody>
          <a:bodyPr/>
          <a:lstStyle>
            <a:lvl1pPr marL="0" indent="0">
              <a:buNone/>
              <a:defRPr/>
            </a:lvl1pPr>
          </a:lstStyle>
          <a:p>
            <a:endParaRPr lang="en-US"/>
          </a:p>
        </p:txBody>
      </p:sp>
      <p:sp>
        <p:nvSpPr>
          <p:cNvPr id="39" name="Text Placeholder 5">
            <a:extLst>
              <a:ext uri="{FF2B5EF4-FFF2-40B4-BE49-F238E27FC236}">
                <a16:creationId xmlns:a16="http://schemas.microsoft.com/office/drawing/2014/main" id="{A33FE43D-668F-4A70-864E-FDE2F0511176}"/>
              </a:ext>
            </a:extLst>
          </p:cNvPr>
          <p:cNvSpPr>
            <a:spLocks noGrp="1"/>
          </p:cNvSpPr>
          <p:nvPr>
            <p:ph type="body" sz="quarter" idx="27" hasCustomPrompt="1"/>
          </p:nvPr>
        </p:nvSpPr>
        <p:spPr>
          <a:xfrm>
            <a:off x="2705101" y="2590800"/>
            <a:ext cx="2556328" cy="3581400"/>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30" name="Slide Number Placeholder 4">
            <a:extLst>
              <a:ext uri="{FF2B5EF4-FFF2-40B4-BE49-F238E27FC236}">
                <a16:creationId xmlns:a16="http://schemas.microsoft.com/office/drawing/2014/main" id="{707F83F8-6962-4485-90E9-288BB5106263}"/>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56604026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_Servic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2769620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053B6AE6-73A9-4A90-8188-77666567F858}"/>
              </a:ext>
            </a:extLst>
          </p:cNvPr>
          <p:cNvSpPr/>
          <p:nvPr userDrawn="1"/>
        </p:nvSpPr>
        <p:spPr>
          <a:xfrm>
            <a:off x="1" y="2416628"/>
            <a:ext cx="12192000" cy="444137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16383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Services</a:t>
            </a:r>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2705100" y="1369885"/>
            <a:ext cx="8648700" cy="879829"/>
          </a:xfrm>
        </p:spPr>
        <p:txBody>
          <a:bodyPr anchor="ctr">
            <a:noAutofit/>
          </a:bodyPr>
          <a:lstStyle>
            <a:lvl1pPr marL="0" indent="0">
              <a:lnSpc>
                <a:spcPct val="100000"/>
              </a:lnSpc>
              <a:buNone/>
              <a:defRPr sz="3200" b="1">
                <a:solidFill>
                  <a:schemeClr val="accent1"/>
                </a:solidFill>
                <a:latin typeface="+mj-lt"/>
              </a:defRPr>
            </a:lvl1pPr>
          </a:lstStyle>
          <a:p>
            <a:pPr lvl="0"/>
            <a:r>
              <a:rPr lang="en-US"/>
              <a:t>Graph</a:t>
            </a:r>
          </a:p>
        </p:txBody>
      </p:sp>
      <p:sp>
        <p:nvSpPr>
          <p:cNvPr id="19" name="Text Placeholder 5">
            <a:extLst>
              <a:ext uri="{FF2B5EF4-FFF2-40B4-BE49-F238E27FC236}">
                <a16:creationId xmlns:a16="http://schemas.microsoft.com/office/drawing/2014/main" id="{BC93A242-256A-4BFA-BF37-3902B0218AB4}"/>
              </a:ext>
            </a:extLst>
          </p:cNvPr>
          <p:cNvSpPr>
            <a:spLocks noGrp="1"/>
          </p:cNvSpPr>
          <p:nvPr>
            <p:ph type="body" sz="quarter" idx="25" hasCustomPrompt="1"/>
          </p:nvPr>
        </p:nvSpPr>
        <p:spPr>
          <a:xfrm>
            <a:off x="2705099" y="723901"/>
            <a:ext cx="8648701" cy="454818"/>
          </a:xfrm>
        </p:spPr>
        <p:txBody>
          <a:bodyPr vert="horz" lIns="91440" tIns="45720" rIns="91440" bIns="45720" rtlCol="0" anchor="ctr">
            <a:noAutofit/>
          </a:bodyPr>
          <a:lstStyle>
            <a:lvl1pPr marL="0" indent="0">
              <a:buNone/>
              <a:defRPr lang="en-US" sz="1600" b="0" dirty="0">
                <a:solidFill>
                  <a:schemeClr val="accent1"/>
                </a:solidFill>
                <a:latin typeface="+mn-lt"/>
                <a:ea typeface="+mj-ea"/>
                <a:cs typeface="+mj-cs"/>
              </a:defRPr>
            </a:lvl1pPr>
          </a:lstStyle>
          <a:p>
            <a:pPr lvl="0">
              <a:lnSpc>
                <a:spcPct val="90000"/>
              </a:lnSpc>
              <a:spcBef>
                <a:spcPct val="0"/>
              </a:spcBef>
            </a:pPr>
            <a:r>
              <a:rPr lang="en-US"/>
              <a:t>Title</a:t>
            </a:r>
          </a:p>
        </p:txBody>
      </p:sp>
      <p:sp>
        <p:nvSpPr>
          <p:cNvPr id="39" name="Text Placeholder 5">
            <a:extLst>
              <a:ext uri="{FF2B5EF4-FFF2-40B4-BE49-F238E27FC236}">
                <a16:creationId xmlns:a16="http://schemas.microsoft.com/office/drawing/2014/main" id="{A33FE43D-668F-4A70-864E-FDE2F0511176}"/>
              </a:ext>
            </a:extLst>
          </p:cNvPr>
          <p:cNvSpPr>
            <a:spLocks noGrp="1"/>
          </p:cNvSpPr>
          <p:nvPr>
            <p:ph type="body" sz="quarter" idx="27" hasCustomPrompt="1"/>
          </p:nvPr>
        </p:nvSpPr>
        <p:spPr>
          <a:xfrm>
            <a:off x="2705101" y="2590800"/>
            <a:ext cx="2556328" cy="3581400"/>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3" name="Chart Placeholder 2">
            <a:extLst>
              <a:ext uri="{FF2B5EF4-FFF2-40B4-BE49-F238E27FC236}">
                <a16:creationId xmlns:a16="http://schemas.microsoft.com/office/drawing/2014/main" id="{03ACCA39-4F83-44D4-BE05-A01D7BD4C222}"/>
              </a:ext>
            </a:extLst>
          </p:cNvPr>
          <p:cNvSpPr>
            <a:spLocks noGrp="1"/>
          </p:cNvSpPr>
          <p:nvPr>
            <p:ph type="chart" sz="quarter" idx="28"/>
          </p:nvPr>
        </p:nvSpPr>
        <p:spPr>
          <a:xfrm>
            <a:off x="6210300" y="2583543"/>
            <a:ext cx="5143500" cy="3588657"/>
          </a:xfrm>
        </p:spPr>
        <p:txBody>
          <a:bodyPr/>
          <a:lstStyle>
            <a:lvl1pPr marL="0" indent="0">
              <a:buNone/>
              <a:defRPr/>
            </a:lvl1pPr>
          </a:lstStyle>
          <a:p>
            <a:endParaRPr lang="en-US"/>
          </a:p>
        </p:txBody>
      </p:sp>
      <p:sp>
        <p:nvSpPr>
          <p:cNvPr id="17" name="Slide Number Placeholder 4">
            <a:extLst>
              <a:ext uri="{FF2B5EF4-FFF2-40B4-BE49-F238E27FC236}">
                <a16:creationId xmlns:a16="http://schemas.microsoft.com/office/drawing/2014/main" id="{F82AA609-695B-4877-AAA0-05CAB55F8680}"/>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95770316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 Icon + Arc Imag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9D30C42F-D1DF-4DC7-BB9B-E099A6AA365E}"/>
              </a:ext>
            </a:extLst>
          </p:cNvPr>
          <p:cNvGraphicFramePr>
            <a:graphicFrameLocks noChangeAspect="1"/>
          </p:cNvGraphicFramePr>
          <p:nvPr userDrawn="1">
            <p:custDataLst>
              <p:tags r:id="rId1"/>
            </p:custDataLst>
            <p:extLst>
              <p:ext uri="{D42A27DB-BD31-4B8C-83A1-F6EECF244321}">
                <p14:modId xmlns:p14="http://schemas.microsoft.com/office/powerpoint/2010/main" val="1703389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9D30C42F-D1DF-4DC7-BB9B-E099A6AA36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C16794C-2337-4C40-A156-DC10DA4791A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F08B033D-F8A4-469B-9BEC-6C9B9720C696}"/>
              </a:ext>
            </a:extLst>
          </p:cNvPr>
          <p:cNvSpPr/>
          <p:nvPr userDrawn="1"/>
        </p:nvSpPr>
        <p:spPr>
          <a:xfrm>
            <a:off x="7962900" y="0"/>
            <a:ext cx="42291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5"/>
            <a:ext cx="6896100" cy="1806828"/>
          </a:xfrm>
        </p:spPr>
        <p:txBody>
          <a:bodyPr/>
          <a:lstStyle/>
          <a:p>
            <a:r>
              <a:rPr lang="en-US"/>
              <a:t>Click to edit Master title style</a:t>
            </a:r>
          </a:p>
        </p:txBody>
      </p:sp>
      <p:sp>
        <p:nvSpPr>
          <p:cNvPr id="7" name="Freeform: Shape 6">
            <a:extLst>
              <a:ext uri="{FF2B5EF4-FFF2-40B4-BE49-F238E27FC236}">
                <a16:creationId xmlns:a16="http://schemas.microsoft.com/office/drawing/2014/main" id="{E2276809-A9DE-422F-AFAA-F64539633E43}"/>
              </a:ext>
            </a:extLst>
          </p:cNvPr>
          <p:cNvSpPr/>
          <p:nvPr userDrawn="1"/>
        </p:nvSpPr>
        <p:spPr>
          <a:xfrm>
            <a:off x="1247775" y="2628900"/>
            <a:ext cx="8826528" cy="3190875"/>
          </a:xfrm>
          <a:custGeom>
            <a:avLst/>
            <a:gdLst>
              <a:gd name="connsiteX0" fmla="*/ 0 w 8353425"/>
              <a:gd name="connsiteY0" fmla="*/ 0 h 3190875"/>
              <a:gd name="connsiteX1" fmla="*/ 0 w 8353425"/>
              <a:gd name="connsiteY1" fmla="*/ 3190875 h 3190875"/>
              <a:gd name="connsiteX2" fmla="*/ 8353425 w 8353425"/>
              <a:gd name="connsiteY2" fmla="*/ 3190875 h 3190875"/>
              <a:gd name="connsiteX3" fmla="*/ 8353425 w 8353425"/>
              <a:gd name="connsiteY3" fmla="*/ 2733675 h 3190875"/>
            </a:gdLst>
            <a:ahLst/>
            <a:cxnLst>
              <a:cxn ang="0">
                <a:pos x="connsiteX0" y="connsiteY0"/>
              </a:cxn>
              <a:cxn ang="0">
                <a:pos x="connsiteX1" y="connsiteY1"/>
              </a:cxn>
              <a:cxn ang="0">
                <a:pos x="connsiteX2" y="connsiteY2"/>
              </a:cxn>
              <a:cxn ang="0">
                <a:pos x="connsiteX3" y="connsiteY3"/>
              </a:cxn>
            </a:cxnLst>
            <a:rect l="l" t="t" r="r" b="b"/>
            <a:pathLst>
              <a:path w="8353425" h="3190875">
                <a:moveTo>
                  <a:pt x="0" y="0"/>
                </a:moveTo>
                <a:lnTo>
                  <a:pt x="0" y="3190875"/>
                </a:lnTo>
                <a:lnTo>
                  <a:pt x="8353425" y="3190875"/>
                </a:lnTo>
                <a:lnTo>
                  <a:pt x="8353425" y="2733675"/>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7DB26AD-D582-41F9-9002-795358E4B4BD}"/>
              </a:ext>
            </a:extLst>
          </p:cNvPr>
          <p:cNvSpPr/>
          <p:nvPr userDrawn="1"/>
        </p:nvSpPr>
        <p:spPr>
          <a:xfrm>
            <a:off x="916576" y="2569411"/>
            <a:ext cx="5303520"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11E1AE8A-CDFD-4A99-B8A2-9D047969B70E}"/>
              </a:ext>
            </a:extLst>
          </p:cNvPr>
          <p:cNvSpPr>
            <a:spLocks noGrp="1"/>
          </p:cNvSpPr>
          <p:nvPr userDrawn="1">
            <p:ph type="body" sz="quarter" idx="14"/>
          </p:nvPr>
        </p:nvSpPr>
        <p:spPr>
          <a:xfrm>
            <a:off x="1740694" y="3013075"/>
            <a:ext cx="4241006" cy="2443163"/>
          </a:xfrm>
        </p:spPr>
        <p:txBody>
          <a:bodyPr>
            <a:noAutofit/>
          </a:bodyPr>
          <a:lstStyle>
            <a:lvl1pPr marL="171450" indent="-171450">
              <a:buFont typeface="Arial" panose="020B0604020202020204" pitchFamily="34" charset="0"/>
              <a:buChar char="•"/>
              <a:defRPr sz="2000"/>
            </a:lvl1pPr>
            <a:lvl2pPr marL="628650" indent="-171450">
              <a:buFont typeface="Arial" panose="020B0604020202020204" pitchFamily="34" charset="0"/>
              <a:buChar char="•"/>
              <a:defRPr sz="2000"/>
            </a:lvl2pPr>
            <a:lvl3pPr marL="1085850" indent="-171450">
              <a:buFont typeface="Arial" panose="020B0604020202020204" pitchFamily="34" charset="0"/>
              <a:buChar char="•"/>
              <a:defRPr sz="2000"/>
            </a:lvl3pPr>
            <a:lvl4pPr marL="1543050" indent="-171450">
              <a:buFont typeface="Arial" panose="020B0604020202020204" pitchFamily="34" charset="0"/>
              <a:buChar char="•"/>
              <a:defRPr sz="2000"/>
            </a:lvl4pPr>
            <a:lvl5pPr marL="2000250" indent="-17145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Oval 17">
            <a:extLst>
              <a:ext uri="{FF2B5EF4-FFF2-40B4-BE49-F238E27FC236}">
                <a16:creationId xmlns:a16="http://schemas.microsoft.com/office/drawing/2014/main" id="{AFBD5D6E-29F4-49E1-B5ED-AF6E60E1F591}"/>
              </a:ext>
            </a:extLst>
          </p:cNvPr>
          <p:cNvSpPr/>
          <p:nvPr userDrawn="1"/>
        </p:nvSpPr>
        <p:spPr>
          <a:xfrm>
            <a:off x="9061327" y="3337289"/>
            <a:ext cx="2032247" cy="20322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7">
            <a:extLst>
              <a:ext uri="{FF2B5EF4-FFF2-40B4-BE49-F238E27FC236}">
                <a16:creationId xmlns:a16="http://schemas.microsoft.com/office/drawing/2014/main" id="{91DB5F0C-83BA-4271-8671-F6945C0F0088}"/>
              </a:ext>
            </a:extLst>
          </p:cNvPr>
          <p:cNvSpPr>
            <a:spLocks noGrp="1"/>
          </p:cNvSpPr>
          <p:nvPr>
            <p:ph type="pic" sz="quarter" idx="16" hasCustomPrompt="1"/>
          </p:nvPr>
        </p:nvSpPr>
        <p:spPr>
          <a:xfrm>
            <a:off x="9498807" y="3773975"/>
            <a:ext cx="1157287" cy="1158875"/>
          </a:xfrm>
        </p:spPr>
        <p:txBody>
          <a:bodyPr anchor="ctr"/>
          <a:lstStyle>
            <a:lvl1pPr algn="ctr">
              <a:defRPr>
                <a:solidFill>
                  <a:schemeClr val="bg1"/>
                </a:solidFill>
              </a:defRPr>
            </a:lvl1pPr>
          </a:lstStyle>
          <a:p>
            <a:r>
              <a:rPr lang="en-US"/>
              <a:t>Add icon here</a:t>
            </a:r>
          </a:p>
        </p:txBody>
      </p:sp>
      <p:grpSp>
        <p:nvGrpSpPr>
          <p:cNvPr id="20" name="Graphic 6">
            <a:extLst>
              <a:ext uri="{FF2B5EF4-FFF2-40B4-BE49-F238E27FC236}">
                <a16:creationId xmlns:a16="http://schemas.microsoft.com/office/drawing/2014/main" id="{7A0A905F-5526-427F-8313-02DBD5CCF48A}"/>
              </a:ext>
            </a:extLst>
          </p:cNvPr>
          <p:cNvGrpSpPr/>
          <p:nvPr userDrawn="1"/>
        </p:nvGrpSpPr>
        <p:grpSpPr>
          <a:xfrm>
            <a:off x="891988" y="6394893"/>
            <a:ext cx="432890" cy="187030"/>
            <a:chOff x="85969" y="3646150"/>
            <a:chExt cx="1544103" cy="667132"/>
          </a:xfrm>
          <a:solidFill>
            <a:srgbClr val="FF9E18"/>
          </a:solidFill>
        </p:grpSpPr>
        <p:sp>
          <p:nvSpPr>
            <p:cNvPr id="25" name="Freeform: Shape 24">
              <a:extLst>
                <a:ext uri="{FF2B5EF4-FFF2-40B4-BE49-F238E27FC236}">
                  <a16:creationId xmlns:a16="http://schemas.microsoft.com/office/drawing/2014/main" id="{D744C706-56D9-4049-B600-54A1D543BEFD}"/>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8BC18EFB-EB46-4F5A-A17C-DF35BB1111D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2808B8E4-878B-41C7-88CD-89E4A3C9066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241375AE-39BD-4641-9E99-98B6749E5053}"/>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1" name="Text Placeholder 16">
            <a:extLst>
              <a:ext uri="{FF2B5EF4-FFF2-40B4-BE49-F238E27FC236}">
                <a16:creationId xmlns:a16="http://schemas.microsoft.com/office/drawing/2014/main" id="{6032DE2C-D49C-4BAD-8B30-05B8CE85FD1D}"/>
              </a:ext>
            </a:extLst>
          </p:cNvPr>
          <p:cNvSpPr>
            <a:spLocks noGrp="1"/>
          </p:cNvSpPr>
          <p:nvPr>
            <p:ph type="body" sz="quarter" idx="17" hasCustomPrompt="1"/>
          </p:nvPr>
        </p:nvSpPr>
        <p:spPr>
          <a:xfrm>
            <a:off x="8713812" y="1589793"/>
            <a:ext cx="2727276" cy="326472"/>
          </a:xfrm>
        </p:spPr>
        <p:txBody>
          <a:bodyPr anchor="ctr">
            <a:noAutofit/>
          </a:bodyPr>
          <a:lstStyle>
            <a:lvl1pPr marL="0" indent="0" algn="ctr">
              <a:buNone/>
              <a:defRPr sz="16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Title</a:t>
            </a:r>
          </a:p>
        </p:txBody>
      </p:sp>
      <p:sp>
        <p:nvSpPr>
          <p:cNvPr id="22" name="Text Placeholder 16">
            <a:extLst>
              <a:ext uri="{FF2B5EF4-FFF2-40B4-BE49-F238E27FC236}">
                <a16:creationId xmlns:a16="http://schemas.microsoft.com/office/drawing/2014/main" id="{35342DC0-67CA-404B-8E57-F8DDBB6D1CC5}"/>
              </a:ext>
            </a:extLst>
          </p:cNvPr>
          <p:cNvSpPr>
            <a:spLocks noGrp="1"/>
          </p:cNvSpPr>
          <p:nvPr>
            <p:ph type="body" sz="quarter" idx="18" hasCustomPrompt="1"/>
          </p:nvPr>
        </p:nvSpPr>
        <p:spPr>
          <a:xfrm>
            <a:off x="8713812" y="1956688"/>
            <a:ext cx="2727276" cy="811501"/>
          </a:xfrm>
        </p:spPr>
        <p:txBody>
          <a:bodyPr anchor="ctr">
            <a:normAutofit/>
          </a:bodyPr>
          <a:lstStyle>
            <a:lvl1pPr marL="0" indent="0" algn="ctr">
              <a:buNone/>
              <a:defRPr sz="32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Data</a:t>
            </a:r>
          </a:p>
        </p:txBody>
      </p:sp>
      <p:sp>
        <p:nvSpPr>
          <p:cNvPr id="23" name="Slide Number Placeholder 4">
            <a:extLst>
              <a:ext uri="{FF2B5EF4-FFF2-40B4-BE49-F238E27FC236}">
                <a16:creationId xmlns:a16="http://schemas.microsoft.com/office/drawing/2014/main" id="{1E331BA0-6428-45A6-BF48-497E6EAD7D92}"/>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75793712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 Icon + Arc Imag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9D30C42F-D1DF-4DC7-BB9B-E099A6AA365E}"/>
              </a:ext>
            </a:extLst>
          </p:cNvPr>
          <p:cNvGraphicFramePr>
            <a:graphicFrameLocks noChangeAspect="1"/>
          </p:cNvGraphicFramePr>
          <p:nvPr userDrawn="1">
            <p:custDataLst>
              <p:tags r:id="rId1"/>
            </p:custDataLst>
            <p:extLst>
              <p:ext uri="{D42A27DB-BD31-4B8C-83A1-F6EECF244321}">
                <p14:modId xmlns:p14="http://schemas.microsoft.com/office/powerpoint/2010/main" val="2583717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9D30C42F-D1DF-4DC7-BB9B-E099A6AA36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C16794C-2337-4C40-A156-DC10DA4791A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34" name="Picture Placeholder 33">
            <a:extLst>
              <a:ext uri="{FF2B5EF4-FFF2-40B4-BE49-F238E27FC236}">
                <a16:creationId xmlns:a16="http://schemas.microsoft.com/office/drawing/2014/main" id="{28F29D78-42FA-4483-94E3-B2762A6D27FD}"/>
              </a:ext>
            </a:extLst>
          </p:cNvPr>
          <p:cNvSpPr>
            <a:spLocks noGrp="1"/>
          </p:cNvSpPr>
          <p:nvPr>
            <p:ph type="pic" sz="quarter" idx="17"/>
          </p:nvPr>
        </p:nvSpPr>
        <p:spPr>
          <a:xfrm>
            <a:off x="7962900" y="0"/>
            <a:ext cx="4229100" cy="6858000"/>
          </a:xfrm>
          <a:custGeom>
            <a:avLst/>
            <a:gdLst>
              <a:gd name="connsiteX0" fmla="*/ 3129148 w 4229100"/>
              <a:gd name="connsiteY0" fmla="*/ 4323177 h 6858000"/>
              <a:gd name="connsiteX1" fmla="*/ 3383747 w 4229100"/>
              <a:gd name="connsiteY1" fmla="*/ 4336339 h 6858000"/>
              <a:gd name="connsiteX2" fmla="*/ 4127419 w 4229100"/>
              <a:gd name="connsiteY2" fmla="*/ 4531134 h 6858000"/>
              <a:gd name="connsiteX3" fmla="*/ 4229100 w 4229100"/>
              <a:gd name="connsiteY3" fmla="*/ 4581292 h 6858000"/>
              <a:gd name="connsiteX4" fmla="*/ 4229100 w 4229100"/>
              <a:gd name="connsiteY4" fmla="*/ 6858000 h 6858000"/>
              <a:gd name="connsiteX5" fmla="*/ 533865 w 4229100"/>
              <a:gd name="connsiteY5" fmla="*/ 6858000 h 6858000"/>
              <a:gd name="connsiteX6" fmla="*/ 541441 w 4229100"/>
              <a:gd name="connsiteY6" fmla="*/ 6704315 h 6858000"/>
              <a:gd name="connsiteX7" fmla="*/ 1211395 w 4229100"/>
              <a:gd name="connsiteY7" fmla="*/ 5180086 h 6858000"/>
              <a:gd name="connsiteX8" fmla="*/ 1360250 w 4229100"/>
              <a:gd name="connsiteY8" fmla="*/ 5028539 h 6858000"/>
              <a:gd name="connsiteX9" fmla="*/ 1396043 w 4229100"/>
              <a:gd name="connsiteY9" fmla="*/ 5071921 h 6858000"/>
              <a:gd name="connsiteX10" fmla="*/ 2114551 w 4229100"/>
              <a:gd name="connsiteY10" fmla="*/ 5369536 h 6858000"/>
              <a:gd name="connsiteX11" fmla="*/ 3130675 w 4229100"/>
              <a:gd name="connsiteY11" fmla="*/ 4353412 h 6858000"/>
              <a:gd name="connsiteX12" fmla="*/ 0 w 4229100"/>
              <a:gd name="connsiteY12" fmla="*/ 0 h 6858000"/>
              <a:gd name="connsiteX13" fmla="*/ 4229100 w 4229100"/>
              <a:gd name="connsiteY13" fmla="*/ 0 h 6858000"/>
              <a:gd name="connsiteX14" fmla="*/ 4229100 w 4229100"/>
              <a:gd name="connsiteY14" fmla="*/ 2834805 h 6858000"/>
              <a:gd name="connsiteX15" fmla="*/ 4167041 w 4229100"/>
              <a:gd name="connsiteY15" fmla="*/ 2816763 h 6858000"/>
              <a:gd name="connsiteX16" fmla="*/ 3118776 w 4229100"/>
              <a:gd name="connsiteY16" fmla="*/ 2681577 h 6858000"/>
              <a:gd name="connsiteX17" fmla="*/ 226006 w 4229100"/>
              <a:gd name="connsiteY17" fmla="*/ 3867278 h 6858000"/>
              <a:gd name="connsiteX18" fmla="*/ 0 w 4229100"/>
              <a:gd name="connsiteY18" fmla="*/ 41093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29100" h="6858000">
                <a:moveTo>
                  <a:pt x="3129148" y="4323177"/>
                </a:moveTo>
                <a:lnTo>
                  <a:pt x="3383747" y="4336339"/>
                </a:lnTo>
                <a:cubicBezTo>
                  <a:pt x="3645098" y="4363512"/>
                  <a:pt x="3894939" y="4430445"/>
                  <a:pt x="4127419" y="4531134"/>
                </a:cubicBezTo>
                <a:lnTo>
                  <a:pt x="4229100" y="4581292"/>
                </a:lnTo>
                <a:lnTo>
                  <a:pt x="4229100" y="6858000"/>
                </a:lnTo>
                <a:lnTo>
                  <a:pt x="533865" y="6858000"/>
                </a:lnTo>
                <a:lnTo>
                  <a:pt x="541441" y="6704315"/>
                </a:lnTo>
                <a:cubicBezTo>
                  <a:pt x="599460" y="6119085"/>
                  <a:pt x="843189" y="5590064"/>
                  <a:pt x="1211395" y="5180086"/>
                </a:cubicBezTo>
                <a:lnTo>
                  <a:pt x="1360250" y="5028539"/>
                </a:lnTo>
                <a:lnTo>
                  <a:pt x="1396043" y="5071921"/>
                </a:lnTo>
                <a:cubicBezTo>
                  <a:pt x="1579925" y="5255803"/>
                  <a:pt x="1833956" y="5369536"/>
                  <a:pt x="2114551" y="5369536"/>
                </a:cubicBezTo>
                <a:cubicBezTo>
                  <a:pt x="2675741" y="5369536"/>
                  <a:pt x="3130675" y="4914602"/>
                  <a:pt x="3130675" y="4353412"/>
                </a:cubicBezTo>
                <a:close/>
                <a:moveTo>
                  <a:pt x="0" y="0"/>
                </a:moveTo>
                <a:lnTo>
                  <a:pt x="4229100" y="0"/>
                </a:lnTo>
                <a:lnTo>
                  <a:pt x="4229100" y="2834805"/>
                </a:lnTo>
                <a:lnTo>
                  <a:pt x="4167041" y="2816763"/>
                </a:lnTo>
                <a:cubicBezTo>
                  <a:pt x="3832009" y="2728513"/>
                  <a:pt x="3480758" y="2681577"/>
                  <a:pt x="3118776" y="2681577"/>
                </a:cubicBezTo>
                <a:cubicBezTo>
                  <a:pt x="1997151" y="2681577"/>
                  <a:pt x="978393" y="3132628"/>
                  <a:pt x="226006" y="3867278"/>
                </a:cubicBezTo>
                <a:lnTo>
                  <a:pt x="0" y="4109327"/>
                </a:lnTo>
                <a:close/>
              </a:path>
            </a:pathLst>
          </a:custGeom>
        </p:spPr>
        <p:txBody>
          <a:bodyPr wrap="square">
            <a:noAutofit/>
          </a:bodyPr>
          <a:lstStyle/>
          <a:p>
            <a:endParaRPr lang="en-US"/>
          </a:p>
        </p:txBody>
      </p:sp>
      <p:sp>
        <p:nvSpPr>
          <p:cNvPr id="30" name="Freeform: Shape 29">
            <a:extLst>
              <a:ext uri="{FF2B5EF4-FFF2-40B4-BE49-F238E27FC236}">
                <a16:creationId xmlns:a16="http://schemas.microsoft.com/office/drawing/2014/main" id="{CF482F91-54C7-4976-8676-FCDBEE237E29}"/>
              </a:ext>
            </a:extLst>
          </p:cNvPr>
          <p:cNvSpPr/>
          <p:nvPr userDrawn="1"/>
        </p:nvSpPr>
        <p:spPr>
          <a:xfrm>
            <a:off x="6891798" y="2681578"/>
            <a:ext cx="5300202" cy="4176423"/>
          </a:xfrm>
          <a:custGeom>
            <a:avLst/>
            <a:gdLst>
              <a:gd name="connsiteX0" fmla="*/ 4189878 w 5300202"/>
              <a:gd name="connsiteY0" fmla="*/ 0 h 4176423"/>
              <a:gd name="connsiteX1" fmla="*/ 5238143 w 5300202"/>
              <a:gd name="connsiteY1" fmla="*/ 135186 h 4176423"/>
              <a:gd name="connsiteX2" fmla="*/ 5300202 w 5300202"/>
              <a:gd name="connsiteY2" fmla="*/ 153228 h 4176423"/>
              <a:gd name="connsiteX3" fmla="*/ 5300202 w 5300202"/>
              <a:gd name="connsiteY3" fmla="*/ 1899715 h 4176423"/>
              <a:gd name="connsiteX4" fmla="*/ 5198521 w 5300202"/>
              <a:gd name="connsiteY4" fmla="*/ 1849557 h 4176423"/>
              <a:gd name="connsiteX5" fmla="*/ 4189878 w 5300202"/>
              <a:gd name="connsiteY5" fmla="*/ 1641064 h 4176423"/>
              <a:gd name="connsiteX6" fmla="*/ 1612543 w 5300202"/>
              <a:gd name="connsiteY6" fmla="*/ 4022738 h 4176423"/>
              <a:gd name="connsiteX7" fmla="*/ 1604967 w 5300202"/>
              <a:gd name="connsiteY7" fmla="*/ 4176423 h 4176423"/>
              <a:gd name="connsiteX8" fmla="*/ 0 w 5300202"/>
              <a:gd name="connsiteY8" fmla="*/ 4176423 h 4176423"/>
              <a:gd name="connsiteX9" fmla="*/ 2554 w 5300202"/>
              <a:gd name="connsiteY9" fmla="*/ 4072999 h 4176423"/>
              <a:gd name="connsiteX10" fmla="*/ 4189878 w 5300202"/>
              <a:gd name="connsiteY10" fmla="*/ 0 h 417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00202" h="4176423">
                <a:moveTo>
                  <a:pt x="4189878" y="0"/>
                </a:moveTo>
                <a:cubicBezTo>
                  <a:pt x="4551860" y="0"/>
                  <a:pt x="4903111" y="46936"/>
                  <a:pt x="5238143" y="135186"/>
                </a:cubicBezTo>
                <a:lnTo>
                  <a:pt x="5300202" y="153228"/>
                </a:lnTo>
                <a:lnTo>
                  <a:pt x="5300202" y="1899715"/>
                </a:lnTo>
                <a:lnTo>
                  <a:pt x="5198521" y="1849557"/>
                </a:lnTo>
                <a:cubicBezTo>
                  <a:pt x="4888548" y="1715304"/>
                  <a:pt x="4547711" y="1641064"/>
                  <a:pt x="4189878" y="1641064"/>
                </a:cubicBezTo>
                <a:cubicBezTo>
                  <a:pt x="2848014" y="1641064"/>
                  <a:pt x="1745158" y="2685070"/>
                  <a:pt x="1612543" y="4022738"/>
                </a:cubicBezTo>
                <a:lnTo>
                  <a:pt x="1604967" y="4176423"/>
                </a:lnTo>
                <a:lnTo>
                  <a:pt x="0" y="4176423"/>
                </a:lnTo>
                <a:lnTo>
                  <a:pt x="2554" y="4072999"/>
                </a:lnTo>
                <a:cubicBezTo>
                  <a:pt x="114849" y="1804202"/>
                  <a:pt x="1946627" y="0"/>
                  <a:pt x="4189878" y="0"/>
                </a:cubicBezTo>
                <a:close/>
              </a:path>
            </a:pathLst>
          </a:custGeom>
          <a:solidFill>
            <a:srgbClr val="FF9E18"/>
          </a:solidFill>
          <a:ln w="9264" cap="flat">
            <a:noFill/>
            <a:prstDash val="solid"/>
            <a:miter/>
          </a:ln>
        </p:spPr>
        <p:txBody>
          <a:bodyPr wrap="square" rtlCol="0" anchor="ctr">
            <a:noAutofit/>
          </a:bodyPr>
          <a:lstStyle/>
          <a:p>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5"/>
            <a:ext cx="6896100" cy="1806828"/>
          </a:xfrm>
        </p:spPr>
        <p:txBody>
          <a:bodyPr/>
          <a:lstStyle/>
          <a:p>
            <a:r>
              <a:rPr lang="en-US"/>
              <a:t>Click to edit Master title style</a:t>
            </a:r>
          </a:p>
        </p:txBody>
      </p:sp>
      <p:sp>
        <p:nvSpPr>
          <p:cNvPr id="7" name="Freeform: Shape 6">
            <a:extLst>
              <a:ext uri="{FF2B5EF4-FFF2-40B4-BE49-F238E27FC236}">
                <a16:creationId xmlns:a16="http://schemas.microsoft.com/office/drawing/2014/main" id="{E2276809-A9DE-422F-AFAA-F64539633E43}"/>
              </a:ext>
            </a:extLst>
          </p:cNvPr>
          <p:cNvSpPr/>
          <p:nvPr userDrawn="1"/>
        </p:nvSpPr>
        <p:spPr>
          <a:xfrm>
            <a:off x="1247775" y="2628900"/>
            <a:ext cx="8826528" cy="3190875"/>
          </a:xfrm>
          <a:custGeom>
            <a:avLst/>
            <a:gdLst>
              <a:gd name="connsiteX0" fmla="*/ 0 w 8353425"/>
              <a:gd name="connsiteY0" fmla="*/ 0 h 3190875"/>
              <a:gd name="connsiteX1" fmla="*/ 0 w 8353425"/>
              <a:gd name="connsiteY1" fmla="*/ 3190875 h 3190875"/>
              <a:gd name="connsiteX2" fmla="*/ 8353425 w 8353425"/>
              <a:gd name="connsiteY2" fmla="*/ 3190875 h 3190875"/>
              <a:gd name="connsiteX3" fmla="*/ 8353425 w 8353425"/>
              <a:gd name="connsiteY3" fmla="*/ 2733675 h 3190875"/>
            </a:gdLst>
            <a:ahLst/>
            <a:cxnLst>
              <a:cxn ang="0">
                <a:pos x="connsiteX0" y="connsiteY0"/>
              </a:cxn>
              <a:cxn ang="0">
                <a:pos x="connsiteX1" y="connsiteY1"/>
              </a:cxn>
              <a:cxn ang="0">
                <a:pos x="connsiteX2" y="connsiteY2"/>
              </a:cxn>
              <a:cxn ang="0">
                <a:pos x="connsiteX3" y="connsiteY3"/>
              </a:cxn>
            </a:cxnLst>
            <a:rect l="l" t="t" r="r" b="b"/>
            <a:pathLst>
              <a:path w="8353425" h="3190875">
                <a:moveTo>
                  <a:pt x="0" y="0"/>
                </a:moveTo>
                <a:lnTo>
                  <a:pt x="0" y="3190875"/>
                </a:lnTo>
                <a:lnTo>
                  <a:pt x="8353425" y="3190875"/>
                </a:lnTo>
                <a:lnTo>
                  <a:pt x="8353425" y="2733675"/>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7DB26AD-D582-41F9-9002-795358E4B4BD}"/>
              </a:ext>
            </a:extLst>
          </p:cNvPr>
          <p:cNvSpPr/>
          <p:nvPr userDrawn="1"/>
        </p:nvSpPr>
        <p:spPr>
          <a:xfrm>
            <a:off x="916576" y="2569411"/>
            <a:ext cx="5303520"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11E1AE8A-CDFD-4A99-B8A2-9D047969B70E}"/>
              </a:ext>
            </a:extLst>
          </p:cNvPr>
          <p:cNvSpPr>
            <a:spLocks noGrp="1"/>
          </p:cNvSpPr>
          <p:nvPr userDrawn="1">
            <p:ph type="body" sz="quarter" idx="14"/>
          </p:nvPr>
        </p:nvSpPr>
        <p:spPr>
          <a:xfrm>
            <a:off x="1740694" y="3013075"/>
            <a:ext cx="4241006" cy="2443163"/>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Oval 17">
            <a:extLst>
              <a:ext uri="{FF2B5EF4-FFF2-40B4-BE49-F238E27FC236}">
                <a16:creationId xmlns:a16="http://schemas.microsoft.com/office/drawing/2014/main" id="{AFBD5D6E-29F4-49E1-B5ED-AF6E60E1F591}"/>
              </a:ext>
            </a:extLst>
          </p:cNvPr>
          <p:cNvSpPr/>
          <p:nvPr userDrawn="1"/>
        </p:nvSpPr>
        <p:spPr>
          <a:xfrm>
            <a:off x="9061327" y="3337289"/>
            <a:ext cx="2032247" cy="20322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7">
            <a:extLst>
              <a:ext uri="{FF2B5EF4-FFF2-40B4-BE49-F238E27FC236}">
                <a16:creationId xmlns:a16="http://schemas.microsoft.com/office/drawing/2014/main" id="{91DB5F0C-83BA-4271-8671-F6945C0F0088}"/>
              </a:ext>
            </a:extLst>
          </p:cNvPr>
          <p:cNvSpPr>
            <a:spLocks noGrp="1"/>
          </p:cNvSpPr>
          <p:nvPr>
            <p:ph type="pic" sz="quarter" idx="16" hasCustomPrompt="1"/>
          </p:nvPr>
        </p:nvSpPr>
        <p:spPr>
          <a:xfrm>
            <a:off x="9498807" y="3773975"/>
            <a:ext cx="1157287" cy="1158875"/>
          </a:xfrm>
        </p:spPr>
        <p:txBody>
          <a:bodyPr anchor="ctr"/>
          <a:lstStyle>
            <a:lvl1pPr algn="ctr">
              <a:defRPr>
                <a:solidFill>
                  <a:schemeClr val="bg1"/>
                </a:solidFill>
              </a:defRPr>
            </a:lvl1pPr>
          </a:lstStyle>
          <a:p>
            <a:r>
              <a:rPr lang="en-US"/>
              <a:t>Add icon here</a:t>
            </a:r>
          </a:p>
        </p:txBody>
      </p:sp>
      <p:grpSp>
        <p:nvGrpSpPr>
          <p:cNvPr id="20" name="Graphic 6">
            <a:extLst>
              <a:ext uri="{FF2B5EF4-FFF2-40B4-BE49-F238E27FC236}">
                <a16:creationId xmlns:a16="http://schemas.microsoft.com/office/drawing/2014/main" id="{7A0A905F-5526-427F-8313-02DBD5CCF48A}"/>
              </a:ext>
            </a:extLst>
          </p:cNvPr>
          <p:cNvGrpSpPr/>
          <p:nvPr userDrawn="1"/>
        </p:nvGrpSpPr>
        <p:grpSpPr>
          <a:xfrm>
            <a:off x="891988" y="6394893"/>
            <a:ext cx="432890" cy="187030"/>
            <a:chOff x="85969" y="3646150"/>
            <a:chExt cx="1544103" cy="667132"/>
          </a:xfrm>
          <a:solidFill>
            <a:srgbClr val="FF9E18"/>
          </a:solidFill>
        </p:grpSpPr>
        <p:sp>
          <p:nvSpPr>
            <p:cNvPr id="25" name="Freeform: Shape 24">
              <a:extLst>
                <a:ext uri="{FF2B5EF4-FFF2-40B4-BE49-F238E27FC236}">
                  <a16:creationId xmlns:a16="http://schemas.microsoft.com/office/drawing/2014/main" id="{D744C706-56D9-4049-B600-54A1D543BEFD}"/>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8BC18EFB-EB46-4F5A-A17C-DF35BB1111D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2808B8E4-878B-41C7-88CD-89E4A3C9066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241375AE-39BD-4641-9E99-98B6749E5053}"/>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9" name="Slide Number Placeholder 4">
            <a:extLst>
              <a:ext uri="{FF2B5EF4-FFF2-40B4-BE49-F238E27FC236}">
                <a16:creationId xmlns:a16="http://schemas.microsoft.com/office/drawing/2014/main" id="{7BAB97D1-DA86-49B1-81DE-66805C844691}"/>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50217223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 Big data">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438879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4"/>
            <a:ext cx="6896100" cy="1810512"/>
          </a:xfrm>
        </p:spPr>
        <p:txBody>
          <a:bodyPr/>
          <a:lstStyle/>
          <a:p>
            <a:r>
              <a:rPr lang="en-US"/>
              <a:t>Click to edit Master title style</a:t>
            </a:r>
          </a:p>
        </p:txBody>
      </p:sp>
      <p:sp>
        <p:nvSpPr>
          <p:cNvPr id="7" name="Text Placeholder 6">
            <a:extLst>
              <a:ext uri="{FF2B5EF4-FFF2-40B4-BE49-F238E27FC236}">
                <a16:creationId xmlns:a16="http://schemas.microsoft.com/office/drawing/2014/main" id="{03448144-7B66-4D27-B0CC-18F4D7D7B1F8}"/>
              </a:ext>
            </a:extLst>
          </p:cNvPr>
          <p:cNvSpPr>
            <a:spLocks noGrp="1"/>
          </p:cNvSpPr>
          <p:nvPr>
            <p:ph type="body" sz="quarter" idx="13"/>
          </p:nvPr>
        </p:nvSpPr>
        <p:spPr>
          <a:xfrm>
            <a:off x="4457700" y="2992438"/>
            <a:ext cx="3276600" cy="2044700"/>
          </a:xfrm>
        </p:spPr>
        <p:txBody>
          <a:bodyPr rIns="182880">
            <a:no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E0560DBA-D041-49A5-A4F7-C21CC3CBA5B0}"/>
              </a:ext>
            </a:extLst>
          </p:cNvPr>
          <p:cNvSpPr>
            <a:spLocks noGrp="1"/>
          </p:cNvSpPr>
          <p:nvPr>
            <p:ph type="body" sz="quarter" idx="14" hasCustomPrompt="1"/>
          </p:nvPr>
        </p:nvSpPr>
        <p:spPr>
          <a:xfrm>
            <a:off x="838200" y="2936081"/>
            <a:ext cx="3190875" cy="2101057"/>
          </a:xfrm>
        </p:spPr>
        <p:txBody>
          <a:bodyPr>
            <a:normAutofit/>
          </a:bodyPr>
          <a:lstStyle>
            <a:lvl1pPr marL="0" indent="0" algn="ctr">
              <a:buNone/>
              <a:defRPr sz="9600" b="1">
                <a:solidFill>
                  <a:schemeClr val="accent2"/>
                </a:solidFill>
              </a:defRPr>
            </a:lvl1pPr>
          </a:lstStyle>
          <a:p>
            <a:pPr lvl="0"/>
            <a:r>
              <a:rPr lang="en-US"/>
              <a:t>00%</a:t>
            </a:r>
          </a:p>
        </p:txBody>
      </p:sp>
      <p:sp>
        <p:nvSpPr>
          <p:cNvPr id="9" name="Rectangle 8">
            <a:extLst>
              <a:ext uri="{FF2B5EF4-FFF2-40B4-BE49-F238E27FC236}">
                <a16:creationId xmlns:a16="http://schemas.microsoft.com/office/drawing/2014/main" id="{38A9244C-FE63-433B-BA27-6FB4AAB94D95}"/>
              </a:ext>
            </a:extLst>
          </p:cNvPr>
          <p:cNvSpPr/>
          <p:nvPr userDrawn="1"/>
        </p:nvSpPr>
        <p:spPr>
          <a:xfrm>
            <a:off x="7962900" y="0"/>
            <a:ext cx="42291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320C3D2-8363-4A66-AFC5-56A5E35FE6B8}"/>
              </a:ext>
            </a:extLst>
          </p:cNvPr>
          <p:cNvSpPr/>
          <p:nvPr userDrawn="1"/>
        </p:nvSpPr>
        <p:spPr>
          <a:xfrm>
            <a:off x="4146415" y="2889115"/>
            <a:ext cx="82685" cy="2177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Arial" panose="020B0604020202020204" pitchFamily="34" charset="0"/>
              <a:buNone/>
            </a:pPr>
            <a:endParaRPr lang="en-US"/>
          </a:p>
        </p:txBody>
      </p:sp>
      <p:sp>
        <p:nvSpPr>
          <p:cNvPr id="14" name="Picture Placeholder 13">
            <a:extLst>
              <a:ext uri="{FF2B5EF4-FFF2-40B4-BE49-F238E27FC236}">
                <a16:creationId xmlns:a16="http://schemas.microsoft.com/office/drawing/2014/main" id="{40F64B93-F8FD-4384-9EC9-0C5FE4B55E44}"/>
              </a:ext>
            </a:extLst>
          </p:cNvPr>
          <p:cNvSpPr>
            <a:spLocks noGrp="1"/>
          </p:cNvSpPr>
          <p:nvPr>
            <p:ph type="pic" sz="quarter" idx="15"/>
          </p:nvPr>
        </p:nvSpPr>
        <p:spPr>
          <a:xfrm>
            <a:off x="9337675" y="723900"/>
            <a:ext cx="1479550" cy="1477963"/>
          </a:xfrm>
          <a:noFill/>
        </p:spPr>
        <p:txBody>
          <a:bodyPr/>
          <a:lstStyle/>
          <a:p>
            <a:endParaRPr lang="en-US"/>
          </a:p>
        </p:txBody>
      </p:sp>
      <p:sp>
        <p:nvSpPr>
          <p:cNvPr id="15" name="Picture Placeholder 13">
            <a:extLst>
              <a:ext uri="{FF2B5EF4-FFF2-40B4-BE49-F238E27FC236}">
                <a16:creationId xmlns:a16="http://schemas.microsoft.com/office/drawing/2014/main" id="{737282CA-0ECD-428F-954E-3B940B0152F7}"/>
              </a:ext>
            </a:extLst>
          </p:cNvPr>
          <p:cNvSpPr>
            <a:spLocks noGrp="1"/>
          </p:cNvSpPr>
          <p:nvPr>
            <p:ph type="pic" sz="quarter" idx="16"/>
          </p:nvPr>
        </p:nvSpPr>
        <p:spPr>
          <a:xfrm>
            <a:off x="9337675" y="2709069"/>
            <a:ext cx="1479550" cy="1477963"/>
          </a:xfrm>
          <a:noFill/>
        </p:spPr>
        <p:txBody>
          <a:bodyPr/>
          <a:lstStyle/>
          <a:p>
            <a:endParaRPr lang="en-US"/>
          </a:p>
        </p:txBody>
      </p:sp>
      <p:sp>
        <p:nvSpPr>
          <p:cNvPr id="16" name="Picture Placeholder 13">
            <a:extLst>
              <a:ext uri="{FF2B5EF4-FFF2-40B4-BE49-F238E27FC236}">
                <a16:creationId xmlns:a16="http://schemas.microsoft.com/office/drawing/2014/main" id="{27A19C05-4373-40B6-837A-81D7270C200E}"/>
              </a:ext>
            </a:extLst>
          </p:cNvPr>
          <p:cNvSpPr>
            <a:spLocks noGrp="1"/>
          </p:cNvSpPr>
          <p:nvPr>
            <p:ph type="pic" sz="quarter" idx="17"/>
          </p:nvPr>
        </p:nvSpPr>
        <p:spPr>
          <a:xfrm>
            <a:off x="9337675" y="4694237"/>
            <a:ext cx="1479550" cy="1477963"/>
          </a:xfrm>
          <a:noFill/>
        </p:spPr>
        <p:txBody>
          <a:bodyPr/>
          <a:lstStyle/>
          <a:p>
            <a:endParaRPr lang="en-US"/>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Tree>
    <p:extLst>
      <p:ext uri="{BB962C8B-B14F-4D97-AF65-F5344CB8AC3E}">
        <p14:creationId xmlns:p14="http://schemas.microsoft.com/office/powerpoint/2010/main" val="303011570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945386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6" name="Rectangle 5">
            <a:extLst>
              <a:ext uri="{FF2B5EF4-FFF2-40B4-BE49-F238E27FC236}">
                <a16:creationId xmlns:a16="http://schemas.microsoft.com/office/drawing/2014/main" id="{2D7957A9-CF4A-4FD6-84D8-9CA19A006F43}"/>
              </a:ext>
            </a:extLst>
          </p:cNvPr>
          <p:cNvSpPr/>
          <p:nvPr userDrawn="1"/>
        </p:nvSpPr>
        <p:spPr>
          <a:xfrm>
            <a:off x="0" y="2202511"/>
            <a:ext cx="12192000" cy="3969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10515600" cy="1054127"/>
          </a:xfrm>
        </p:spPr>
        <p:txBody>
          <a:body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838200" y="2663686"/>
            <a:ext cx="10515600" cy="3077155"/>
          </a:xfrm>
        </p:spPr>
        <p:txBody>
          <a:bodyPr/>
          <a:lstStyle/>
          <a:p>
            <a:endParaRPr lang="en-US"/>
          </a:p>
        </p:txBody>
      </p:sp>
      <p:sp>
        <p:nvSpPr>
          <p:cNvPr id="20" name="Slide Number Placeholder 4">
            <a:extLst>
              <a:ext uri="{FF2B5EF4-FFF2-40B4-BE49-F238E27FC236}">
                <a16:creationId xmlns:a16="http://schemas.microsoft.com/office/drawing/2014/main" id="{B65F330A-D1F4-4FB5-BB01-F185461CA1B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358354440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013431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7" name="Rectangle 16">
            <a:extLst>
              <a:ext uri="{FF2B5EF4-FFF2-40B4-BE49-F238E27FC236}">
                <a16:creationId xmlns:a16="http://schemas.microsoft.com/office/drawing/2014/main" id="{B16B9C26-E90D-4349-A823-FD4E503CB881}"/>
              </a:ext>
            </a:extLst>
          </p:cNvPr>
          <p:cNvSpPr/>
          <p:nvPr userDrawn="1"/>
        </p:nvSpPr>
        <p:spPr>
          <a:xfrm>
            <a:off x="0" y="2202511"/>
            <a:ext cx="12192000" cy="3969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10515600" cy="1054127"/>
          </a:xfrm>
        </p:spPr>
        <p:txBody>
          <a:bodyPr/>
          <a:lstStyle>
            <a:lvl1pPr>
              <a:defRPr/>
            </a:lvl1p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6210300" y="2708412"/>
            <a:ext cx="5143499" cy="2957886"/>
          </a:xfrm>
        </p:spPr>
        <p:txBody>
          <a:bodyPr/>
          <a:lstStyle/>
          <a:p>
            <a:endParaRPr lang="en-US"/>
          </a:p>
        </p:txBody>
      </p:sp>
      <p:sp>
        <p:nvSpPr>
          <p:cNvPr id="13" name="Chart Placeholder 3">
            <a:extLst>
              <a:ext uri="{FF2B5EF4-FFF2-40B4-BE49-F238E27FC236}">
                <a16:creationId xmlns:a16="http://schemas.microsoft.com/office/drawing/2014/main" id="{7048A711-B921-4306-90D3-1FDF9364209C}"/>
              </a:ext>
            </a:extLst>
          </p:cNvPr>
          <p:cNvSpPr>
            <a:spLocks noGrp="1"/>
          </p:cNvSpPr>
          <p:nvPr>
            <p:ph type="chart" sz="quarter" idx="13"/>
          </p:nvPr>
        </p:nvSpPr>
        <p:spPr>
          <a:xfrm>
            <a:off x="806918" y="2708412"/>
            <a:ext cx="5174782" cy="2957886"/>
          </a:xfrm>
        </p:spPr>
        <p:txBody>
          <a:bodyPr/>
          <a:lstStyle/>
          <a:p>
            <a:endParaRPr lang="en-US"/>
          </a:p>
        </p:txBody>
      </p:sp>
      <p:sp>
        <p:nvSpPr>
          <p:cNvPr id="14" name="Slide Number Placeholder 4">
            <a:extLst>
              <a:ext uri="{FF2B5EF4-FFF2-40B4-BE49-F238E27FC236}">
                <a16:creationId xmlns:a16="http://schemas.microsoft.com/office/drawing/2014/main" id="{B54B9D48-CAB9-4E4F-B63F-4C9D642CCC4B}"/>
              </a:ext>
            </a:extLst>
          </p:cNvPr>
          <p:cNvSpPr>
            <a:spLocks noGrp="1"/>
          </p:cNvSpPr>
          <p:nvPr>
            <p:ph type="sldNum" sz="quarter" idx="14"/>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294351136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632029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6" name="Rectangle 15">
            <a:extLst>
              <a:ext uri="{FF2B5EF4-FFF2-40B4-BE49-F238E27FC236}">
                <a16:creationId xmlns:a16="http://schemas.microsoft.com/office/drawing/2014/main" id="{EB3498FB-F8A7-4078-A087-AD1C8C95AD8A}"/>
              </a:ext>
            </a:extLst>
          </p:cNvPr>
          <p:cNvSpPr/>
          <p:nvPr userDrawn="1"/>
        </p:nvSpPr>
        <p:spPr>
          <a:xfrm>
            <a:off x="0" y="2202511"/>
            <a:ext cx="12192000" cy="3969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10515600" cy="1054127"/>
          </a:xfrm>
        </p:spPr>
        <p:txBody>
          <a:body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4457700" y="2612003"/>
            <a:ext cx="3276600" cy="3150704"/>
          </a:xfrm>
        </p:spPr>
        <p:txBody>
          <a:bodyPr/>
          <a:lstStyle/>
          <a:p>
            <a:endParaRPr lang="en-US"/>
          </a:p>
        </p:txBody>
      </p:sp>
      <p:sp>
        <p:nvSpPr>
          <p:cNvPr id="13" name="Chart Placeholder 3">
            <a:extLst>
              <a:ext uri="{FF2B5EF4-FFF2-40B4-BE49-F238E27FC236}">
                <a16:creationId xmlns:a16="http://schemas.microsoft.com/office/drawing/2014/main" id="{7048A711-B921-4306-90D3-1FDF9364209C}"/>
              </a:ext>
            </a:extLst>
          </p:cNvPr>
          <p:cNvSpPr>
            <a:spLocks noGrp="1"/>
          </p:cNvSpPr>
          <p:nvPr>
            <p:ph type="chart" sz="quarter" idx="13"/>
          </p:nvPr>
        </p:nvSpPr>
        <p:spPr>
          <a:xfrm>
            <a:off x="838200" y="2612003"/>
            <a:ext cx="3390900" cy="3150704"/>
          </a:xfrm>
        </p:spPr>
        <p:txBody>
          <a:bodyPr/>
          <a:lstStyle/>
          <a:p>
            <a:endParaRPr lang="en-US"/>
          </a:p>
        </p:txBody>
      </p:sp>
      <p:sp>
        <p:nvSpPr>
          <p:cNvPr id="14" name="Chart Placeholder 3">
            <a:extLst>
              <a:ext uri="{FF2B5EF4-FFF2-40B4-BE49-F238E27FC236}">
                <a16:creationId xmlns:a16="http://schemas.microsoft.com/office/drawing/2014/main" id="{AF558914-EDDB-4BEF-81BF-3077CD5C4955}"/>
              </a:ext>
            </a:extLst>
          </p:cNvPr>
          <p:cNvSpPr>
            <a:spLocks noGrp="1"/>
          </p:cNvSpPr>
          <p:nvPr>
            <p:ph type="chart" sz="quarter" idx="14"/>
          </p:nvPr>
        </p:nvSpPr>
        <p:spPr>
          <a:xfrm>
            <a:off x="7962900" y="2612003"/>
            <a:ext cx="3390900" cy="3150704"/>
          </a:xfrm>
        </p:spPr>
        <p:txBody>
          <a:bodyPr/>
          <a:lstStyle/>
          <a:p>
            <a:endParaRPr lang="en-US"/>
          </a:p>
        </p:txBody>
      </p:sp>
      <p:sp>
        <p:nvSpPr>
          <p:cNvPr id="15" name="Slide Number Placeholder 4">
            <a:extLst>
              <a:ext uri="{FF2B5EF4-FFF2-40B4-BE49-F238E27FC236}">
                <a16:creationId xmlns:a16="http://schemas.microsoft.com/office/drawing/2014/main" id="{9368823E-5B3B-4630-8848-17D5082D8979}"/>
              </a:ext>
            </a:extLst>
          </p:cNvPr>
          <p:cNvSpPr>
            <a:spLocks noGrp="1"/>
          </p:cNvSpPr>
          <p:nvPr>
            <p:ph type="sldNum" sz="quarter" idx="15"/>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70553123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_Chart">
    <p:bg>
      <p:bgPr>
        <a:solidFill>
          <a:schemeClr val="accent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735639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5200152" y="723900"/>
            <a:ext cx="6153647" cy="5448300"/>
          </a:xfrm>
        </p:spPr>
        <p:txBody>
          <a:bodyPr/>
          <a:lstStyle/>
          <a:p>
            <a:endParaRPr lang="en-US"/>
          </a:p>
        </p:txBody>
      </p:sp>
      <p:sp>
        <p:nvSpPr>
          <p:cNvPr id="13" name="Slide Number Placeholder 4">
            <a:extLst>
              <a:ext uri="{FF2B5EF4-FFF2-40B4-BE49-F238E27FC236}">
                <a16:creationId xmlns:a16="http://schemas.microsoft.com/office/drawing/2014/main" id="{F774B5F9-4EF5-4AA3-8D71-E3F394E4E418}"/>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a:p>
        </p:txBody>
      </p:sp>
      <p:sp>
        <p:nvSpPr>
          <p:cNvPr id="15" name="Freeform: Shape 14">
            <a:extLst>
              <a:ext uri="{FF2B5EF4-FFF2-40B4-BE49-F238E27FC236}">
                <a16:creationId xmlns:a16="http://schemas.microsoft.com/office/drawing/2014/main" id="{300F1E2B-891F-47CC-B753-6F3BFA633D22}"/>
              </a:ext>
            </a:extLst>
          </p:cNvPr>
          <p:cNvSpPr/>
          <p:nvPr userDrawn="1"/>
        </p:nvSpPr>
        <p:spPr>
          <a:xfrm>
            <a:off x="0" y="0"/>
            <a:ext cx="3412199" cy="3483429"/>
          </a:xfrm>
          <a:custGeom>
            <a:avLst/>
            <a:gdLst>
              <a:gd name="connsiteX0" fmla="*/ 1601424 w 2476506"/>
              <a:gd name="connsiteY0" fmla="*/ 0 h 2528203"/>
              <a:gd name="connsiteX1" fmla="*/ 2464176 w 2476506"/>
              <a:gd name="connsiteY1" fmla="*/ 0 h 2528203"/>
              <a:gd name="connsiteX2" fmla="*/ 2465069 w 2476506"/>
              <a:gd name="connsiteY2" fmla="*/ 6007 h 2528203"/>
              <a:gd name="connsiteX3" fmla="*/ 2476506 w 2476506"/>
              <a:gd name="connsiteY3" fmla="*/ 239966 h 2528203"/>
              <a:gd name="connsiteX4" fmla="*/ 242184 w 2476506"/>
              <a:gd name="connsiteY4" fmla="*/ 2528203 h 2528203"/>
              <a:gd name="connsiteX5" fmla="*/ 13737 w 2476506"/>
              <a:gd name="connsiteY5" fmla="*/ 2516389 h 2528203"/>
              <a:gd name="connsiteX6" fmla="*/ 0 w 2476506"/>
              <a:gd name="connsiteY6" fmla="*/ 2514242 h 2528203"/>
              <a:gd name="connsiteX7" fmla="*/ 0 w 2476506"/>
              <a:gd name="connsiteY7" fmla="*/ 1630586 h 2528203"/>
              <a:gd name="connsiteX8" fmla="*/ 101075 w 2476506"/>
              <a:gd name="connsiteY8" fmla="*/ 1646387 h 2528203"/>
              <a:gd name="connsiteX9" fmla="*/ 242184 w 2476506"/>
              <a:gd name="connsiteY9" fmla="*/ 1653687 h 2528203"/>
              <a:gd name="connsiteX10" fmla="*/ 1622766 w 2476506"/>
              <a:gd name="connsiteY10" fmla="*/ 239966 h 2528203"/>
              <a:gd name="connsiteX11" fmla="*/ 1615642 w 2476506"/>
              <a:gd name="connsiteY11" fmla="*/ 95430 h 2528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6" h="2528203">
                <a:moveTo>
                  <a:pt x="1601424" y="0"/>
                </a:moveTo>
                <a:lnTo>
                  <a:pt x="2464176" y="0"/>
                </a:lnTo>
                <a:lnTo>
                  <a:pt x="2465069" y="6007"/>
                </a:lnTo>
                <a:cubicBezTo>
                  <a:pt x="2472666" y="82931"/>
                  <a:pt x="2476541" y="160981"/>
                  <a:pt x="2476506" y="239966"/>
                </a:cubicBezTo>
                <a:cubicBezTo>
                  <a:pt x="2476506" y="1503721"/>
                  <a:pt x="1476172" y="2528203"/>
                  <a:pt x="242184" y="2528203"/>
                </a:cubicBezTo>
                <a:cubicBezTo>
                  <a:pt x="165060" y="2528203"/>
                  <a:pt x="88849" y="2524201"/>
                  <a:pt x="13737" y="2516389"/>
                </a:cubicBezTo>
                <a:lnTo>
                  <a:pt x="0" y="2514242"/>
                </a:lnTo>
                <a:lnTo>
                  <a:pt x="0" y="1630586"/>
                </a:lnTo>
                <a:lnTo>
                  <a:pt x="101075" y="1646387"/>
                </a:lnTo>
                <a:cubicBezTo>
                  <a:pt x="147473" y="1651214"/>
                  <a:pt x="194547" y="1653687"/>
                  <a:pt x="242184" y="1653687"/>
                </a:cubicBezTo>
                <a:cubicBezTo>
                  <a:pt x="1004936" y="1653687"/>
                  <a:pt x="1622766" y="1020687"/>
                  <a:pt x="1622766" y="239966"/>
                </a:cubicBezTo>
                <a:cubicBezTo>
                  <a:pt x="1622766" y="191171"/>
                  <a:pt x="1620353" y="142952"/>
                  <a:pt x="1615642" y="95430"/>
                </a:cubicBezTo>
                <a:close/>
              </a:path>
            </a:pathLst>
          </a:custGeom>
          <a:solidFill>
            <a:schemeClr val="accent3">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3390900" cy="3296395"/>
          </a:xfrm>
        </p:spPr>
        <p:txBody>
          <a:bodyPr anchor="t"/>
          <a:lstStyle>
            <a:lvl1pPr>
              <a:defRPr>
                <a:solidFill>
                  <a:schemeClr val="bg1"/>
                </a:solidFill>
              </a:defRPr>
            </a:lvl1pPr>
          </a:lstStyle>
          <a:p>
            <a:r>
              <a:rPr lang="en-US"/>
              <a:t>Title Chart</a:t>
            </a:r>
          </a:p>
        </p:txBody>
      </p:sp>
    </p:spTree>
    <p:extLst>
      <p:ext uri="{BB962C8B-B14F-4D97-AF65-F5344CB8AC3E}">
        <p14:creationId xmlns:p14="http://schemas.microsoft.com/office/powerpoint/2010/main" val="27387704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Subtitle + 1 Colum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740576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C28D76B-1E4B-4CAD-91D0-7031CCB234FF}"/>
              </a:ext>
            </a:extLst>
          </p:cNvPr>
          <p:cNvSpPr/>
          <p:nvPr userDrawn="1"/>
        </p:nvSpPr>
        <p:spPr>
          <a:xfrm>
            <a:off x="7962900" y="0"/>
            <a:ext cx="42291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838200" y="2243738"/>
            <a:ext cx="3390900" cy="3928462"/>
          </a:xfrm>
        </p:spPr>
        <p:txBody>
          <a:bodyPr>
            <a:normAutofit/>
          </a:bodyPr>
          <a:lstStyle>
            <a:lvl1pPr marL="171450" indent="-171450">
              <a:buFont typeface="Arial" panose="020B0604020202020204" pitchFamily="34" charset="0"/>
              <a:buChar char="•"/>
              <a:defRPr sz="2000">
                <a:solidFill>
                  <a:schemeClr val="tx1"/>
                </a:solidFill>
              </a:defRPr>
            </a:lvl1pPr>
            <a:lvl2pPr marL="628650" indent="-171450">
              <a:buFont typeface="Arial" panose="020B0604020202020204" pitchFamily="34" charset="0"/>
              <a:buChar char="•"/>
              <a:defRPr sz="2000">
                <a:solidFill>
                  <a:schemeClr val="tx1"/>
                </a:solidFill>
              </a:defRPr>
            </a:lvl2pPr>
            <a:lvl3pPr marL="1085850" indent="-171450">
              <a:buFont typeface="Arial" panose="020B0604020202020204" pitchFamily="34" charset="0"/>
              <a:buChar char="•"/>
              <a:defRPr sz="2000">
                <a:solidFill>
                  <a:schemeClr val="tx1"/>
                </a:solidFill>
              </a:defRPr>
            </a:lvl3pPr>
            <a:lvl4pPr marL="1543050" indent="-171450">
              <a:buFont typeface="Arial" panose="020B0604020202020204" pitchFamily="34" charset="0"/>
              <a:buChar char="•"/>
              <a:defRPr sz="2000">
                <a:solidFill>
                  <a:schemeClr val="tx1"/>
                </a:solidFill>
              </a:defRPr>
            </a:lvl4pPr>
            <a:lvl5pPr marL="2000250" indent="-171450">
              <a:buFont typeface="Arial" panose="020B0604020202020204" pitchFamily="34" charset="0"/>
              <a:buChar cha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6210301" y="723900"/>
            <a:ext cx="5143500" cy="5448300"/>
          </a:xfrm>
          <a:solidFill>
            <a:schemeClr val="accent5"/>
          </a:solidFill>
        </p:spPr>
        <p:txBody>
          <a:bodyPr/>
          <a:lstStyle/>
          <a:p>
            <a:endParaRPr lang="en-US"/>
          </a:p>
        </p:txBody>
      </p:sp>
      <p:sp>
        <p:nvSpPr>
          <p:cNvPr id="24" name="Text Placeholder 16">
            <a:extLst>
              <a:ext uri="{FF2B5EF4-FFF2-40B4-BE49-F238E27FC236}">
                <a16:creationId xmlns:a16="http://schemas.microsoft.com/office/drawing/2014/main" id="{9C08595A-C0E9-4D62-A7D5-69C220C46CCE}"/>
              </a:ext>
            </a:extLst>
          </p:cNvPr>
          <p:cNvSpPr>
            <a:spLocks noGrp="1"/>
          </p:cNvSpPr>
          <p:nvPr>
            <p:ph type="body" sz="quarter" idx="14" hasCustomPrompt="1"/>
          </p:nvPr>
        </p:nvSpPr>
        <p:spPr>
          <a:xfrm>
            <a:off x="838200" y="1751960"/>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Tree>
    <p:extLst>
      <p:ext uri="{BB962C8B-B14F-4D97-AF65-F5344CB8AC3E}">
        <p14:creationId xmlns:p14="http://schemas.microsoft.com/office/powerpoint/2010/main" val="6543936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Chart">
    <p:bg>
      <p:bgPr>
        <a:solidFill>
          <a:schemeClr val="accent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412919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3" name="Rectangle 2">
            <a:extLst>
              <a:ext uri="{FF2B5EF4-FFF2-40B4-BE49-F238E27FC236}">
                <a16:creationId xmlns:a16="http://schemas.microsoft.com/office/drawing/2014/main" id="{982EE070-8447-4BF8-BCAB-BAE87F583F9A}"/>
              </a:ext>
            </a:extLst>
          </p:cNvPr>
          <p:cNvSpPr/>
          <p:nvPr userDrawn="1"/>
        </p:nvSpPr>
        <p:spPr>
          <a:xfrm>
            <a:off x="4457700" y="3432412"/>
            <a:ext cx="7734300" cy="34255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0DAF48C-6E3B-4C2E-AB78-15301150B49B}"/>
              </a:ext>
            </a:extLst>
          </p:cNvPr>
          <p:cNvSpPr/>
          <p:nvPr userDrawn="1"/>
        </p:nvSpPr>
        <p:spPr>
          <a:xfrm>
            <a:off x="4457700" y="-1"/>
            <a:ext cx="7734300" cy="34733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3390900" cy="3296395"/>
          </a:xfrm>
        </p:spPr>
        <p:txBody>
          <a:bodyPr anchor="t"/>
          <a:lstStyle>
            <a:lvl1pPr>
              <a:defRPr>
                <a:solidFill>
                  <a:schemeClr val="bg1"/>
                </a:solidFill>
              </a:defRPr>
            </a:lvl1p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5247862" y="723901"/>
            <a:ext cx="6105938" cy="2346845"/>
          </a:xfrm>
        </p:spPr>
        <p:txBody>
          <a:bodyPr/>
          <a:lstStyle/>
          <a:p>
            <a:endParaRPr lang="en-US"/>
          </a:p>
        </p:txBody>
      </p:sp>
      <p:sp>
        <p:nvSpPr>
          <p:cNvPr id="13" name="Chart Placeholder 3">
            <a:extLst>
              <a:ext uri="{FF2B5EF4-FFF2-40B4-BE49-F238E27FC236}">
                <a16:creationId xmlns:a16="http://schemas.microsoft.com/office/drawing/2014/main" id="{81955327-4B49-48FF-B50A-72BD8BDDE4C8}"/>
              </a:ext>
            </a:extLst>
          </p:cNvPr>
          <p:cNvSpPr>
            <a:spLocks noGrp="1"/>
          </p:cNvSpPr>
          <p:nvPr>
            <p:ph type="chart" sz="quarter" idx="13"/>
          </p:nvPr>
        </p:nvSpPr>
        <p:spPr>
          <a:xfrm>
            <a:off x="5247862" y="3889612"/>
            <a:ext cx="6105938" cy="2282588"/>
          </a:xfrm>
        </p:spPr>
        <p:txBody>
          <a:bodyPr/>
          <a:lstStyle/>
          <a:p>
            <a:endParaRPr lang="en-US"/>
          </a:p>
        </p:txBody>
      </p:sp>
      <p:sp>
        <p:nvSpPr>
          <p:cNvPr id="14" name="Slide Number Placeholder 4">
            <a:extLst>
              <a:ext uri="{FF2B5EF4-FFF2-40B4-BE49-F238E27FC236}">
                <a16:creationId xmlns:a16="http://schemas.microsoft.com/office/drawing/2014/main" id="{02DA2DB2-0F75-424E-A015-267EF955B6D4}"/>
              </a:ext>
            </a:extLst>
          </p:cNvPr>
          <p:cNvSpPr>
            <a:spLocks noGrp="1"/>
          </p:cNvSpPr>
          <p:nvPr>
            <p:ph type="sldNum" sz="quarter" idx="14"/>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12187703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1729156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904522C1-D012-42A2-AFC4-F0F717E734AF}"/>
              </a:ext>
            </a:extLst>
          </p:cNvPr>
          <p:cNvSpPr/>
          <p:nvPr userDrawn="1"/>
        </p:nvSpPr>
        <p:spPr>
          <a:xfrm>
            <a:off x="5208104" y="0"/>
            <a:ext cx="6983896"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5"/>
            <a:ext cx="3390900" cy="1777442"/>
          </a:xfrm>
        </p:spPr>
        <p:txBody>
          <a:bodyPr anchor="t"/>
          <a:lstStyle>
            <a:lvl1pPr>
              <a:defRPr>
                <a:solidFill>
                  <a:schemeClr val="accent1"/>
                </a:solidFill>
              </a:defRPr>
            </a:lvl1p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5981700" y="723901"/>
            <a:ext cx="5372099" cy="3013528"/>
          </a:xfrm>
        </p:spPr>
        <p:txBody>
          <a:bodyPr/>
          <a:lstStyle/>
          <a:p>
            <a:endParaRPr lang="en-US"/>
          </a:p>
        </p:txBody>
      </p:sp>
      <p:sp>
        <p:nvSpPr>
          <p:cNvPr id="6" name="Table Placeholder 5">
            <a:extLst>
              <a:ext uri="{FF2B5EF4-FFF2-40B4-BE49-F238E27FC236}">
                <a16:creationId xmlns:a16="http://schemas.microsoft.com/office/drawing/2014/main" id="{97B86655-1229-4102-A789-E546668AE8AE}"/>
              </a:ext>
            </a:extLst>
          </p:cNvPr>
          <p:cNvSpPr>
            <a:spLocks noGrp="1"/>
          </p:cNvSpPr>
          <p:nvPr>
            <p:ph type="tbl" sz="quarter" idx="13"/>
          </p:nvPr>
        </p:nvSpPr>
        <p:spPr>
          <a:xfrm>
            <a:off x="4457700" y="4463142"/>
            <a:ext cx="6896100" cy="1709057"/>
          </a:xfrm>
        </p:spPr>
        <p:txBody>
          <a:bodyPr/>
          <a:lstStyle/>
          <a:p>
            <a:endParaRPr lang="en-US"/>
          </a:p>
        </p:txBody>
      </p:sp>
      <p:sp>
        <p:nvSpPr>
          <p:cNvPr id="16" name="Slide Number Placeholder 4">
            <a:extLst>
              <a:ext uri="{FF2B5EF4-FFF2-40B4-BE49-F238E27FC236}">
                <a16:creationId xmlns:a16="http://schemas.microsoft.com/office/drawing/2014/main" id="{FF85FC8A-AA30-497A-84B3-8CC1ED0086FE}"/>
              </a:ext>
            </a:extLst>
          </p:cNvPr>
          <p:cNvSpPr>
            <a:spLocks noGrp="1"/>
          </p:cNvSpPr>
          <p:nvPr>
            <p:ph type="sldNum" sz="quarter" idx="14"/>
          </p:nvPr>
        </p:nvSpPr>
        <p:spPr>
          <a:xfrm>
            <a:off x="10564238" y="6001967"/>
            <a:ext cx="789562" cy="690326"/>
          </a:xfrm>
        </p:spPr>
        <p:txBody>
          <a:bodyPr/>
          <a:lstStyle/>
          <a:p>
            <a:fld id="{A1471D42-392E-4D14-982B-D9D765EA1509}" type="slidenum">
              <a:rPr lang="en-US" smtClean="0"/>
              <a:t>‹#›</a:t>
            </a:fld>
            <a:endParaRPr lang="en-US"/>
          </a:p>
        </p:txBody>
      </p:sp>
      <p:sp>
        <p:nvSpPr>
          <p:cNvPr id="18" name="Text Placeholder 16">
            <a:extLst>
              <a:ext uri="{FF2B5EF4-FFF2-40B4-BE49-F238E27FC236}">
                <a16:creationId xmlns:a16="http://schemas.microsoft.com/office/drawing/2014/main" id="{B8581E84-EAE0-4640-8A25-77EB6A0D3C2C}"/>
              </a:ext>
            </a:extLst>
          </p:cNvPr>
          <p:cNvSpPr>
            <a:spLocks noGrp="1"/>
          </p:cNvSpPr>
          <p:nvPr>
            <p:ph type="body" sz="quarter" idx="15" hasCustomPrompt="1"/>
          </p:nvPr>
        </p:nvSpPr>
        <p:spPr>
          <a:xfrm>
            <a:off x="838200" y="2773590"/>
            <a:ext cx="2635155" cy="3398610"/>
          </a:xfrm>
        </p:spPr>
        <p:txBody>
          <a:bodyPr>
            <a:normAutofit/>
          </a:bodyPr>
          <a:lstStyle>
            <a:lvl1pPr marL="0" indent="0">
              <a:buNone/>
              <a:defRPr sz="2000"/>
            </a:lvl1pPr>
          </a:lstStyle>
          <a:p>
            <a:pPr lvl="0"/>
            <a:r>
              <a:rPr lang="en-US"/>
              <a:t>Text</a:t>
            </a:r>
          </a:p>
        </p:txBody>
      </p:sp>
    </p:spTree>
    <p:extLst>
      <p:ext uri="{BB962C8B-B14F-4D97-AF65-F5344CB8AC3E}">
        <p14:creationId xmlns:p14="http://schemas.microsoft.com/office/powerpoint/2010/main" val="114310314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12735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Poppins ExtraBold" panose="00000900000000000000" pitchFamily="2" charset="0"/>
              <a:ea typeface="+mj-ea"/>
              <a:cs typeface="+mj-cs"/>
              <a:sym typeface="Poppins ExtraBold" panose="00000900000000000000" pitchFamily="2" charset="0"/>
            </a:endParaRPr>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10515600" cy="1216465"/>
          </a:xfrm>
        </p:spPr>
        <p:txBody>
          <a:bodyPr anchor="t"/>
          <a:lstStyle>
            <a:lvl1pPr>
              <a:defRPr>
                <a:solidFill>
                  <a:schemeClr val="accent1"/>
                </a:solidFill>
              </a:defRPr>
            </a:lvl1p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6" name="Freeform: Shape 15">
            <a:extLst>
              <a:ext uri="{FF2B5EF4-FFF2-40B4-BE49-F238E27FC236}">
                <a16:creationId xmlns:a16="http://schemas.microsoft.com/office/drawing/2014/main" id="{706F2C7E-71AD-4887-8193-04E6C2EBCB95}"/>
              </a:ext>
            </a:extLst>
          </p:cNvPr>
          <p:cNvSpPr/>
          <p:nvPr userDrawn="1"/>
        </p:nvSpPr>
        <p:spPr>
          <a:xfrm>
            <a:off x="4310106" y="1762584"/>
            <a:ext cx="7881895" cy="5095417"/>
          </a:xfrm>
          <a:custGeom>
            <a:avLst/>
            <a:gdLst>
              <a:gd name="connsiteX0" fmla="*/ 5870277 w 7881895"/>
              <a:gd name="connsiteY0" fmla="*/ 0 h 5095417"/>
              <a:gd name="connsiteX1" fmla="*/ 7640702 w 7881895"/>
              <a:gd name="connsiteY1" fmla="*/ 274016 h 5095417"/>
              <a:gd name="connsiteX2" fmla="*/ 7881895 w 7881895"/>
              <a:gd name="connsiteY2" fmla="*/ 357571 h 5095417"/>
              <a:gd name="connsiteX3" fmla="*/ 7881895 w 7881895"/>
              <a:gd name="connsiteY3" fmla="*/ 2944664 h 5095417"/>
              <a:gd name="connsiteX4" fmla="*/ 7623420 w 7881895"/>
              <a:gd name="connsiteY4" fmla="*/ 2783858 h 5095417"/>
              <a:gd name="connsiteX5" fmla="*/ 5870277 w 7881895"/>
              <a:gd name="connsiteY5" fmla="*/ 2329346 h 5095417"/>
              <a:gd name="connsiteX6" fmla="*/ 2358261 w 7881895"/>
              <a:gd name="connsiteY6" fmla="*/ 4975198 h 5095417"/>
              <a:gd name="connsiteX7" fmla="*/ 2324933 w 7881895"/>
              <a:gd name="connsiteY7" fmla="*/ 5095417 h 5095417"/>
              <a:gd name="connsiteX8" fmla="*/ 0 w 7881895"/>
              <a:gd name="connsiteY8" fmla="*/ 5095417 h 5095417"/>
              <a:gd name="connsiteX9" fmla="*/ 39904 w 7881895"/>
              <a:gd name="connsiteY9" fmla="*/ 4866572 h 5095417"/>
              <a:gd name="connsiteX10" fmla="*/ 5870277 w 7881895"/>
              <a:gd name="connsiteY10" fmla="*/ 0 h 509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81895" h="5095417">
                <a:moveTo>
                  <a:pt x="5870277" y="0"/>
                </a:moveTo>
                <a:cubicBezTo>
                  <a:pt x="6486839" y="0"/>
                  <a:pt x="7081467" y="95934"/>
                  <a:pt x="7640702" y="274016"/>
                </a:cubicBezTo>
                <a:lnTo>
                  <a:pt x="7881895" y="357571"/>
                </a:lnTo>
                <a:lnTo>
                  <a:pt x="7881895" y="2944664"/>
                </a:lnTo>
                <a:lnTo>
                  <a:pt x="7623420" y="2783858"/>
                </a:lnTo>
                <a:cubicBezTo>
                  <a:pt x="7102363" y="2493999"/>
                  <a:pt x="6505168" y="2329346"/>
                  <a:pt x="5870277" y="2329346"/>
                </a:cubicBezTo>
                <a:cubicBezTo>
                  <a:pt x="4219574" y="2329346"/>
                  <a:pt x="2823686" y="3442399"/>
                  <a:pt x="2358261" y="4975198"/>
                </a:cubicBezTo>
                <a:lnTo>
                  <a:pt x="2324933" y="5095417"/>
                </a:lnTo>
                <a:lnTo>
                  <a:pt x="0" y="5095417"/>
                </a:lnTo>
                <a:lnTo>
                  <a:pt x="39904" y="4866572"/>
                </a:lnTo>
                <a:cubicBezTo>
                  <a:pt x="594837" y="2089230"/>
                  <a:pt x="2994318" y="0"/>
                  <a:pt x="5870277"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a:p>
        </p:txBody>
      </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6210300" y="2019631"/>
            <a:ext cx="5143499" cy="3768916"/>
          </a:xfrm>
        </p:spPr>
        <p:txBody>
          <a:bodyPr/>
          <a:lstStyle/>
          <a:p>
            <a:endParaRPr lang="en-US"/>
          </a:p>
        </p:txBody>
      </p:sp>
      <p:sp>
        <p:nvSpPr>
          <p:cNvPr id="9" name="Text Placeholder 8">
            <a:extLst>
              <a:ext uri="{FF2B5EF4-FFF2-40B4-BE49-F238E27FC236}">
                <a16:creationId xmlns:a16="http://schemas.microsoft.com/office/drawing/2014/main" id="{E5D1D65E-D649-49A4-88AC-73DB1642DBD6}"/>
              </a:ext>
            </a:extLst>
          </p:cNvPr>
          <p:cNvSpPr>
            <a:spLocks noGrp="1"/>
          </p:cNvSpPr>
          <p:nvPr>
            <p:ph type="body" sz="quarter" idx="14" hasCustomPrompt="1"/>
          </p:nvPr>
        </p:nvSpPr>
        <p:spPr>
          <a:xfrm>
            <a:off x="838200" y="2623770"/>
            <a:ext cx="3619500" cy="2560638"/>
          </a:xfrm>
        </p:spPr>
        <p:txBody>
          <a:bodyPr lIns="91440" tIns="0" rIns="0" bIns="0" anchor="ctr">
            <a:noAutofit/>
          </a:bodyPr>
          <a:lstStyle>
            <a:lvl1pPr marL="0" indent="0">
              <a:lnSpc>
                <a:spcPct val="100000"/>
              </a:lnSpc>
              <a:buNone/>
              <a:defRPr sz="8800">
                <a:solidFill>
                  <a:schemeClr val="accent2"/>
                </a:solidFill>
                <a:latin typeface="+mj-lt"/>
              </a:defRPr>
            </a:lvl1pPr>
          </a:lstStyle>
          <a:p>
            <a:pPr lvl="0"/>
            <a:r>
              <a:rPr lang="en-US"/>
              <a:t>Data</a:t>
            </a:r>
          </a:p>
        </p:txBody>
      </p:sp>
    </p:spTree>
    <p:extLst>
      <p:ext uri="{BB962C8B-B14F-4D97-AF65-F5344CB8AC3E}">
        <p14:creationId xmlns:p14="http://schemas.microsoft.com/office/powerpoint/2010/main" val="130233812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1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408321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1" name="Freeform: Shape 20">
            <a:extLst>
              <a:ext uri="{FF2B5EF4-FFF2-40B4-BE49-F238E27FC236}">
                <a16:creationId xmlns:a16="http://schemas.microsoft.com/office/drawing/2014/main" id="{C7131C88-186B-442C-A676-9EF6CA7D8EBC}"/>
              </a:ext>
            </a:extLst>
          </p:cNvPr>
          <p:cNvSpPr/>
          <p:nvPr userDrawn="1"/>
        </p:nvSpPr>
        <p:spPr>
          <a:xfrm rot="5400000">
            <a:off x="6106297" y="2433099"/>
            <a:ext cx="4404306" cy="4424901"/>
          </a:xfrm>
          <a:custGeom>
            <a:avLst/>
            <a:gdLst>
              <a:gd name="connsiteX0" fmla="*/ 4630678 w 4630678"/>
              <a:gd name="connsiteY0" fmla="*/ 0 h 4652332"/>
              <a:gd name="connsiteX1" fmla="*/ 4630678 w 4630678"/>
              <a:gd name="connsiteY1" fmla="*/ 1813352 h 4652332"/>
              <a:gd name="connsiteX2" fmla="*/ 4337892 w 4630678"/>
              <a:gd name="connsiteY2" fmla="*/ 1828488 h 4652332"/>
              <a:gd name="connsiteX3" fmla="*/ 1771712 w 4630678"/>
              <a:gd name="connsiteY3" fmla="*/ 4593928 h 4652332"/>
              <a:gd name="connsiteX4" fmla="*/ 1770270 w 4630678"/>
              <a:gd name="connsiteY4" fmla="*/ 4652332 h 4652332"/>
              <a:gd name="connsiteX5" fmla="*/ 0 w 4630678"/>
              <a:gd name="connsiteY5" fmla="*/ 4652332 h 4652332"/>
              <a:gd name="connsiteX6" fmla="*/ 3746 w 4630678"/>
              <a:gd name="connsiteY6" fmla="*/ 4500604 h 4652332"/>
              <a:gd name="connsiteX7" fmla="*/ 4156985 w 4630678"/>
              <a:gd name="connsiteY7" fmla="*/ 24497 h 465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0678" h="4652332">
                <a:moveTo>
                  <a:pt x="4630678" y="0"/>
                </a:moveTo>
                <a:lnTo>
                  <a:pt x="4630678" y="1813352"/>
                </a:lnTo>
                <a:lnTo>
                  <a:pt x="4337892" y="1828488"/>
                </a:lnTo>
                <a:cubicBezTo>
                  <a:pt x="2942087" y="1973613"/>
                  <a:pt x="1843406" y="3145074"/>
                  <a:pt x="1771712" y="4593928"/>
                </a:cubicBezTo>
                <a:lnTo>
                  <a:pt x="1770270" y="4652332"/>
                </a:lnTo>
                <a:lnTo>
                  <a:pt x="0" y="4652332"/>
                </a:lnTo>
                <a:lnTo>
                  <a:pt x="3746" y="4500604"/>
                </a:lnTo>
                <a:cubicBezTo>
                  <a:pt x="119826" y="2155358"/>
                  <a:pt x="1898654" y="259378"/>
                  <a:pt x="4156985" y="24497"/>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36A8D0B3-B9C5-4116-A854-7A82CC762B05}"/>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3390900" cy="2962439"/>
          </a:xfrm>
        </p:spPr>
        <p:txBody>
          <a:bodyPr anchor="t"/>
          <a:lstStyle>
            <a:lvl1pPr>
              <a:defRPr>
                <a:solidFill>
                  <a:schemeClr val="bg1"/>
                </a:solidFill>
              </a:defRPr>
            </a:lvl1p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chemeClr val="bg1"/>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a:p>
        </p:txBody>
      </p:sp>
      <p:sp>
        <p:nvSpPr>
          <p:cNvPr id="16" name="Chart Placeholder 3">
            <a:extLst>
              <a:ext uri="{FF2B5EF4-FFF2-40B4-BE49-F238E27FC236}">
                <a16:creationId xmlns:a16="http://schemas.microsoft.com/office/drawing/2014/main" id="{62DD3A9B-F3AD-43B4-823C-B0008CAF7ED3}"/>
              </a:ext>
            </a:extLst>
          </p:cNvPr>
          <p:cNvSpPr>
            <a:spLocks noGrp="1"/>
          </p:cNvSpPr>
          <p:nvPr>
            <p:ph type="chart" sz="quarter" idx="12"/>
          </p:nvPr>
        </p:nvSpPr>
        <p:spPr>
          <a:xfrm>
            <a:off x="6997148" y="1311965"/>
            <a:ext cx="4356651" cy="4317556"/>
          </a:xfrm>
        </p:spPr>
        <p:txBody>
          <a:bodyPr/>
          <a:lstStyle/>
          <a:p>
            <a:endParaRPr lang="en-US"/>
          </a:p>
        </p:txBody>
      </p:sp>
      <p:sp>
        <p:nvSpPr>
          <p:cNvPr id="20" name="Freeform: Shape 19">
            <a:extLst>
              <a:ext uri="{FF2B5EF4-FFF2-40B4-BE49-F238E27FC236}">
                <a16:creationId xmlns:a16="http://schemas.microsoft.com/office/drawing/2014/main" id="{59330F67-9ED9-49EE-929E-03E72670F3EA}"/>
              </a:ext>
            </a:extLst>
          </p:cNvPr>
          <p:cNvSpPr/>
          <p:nvPr userDrawn="1"/>
        </p:nvSpPr>
        <p:spPr>
          <a:xfrm>
            <a:off x="1691694" y="2433098"/>
            <a:ext cx="4404306" cy="4424901"/>
          </a:xfrm>
          <a:custGeom>
            <a:avLst/>
            <a:gdLst>
              <a:gd name="connsiteX0" fmla="*/ 4630678 w 4630678"/>
              <a:gd name="connsiteY0" fmla="*/ 0 h 4652332"/>
              <a:gd name="connsiteX1" fmla="*/ 4630678 w 4630678"/>
              <a:gd name="connsiteY1" fmla="*/ 1813352 h 4652332"/>
              <a:gd name="connsiteX2" fmla="*/ 4337892 w 4630678"/>
              <a:gd name="connsiteY2" fmla="*/ 1828488 h 4652332"/>
              <a:gd name="connsiteX3" fmla="*/ 1771712 w 4630678"/>
              <a:gd name="connsiteY3" fmla="*/ 4593928 h 4652332"/>
              <a:gd name="connsiteX4" fmla="*/ 1770270 w 4630678"/>
              <a:gd name="connsiteY4" fmla="*/ 4652332 h 4652332"/>
              <a:gd name="connsiteX5" fmla="*/ 0 w 4630678"/>
              <a:gd name="connsiteY5" fmla="*/ 4652332 h 4652332"/>
              <a:gd name="connsiteX6" fmla="*/ 3746 w 4630678"/>
              <a:gd name="connsiteY6" fmla="*/ 4500604 h 4652332"/>
              <a:gd name="connsiteX7" fmla="*/ 4156985 w 4630678"/>
              <a:gd name="connsiteY7" fmla="*/ 24497 h 465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0678" h="4652332">
                <a:moveTo>
                  <a:pt x="4630678" y="0"/>
                </a:moveTo>
                <a:lnTo>
                  <a:pt x="4630678" y="1813352"/>
                </a:lnTo>
                <a:lnTo>
                  <a:pt x="4337892" y="1828488"/>
                </a:lnTo>
                <a:cubicBezTo>
                  <a:pt x="2942087" y="1973613"/>
                  <a:pt x="1843406" y="3145074"/>
                  <a:pt x="1771712" y="4593928"/>
                </a:cubicBezTo>
                <a:lnTo>
                  <a:pt x="1770270" y="4652332"/>
                </a:lnTo>
                <a:lnTo>
                  <a:pt x="0" y="4652332"/>
                </a:lnTo>
                <a:lnTo>
                  <a:pt x="3746" y="4500604"/>
                </a:lnTo>
                <a:cubicBezTo>
                  <a:pt x="119826" y="2155358"/>
                  <a:pt x="1898654" y="259378"/>
                  <a:pt x="4156985" y="2449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16">
            <a:extLst>
              <a:ext uri="{FF2B5EF4-FFF2-40B4-BE49-F238E27FC236}">
                <a16:creationId xmlns:a16="http://schemas.microsoft.com/office/drawing/2014/main" id="{88F92985-2AD2-44CE-83B8-55AA9E725C7C}"/>
              </a:ext>
            </a:extLst>
          </p:cNvPr>
          <p:cNvSpPr>
            <a:spLocks noGrp="1"/>
          </p:cNvSpPr>
          <p:nvPr>
            <p:ph type="body" sz="quarter" idx="15" hasCustomPrompt="1"/>
          </p:nvPr>
        </p:nvSpPr>
        <p:spPr>
          <a:xfrm>
            <a:off x="838200" y="2773590"/>
            <a:ext cx="3390900" cy="2386239"/>
          </a:xfrm>
        </p:spPr>
        <p:txBody>
          <a:bodyPr>
            <a:normAutofit/>
          </a:bodyPr>
          <a:lstStyle>
            <a:lvl1pPr marL="0" indent="0">
              <a:buNone/>
              <a:defRPr sz="2000">
                <a:solidFill>
                  <a:schemeClr val="bg1"/>
                </a:solidFill>
              </a:defRPr>
            </a:lvl1pPr>
          </a:lstStyle>
          <a:p>
            <a:pPr lvl="0"/>
            <a:r>
              <a:rPr lang="en-US"/>
              <a:t>Text</a:t>
            </a:r>
          </a:p>
        </p:txBody>
      </p:sp>
    </p:spTree>
    <p:extLst>
      <p:ext uri="{BB962C8B-B14F-4D97-AF65-F5344CB8AC3E}">
        <p14:creationId xmlns:p14="http://schemas.microsoft.com/office/powerpoint/2010/main" val="173353699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2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489245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Poppins ExtraBold" panose="00000900000000000000" pitchFamily="2" charset="0"/>
              <a:ea typeface="+mj-ea"/>
              <a:cs typeface="+mj-cs"/>
              <a:sym typeface="Poppins ExtraBold" panose="00000900000000000000" pitchFamily="2" charset="0"/>
            </a:endParaRPr>
          </a:p>
        </p:txBody>
      </p:sp>
      <p:sp>
        <p:nvSpPr>
          <p:cNvPr id="3" name="Rectangle 2">
            <a:extLst>
              <a:ext uri="{FF2B5EF4-FFF2-40B4-BE49-F238E27FC236}">
                <a16:creationId xmlns:a16="http://schemas.microsoft.com/office/drawing/2014/main" id="{36A8D0B3-B9C5-4116-A854-7A82CC762B05}"/>
              </a:ext>
            </a:extLst>
          </p:cNvPr>
          <p:cNvSpPr/>
          <p:nvPr userDrawn="1"/>
        </p:nvSpPr>
        <p:spPr>
          <a:xfrm>
            <a:off x="0" y="3427012"/>
            <a:ext cx="12192000" cy="34309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5143500" cy="2496625"/>
          </a:xfrm>
        </p:spPr>
        <p:txBody>
          <a:bodyPr anchor="t"/>
          <a:lstStyle>
            <a:lvl1pPr>
              <a:defRPr>
                <a:solidFill>
                  <a:schemeClr val="accent1"/>
                </a:solidFill>
              </a:defRPr>
            </a:lvl1p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chemeClr val="bg1"/>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lvl1pPr>
              <a:defRPr>
                <a:solidFill>
                  <a:schemeClr val="bg1"/>
                </a:solidFill>
              </a:defRPr>
            </a:lvl1pPr>
          </a:lstStyle>
          <a:p>
            <a:fld id="{A1471D42-392E-4D14-982B-D9D765EA1509}" type="slidenum">
              <a:rPr lang="en-US" smtClean="0"/>
              <a:pPr/>
              <a:t>‹#›</a:t>
            </a:fld>
            <a:endParaRPr lang="en-US"/>
          </a:p>
        </p:txBody>
      </p:sp>
      <p:sp>
        <p:nvSpPr>
          <p:cNvPr id="16" name="Chart Placeholder 3">
            <a:extLst>
              <a:ext uri="{FF2B5EF4-FFF2-40B4-BE49-F238E27FC236}">
                <a16:creationId xmlns:a16="http://schemas.microsoft.com/office/drawing/2014/main" id="{62DD3A9B-F3AD-43B4-823C-B0008CAF7ED3}"/>
              </a:ext>
            </a:extLst>
          </p:cNvPr>
          <p:cNvSpPr>
            <a:spLocks noGrp="1"/>
          </p:cNvSpPr>
          <p:nvPr>
            <p:ph type="chart" sz="quarter" idx="12"/>
          </p:nvPr>
        </p:nvSpPr>
        <p:spPr>
          <a:xfrm>
            <a:off x="6210300" y="723900"/>
            <a:ext cx="5143499" cy="5448300"/>
          </a:xfrm>
          <a:solidFill>
            <a:schemeClr val="bg1"/>
          </a:solidFill>
        </p:spPr>
        <p:txBody>
          <a:bodyPr/>
          <a:lstStyle/>
          <a:p>
            <a:endParaRPr lang="en-US"/>
          </a:p>
        </p:txBody>
      </p:sp>
      <p:sp>
        <p:nvSpPr>
          <p:cNvPr id="7" name="Text Placeholder 6">
            <a:extLst>
              <a:ext uri="{FF2B5EF4-FFF2-40B4-BE49-F238E27FC236}">
                <a16:creationId xmlns:a16="http://schemas.microsoft.com/office/drawing/2014/main" id="{97DD064E-109F-4F1B-81FE-1D65BA479DCC}"/>
              </a:ext>
            </a:extLst>
          </p:cNvPr>
          <p:cNvSpPr>
            <a:spLocks noGrp="1"/>
          </p:cNvSpPr>
          <p:nvPr>
            <p:ph type="body" sz="quarter" idx="14"/>
          </p:nvPr>
        </p:nvSpPr>
        <p:spPr>
          <a:xfrm>
            <a:off x="838200" y="3838575"/>
            <a:ext cx="3390900" cy="2333625"/>
          </a:xfrm>
        </p:spPr>
        <p:txBody>
          <a:bodyPr>
            <a:no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7080792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943715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Poppins ExtraBold" panose="00000900000000000000" pitchFamily="2" charset="0"/>
              <a:ea typeface="+mj-ea"/>
              <a:cs typeface="+mj-cs"/>
              <a:sym typeface="Poppins ExtraBold" panose="00000900000000000000" pitchFamily="2" charset="0"/>
            </a:endParaRPr>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10515600" cy="1346005"/>
          </a:xfrm>
        </p:spPr>
        <p:txBody>
          <a:bodyPr anchor="t"/>
          <a:lstStyle>
            <a:lvl1pPr>
              <a:defRPr>
                <a:solidFill>
                  <a:schemeClr val="accent1"/>
                </a:solidFill>
              </a:defRPr>
            </a:lvl1pPr>
          </a:lstStyle>
          <a:p>
            <a:r>
              <a:rPr lang="en-US"/>
              <a:t>Title Table</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6" name="Freeform: Shape 15">
            <a:extLst>
              <a:ext uri="{FF2B5EF4-FFF2-40B4-BE49-F238E27FC236}">
                <a16:creationId xmlns:a16="http://schemas.microsoft.com/office/drawing/2014/main" id="{706F2C7E-71AD-4887-8193-04E6C2EBCB95}"/>
              </a:ext>
            </a:extLst>
          </p:cNvPr>
          <p:cNvSpPr/>
          <p:nvPr userDrawn="1"/>
        </p:nvSpPr>
        <p:spPr>
          <a:xfrm flipH="1">
            <a:off x="0" y="1762584"/>
            <a:ext cx="7881895" cy="5095417"/>
          </a:xfrm>
          <a:custGeom>
            <a:avLst/>
            <a:gdLst>
              <a:gd name="connsiteX0" fmla="*/ 5870277 w 7881895"/>
              <a:gd name="connsiteY0" fmla="*/ 0 h 5095417"/>
              <a:gd name="connsiteX1" fmla="*/ 7640702 w 7881895"/>
              <a:gd name="connsiteY1" fmla="*/ 274016 h 5095417"/>
              <a:gd name="connsiteX2" fmla="*/ 7881895 w 7881895"/>
              <a:gd name="connsiteY2" fmla="*/ 357571 h 5095417"/>
              <a:gd name="connsiteX3" fmla="*/ 7881895 w 7881895"/>
              <a:gd name="connsiteY3" fmla="*/ 2944664 h 5095417"/>
              <a:gd name="connsiteX4" fmla="*/ 7623420 w 7881895"/>
              <a:gd name="connsiteY4" fmla="*/ 2783858 h 5095417"/>
              <a:gd name="connsiteX5" fmla="*/ 5870277 w 7881895"/>
              <a:gd name="connsiteY5" fmla="*/ 2329346 h 5095417"/>
              <a:gd name="connsiteX6" fmla="*/ 2358261 w 7881895"/>
              <a:gd name="connsiteY6" fmla="*/ 4975198 h 5095417"/>
              <a:gd name="connsiteX7" fmla="*/ 2324933 w 7881895"/>
              <a:gd name="connsiteY7" fmla="*/ 5095417 h 5095417"/>
              <a:gd name="connsiteX8" fmla="*/ 0 w 7881895"/>
              <a:gd name="connsiteY8" fmla="*/ 5095417 h 5095417"/>
              <a:gd name="connsiteX9" fmla="*/ 39904 w 7881895"/>
              <a:gd name="connsiteY9" fmla="*/ 4866572 h 5095417"/>
              <a:gd name="connsiteX10" fmla="*/ 5870277 w 7881895"/>
              <a:gd name="connsiteY10" fmla="*/ 0 h 509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81895" h="5095417">
                <a:moveTo>
                  <a:pt x="5870277" y="0"/>
                </a:moveTo>
                <a:cubicBezTo>
                  <a:pt x="6486839" y="0"/>
                  <a:pt x="7081467" y="95934"/>
                  <a:pt x="7640702" y="274016"/>
                </a:cubicBezTo>
                <a:lnTo>
                  <a:pt x="7881895" y="357571"/>
                </a:lnTo>
                <a:lnTo>
                  <a:pt x="7881895" y="2944664"/>
                </a:lnTo>
                <a:lnTo>
                  <a:pt x="7623420" y="2783858"/>
                </a:lnTo>
                <a:cubicBezTo>
                  <a:pt x="7102363" y="2493999"/>
                  <a:pt x="6505168" y="2329346"/>
                  <a:pt x="5870277" y="2329346"/>
                </a:cubicBezTo>
                <a:cubicBezTo>
                  <a:pt x="4219574" y="2329346"/>
                  <a:pt x="2823686" y="3442399"/>
                  <a:pt x="2358261" y="4975198"/>
                </a:cubicBezTo>
                <a:lnTo>
                  <a:pt x="2324933" y="5095417"/>
                </a:lnTo>
                <a:lnTo>
                  <a:pt x="0" y="5095417"/>
                </a:lnTo>
                <a:lnTo>
                  <a:pt x="39904" y="4866572"/>
                </a:lnTo>
                <a:cubicBezTo>
                  <a:pt x="594837" y="2089230"/>
                  <a:pt x="2994318" y="0"/>
                  <a:pt x="5870277"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a:p>
        </p:txBody>
      </p:sp>
      <p:sp>
        <p:nvSpPr>
          <p:cNvPr id="6" name="Table Placeholder 5">
            <a:extLst>
              <a:ext uri="{FF2B5EF4-FFF2-40B4-BE49-F238E27FC236}">
                <a16:creationId xmlns:a16="http://schemas.microsoft.com/office/drawing/2014/main" id="{7D664E7E-F4D0-4663-856C-A819AFED315A}"/>
              </a:ext>
            </a:extLst>
          </p:cNvPr>
          <p:cNvSpPr>
            <a:spLocks noGrp="1"/>
          </p:cNvSpPr>
          <p:nvPr>
            <p:ph type="tbl" sz="quarter" idx="14"/>
          </p:nvPr>
        </p:nvSpPr>
        <p:spPr>
          <a:xfrm>
            <a:off x="4457700" y="2282024"/>
            <a:ext cx="6896100" cy="3299792"/>
          </a:xfrm>
        </p:spPr>
        <p:txBody>
          <a:bodyPr/>
          <a:lstStyle/>
          <a:p>
            <a:endParaRPr lang="en-US"/>
          </a:p>
        </p:txBody>
      </p:sp>
      <p:sp>
        <p:nvSpPr>
          <p:cNvPr id="18" name="Text Placeholder 16">
            <a:extLst>
              <a:ext uri="{FF2B5EF4-FFF2-40B4-BE49-F238E27FC236}">
                <a16:creationId xmlns:a16="http://schemas.microsoft.com/office/drawing/2014/main" id="{79A7F854-7080-4102-B317-DBDEC414DC72}"/>
              </a:ext>
            </a:extLst>
          </p:cNvPr>
          <p:cNvSpPr>
            <a:spLocks noGrp="1"/>
          </p:cNvSpPr>
          <p:nvPr>
            <p:ph type="body" sz="quarter" idx="15" hasCustomPrompt="1"/>
          </p:nvPr>
        </p:nvSpPr>
        <p:spPr>
          <a:xfrm>
            <a:off x="838200" y="2271486"/>
            <a:ext cx="3390900" cy="3338285"/>
          </a:xfrm>
        </p:spPr>
        <p:txBody>
          <a:bodyPr>
            <a:normAutofit/>
          </a:bodyPr>
          <a:lstStyle>
            <a:lvl1pPr marL="0" indent="0">
              <a:buNone/>
              <a:defRPr sz="2000"/>
            </a:lvl1pPr>
          </a:lstStyle>
          <a:p>
            <a:pPr lvl="0"/>
            <a:r>
              <a:rPr lang="en-US"/>
              <a:t>Text</a:t>
            </a:r>
          </a:p>
        </p:txBody>
      </p:sp>
    </p:spTree>
    <p:extLst>
      <p:ext uri="{BB962C8B-B14F-4D97-AF65-F5344CB8AC3E}">
        <p14:creationId xmlns:p14="http://schemas.microsoft.com/office/powerpoint/2010/main" val="122685941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able 02">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920717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4662714" cy="1879043"/>
          </a:xfrm>
        </p:spPr>
        <p:txBody>
          <a:bodyPr anchor="t"/>
          <a:lstStyle>
            <a:lvl1pPr>
              <a:defRPr>
                <a:solidFill>
                  <a:schemeClr val="accent1"/>
                </a:solidFill>
              </a:defRPr>
            </a:lvl1pPr>
          </a:lstStyle>
          <a:p>
            <a:r>
              <a:rPr lang="en-US"/>
              <a:t>Title Table</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a:p>
        </p:txBody>
      </p:sp>
      <p:sp>
        <p:nvSpPr>
          <p:cNvPr id="16" name="Freeform: Shape 15">
            <a:extLst>
              <a:ext uri="{FF2B5EF4-FFF2-40B4-BE49-F238E27FC236}">
                <a16:creationId xmlns:a16="http://schemas.microsoft.com/office/drawing/2014/main" id="{114B2366-132C-489E-9650-A0063E6E4159}"/>
              </a:ext>
            </a:extLst>
          </p:cNvPr>
          <p:cNvSpPr/>
          <p:nvPr userDrawn="1"/>
        </p:nvSpPr>
        <p:spPr>
          <a:xfrm>
            <a:off x="1932232" y="3460806"/>
            <a:ext cx="8327933" cy="3397195"/>
          </a:xfrm>
          <a:custGeom>
            <a:avLst/>
            <a:gdLst>
              <a:gd name="connsiteX0" fmla="*/ 4163769 w 8327933"/>
              <a:gd name="connsiteY0" fmla="*/ 0 h 3397195"/>
              <a:gd name="connsiteX1" fmla="*/ 8301994 w 8327933"/>
              <a:gd name="connsiteY1" fmla="*/ 3281919 h 3397195"/>
              <a:gd name="connsiteX2" fmla="*/ 8327933 w 8327933"/>
              <a:gd name="connsiteY2" fmla="*/ 3397195 h 3397195"/>
              <a:gd name="connsiteX3" fmla="*/ 6622667 w 8327933"/>
              <a:gd name="connsiteY3" fmla="*/ 3397195 h 3397195"/>
              <a:gd name="connsiteX4" fmla="*/ 6596238 w 8327933"/>
              <a:gd name="connsiteY4" fmla="*/ 3323230 h 3397195"/>
              <a:gd name="connsiteX5" fmla="*/ 4163769 w 8327933"/>
              <a:gd name="connsiteY5" fmla="*/ 1672185 h 3397195"/>
              <a:gd name="connsiteX6" fmla="*/ 1731311 w 8327933"/>
              <a:gd name="connsiteY6" fmla="*/ 3323230 h 3397195"/>
              <a:gd name="connsiteX7" fmla="*/ 1704882 w 8327933"/>
              <a:gd name="connsiteY7" fmla="*/ 3397195 h 3397195"/>
              <a:gd name="connsiteX8" fmla="*/ 0 w 8327933"/>
              <a:gd name="connsiteY8" fmla="*/ 3397195 h 3397195"/>
              <a:gd name="connsiteX9" fmla="*/ 25979 w 8327933"/>
              <a:gd name="connsiteY9" fmla="*/ 3281919 h 3397195"/>
              <a:gd name="connsiteX10" fmla="*/ 4163769 w 8327933"/>
              <a:gd name="connsiteY10" fmla="*/ 0 h 3397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27933" h="3397195">
                <a:moveTo>
                  <a:pt x="4163769" y="0"/>
                </a:moveTo>
                <a:cubicBezTo>
                  <a:pt x="6155541" y="0"/>
                  <a:pt x="7828470" y="1394596"/>
                  <a:pt x="8301994" y="3281919"/>
                </a:cubicBezTo>
                <a:lnTo>
                  <a:pt x="8327933" y="3397195"/>
                </a:lnTo>
                <a:lnTo>
                  <a:pt x="6622667" y="3397195"/>
                </a:lnTo>
                <a:lnTo>
                  <a:pt x="6596238" y="3323230"/>
                </a:lnTo>
                <a:cubicBezTo>
                  <a:pt x="6195612" y="2353021"/>
                  <a:pt x="5257627" y="1672185"/>
                  <a:pt x="4163769" y="1672185"/>
                </a:cubicBezTo>
                <a:cubicBezTo>
                  <a:pt x="3069920" y="1672185"/>
                  <a:pt x="2131937" y="2353021"/>
                  <a:pt x="1731311" y="3323230"/>
                </a:cubicBezTo>
                <a:lnTo>
                  <a:pt x="1704882" y="3397195"/>
                </a:lnTo>
                <a:lnTo>
                  <a:pt x="0" y="3397195"/>
                </a:lnTo>
                <a:lnTo>
                  <a:pt x="25979" y="3281919"/>
                </a:lnTo>
                <a:cubicBezTo>
                  <a:pt x="500123" y="1394596"/>
                  <a:pt x="2172917" y="0"/>
                  <a:pt x="4163769" y="0"/>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6" name="Table Placeholder 5">
            <a:extLst>
              <a:ext uri="{FF2B5EF4-FFF2-40B4-BE49-F238E27FC236}">
                <a16:creationId xmlns:a16="http://schemas.microsoft.com/office/drawing/2014/main" id="{7D664E7E-F4D0-4663-856C-A819AFED315A}"/>
              </a:ext>
            </a:extLst>
          </p:cNvPr>
          <p:cNvSpPr>
            <a:spLocks noGrp="1"/>
          </p:cNvSpPr>
          <p:nvPr>
            <p:ph type="tbl" sz="quarter" idx="14"/>
          </p:nvPr>
        </p:nvSpPr>
        <p:spPr>
          <a:xfrm>
            <a:off x="838200" y="2685143"/>
            <a:ext cx="4662714" cy="3485243"/>
          </a:xfrm>
        </p:spPr>
        <p:txBody>
          <a:bodyPr/>
          <a:lstStyle>
            <a:lvl1pPr marL="0" indent="0">
              <a:buNone/>
              <a:defRPr/>
            </a:lvl1pPr>
          </a:lstStyle>
          <a:p>
            <a:endParaRPr lang="en-US"/>
          </a:p>
        </p:txBody>
      </p:sp>
      <p:sp>
        <p:nvSpPr>
          <p:cNvPr id="4" name="Picture Placeholder 3">
            <a:extLst>
              <a:ext uri="{FF2B5EF4-FFF2-40B4-BE49-F238E27FC236}">
                <a16:creationId xmlns:a16="http://schemas.microsoft.com/office/drawing/2014/main" id="{96598D4F-EFF7-4CFF-BDDC-2A2492766847}"/>
              </a:ext>
            </a:extLst>
          </p:cNvPr>
          <p:cNvSpPr>
            <a:spLocks noGrp="1"/>
          </p:cNvSpPr>
          <p:nvPr>
            <p:ph type="pic" sz="quarter" idx="15"/>
          </p:nvPr>
        </p:nvSpPr>
        <p:spPr>
          <a:xfrm>
            <a:off x="5981700" y="0"/>
            <a:ext cx="6210300" cy="6858000"/>
          </a:xfrm>
        </p:spPr>
        <p:txBody>
          <a:bodyPr/>
          <a:lstStyle/>
          <a:p>
            <a:endParaRPr lang="en-US"/>
          </a:p>
        </p:txBody>
      </p:sp>
    </p:spTree>
    <p:extLst>
      <p:ext uri="{BB962C8B-B14F-4D97-AF65-F5344CB8AC3E}">
        <p14:creationId xmlns:p14="http://schemas.microsoft.com/office/powerpoint/2010/main" val="45334216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able 03">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509056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4" name="Freeform: Shape 13">
            <a:extLst>
              <a:ext uri="{FF2B5EF4-FFF2-40B4-BE49-F238E27FC236}">
                <a16:creationId xmlns:a16="http://schemas.microsoft.com/office/drawing/2014/main" id="{24022FD4-9C49-4C23-8511-46B8CBBACB33}"/>
              </a:ext>
            </a:extLst>
          </p:cNvPr>
          <p:cNvSpPr/>
          <p:nvPr userDrawn="1"/>
        </p:nvSpPr>
        <p:spPr>
          <a:xfrm>
            <a:off x="3453517" y="759692"/>
            <a:ext cx="5284966" cy="5412508"/>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endParaRPr lang="en-US"/>
          </a:p>
        </p:txBody>
      </p:sp>
      <p:sp>
        <p:nvSpPr>
          <p:cNvPr id="3" name="Rectangle 2">
            <a:extLst>
              <a:ext uri="{FF2B5EF4-FFF2-40B4-BE49-F238E27FC236}">
                <a16:creationId xmlns:a16="http://schemas.microsoft.com/office/drawing/2014/main" id="{36A8D0B3-B9C5-4116-A854-7A82CC762B05}"/>
              </a:ext>
            </a:extLst>
          </p:cNvPr>
          <p:cNvSpPr/>
          <p:nvPr userDrawn="1"/>
        </p:nvSpPr>
        <p:spPr>
          <a:xfrm>
            <a:off x="6096000" y="0"/>
            <a:ext cx="6096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3390900" cy="2962439"/>
          </a:xfrm>
        </p:spPr>
        <p:txBody>
          <a:bodyPr anchor="t"/>
          <a:lstStyle>
            <a:lvl1pPr>
              <a:defRPr>
                <a:solidFill>
                  <a:schemeClr val="accent1"/>
                </a:solidFill>
              </a:defRPr>
            </a:lvl1pPr>
          </a:lstStyle>
          <a:p>
            <a:r>
              <a:rPr lang="en-US"/>
              <a:t>Title Table</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a:p>
        </p:txBody>
      </p:sp>
      <p:sp>
        <p:nvSpPr>
          <p:cNvPr id="6" name="Table Placeholder 5">
            <a:extLst>
              <a:ext uri="{FF2B5EF4-FFF2-40B4-BE49-F238E27FC236}">
                <a16:creationId xmlns:a16="http://schemas.microsoft.com/office/drawing/2014/main" id="{7D664E7E-F4D0-4663-856C-A819AFED315A}"/>
              </a:ext>
            </a:extLst>
          </p:cNvPr>
          <p:cNvSpPr>
            <a:spLocks noGrp="1"/>
          </p:cNvSpPr>
          <p:nvPr>
            <p:ph type="tbl" sz="quarter" idx="14"/>
          </p:nvPr>
        </p:nvSpPr>
        <p:spPr>
          <a:xfrm>
            <a:off x="6806316" y="723900"/>
            <a:ext cx="4547483" cy="5448300"/>
          </a:xfrm>
        </p:spPr>
        <p:txBody>
          <a:bodyPr/>
          <a:lstStyle>
            <a:lvl1pPr marL="0" indent="0">
              <a:buNone/>
              <a:defRPr/>
            </a:lvl1pPr>
          </a:lstStyle>
          <a:p>
            <a:endParaRPr lang="en-US"/>
          </a:p>
        </p:txBody>
      </p:sp>
    </p:spTree>
    <p:extLst>
      <p:ext uri="{BB962C8B-B14F-4D97-AF65-F5344CB8AC3E}">
        <p14:creationId xmlns:p14="http://schemas.microsoft.com/office/powerpoint/2010/main" val="21661609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able 04">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146129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Freeform: Shape 18">
            <a:extLst>
              <a:ext uri="{FF2B5EF4-FFF2-40B4-BE49-F238E27FC236}">
                <a16:creationId xmlns:a16="http://schemas.microsoft.com/office/drawing/2014/main" id="{4B5FCC33-4312-41E1-B24D-2C7E4E126197}"/>
              </a:ext>
            </a:extLst>
          </p:cNvPr>
          <p:cNvSpPr/>
          <p:nvPr userDrawn="1"/>
        </p:nvSpPr>
        <p:spPr>
          <a:xfrm>
            <a:off x="3453517" y="759692"/>
            <a:ext cx="5284966" cy="5412508"/>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chemeClr val="accent5"/>
          </a:solidFill>
          <a:ln w="9264" cap="flat">
            <a:noFill/>
            <a:prstDash val="solid"/>
            <a:miter/>
          </a:ln>
        </p:spPr>
        <p:txBody>
          <a:bodyPr rtlCol="0" anchor="ctr"/>
          <a:lstStyle/>
          <a:p>
            <a:endParaRPr lang="en-US"/>
          </a:p>
        </p:txBody>
      </p:sp>
      <p:sp>
        <p:nvSpPr>
          <p:cNvPr id="3" name="Rectangle 2">
            <a:extLst>
              <a:ext uri="{FF2B5EF4-FFF2-40B4-BE49-F238E27FC236}">
                <a16:creationId xmlns:a16="http://schemas.microsoft.com/office/drawing/2014/main" id="{36A8D0B3-B9C5-4116-A854-7A82CC762B05}"/>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DBE7A2D5-95FD-4B6B-BA80-8CC5D54385A5}"/>
              </a:ext>
            </a:extLst>
          </p:cNvPr>
          <p:cNvSpPr/>
          <p:nvPr userDrawn="1"/>
        </p:nvSpPr>
        <p:spPr>
          <a:xfrm>
            <a:off x="3453518" y="759692"/>
            <a:ext cx="2642483" cy="5412508"/>
          </a:xfrm>
          <a:custGeom>
            <a:avLst/>
            <a:gdLst>
              <a:gd name="connsiteX0" fmla="*/ 2642483 w 2642483"/>
              <a:gd name="connsiteY0" fmla="*/ 0 h 5412508"/>
              <a:gd name="connsiteX1" fmla="*/ 2642483 w 2642483"/>
              <a:gd name="connsiteY1" fmla="*/ 1034274 h 5412508"/>
              <a:gd name="connsiteX2" fmla="*/ 1009702 w 2642483"/>
              <a:gd name="connsiteY2" fmla="*/ 2706254 h 5412508"/>
              <a:gd name="connsiteX3" fmla="*/ 2642483 w 2642483"/>
              <a:gd name="connsiteY3" fmla="*/ 4378235 h 5412508"/>
              <a:gd name="connsiteX4" fmla="*/ 2642483 w 2642483"/>
              <a:gd name="connsiteY4" fmla="*/ 5412508 h 5412508"/>
              <a:gd name="connsiteX5" fmla="*/ 0 w 2642483"/>
              <a:gd name="connsiteY5" fmla="*/ 2706254 h 5412508"/>
              <a:gd name="connsiteX6" fmla="*/ 2642483 w 2642483"/>
              <a:gd name="connsiteY6" fmla="*/ 0 h 541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2483" h="5412508">
                <a:moveTo>
                  <a:pt x="2642483" y="0"/>
                </a:moveTo>
                <a:lnTo>
                  <a:pt x="2642483" y="1034274"/>
                </a:lnTo>
                <a:cubicBezTo>
                  <a:pt x="1740398" y="1034274"/>
                  <a:pt x="1009702" y="1782910"/>
                  <a:pt x="1009702" y="2706254"/>
                </a:cubicBezTo>
                <a:cubicBezTo>
                  <a:pt x="1009702" y="3629598"/>
                  <a:pt x="1741065" y="4378235"/>
                  <a:pt x="2642483" y="4378235"/>
                </a:cubicBezTo>
                <a:lnTo>
                  <a:pt x="2642483" y="5412508"/>
                </a:lnTo>
                <a:cubicBezTo>
                  <a:pt x="1183076" y="5412508"/>
                  <a:pt x="0" y="4200874"/>
                  <a:pt x="0" y="2706254"/>
                </a:cubicBezTo>
                <a:cubicBezTo>
                  <a:pt x="0" y="1211635"/>
                  <a:pt x="1183076" y="0"/>
                  <a:pt x="2642483" y="0"/>
                </a:cubicBezTo>
                <a:close/>
              </a:path>
            </a:pathLst>
          </a:custGeom>
          <a:solidFill>
            <a:schemeClr val="accent6">
              <a:alpha val="20000"/>
            </a:schemeClr>
          </a:solidFill>
          <a:ln w="9264" cap="flat">
            <a:noFill/>
            <a:prstDash val="solid"/>
            <a:miter/>
          </a:ln>
        </p:spPr>
        <p:txBody>
          <a:bodyPr wrap="square" rtlCol="0" anchor="ctr">
            <a:noAutofit/>
          </a:bodyPr>
          <a:lstStyle/>
          <a:p>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3390900" cy="2962439"/>
          </a:xfrm>
        </p:spPr>
        <p:txBody>
          <a:bodyPr anchor="t"/>
          <a:lstStyle>
            <a:lvl1pPr>
              <a:defRPr>
                <a:solidFill>
                  <a:schemeClr val="accent1"/>
                </a:solidFill>
              </a:defRPr>
            </a:lvl1pPr>
          </a:lstStyle>
          <a:p>
            <a:r>
              <a:rPr lang="en-US"/>
              <a:t>Title Table</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chemeClr val="bg1"/>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a:p>
        </p:txBody>
      </p:sp>
      <p:sp>
        <p:nvSpPr>
          <p:cNvPr id="6" name="Table Placeholder 5">
            <a:extLst>
              <a:ext uri="{FF2B5EF4-FFF2-40B4-BE49-F238E27FC236}">
                <a16:creationId xmlns:a16="http://schemas.microsoft.com/office/drawing/2014/main" id="{7D664E7E-F4D0-4663-856C-A819AFED315A}"/>
              </a:ext>
            </a:extLst>
          </p:cNvPr>
          <p:cNvSpPr>
            <a:spLocks noGrp="1"/>
          </p:cNvSpPr>
          <p:nvPr>
            <p:ph type="tbl" sz="quarter" idx="14"/>
          </p:nvPr>
        </p:nvSpPr>
        <p:spPr>
          <a:xfrm>
            <a:off x="6806316" y="723900"/>
            <a:ext cx="4547483" cy="5448300"/>
          </a:xfrm>
        </p:spPr>
        <p:txBody>
          <a:bodyPr/>
          <a:lstStyle>
            <a:lvl1pPr marL="0" indent="0">
              <a:buNone/>
              <a:defRPr/>
            </a:lvl1pPr>
          </a:lstStyle>
          <a:p>
            <a:endParaRPr lang="en-US"/>
          </a:p>
        </p:txBody>
      </p:sp>
    </p:spTree>
    <p:extLst>
      <p:ext uri="{BB962C8B-B14F-4D97-AF65-F5344CB8AC3E}">
        <p14:creationId xmlns:p14="http://schemas.microsoft.com/office/powerpoint/2010/main" val="266281654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1338759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9" name="Rectangle 8">
            <a:extLst>
              <a:ext uri="{FF2B5EF4-FFF2-40B4-BE49-F238E27FC236}">
                <a16:creationId xmlns:a16="http://schemas.microsoft.com/office/drawing/2014/main" id="{38A9244C-FE63-433B-BA27-6FB4AAB94D95}"/>
              </a:ext>
            </a:extLst>
          </p:cNvPr>
          <p:cNvSpPr/>
          <p:nvPr userDrawn="1"/>
        </p:nvSpPr>
        <p:spPr>
          <a:xfrm>
            <a:off x="1" y="3271838"/>
            <a:ext cx="12192000" cy="358616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325F9C52-1E55-484C-98AE-45A477E21B47}"/>
              </a:ext>
            </a:extLst>
          </p:cNvPr>
          <p:cNvCxnSpPr>
            <a:cxnSpLocks/>
          </p:cNvCxnSpPr>
          <p:nvPr userDrawn="1"/>
        </p:nvCxnSpPr>
        <p:spPr>
          <a:xfrm>
            <a:off x="11187112" y="3278752"/>
            <a:ext cx="1004888" cy="0"/>
          </a:xfrm>
          <a:prstGeom prst="straightConnector1">
            <a:avLst/>
          </a:prstGeom>
          <a:ln w="53975">
            <a:solidFill>
              <a:schemeClr val="accent1"/>
            </a:solidFill>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4"/>
            <a:ext cx="10577052" cy="1065541"/>
          </a:xfrm>
        </p:spPr>
        <p:txBody>
          <a:bodyPr/>
          <a:lstStyle/>
          <a:p>
            <a:r>
              <a:rPr lang="en-US"/>
              <a:t>Click to edit Master title style</a:t>
            </a:r>
          </a:p>
        </p:txBody>
      </p:sp>
      <p:sp>
        <p:nvSpPr>
          <p:cNvPr id="7" name="Text Placeholder 6">
            <a:extLst>
              <a:ext uri="{FF2B5EF4-FFF2-40B4-BE49-F238E27FC236}">
                <a16:creationId xmlns:a16="http://schemas.microsoft.com/office/drawing/2014/main" id="{03448144-7B66-4D27-B0CC-18F4D7D7B1F8}"/>
              </a:ext>
            </a:extLst>
          </p:cNvPr>
          <p:cNvSpPr>
            <a:spLocks noGrp="1"/>
          </p:cNvSpPr>
          <p:nvPr>
            <p:ph type="body" sz="quarter" idx="13"/>
          </p:nvPr>
        </p:nvSpPr>
        <p:spPr>
          <a:xfrm>
            <a:off x="963101" y="4107657"/>
            <a:ext cx="3100110"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8" name="Text Placeholder 6">
            <a:extLst>
              <a:ext uri="{FF2B5EF4-FFF2-40B4-BE49-F238E27FC236}">
                <a16:creationId xmlns:a16="http://schemas.microsoft.com/office/drawing/2014/main" id="{E0560DBA-D041-49A5-A4F7-C21CC3CBA5B0}"/>
              </a:ext>
            </a:extLst>
          </p:cNvPr>
          <p:cNvSpPr>
            <a:spLocks noGrp="1"/>
          </p:cNvSpPr>
          <p:nvPr>
            <p:ph type="body" sz="quarter" idx="14" hasCustomPrompt="1"/>
          </p:nvPr>
        </p:nvSpPr>
        <p:spPr>
          <a:xfrm>
            <a:off x="963101" y="3270456"/>
            <a:ext cx="1497806" cy="687182"/>
          </a:xfrm>
        </p:spPr>
        <p:txBody>
          <a:bodyPr anchor="ctr">
            <a:noAutofit/>
          </a:bodyPr>
          <a:lstStyle>
            <a:lvl1pPr marL="0" indent="0" algn="l">
              <a:buNone/>
              <a:defRPr sz="4000" b="1">
                <a:solidFill>
                  <a:schemeClr val="accent2"/>
                </a:solidFill>
              </a:defRPr>
            </a:lvl1pPr>
          </a:lstStyle>
          <a:p>
            <a:pPr lvl="0"/>
            <a:r>
              <a:rPr lang="en-US"/>
              <a:t>0000</a:t>
            </a:r>
          </a:p>
        </p:txBody>
      </p:sp>
      <p:sp>
        <p:nvSpPr>
          <p:cNvPr id="14" name="Picture Placeholder 13">
            <a:extLst>
              <a:ext uri="{FF2B5EF4-FFF2-40B4-BE49-F238E27FC236}">
                <a16:creationId xmlns:a16="http://schemas.microsoft.com/office/drawing/2014/main" id="{40F64B93-F8FD-4384-9EC9-0C5FE4B55E44}"/>
              </a:ext>
            </a:extLst>
          </p:cNvPr>
          <p:cNvSpPr>
            <a:spLocks noGrp="1"/>
          </p:cNvSpPr>
          <p:nvPr>
            <p:ph type="pic" sz="quarter" idx="15"/>
          </p:nvPr>
        </p:nvSpPr>
        <p:spPr>
          <a:xfrm>
            <a:off x="963101" y="1971420"/>
            <a:ext cx="1070487" cy="1069339"/>
          </a:xfrm>
          <a:noFill/>
        </p:spPr>
        <p:txBody>
          <a:bodyPr/>
          <a:lstStyle>
            <a:lvl1pPr marL="0" indent="0">
              <a:buNone/>
              <a:defRPr/>
            </a:lvl1pPr>
          </a:lstStyle>
          <a:p>
            <a:endParaRPr lang="en-US"/>
          </a:p>
        </p:txBody>
      </p:sp>
      <p:sp>
        <p:nvSpPr>
          <p:cNvPr id="15" name="Picture Placeholder 13">
            <a:extLst>
              <a:ext uri="{FF2B5EF4-FFF2-40B4-BE49-F238E27FC236}">
                <a16:creationId xmlns:a16="http://schemas.microsoft.com/office/drawing/2014/main" id="{737282CA-0ECD-428F-954E-3B940B0152F7}"/>
              </a:ext>
            </a:extLst>
          </p:cNvPr>
          <p:cNvSpPr>
            <a:spLocks noGrp="1"/>
          </p:cNvSpPr>
          <p:nvPr>
            <p:ph type="pic" sz="quarter" idx="16"/>
          </p:nvPr>
        </p:nvSpPr>
        <p:spPr>
          <a:xfrm>
            <a:off x="4582601" y="1971420"/>
            <a:ext cx="1070487" cy="1069339"/>
          </a:xfrm>
          <a:noFill/>
        </p:spPr>
        <p:txBody>
          <a:bodyPr/>
          <a:lstStyle>
            <a:lvl1pPr marL="0" indent="0">
              <a:buNone/>
              <a:defRPr/>
            </a:lvl1pPr>
          </a:lstStyle>
          <a:p>
            <a:endParaRPr lang="en-US"/>
          </a:p>
        </p:txBody>
      </p:sp>
      <p:sp>
        <p:nvSpPr>
          <p:cNvPr id="16" name="Picture Placeholder 13">
            <a:extLst>
              <a:ext uri="{FF2B5EF4-FFF2-40B4-BE49-F238E27FC236}">
                <a16:creationId xmlns:a16="http://schemas.microsoft.com/office/drawing/2014/main" id="{27A19C05-4373-40B6-837A-81D7270C200E}"/>
              </a:ext>
            </a:extLst>
          </p:cNvPr>
          <p:cNvSpPr>
            <a:spLocks noGrp="1"/>
          </p:cNvSpPr>
          <p:nvPr>
            <p:ph type="pic" sz="quarter" idx="17"/>
          </p:nvPr>
        </p:nvSpPr>
        <p:spPr>
          <a:xfrm>
            <a:off x="8087801" y="1971420"/>
            <a:ext cx="1070487" cy="1069339"/>
          </a:xfrm>
          <a:noFill/>
        </p:spPr>
        <p:txBody>
          <a:bodyPr/>
          <a:lstStyle>
            <a:lvl1pPr marL="0" indent="0">
              <a:buNone/>
              <a:defRPr/>
            </a:lvl1pPr>
          </a:lstStyle>
          <a:p>
            <a:endParaRPr lang="en-US"/>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cxnSp>
        <p:nvCxnSpPr>
          <p:cNvPr id="17" name="Straight Arrow Connector 16">
            <a:extLst>
              <a:ext uri="{FF2B5EF4-FFF2-40B4-BE49-F238E27FC236}">
                <a16:creationId xmlns:a16="http://schemas.microsoft.com/office/drawing/2014/main" id="{B191F46D-24FB-484B-8FE4-DAF4D3DF2A21}"/>
              </a:ext>
            </a:extLst>
          </p:cNvPr>
          <p:cNvCxnSpPr/>
          <p:nvPr userDrawn="1"/>
        </p:nvCxnSpPr>
        <p:spPr>
          <a:xfrm>
            <a:off x="0" y="3278752"/>
            <a:ext cx="11353800" cy="0"/>
          </a:xfrm>
          <a:prstGeom prst="straightConnector1">
            <a:avLst/>
          </a:prstGeom>
          <a:ln w="53975">
            <a:solidFill>
              <a:schemeClr val="accent2"/>
            </a:solidFill>
            <a:tailEnd type="triangle" w="med" len="med"/>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12D91811-49F2-49DE-A41C-90B55CDBCC3D}"/>
              </a:ext>
            </a:extLst>
          </p:cNvPr>
          <p:cNvSpPr>
            <a:spLocks noGrp="1"/>
          </p:cNvSpPr>
          <p:nvPr>
            <p:ph type="body" sz="quarter" idx="18"/>
          </p:nvPr>
        </p:nvSpPr>
        <p:spPr>
          <a:xfrm>
            <a:off x="4582601" y="4107657"/>
            <a:ext cx="2995612"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0" name="Text Placeholder 6">
            <a:extLst>
              <a:ext uri="{FF2B5EF4-FFF2-40B4-BE49-F238E27FC236}">
                <a16:creationId xmlns:a16="http://schemas.microsoft.com/office/drawing/2014/main" id="{D67037C5-BE6D-4CA0-94D0-FD8A28BB2281}"/>
              </a:ext>
            </a:extLst>
          </p:cNvPr>
          <p:cNvSpPr>
            <a:spLocks noGrp="1"/>
          </p:cNvSpPr>
          <p:nvPr>
            <p:ph type="body" sz="quarter" idx="19" hasCustomPrompt="1"/>
          </p:nvPr>
        </p:nvSpPr>
        <p:spPr>
          <a:xfrm>
            <a:off x="4582601" y="3270456"/>
            <a:ext cx="1497806" cy="687182"/>
          </a:xfrm>
        </p:spPr>
        <p:txBody>
          <a:bodyPr anchor="ctr">
            <a:noAutofit/>
          </a:bodyPr>
          <a:lstStyle>
            <a:lvl1pPr marL="0" indent="0" algn="l">
              <a:buNone/>
              <a:defRPr sz="4000" b="1">
                <a:solidFill>
                  <a:schemeClr val="accent2"/>
                </a:solidFill>
              </a:defRPr>
            </a:lvl1pPr>
          </a:lstStyle>
          <a:p>
            <a:pPr lvl="0"/>
            <a:r>
              <a:rPr lang="en-US"/>
              <a:t>0000</a:t>
            </a:r>
          </a:p>
        </p:txBody>
      </p:sp>
      <p:sp>
        <p:nvSpPr>
          <p:cNvPr id="31" name="Text Placeholder 6">
            <a:extLst>
              <a:ext uri="{FF2B5EF4-FFF2-40B4-BE49-F238E27FC236}">
                <a16:creationId xmlns:a16="http://schemas.microsoft.com/office/drawing/2014/main" id="{AD686306-F20F-4242-BE95-422BDAD1D207}"/>
              </a:ext>
            </a:extLst>
          </p:cNvPr>
          <p:cNvSpPr>
            <a:spLocks noGrp="1"/>
          </p:cNvSpPr>
          <p:nvPr>
            <p:ph type="body" sz="quarter" idx="20"/>
          </p:nvPr>
        </p:nvSpPr>
        <p:spPr>
          <a:xfrm>
            <a:off x="8087801" y="4107657"/>
            <a:ext cx="3100110"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2" name="Text Placeholder 6">
            <a:extLst>
              <a:ext uri="{FF2B5EF4-FFF2-40B4-BE49-F238E27FC236}">
                <a16:creationId xmlns:a16="http://schemas.microsoft.com/office/drawing/2014/main" id="{9BAEDCD1-68AA-4C1E-84F7-9BD7E0994001}"/>
              </a:ext>
            </a:extLst>
          </p:cNvPr>
          <p:cNvSpPr>
            <a:spLocks noGrp="1"/>
          </p:cNvSpPr>
          <p:nvPr>
            <p:ph type="body" sz="quarter" idx="21" hasCustomPrompt="1"/>
          </p:nvPr>
        </p:nvSpPr>
        <p:spPr>
          <a:xfrm>
            <a:off x="8087801" y="3270456"/>
            <a:ext cx="1497806" cy="687182"/>
          </a:xfrm>
        </p:spPr>
        <p:txBody>
          <a:bodyPr anchor="ctr">
            <a:noAutofit/>
          </a:bodyPr>
          <a:lstStyle>
            <a:lvl1pPr marL="0" indent="0" algn="l">
              <a:buNone/>
              <a:defRPr sz="4000" b="1">
                <a:solidFill>
                  <a:schemeClr val="accent2"/>
                </a:solidFill>
              </a:defRPr>
            </a:lvl1pPr>
          </a:lstStyle>
          <a:p>
            <a:pPr lvl="0"/>
            <a:r>
              <a:rPr lang="en-US"/>
              <a:t>0000</a:t>
            </a:r>
          </a:p>
        </p:txBody>
      </p:sp>
      <p:grpSp>
        <p:nvGrpSpPr>
          <p:cNvPr id="18" name="Group 17">
            <a:extLst>
              <a:ext uri="{FF2B5EF4-FFF2-40B4-BE49-F238E27FC236}">
                <a16:creationId xmlns:a16="http://schemas.microsoft.com/office/drawing/2014/main" id="{3838023B-A775-47CC-94CA-7B0DC3B61F3D}"/>
              </a:ext>
            </a:extLst>
          </p:cNvPr>
          <p:cNvGrpSpPr/>
          <p:nvPr userDrawn="1"/>
        </p:nvGrpSpPr>
        <p:grpSpPr>
          <a:xfrm>
            <a:off x="838200" y="1985962"/>
            <a:ext cx="7124700" cy="4129087"/>
            <a:chOff x="1039761" y="1845853"/>
            <a:chExt cx="7086599" cy="1673941"/>
          </a:xfrm>
        </p:grpSpPr>
        <p:cxnSp>
          <p:nvCxnSpPr>
            <p:cNvPr id="4" name="Straight Connector 3">
              <a:extLst>
                <a:ext uri="{FF2B5EF4-FFF2-40B4-BE49-F238E27FC236}">
                  <a16:creationId xmlns:a16="http://schemas.microsoft.com/office/drawing/2014/main" id="{EE3375A3-45F3-4D91-A38E-BA0466E1B9E2}"/>
                </a:ext>
              </a:extLst>
            </p:cNvPr>
            <p:cNvCxnSpPr/>
            <p:nvPr userDrawn="1"/>
          </p:nvCxnSpPr>
          <p:spPr>
            <a:xfrm flipV="1">
              <a:off x="1039761" y="1845853"/>
              <a:ext cx="0" cy="1673941"/>
            </a:xfrm>
            <a:prstGeom prst="line">
              <a:avLst/>
            </a:prstGeom>
            <a:ln w="12700">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C6ABD93-F673-428C-8326-65F0A87F3C82}"/>
                </a:ext>
              </a:extLst>
            </p:cNvPr>
            <p:cNvCxnSpPr/>
            <p:nvPr userDrawn="1"/>
          </p:nvCxnSpPr>
          <p:spPr>
            <a:xfrm flipV="1">
              <a:off x="4638367" y="1845853"/>
              <a:ext cx="0" cy="1673941"/>
            </a:xfrm>
            <a:prstGeom prst="line">
              <a:avLst/>
            </a:prstGeom>
            <a:ln w="12700">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367EF3D-E0A5-4476-9AC2-9A90480395B0}"/>
                </a:ext>
              </a:extLst>
            </p:cNvPr>
            <p:cNvCxnSpPr/>
            <p:nvPr userDrawn="1"/>
          </p:nvCxnSpPr>
          <p:spPr>
            <a:xfrm flipV="1">
              <a:off x="8126360" y="1845853"/>
              <a:ext cx="0" cy="1673941"/>
            </a:xfrm>
            <a:prstGeom prst="line">
              <a:avLst/>
            </a:prstGeom>
            <a:ln w="12700">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sp>
        <p:nvSpPr>
          <p:cNvPr id="34" name="Slide Number Placeholder 4">
            <a:extLst>
              <a:ext uri="{FF2B5EF4-FFF2-40B4-BE49-F238E27FC236}">
                <a16:creationId xmlns:a16="http://schemas.microsoft.com/office/drawing/2014/main" id="{8D16B5DC-973B-4F0D-8FF5-9DBABE66B1CC}"/>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803494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Subtitle + 2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446948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68961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7962901" y="0"/>
            <a:ext cx="4229100" cy="6858000"/>
          </a:xfrm>
          <a:solidFill>
            <a:schemeClr val="accent5"/>
          </a:solidFill>
        </p:spPr>
        <p:txBody>
          <a:bodyPr/>
          <a:lstStyle/>
          <a:p>
            <a:endParaRPr lang="en-US"/>
          </a:p>
        </p:txBody>
      </p:sp>
      <p:sp>
        <p:nvSpPr>
          <p:cNvPr id="23" name="Text Placeholder 16">
            <a:extLst>
              <a:ext uri="{FF2B5EF4-FFF2-40B4-BE49-F238E27FC236}">
                <a16:creationId xmlns:a16="http://schemas.microsoft.com/office/drawing/2014/main" id="{FE5D33BC-BDC0-42F0-9C14-3BD9E276070F}"/>
              </a:ext>
            </a:extLst>
          </p:cNvPr>
          <p:cNvSpPr>
            <a:spLocks noGrp="1"/>
          </p:cNvSpPr>
          <p:nvPr>
            <p:ph type="body" sz="quarter" idx="15" hasCustomPrompt="1"/>
          </p:nvPr>
        </p:nvSpPr>
        <p:spPr>
          <a:xfrm>
            <a:off x="8382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4" name="Text Placeholder 16">
            <a:extLst>
              <a:ext uri="{FF2B5EF4-FFF2-40B4-BE49-F238E27FC236}">
                <a16:creationId xmlns:a16="http://schemas.microsoft.com/office/drawing/2014/main" id="{353C5660-AF2A-45F6-8AF2-EFA9B99FF720}"/>
              </a:ext>
            </a:extLst>
          </p:cNvPr>
          <p:cNvSpPr>
            <a:spLocks noGrp="1"/>
          </p:cNvSpPr>
          <p:nvPr>
            <p:ph type="body" sz="quarter" idx="16" hasCustomPrompt="1"/>
          </p:nvPr>
        </p:nvSpPr>
        <p:spPr>
          <a:xfrm>
            <a:off x="4457700" y="1751960"/>
            <a:ext cx="32766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5" name="Text Placeholder 16">
            <a:extLst>
              <a:ext uri="{FF2B5EF4-FFF2-40B4-BE49-F238E27FC236}">
                <a16:creationId xmlns:a16="http://schemas.microsoft.com/office/drawing/2014/main" id="{C967B5CE-D2B4-4C3A-8220-FC15F631F3EF}"/>
              </a:ext>
            </a:extLst>
          </p:cNvPr>
          <p:cNvSpPr>
            <a:spLocks noGrp="1"/>
          </p:cNvSpPr>
          <p:nvPr>
            <p:ph type="body" sz="quarter" idx="12"/>
          </p:nvPr>
        </p:nvSpPr>
        <p:spPr>
          <a:xfrm>
            <a:off x="838200" y="2243738"/>
            <a:ext cx="3390900" cy="3928462"/>
          </a:xfrm>
        </p:spPr>
        <p:txBody>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6">
            <a:extLst>
              <a:ext uri="{FF2B5EF4-FFF2-40B4-BE49-F238E27FC236}">
                <a16:creationId xmlns:a16="http://schemas.microsoft.com/office/drawing/2014/main" id="{C6BFEC02-4A94-4C63-8270-62B3C827EE50}"/>
              </a:ext>
            </a:extLst>
          </p:cNvPr>
          <p:cNvSpPr>
            <a:spLocks noGrp="1"/>
          </p:cNvSpPr>
          <p:nvPr>
            <p:ph type="body" sz="quarter" idx="17"/>
          </p:nvPr>
        </p:nvSpPr>
        <p:spPr>
          <a:xfrm>
            <a:off x="4457700" y="2243738"/>
            <a:ext cx="3276600" cy="3928462"/>
          </a:xfrm>
        </p:spPr>
        <p:txBody>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150161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meline 1">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677432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9" name="Rectangle 8">
            <a:extLst>
              <a:ext uri="{FF2B5EF4-FFF2-40B4-BE49-F238E27FC236}">
                <a16:creationId xmlns:a16="http://schemas.microsoft.com/office/drawing/2014/main" id="{38A9244C-FE63-433B-BA27-6FB4AAB94D95}"/>
              </a:ext>
            </a:extLst>
          </p:cNvPr>
          <p:cNvSpPr/>
          <p:nvPr userDrawn="1"/>
        </p:nvSpPr>
        <p:spPr>
          <a:xfrm>
            <a:off x="1" y="3271838"/>
            <a:ext cx="12192000" cy="358616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4"/>
            <a:ext cx="10577052" cy="1065541"/>
          </a:xfrm>
        </p:spPr>
        <p:txBody>
          <a:bodyPr/>
          <a:lstStyle/>
          <a:p>
            <a:r>
              <a:rPr lang="en-US"/>
              <a:t>Click to edit Master title style</a:t>
            </a:r>
          </a:p>
        </p:txBody>
      </p:sp>
      <p:sp>
        <p:nvSpPr>
          <p:cNvPr id="7" name="Text Placeholder 6">
            <a:extLst>
              <a:ext uri="{FF2B5EF4-FFF2-40B4-BE49-F238E27FC236}">
                <a16:creationId xmlns:a16="http://schemas.microsoft.com/office/drawing/2014/main" id="{03448144-7B66-4D27-B0CC-18F4D7D7B1F8}"/>
              </a:ext>
            </a:extLst>
          </p:cNvPr>
          <p:cNvSpPr>
            <a:spLocks noGrp="1"/>
          </p:cNvSpPr>
          <p:nvPr>
            <p:ph type="body" sz="quarter" idx="13"/>
          </p:nvPr>
        </p:nvSpPr>
        <p:spPr>
          <a:xfrm>
            <a:off x="963101" y="4107657"/>
            <a:ext cx="3100110"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8" name="Text Placeholder 6">
            <a:extLst>
              <a:ext uri="{FF2B5EF4-FFF2-40B4-BE49-F238E27FC236}">
                <a16:creationId xmlns:a16="http://schemas.microsoft.com/office/drawing/2014/main" id="{E0560DBA-D041-49A5-A4F7-C21CC3CBA5B0}"/>
              </a:ext>
            </a:extLst>
          </p:cNvPr>
          <p:cNvSpPr>
            <a:spLocks noGrp="1"/>
          </p:cNvSpPr>
          <p:nvPr>
            <p:ph type="body" sz="quarter" idx="14" hasCustomPrompt="1"/>
          </p:nvPr>
        </p:nvSpPr>
        <p:spPr>
          <a:xfrm>
            <a:off x="963101" y="3270456"/>
            <a:ext cx="1497806" cy="687182"/>
          </a:xfrm>
        </p:spPr>
        <p:txBody>
          <a:bodyPr anchor="ctr">
            <a:noAutofit/>
          </a:bodyPr>
          <a:lstStyle>
            <a:lvl1pPr marL="0" indent="0" algn="l">
              <a:buNone/>
              <a:defRPr sz="4000" b="1">
                <a:solidFill>
                  <a:schemeClr val="accent2"/>
                </a:solidFill>
              </a:defRPr>
            </a:lvl1pPr>
          </a:lstStyle>
          <a:p>
            <a:pPr lvl="0"/>
            <a:r>
              <a:rPr lang="en-US"/>
              <a:t>0000</a:t>
            </a:r>
          </a:p>
        </p:txBody>
      </p:sp>
      <p:sp>
        <p:nvSpPr>
          <p:cNvPr id="14" name="Picture Placeholder 13">
            <a:extLst>
              <a:ext uri="{FF2B5EF4-FFF2-40B4-BE49-F238E27FC236}">
                <a16:creationId xmlns:a16="http://schemas.microsoft.com/office/drawing/2014/main" id="{40F64B93-F8FD-4384-9EC9-0C5FE4B55E44}"/>
              </a:ext>
            </a:extLst>
          </p:cNvPr>
          <p:cNvSpPr>
            <a:spLocks noGrp="1"/>
          </p:cNvSpPr>
          <p:nvPr>
            <p:ph type="pic" sz="quarter" idx="15"/>
          </p:nvPr>
        </p:nvSpPr>
        <p:spPr>
          <a:xfrm>
            <a:off x="963101" y="1971420"/>
            <a:ext cx="1070487" cy="1069339"/>
          </a:xfrm>
          <a:noFill/>
        </p:spPr>
        <p:txBody>
          <a:bodyPr/>
          <a:lstStyle>
            <a:lvl1pPr marL="0" indent="0">
              <a:buNone/>
              <a:defRPr/>
            </a:lvl1pPr>
          </a:lstStyle>
          <a:p>
            <a:endParaRPr lang="en-US"/>
          </a:p>
        </p:txBody>
      </p:sp>
      <p:sp>
        <p:nvSpPr>
          <p:cNvPr id="15" name="Picture Placeholder 13">
            <a:extLst>
              <a:ext uri="{FF2B5EF4-FFF2-40B4-BE49-F238E27FC236}">
                <a16:creationId xmlns:a16="http://schemas.microsoft.com/office/drawing/2014/main" id="{737282CA-0ECD-428F-954E-3B940B0152F7}"/>
              </a:ext>
            </a:extLst>
          </p:cNvPr>
          <p:cNvSpPr>
            <a:spLocks noGrp="1"/>
          </p:cNvSpPr>
          <p:nvPr>
            <p:ph type="pic" sz="quarter" idx="16"/>
          </p:nvPr>
        </p:nvSpPr>
        <p:spPr>
          <a:xfrm>
            <a:off x="4582601" y="1971420"/>
            <a:ext cx="1070487" cy="1069339"/>
          </a:xfrm>
          <a:noFill/>
        </p:spPr>
        <p:txBody>
          <a:bodyPr/>
          <a:lstStyle>
            <a:lvl1pPr marL="0" indent="0">
              <a:buNone/>
              <a:defRPr/>
            </a:lvl1pPr>
          </a:lstStyle>
          <a:p>
            <a:endParaRPr lang="en-US"/>
          </a:p>
        </p:txBody>
      </p:sp>
      <p:sp>
        <p:nvSpPr>
          <p:cNvPr id="16" name="Picture Placeholder 13">
            <a:extLst>
              <a:ext uri="{FF2B5EF4-FFF2-40B4-BE49-F238E27FC236}">
                <a16:creationId xmlns:a16="http://schemas.microsoft.com/office/drawing/2014/main" id="{27A19C05-4373-40B6-837A-81D7270C200E}"/>
              </a:ext>
            </a:extLst>
          </p:cNvPr>
          <p:cNvSpPr>
            <a:spLocks noGrp="1"/>
          </p:cNvSpPr>
          <p:nvPr>
            <p:ph type="pic" sz="quarter" idx="17"/>
          </p:nvPr>
        </p:nvSpPr>
        <p:spPr>
          <a:xfrm>
            <a:off x="8087801" y="1971420"/>
            <a:ext cx="1070487" cy="1069339"/>
          </a:xfrm>
          <a:noFill/>
        </p:spPr>
        <p:txBody>
          <a:bodyPr/>
          <a:lstStyle>
            <a:lvl1pPr marL="0" indent="0">
              <a:buNone/>
              <a:defRPr/>
            </a:lvl1pPr>
          </a:lstStyle>
          <a:p>
            <a:endParaRPr lang="en-US"/>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cxnSp>
        <p:nvCxnSpPr>
          <p:cNvPr id="17" name="Straight Arrow Connector 16">
            <a:extLst>
              <a:ext uri="{FF2B5EF4-FFF2-40B4-BE49-F238E27FC236}">
                <a16:creationId xmlns:a16="http://schemas.microsoft.com/office/drawing/2014/main" id="{B191F46D-24FB-484B-8FE4-DAF4D3DF2A21}"/>
              </a:ext>
            </a:extLst>
          </p:cNvPr>
          <p:cNvCxnSpPr/>
          <p:nvPr userDrawn="1"/>
        </p:nvCxnSpPr>
        <p:spPr>
          <a:xfrm>
            <a:off x="0" y="3278752"/>
            <a:ext cx="11353800" cy="0"/>
          </a:xfrm>
          <a:prstGeom prst="straightConnector1">
            <a:avLst/>
          </a:prstGeom>
          <a:ln w="539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12D91811-49F2-49DE-A41C-90B55CDBCC3D}"/>
              </a:ext>
            </a:extLst>
          </p:cNvPr>
          <p:cNvSpPr>
            <a:spLocks noGrp="1"/>
          </p:cNvSpPr>
          <p:nvPr>
            <p:ph type="body" sz="quarter" idx="18"/>
          </p:nvPr>
        </p:nvSpPr>
        <p:spPr>
          <a:xfrm>
            <a:off x="4582601" y="4107657"/>
            <a:ext cx="2995612"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0" name="Text Placeholder 6">
            <a:extLst>
              <a:ext uri="{FF2B5EF4-FFF2-40B4-BE49-F238E27FC236}">
                <a16:creationId xmlns:a16="http://schemas.microsoft.com/office/drawing/2014/main" id="{D67037C5-BE6D-4CA0-94D0-FD8A28BB2281}"/>
              </a:ext>
            </a:extLst>
          </p:cNvPr>
          <p:cNvSpPr>
            <a:spLocks noGrp="1"/>
          </p:cNvSpPr>
          <p:nvPr>
            <p:ph type="body" sz="quarter" idx="19" hasCustomPrompt="1"/>
          </p:nvPr>
        </p:nvSpPr>
        <p:spPr>
          <a:xfrm>
            <a:off x="4582601" y="3270456"/>
            <a:ext cx="1497806" cy="687182"/>
          </a:xfrm>
        </p:spPr>
        <p:txBody>
          <a:bodyPr anchor="ctr">
            <a:noAutofit/>
          </a:bodyPr>
          <a:lstStyle>
            <a:lvl1pPr marL="0" indent="0" algn="l">
              <a:buNone/>
              <a:defRPr sz="4000" b="1">
                <a:solidFill>
                  <a:schemeClr val="accent2"/>
                </a:solidFill>
              </a:defRPr>
            </a:lvl1pPr>
          </a:lstStyle>
          <a:p>
            <a:pPr lvl="0"/>
            <a:r>
              <a:rPr lang="en-US"/>
              <a:t>0000</a:t>
            </a:r>
          </a:p>
        </p:txBody>
      </p:sp>
      <p:sp>
        <p:nvSpPr>
          <p:cNvPr id="31" name="Text Placeholder 6">
            <a:extLst>
              <a:ext uri="{FF2B5EF4-FFF2-40B4-BE49-F238E27FC236}">
                <a16:creationId xmlns:a16="http://schemas.microsoft.com/office/drawing/2014/main" id="{AD686306-F20F-4242-BE95-422BDAD1D207}"/>
              </a:ext>
            </a:extLst>
          </p:cNvPr>
          <p:cNvSpPr>
            <a:spLocks noGrp="1"/>
          </p:cNvSpPr>
          <p:nvPr>
            <p:ph type="body" sz="quarter" idx="20"/>
          </p:nvPr>
        </p:nvSpPr>
        <p:spPr>
          <a:xfrm>
            <a:off x="8087801" y="4107657"/>
            <a:ext cx="3100110"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2" name="Text Placeholder 6">
            <a:extLst>
              <a:ext uri="{FF2B5EF4-FFF2-40B4-BE49-F238E27FC236}">
                <a16:creationId xmlns:a16="http://schemas.microsoft.com/office/drawing/2014/main" id="{9BAEDCD1-68AA-4C1E-84F7-9BD7E0994001}"/>
              </a:ext>
            </a:extLst>
          </p:cNvPr>
          <p:cNvSpPr>
            <a:spLocks noGrp="1"/>
          </p:cNvSpPr>
          <p:nvPr>
            <p:ph type="body" sz="quarter" idx="21" hasCustomPrompt="1"/>
          </p:nvPr>
        </p:nvSpPr>
        <p:spPr>
          <a:xfrm>
            <a:off x="8087801" y="3270456"/>
            <a:ext cx="1497806" cy="687182"/>
          </a:xfrm>
        </p:spPr>
        <p:txBody>
          <a:bodyPr anchor="ctr">
            <a:noAutofit/>
          </a:bodyPr>
          <a:lstStyle>
            <a:lvl1pPr marL="0" indent="0" algn="l">
              <a:buNone/>
              <a:defRPr sz="4000" b="1">
                <a:solidFill>
                  <a:schemeClr val="accent2"/>
                </a:solidFill>
              </a:defRPr>
            </a:lvl1pPr>
          </a:lstStyle>
          <a:p>
            <a:pPr lvl="0"/>
            <a:r>
              <a:rPr lang="en-US"/>
              <a:t>0000</a:t>
            </a:r>
          </a:p>
        </p:txBody>
      </p:sp>
      <p:grpSp>
        <p:nvGrpSpPr>
          <p:cNvPr id="18" name="Group 17">
            <a:extLst>
              <a:ext uri="{FF2B5EF4-FFF2-40B4-BE49-F238E27FC236}">
                <a16:creationId xmlns:a16="http://schemas.microsoft.com/office/drawing/2014/main" id="{3838023B-A775-47CC-94CA-7B0DC3B61F3D}"/>
              </a:ext>
            </a:extLst>
          </p:cNvPr>
          <p:cNvGrpSpPr/>
          <p:nvPr userDrawn="1"/>
        </p:nvGrpSpPr>
        <p:grpSpPr>
          <a:xfrm>
            <a:off x="838200" y="1985962"/>
            <a:ext cx="7124700" cy="4129087"/>
            <a:chOff x="1039761" y="1845853"/>
            <a:chExt cx="7086599" cy="1673941"/>
          </a:xfrm>
        </p:grpSpPr>
        <p:cxnSp>
          <p:nvCxnSpPr>
            <p:cNvPr id="4" name="Straight Connector 3">
              <a:extLst>
                <a:ext uri="{FF2B5EF4-FFF2-40B4-BE49-F238E27FC236}">
                  <a16:creationId xmlns:a16="http://schemas.microsoft.com/office/drawing/2014/main" id="{EE3375A3-45F3-4D91-A38E-BA0466E1B9E2}"/>
                </a:ext>
              </a:extLst>
            </p:cNvPr>
            <p:cNvCxnSpPr/>
            <p:nvPr userDrawn="1"/>
          </p:nvCxnSpPr>
          <p:spPr>
            <a:xfrm flipV="1">
              <a:off x="1039761" y="1845853"/>
              <a:ext cx="0" cy="1673941"/>
            </a:xfrm>
            <a:prstGeom prst="line">
              <a:avLst/>
            </a:prstGeom>
            <a:ln w="12700">
              <a:solidFill>
                <a:schemeClr val="accent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C6ABD93-F673-428C-8326-65F0A87F3C82}"/>
                </a:ext>
              </a:extLst>
            </p:cNvPr>
            <p:cNvCxnSpPr/>
            <p:nvPr userDrawn="1"/>
          </p:nvCxnSpPr>
          <p:spPr>
            <a:xfrm flipV="1">
              <a:off x="4638367" y="1845853"/>
              <a:ext cx="0" cy="1673941"/>
            </a:xfrm>
            <a:prstGeom prst="line">
              <a:avLst/>
            </a:prstGeom>
            <a:ln w="12700">
              <a:solidFill>
                <a:schemeClr val="accent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367EF3D-E0A5-4476-9AC2-9A90480395B0}"/>
                </a:ext>
              </a:extLst>
            </p:cNvPr>
            <p:cNvCxnSpPr/>
            <p:nvPr userDrawn="1"/>
          </p:nvCxnSpPr>
          <p:spPr>
            <a:xfrm flipV="1">
              <a:off x="8126360" y="1845853"/>
              <a:ext cx="0" cy="1673941"/>
            </a:xfrm>
            <a:prstGeom prst="line">
              <a:avLst/>
            </a:prstGeom>
            <a:ln w="12700">
              <a:solidFill>
                <a:schemeClr val="accent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sp>
        <p:nvSpPr>
          <p:cNvPr id="33" name="Slide Number Placeholder 4">
            <a:extLst>
              <a:ext uri="{FF2B5EF4-FFF2-40B4-BE49-F238E27FC236}">
                <a16:creationId xmlns:a16="http://schemas.microsoft.com/office/drawing/2014/main" id="{F8AC8DE9-56A4-4E5B-B341-048AE024A1CF}"/>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363684430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Timeline 1">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907492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cxnSp>
        <p:nvCxnSpPr>
          <p:cNvPr id="36" name="Straight Arrow Connector 35">
            <a:extLst>
              <a:ext uri="{FF2B5EF4-FFF2-40B4-BE49-F238E27FC236}">
                <a16:creationId xmlns:a16="http://schemas.microsoft.com/office/drawing/2014/main" id="{B85C9FF5-52E7-4826-97FA-372F67FD027C}"/>
              </a:ext>
            </a:extLst>
          </p:cNvPr>
          <p:cNvCxnSpPr>
            <a:cxnSpLocks/>
          </p:cNvCxnSpPr>
          <p:nvPr userDrawn="1"/>
        </p:nvCxnSpPr>
        <p:spPr>
          <a:xfrm>
            <a:off x="6210300" y="5857875"/>
            <a:ext cx="0" cy="1000125"/>
          </a:xfrm>
          <a:prstGeom prst="straightConnector1">
            <a:avLst/>
          </a:prstGeom>
          <a:ln w="53975">
            <a:solidFill>
              <a:schemeClr val="accent2"/>
            </a:solidFill>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8A9244C-FE63-433B-BA27-6FB4AAB94D95}"/>
              </a:ext>
            </a:extLst>
          </p:cNvPr>
          <p:cNvSpPr/>
          <p:nvPr userDrawn="1"/>
        </p:nvSpPr>
        <p:spPr>
          <a:xfrm>
            <a:off x="1" y="0"/>
            <a:ext cx="4457699" cy="6858001"/>
          </a:xfrm>
          <a:prstGeom prst="rect">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4"/>
            <a:ext cx="2997994" cy="2824286"/>
          </a:xfrm>
        </p:spPr>
        <p:txBody>
          <a:bodyPr anchor="t"/>
          <a:lstStyle/>
          <a:p>
            <a:r>
              <a:rPr lang="en-US"/>
              <a:t>Click to edit Master title style</a:t>
            </a:r>
          </a:p>
        </p:txBody>
      </p:sp>
      <p:sp>
        <p:nvSpPr>
          <p:cNvPr id="7" name="Text Placeholder 6">
            <a:extLst>
              <a:ext uri="{FF2B5EF4-FFF2-40B4-BE49-F238E27FC236}">
                <a16:creationId xmlns:a16="http://schemas.microsoft.com/office/drawing/2014/main" id="{03448144-7B66-4D27-B0CC-18F4D7D7B1F8}"/>
              </a:ext>
            </a:extLst>
          </p:cNvPr>
          <p:cNvSpPr>
            <a:spLocks noGrp="1"/>
          </p:cNvSpPr>
          <p:nvPr>
            <p:ph type="body" sz="quarter" idx="13" hasCustomPrompt="1"/>
          </p:nvPr>
        </p:nvSpPr>
        <p:spPr>
          <a:xfrm>
            <a:off x="6588919" y="1229262"/>
            <a:ext cx="4764881" cy="1034615"/>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8" name="Text Placeholder 6">
            <a:extLst>
              <a:ext uri="{FF2B5EF4-FFF2-40B4-BE49-F238E27FC236}">
                <a16:creationId xmlns:a16="http://schemas.microsoft.com/office/drawing/2014/main" id="{E0560DBA-D041-49A5-A4F7-C21CC3CBA5B0}"/>
              </a:ext>
            </a:extLst>
          </p:cNvPr>
          <p:cNvSpPr>
            <a:spLocks noGrp="1"/>
          </p:cNvSpPr>
          <p:nvPr>
            <p:ph type="body" sz="quarter" idx="14" hasCustomPrompt="1"/>
          </p:nvPr>
        </p:nvSpPr>
        <p:spPr>
          <a:xfrm>
            <a:off x="6588919" y="532171"/>
            <a:ext cx="1497806" cy="687182"/>
          </a:xfrm>
        </p:spPr>
        <p:txBody>
          <a:bodyPr anchor="t">
            <a:noAutofit/>
          </a:bodyPr>
          <a:lstStyle>
            <a:lvl1pPr marL="0" indent="0" algn="l">
              <a:buNone/>
              <a:defRPr sz="3200" b="1">
                <a:solidFill>
                  <a:schemeClr val="accent2"/>
                </a:solidFill>
              </a:defRPr>
            </a:lvl1pPr>
          </a:lstStyle>
          <a:p>
            <a:pPr lvl="0"/>
            <a:r>
              <a:rPr lang="en-US"/>
              <a:t>0000</a:t>
            </a:r>
          </a:p>
        </p:txBody>
      </p:sp>
      <p:sp>
        <p:nvSpPr>
          <p:cNvPr id="14" name="Picture Placeholder 13">
            <a:extLst>
              <a:ext uri="{FF2B5EF4-FFF2-40B4-BE49-F238E27FC236}">
                <a16:creationId xmlns:a16="http://schemas.microsoft.com/office/drawing/2014/main" id="{40F64B93-F8FD-4384-9EC9-0C5FE4B55E44}"/>
              </a:ext>
            </a:extLst>
          </p:cNvPr>
          <p:cNvSpPr>
            <a:spLocks noGrp="1"/>
          </p:cNvSpPr>
          <p:nvPr>
            <p:ph type="pic" sz="quarter" idx="15"/>
          </p:nvPr>
        </p:nvSpPr>
        <p:spPr>
          <a:xfrm>
            <a:off x="4839661" y="959645"/>
            <a:ext cx="1070487" cy="1069339"/>
          </a:xfrm>
          <a:noFill/>
        </p:spPr>
        <p:txBody>
          <a:bodyPr/>
          <a:lstStyle/>
          <a:p>
            <a:endParaRPr lang="en-US"/>
          </a:p>
        </p:txBody>
      </p:sp>
      <p:sp>
        <p:nvSpPr>
          <p:cNvPr id="15" name="Picture Placeholder 13">
            <a:extLst>
              <a:ext uri="{FF2B5EF4-FFF2-40B4-BE49-F238E27FC236}">
                <a16:creationId xmlns:a16="http://schemas.microsoft.com/office/drawing/2014/main" id="{737282CA-0ECD-428F-954E-3B940B0152F7}"/>
              </a:ext>
            </a:extLst>
          </p:cNvPr>
          <p:cNvSpPr>
            <a:spLocks noGrp="1"/>
          </p:cNvSpPr>
          <p:nvPr>
            <p:ph type="pic" sz="quarter" idx="16"/>
          </p:nvPr>
        </p:nvSpPr>
        <p:spPr>
          <a:xfrm>
            <a:off x="4839661" y="2711145"/>
            <a:ext cx="1070487" cy="1069339"/>
          </a:xfrm>
          <a:noFill/>
        </p:spPr>
        <p:txBody>
          <a:bodyPr/>
          <a:lstStyle/>
          <a:p>
            <a:endParaRPr lang="en-US"/>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chemeClr val="accent6"/>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cxnSp>
        <p:nvCxnSpPr>
          <p:cNvPr id="17" name="Straight Arrow Connector 16">
            <a:extLst>
              <a:ext uri="{FF2B5EF4-FFF2-40B4-BE49-F238E27FC236}">
                <a16:creationId xmlns:a16="http://schemas.microsoft.com/office/drawing/2014/main" id="{B191F46D-24FB-484B-8FE4-DAF4D3DF2A21}"/>
              </a:ext>
            </a:extLst>
          </p:cNvPr>
          <p:cNvCxnSpPr>
            <a:cxnSpLocks/>
          </p:cNvCxnSpPr>
          <p:nvPr userDrawn="1"/>
        </p:nvCxnSpPr>
        <p:spPr>
          <a:xfrm>
            <a:off x="6210300" y="0"/>
            <a:ext cx="0" cy="6120581"/>
          </a:xfrm>
          <a:prstGeom prst="straightConnector1">
            <a:avLst/>
          </a:prstGeom>
          <a:ln w="539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12D91811-49F2-49DE-A41C-90B55CDBCC3D}"/>
              </a:ext>
            </a:extLst>
          </p:cNvPr>
          <p:cNvSpPr>
            <a:spLocks noGrp="1"/>
          </p:cNvSpPr>
          <p:nvPr>
            <p:ph type="body" sz="quarter" idx="18" hasCustomPrompt="1"/>
          </p:nvPr>
        </p:nvSpPr>
        <p:spPr>
          <a:xfrm>
            <a:off x="6588919" y="2974566"/>
            <a:ext cx="4764881" cy="1103364"/>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30" name="Text Placeholder 6">
            <a:extLst>
              <a:ext uri="{FF2B5EF4-FFF2-40B4-BE49-F238E27FC236}">
                <a16:creationId xmlns:a16="http://schemas.microsoft.com/office/drawing/2014/main" id="{D67037C5-BE6D-4CA0-94D0-FD8A28BB2281}"/>
              </a:ext>
            </a:extLst>
          </p:cNvPr>
          <p:cNvSpPr>
            <a:spLocks noGrp="1"/>
          </p:cNvSpPr>
          <p:nvPr>
            <p:ph type="body" sz="quarter" idx="19" hasCustomPrompt="1"/>
          </p:nvPr>
        </p:nvSpPr>
        <p:spPr>
          <a:xfrm>
            <a:off x="6588919" y="2277474"/>
            <a:ext cx="1497806" cy="687182"/>
          </a:xfrm>
        </p:spPr>
        <p:txBody>
          <a:bodyPr anchor="t">
            <a:noAutofit/>
          </a:bodyPr>
          <a:lstStyle>
            <a:lvl1pPr marL="0" indent="0" algn="l">
              <a:buNone/>
              <a:defRPr sz="3200" b="1">
                <a:solidFill>
                  <a:schemeClr val="accent2"/>
                </a:solidFill>
              </a:defRPr>
            </a:lvl1pPr>
          </a:lstStyle>
          <a:p>
            <a:pPr lvl="0"/>
            <a:r>
              <a:rPr lang="en-US"/>
              <a:t>0000</a:t>
            </a:r>
          </a:p>
        </p:txBody>
      </p:sp>
      <p:sp>
        <p:nvSpPr>
          <p:cNvPr id="33" name="Picture Placeholder 13">
            <a:extLst>
              <a:ext uri="{FF2B5EF4-FFF2-40B4-BE49-F238E27FC236}">
                <a16:creationId xmlns:a16="http://schemas.microsoft.com/office/drawing/2014/main" id="{F55C0C8F-DBF5-41C3-A84B-0F13E7F55DEC}"/>
              </a:ext>
            </a:extLst>
          </p:cNvPr>
          <p:cNvSpPr>
            <a:spLocks noGrp="1"/>
          </p:cNvSpPr>
          <p:nvPr>
            <p:ph type="pic" sz="quarter" idx="22"/>
          </p:nvPr>
        </p:nvSpPr>
        <p:spPr>
          <a:xfrm>
            <a:off x="4839661" y="4532571"/>
            <a:ext cx="1070487" cy="1069339"/>
          </a:xfrm>
          <a:noFill/>
        </p:spPr>
        <p:txBody>
          <a:bodyPr/>
          <a:lstStyle/>
          <a:p>
            <a:endParaRPr lang="en-US"/>
          </a:p>
        </p:txBody>
      </p:sp>
      <p:sp>
        <p:nvSpPr>
          <p:cNvPr id="34" name="Text Placeholder 6">
            <a:extLst>
              <a:ext uri="{FF2B5EF4-FFF2-40B4-BE49-F238E27FC236}">
                <a16:creationId xmlns:a16="http://schemas.microsoft.com/office/drawing/2014/main" id="{6D77B5B2-870C-447D-8120-25CC8AF13B57}"/>
              </a:ext>
            </a:extLst>
          </p:cNvPr>
          <p:cNvSpPr>
            <a:spLocks noGrp="1"/>
          </p:cNvSpPr>
          <p:nvPr>
            <p:ph type="body" sz="quarter" idx="23" hasCustomPrompt="1"/>
          </p:nvPr>
        </p:nvSpPr>
        <p:spPr>
          <a:xfrm>
            <a:off x="6588919" y="4795992"/>
            <a:ext cx="4764881" cy="1103364"/>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35" name="Text Placeholder 6">
            <a:extLst>
              <a:ext uri="{FF2B5EF4-FFF2-40B4-BE49-F238E27FC236}">
                <a16:creationId xmlns:a16="http://schemas.microsoft.com/office/drawing/2014/main" id="{A4AEE409-F640-457C-BF6B-FE9677EA1A8A}"/>
              </a:ext>
            </a:extLst>
          </p:cNvPr>
          <p:cNvSpPr>
            <a:spLocks noGrp="1"/>
          </p:cNvSpPr>
          <p:nvPr>
            <p:ph type="body" sz="quarter" idx="24" hasCustomPrompt="1"/>
          </p:nvPr>
        </p:nvSpPr>
        <p:spPr>
          <a:xfrm>
            <a:off x="6588919" y="4098900"/>
            <a:ext cx="1497806" cy="687182"/>
          </a:xfrm>
        </p:spPr>
        <p:txBody>
          <a:bodyPr anchor="t">
            <a:noAutofit/>
          </a:bodyPr>
          <a:lstStyle>
            <a:lvl1pPr marL="0" indent="0" algn="l">
              <a:buNone/>
              <a:defRPr sz="3200" b="1">
                <a:solidFill>
                  <a:schemeClr val="accent2"/>
                </a:solidFill>
              </a:defRPr>
            </a:lvl1pPr>
          </a:lstStyle>
          <a:p>
            <a:pPr lvl="0"/>
            <a:r>
              <a:rPr lang="en-US"/>
              <a:t>0000</a:t>
            </a:r>
          </a:p>
        </p:txBody>
      </p:sp>
      <p:sp>
        <p:nvSpPr>
          <p:cNvPr id="39" name="Freeform: Shape 38">
            <a:extLst>
              <a:ext uri="{FF2B5EF4-FFF2-40B4-BE49-F238E27FC236}">
                <a16:creationId xmlns:a16="http://schemas.microsoft.com/office/drawing/2014/main" id="{FE196616-97E0-4D60-A5DD-1A33D9B4282D}"/>
              </a:ext>
            </a:extLst>
          </p:cNvPr>
          <p:cNvSpPr/>
          <p:nvPr userDrawn="1"/>
        </p:nvSpPr>
        <p:spPr>
          <a:xfrm>
            <a:off x="2226468" y="4723392"/>
            <a:ext cx="2231232" cy="2134609"/>
          </a:xfrm>
          <a:custGeom>
            <a:avLst/>
            <a:gdLst>
              <a:gd name="connsiteX0" fmla="*/ 2063384 w 2231232"/>
              <a:gd name="connsiteY0" fmla="*/ 0 h 2134609"/>
              <a:gd name="connsiteX1" fmla="*/ 2231232 w 2231232"/>
              <a:gd name="connsiteY1" fmla="*/ 8677 h 2134609"/>
              <a:gd name="connsiteX2" fmla="*/ 2231232 w 2231232"/>
              <a:gd name="connsiteY2" fmla="*/ 820206 h 2134609"/>
              <a:gd name="connsiteX3" fmla="*/ 2193783 w 2231232"/>
              <a:gd name="connsiteY3" fmla="*/ 814354 h 2134609"/>
              <a:gd name="connsiteX4" fmla="*/ 2063384 w 2231232"/>
              <a:gd name="connsiteY4" fmla="*/ 807613 h 2134609"/>
              <a:gd name="connsiteX5" fmla="*/ 788426 w 2231232"/>
              <a:gd name="connsiteY5" fmla="*/ 2113180 h 2134609"/>
              <a:gd name="connsiteX6" fmla="*/ 789483 w 2231232"/>
              <a:gd name="connsiteY6" fmla="*/ 2134609 h 2134609"/>
              <a:gd name="connsiteX7" fmla="*/ 1057 w 2231232"/>
              <a:gd name="connsiteY7" fmla="*/ 2134609 h 2134609"/>
              <a:gd name="connsiteX8" fmla="*/ 0 w 2231232"/>
              <a:gd name="connsiteY8" fmla="*/ 2113180 h 2134609"/>
              <a:gd name="connsiteX9" fmla="*/ 2063384 w 2231232"/>
              <a:gd name="connsiteY9" fmla="*/ 0 h 213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1232" h="2134609">
                <a:moveTo>
                  <a:pt x="2063384" y="0"/>
                </a:moveTo>
                <a:lnTo>
                  <a:pt x="2231232" y="8677"/>
                </a:lnTo>
                <a:lnTo>
                  <a:pt x="2231232" y="820206"/>
                </a:lnTo>
                <a:lnTo>
                  <a:pt x="2193783" y="814354"/>
                </a:lnTo>
                <a:cubicBezTo>
                  <a:pt x="2150911" y="809897"/>
                  <a:pt x="2107409" y="807613"/>
                  <a:pt x="2063384" y="807613"/>
                </a:cubicBezTo>
                <a:cubicBezTo>
                  <a:pt x="1358991" y="807613"/>
                  <a:pt x="788426" y="1392186"/>
                  <a:pt x="788426" y="2113180"/>
                </a:cubicBezTo>
                <a:lnTo>
                  <a:pt x="789483" y="2134609"/>
                </a:lnTo>
                <a:lnTo>
                  <a:pt x="1057" y="2134609"/>
                </a:lnTo>
                <a:lnTo>
                  <a:pt x="0" y="2113180"/>
                </a:lnTo>
                <a:cubicBezTo>
                  <a:pt x="0" y="946106"/>
                  <a:pt x="923805" y="0"/>
                  <a:pt x="20633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4">
            <a:extLst>
              <a:ext uri="{FF2B5EF4-FFF2-40B4-BE49-F238E27FC236}">
                <a16:creationId xmlns:a16="http://schemas.microsoft.com/office/drawing/2014/main" id="{EE1E4EDB-AAF6-42F2-A8AB-C9D4A6B5A2E5}"/>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83024325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Timeline 1">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988429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9" name="Rectangle 8">
            <a:extLst>
              <a:ext uri="{FF2B5EF4-FFF2-40B4-BE49-F238E27FC236}">
                <a16:creationId xmlns:a16="http://schemas.microsoft.com/office/drawing/2014/main" id="{38A9244C-FE63-433B-BA27-6FB4AAB94D95}"/>
              </a:ext>
            </a:extLst>
          </p:cNvPr>
          <p:cNvSpPr/>
          <p:nvPr userDrawn="1"/>
        </p:nvSpPr>
        <p:spPr>
          <a:xfrm>
            <a:off x="1" y="0"/>
            <a:ext cx="4457699"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Shape 45">
            <a:extLst>
              <a:ext uri="{FF2B5EF4-FFF2-40B4-BE49-F238E27FC236}">
                <a16:creationId xmlns:a16="http://schemas.microsoft.com/office/drawing/2014/main" id="{E336A2F7-7111-4E4B-BBED-4927F4CF5D47}"/>
              </a:ext>
            </a:extLst>
          </p:cNvPr>
          <p:cNvSpPr/>
          <p:nvPr userDrawn="1"/>
        </p:nvSpPr>
        <p:spPr>
          <a:xfrm>
            <a:off x="2227525" y="0"/>
            <a:ext cx="4124659" cy="2091750"/>
          </a:xfrm>
          <a:custGeom>
            <a:avLst/>
            <a:gdLst>
              <a:gd name="connsiteX0" fmla="*/ 0 w 4124659"/>
              <a:gd name="connsiteY0" fmla="*/ 0 h 2091750"/>
              <a:gd name="connsiteX1" fmla="*/ 788426 w 4124659"/>
              <a:gd name="connsiteY1" fmla="*/ 0 h 2091750"/>
              <a:gd name="connsiteX2" fmla="*/ 793954 w 4124659"/>
              <a:gd name="connsiteY2" fmla="*/ 112049 h 2091750"/>
              <a:gd name="connsiteX3" fmla="*/ 2062327 w 4124659"/>
              <a:gd name="connsiteY3" fmla="*/ 1284137 h 2091750"/>
              <a:gd name="connsiteX4" fmla="*/ 3330711 w 4124659"/>
              <a:gd name="connsiteY4" fmla="*/ 112049 h 2091750"/>
              <a:gd name="connsiteX5" fmla="*/ 3336234 w 4124659"/>
              <a:gd name="connsiteY5" fmla="*/ 0 h 2091750"/>
              <a:gd name="connsiteX6" fmla="*/ 4124659 w 4124659"/>
              <a:gd name="connsiteY6" fmla="*/ 0 h 2091750"/>
              <a:gd name="connsiteX7" fmla="*/ 4115063 w 4124659"/>
              <a:gd name="connsiteY7" fmla="*/ 194631 h 2091750"/>
              <a:gd name="connsiteX8" fmla="*/ 2062327 w 4124659"/>
              <a:gd name="connsiteY8" fmla="*/ 2091750 h 2091750"/>
              <a:gd name="connsiteX9" fmla="*/ 9596 w 4124659"/>
              <a:gd name="connsiteY9" fmla="*/ 194631 h 209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4659" h="2091750">
                <a:moveTo>
                  <a:pt x="0" y="0"/>
                </a:moveTo>
                <a:lnTo>
                  <a:pt x="788426" y="0"/>
                </a:lnTo>
                <a:lnTo>
                  <a:pt x="793954" y="112049"/>
                </a:lnTo>
                <a:cubicBezTo>
                  <a:pt x="859273" y="770352"/>
                  <a:pt x="1402446" y="1284137"/>
                  <a:pt x="2062327" y="1284137"/>
                </a:cubicBezTo>
                <a:cubicBezTo>
                  <a:pt x="2722700" y="1284137"/>
                  <a:pt x="3265447" y="770352"/>
                  <a:pt x="3330711" y="112049"/>
                </a:cubicBezTo>
                <a:lnTo>
                  <a:pt x="3336234" y="0"/>
                </a:lnTo>
                <a:lnTo>
                  <a:pt x="4124659" y="0"/>
                </a:lnTo>
                <a:lnTo>
                  <a:pt x="4115063" y="194631"/>
                </a:lnTo>
                <a:cubicBezTo>
                  <a:pt x="4009397" y="1260212"/>
                  <a:pt x="3130686" y="2091750"/>
                  <a:pt x="2062327" y="2091750"/>
                </a:cubicBezTo>
                <a:cubicBezTo>
                  <a:pt x="993972" y="2091750"/>
                  <a:pt x="115262" y="1260212"/>
                  <a:pt x="9596" y="194631"/>
                </a:cubicBezTo>
                <a:close/>
              </a:path>
            </a:pathLst>
          </a:custGeom>
          <a:solidFill>
            <a:schemeClr val="bg1"/>
          </a:solidFill>
          <a:ln w="9264" cap="flat">
            <a:noFill/>
            <a:prstDash val="solid"/>
            <a:miter/>
          </a:ln>
        </p:spPr>
        <p:txBody>
          <a:bodyPr wrap="square" rtlCol="0" anchor="ctr">
            <a:noAutofit/>
          </a:bodyPr>
          <a:lstStyle/>
          <a:p>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3693320"/>
            <a:ext cx="3048000" cy="2478880"/>
          </a:xfrm>
        </p:spPr>
        <p:txBody>
          <a:bodyPr anchor="b"/>
          <a:lstStyle>
            <a:lvl1pPr>
              <a:defRPr>
                <a:solidFill>
                  <a:schemeClr val="accent2"/>
                </a:solidFill>
              </a:defRPr>
            </a:lvl1pPr>
          </a:lstStyle>
          <a:p>
            <a:r>
              <a:rPr lang="en-US"/>
              <a:t>Click to edit Master title style</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cxnSp>
        <p:nvCxnSpPr>
          <p:cNvPr id="17" name="Straight Arrow Connector 16">
            <a:extLst>
              <a:ext uri="{FF2B5EF4-FFF2-40B4-BE49-F238E27FC236}">
                <a16:creationId xmlns:a16="http://schemas.microsoft.com/office/drawing/2014/main" id="{B191F46D-24FB-484B-8FE4-DAF4D3DF2A21}"/>
              </a:ext>
            </a:extLst>
          </p:cNvPr>
          <p:cNvCxnSpPr>
            <a:cxnSpLocks/>
          </p:cNvCxnSpPr>
          <p:nvPr userDrawn="1"/>
        </p:nvCxnSpPr>
        <p:spPr>
          <a:xfrm>
            <a:off x="6210300" y="0"/>
            <a:ext cx="0" cy="6120581"/>
          </a:xfrm>
          <a:prstGeom prst="straightConnector1">
            <a:avLst/>
          </a:prstGeom>
          <a:ln w="53975">
            <a:solidFill>
              <a:schemeClr val="accent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7" name="Picture Placeholder 13">
            <a:extLst>
              <a:ext uri="{FF2B5EF4-FFF2-40B4-BE49-F238E27FC236}">
                <a16:creationId xmlns:a16="http://schemas.microsoft.com/office/drawing/2014/main" id="{5108B657-645F-446B-8DD3-39C61A1552AE}"/>
              </a:ext>
            </a:extLst>
          </p:cNvPr>
          <p:cNvSpPr>
            <a:spLocks noGrp="1"/>
          </p:cNvSpPr>
          <p:nvPr>
            <p:ph type="pic" sz="quarter" idx="15"/>
          </p:nvPr>
        </p:nvSpPr>
        <p:spPr>
          <a:xfrm>
            <a:off x="4839661" y="959645"/>
            <a:ext cx="1070487" cy="1069339"/>
          </a:xfrm>
          <a:noFill/>
        </p:spPr>
        <p:txBody>
          <a:bodyPr/>
          <a:lstStyle/>
          <a:p>
            <a:endParaRPr lang="en-US"/>
          </a:p>
        </p:txBody>
      </p:sp>
      <p:sp>
        <p:nvSpPr>
          <p:cNvPr id="38" name="Picture Placeholder 13">
            <a:extLst>
              <a:ext uri="{FF2B5EF4-FFF2-40B4-BE49-F238E27FC236}">
                <a16:creationId xmlns:a16="http://schemas.microsoft.com/office/drawing/2014/main" id="{64885FA7-D8F4-4247-AA04-1BA479975716}"/>
              </a:ext>
            </a:extLst>
          </p:cNvPr>
          <p:cNvSpPr>
            <a:spLocks noGrp="1"/>
          </p:cNvSpPr>
          <p:nvPr>
            <p:ph type="pic" sz="quarter" idx="16"/>
          </p:nvPr>
        </p:nvSpPr>
        <p:spPr>
          <a:xfrm>
            <a:off x="4839661" y="2711145"/>
            <a:ext cx="1070487" cy="1069339"/>
          </a:xfrm>
          <a:noFill/>
        </p:spPr>
        <p:txBody>
          <a:bodyPr/>
          <a:lstStyle/>
          <a:p>
            <a:endParaRPr lang="en-US"/>
          </a:p>
        </p:txBody>
      </p:sp>
      <p:sp>
        <p:nvSpPr>
          <p:cNvPr id="39" name="Picture Placeholder 13">
            <a:extLst>
              <a:ext uri="{FF2B5EF4-FFF2-40B4-BE49-F238E27FC236}">
                <a16:creationId xmlns:a16="http://schemas.microsoft.com/office/drawing/2014/main" id="{1C6CB4DB-9AB8-461F-9522-F00958FE0528}"/>
              </a:ext>
            </a:extLst>
          </p:cNvPr>
          <p:cNvSpPr>
            <a:spLocks noGrp="1"/>
          </p:cNvSpPr>
          <p:nvPr>
            <p:ph type="pic" sz="quarter" idx="22"/>
          </p:nvPr>
        </p:nvSpPr>
        <p:spPr>
          <a:xfrm>
            <a:off x="4839661" y="4532571"/>
            <a:ext cx="1070487" cy="1069339"/>
          </a:xfrm>
          <a:noFill/>
        </p:spPr>
        <p:txBody>
          <a:bodyPr/>
          <a:lstStyle/>
          <a:p>
            <a:endParaRPr lang="en-US"/>
          </a:p>
        </p:txBody>
      </p:sp>
      <p:sp>
        <p:nvSpPr>
          <p:cNvPr id="40" name="Text Placeholder 6">
            <a:extLst>
              <a:ext uri="{FF2B5EF4-FFF2-40B4-BE49-F238E27FC236}">
                <a16:creationId xmlns:a16="http://schemas.microsoft.com/office/drawing/2014/main" id="{B811C772-B95C-46AE-8280-A6E63EF489B8}"/>
              </a:ext>
            </a:extLst>
          </p:cNvPr>
          <p:cNvSpPr>
            <a:spLocks noGrp="1"/>
          </p:cNvSpPr>
          <p:nvPr>
            <p:ph type="body" sz="quarter" idx="13" hasCustomPrompt="1"/>
          </p:nvPr>
        </p:nvSpPr>
        <p:spPr>
          <a:xfrm>
            <a:off x="6588919" y="1229262"/>
            <a:ext cx="4764881" cy="1034615"/>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41" name="Text Placeholder 6">
            <a:extLst>
              <a:ext uri="{FF2B5EF4-FFF2-40B4-BE49-F238E27FC236}">
                <a16:creationId xmlns:a16="http://schemas.microsoft.com/office/drawing/2014/main" id="{BC7792E3-0F00-4E5C-A24A-43DDA625A7D4}"/>
              </a:ext>
            </a:extLst>
          </p:cNvPr>
          <p:cNvSpPr>
            <a:spLocks noGrp="1"/>
          </p:cNvSpPr>
          <p:nvPr>
            <p:ph type="body" sz="quarter" idx="14" hasCustomPrompt="1"/>
          </p:nvPr>
        </p:nvSpPr>
        <p:spPr>
          <a:xfrm>
            <a:off x="6588919" y="532171"/>
            <a:ext cx="1497806" cy="687182"/>
          </a:xfrm>
        </p:spPr>
        <p:txBody>
          <a:bodyPr anchor="t">
            <a:noAutofit/>
          </a:bodyPr>
          <a:lstStyle>
            <a:lvl1pPr marL="0" indent="0" algn="l">
              <a:buNone/>
              <a:defRPr sz="3200" b="1">
                <a:solidFill>
                  <a:schemeClr val="accent2"/>
                </a:solidFill>
              </a:defRPr>
            </a:lvl1pPr>
          </a:lstStyle>
          <a:p>
            <a:pPr lvl="0"/>
            <a:r>
              <a:rPr lang="en-US"/>
              <a:t>0000</a:t>
            </a:r>
          </a:p>
        </p:txBody>
      </p:sp>
      <p:sp>
        <p:nvSpPr>
          <p:cNvPr id="42" name="Text Placeholder 6">
            <a:extLst>
              <a:ext uri="{FF2B5EF4-FFF2-40B4-BE49-F238E27FC236}">
                <a16:creationId xmlns:a16="http://schemas.microsoft.com/office/drawing/2014/main" id="{D1C5E190-114E-4F46-9D7E-19390CB9F47F}"/>
              </a:ext>
            </a:extLst>
          </p:cNvPr>
          <p:cNvSpPr>
            <a:spLocks noGrp="1"/>
          </p:cNvSpPr>
          <p:nvPr>
            <p:ph type="body" sz="quarter" idx="18" hasCustomPrompt="1"/>
          </p:nvPr>
        </p:nvSpPr>
        <p:spPr>
          <a:xfrm>
            <a:off x="6588919" y="2974566"/>
            <a:ext cx="4764881" cy="1103364"/>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43" name="Text Placeholder 6">
            <a:extLst>
              <a:ext uri="{FF2B5EF4-FFF2-40B4-BE49-F238E27FC236}">
                <a16:creationId xmlns:a16="http://schemas.microsoft.com/office/drawing/2014/main" id="{1D38EF96-4804-41E1-B46E-517B630B97EE}"/>
              </a:ext>
            </a:extLst>
          </p:cNvPr>
          <p:cNvSpPr>
            <a:spLocks noGrp="1"/>
          </p:cNvSpPr>
          <p:nvPr>
            <p:ph type="body" sz="quarter" idx="19" hasCustomPrompt="1"/>
          </p:nvPr>
        </p:nvSpPr>
        <p:spPr>
          <a:xfrm>
            <a:off x="6588919" y="2277474"/>
            <a:ext cx="1497806" cy="687182"/>
          </a:xfrm>
        </p:spPr>
        <p:txBody>
          <a:bodyPr anchor="t">
            <a:noAutofit/>
          </a:bodyPr>
          <a:lstStyle>
            <a:lvl1pPr marL="0" indent="0" algn="l">
              <a:buNone/>
              <a:defRPr sz="3200" b="1">
                <a:solidFill>
                  <a:schemeClr val="accent2"/>
                </a:solidFill>
              </a:defRPr>
            </a:lvl1pPr>
          </a:lstStyle>
          <a:p>
            <a:pPr lvl="0"/>
            <a:r>
              <a:rPr lang="en-US"/>
              <a:t>0000</a:t>
            </a:r>
          </a:p>
        </p:txBody>
      </p:sp>
      <p:sp>
        <p:nvSpPr>
          <p:cNvPr id="44" name="Text Placeholder 6">
            <a:extLst>
              <a:ext uri="{FF2B5EF4-FFF2-40B4-BE49-F238E27FC236}">
                <a16:creationId xmlns:a16="http://schemas.microsoft.com/office/drawing/2014/main" id="{9C330B96-DC27-4871-AF65-5A02FE12FE83}"/>
              </a:ext>
            </a:extLst>
          </p:cNvPr>
          <p:cNvSpPr>
            <a:spLocks noGrp="1"/>
          </p:cNvSpPr>
          <p:nvPr>
            <p:ph type="body" sz="quarter" idx="23" hasCustomPrompt="1"/>
          </p:nvPr>
        </p:nvSpPr>
        <p:spPr>
          <a:xfrm>
            <a:off x="6588919" y="4795992"/>
            <a:ext cx="4764881" cy="1103364"/>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45" name="Text Placeholder 6">
            <a:extLst>
              <a:ext uri="{FF2B5EF4-FFF2-40B4-BE49-F238E27FC236}">
                <a16:creationId xmlns:a16="http://schemas.microsoft.com/office/drawing/2014/main" id="{23BE1BB0-477A-438F-8EDE-4596C7C5D8F4}"/>
              </a:ext>
            </a:extLst>
          </p:cNvPr>
          <p:cNvSpPr>
            <a:spLocks noGrp="1"/>
          </p:cNvSpPr>
          <p:nvPr>
            <p:ph type="body" sz="quarter" idx="24" hasCustomPrompt="1"/>
          </p:nvPr>
        </p:nvSpPr>
        <p:spPr>
          <a:xfrm>
            <a:off x="6588919" y="4098900"/>
            <a:ext cx="1497806" cy="687182"/>
          </a:xfrm>
        </p:spPr>
        <p:txBody>
          <a:bodyPr anchor="t">
            <a:noAutofit/>
          </a:bodyPr>
          <a:lstStyle>
            <a:lvl1pPr marL="0" indent="0" algn="l">
              <a:buNone/>
              <a:defRPr sz="3200" b="1">
                <a:solidFill>
                  <a:schemeClr val="accent2"/>
                </a:solidFill>
              </a:defRPr>
            </a:lvl1pPr>
          </a:lstStyle>
          <a:p>
            <a:pPr lvl="0"/>
            <a:r>
              <a:rPr lang="en-US"/>
              <a:t>0000</a:t>
            </a:r>
          </a:p>
        </p:txBody>
      </p:sp>
      <p:sp>
        <p:nvSpPr>
          <p:cNvPr id="27" name="Slide Number Placeholder 4">
            <a:extLst>
              <a:ext uri="{FF2B5EF4-FFF2-40B4-BE49-F238E27FC236}">
                <a16:creationId xmlns:a16="http://schemas.microsoft.com/office/drawing/2014/main" id="{1E53760C-67B7-4DF5-9F4F-93FD50A1ADE4}"/>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397142770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losing 02">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3047440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7200" b="0" i="0" baseline="0">
              <a:latin typeface="Poppins ExtraBold" panose="00000900000000000000" pitchFamily="2" charset="0"/>
              <a:ea typeface="+mj-ea"/>
              <a:cs typeface="+mj-cs"/>
              <a:sym typeface="Poppins ExtraBold" panose="00000900000000000000" pitchFamily="2" charset="0"/>
            </a:endParaRPr>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2"/>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838200" y="1553029"/>
            <a:ext cx="5143500" cy="936624"/>
          </a:xfrm>
        </p:spPr>
        <p:txBody>
          <a:bodyPr anchor="ctr">
            <a:noAutofit/>
          </a:bodyPr>
          <a:lstStyle>
            <a:lvl1pPr marL="0" indent="0">
              <a:buNone/>
              <a:defRPr sz="3200" b="1">
                <a:solidFill>
                  <a:schemeClr val="accent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Get in touch</a:t>
            </a:r>
          </a:p>
        </p:txBody>
      </p:sp>
      <p:sp>
        <p:nvSpPr>
          <p:cNvPr id="28" name="Picture Placeholder 27">
            <a:extLst>
              <a:ext uri="{FF2B5EF4-FFF2-40B4-BE49-F238E27FC236}">
                <a16:creationId xmlns:a16="http://schemas.microsoft.com/office/drawing/2014/main" id="{9218AEC5-B009-4CA6-8C15-D341FD6254C2}"/>
              </a:ext>
            </a:extLst>
          </p:cNvPr>
          <p:cNvSpPr>
            <a:spLocks noGrp="1"/>
          </p:cNvSpPr>
          <p:nvPr>
            <p:ph type="pic" sz="quarter" idx="11"/>
          </p:nvPr>
        </p:nvSpPr>
        <p:spPr>
          <a:xfrm>
            <a:off x="6210300" y="723900"/>
            <a:ext cx="5143500" cy="5448300"/>
          </a:xfrm>
          <a:custGeom>
            <a:avLst/>
            <a:gdLst>
              <a:gd name="connsiteX0" fmla="*/ 5143500 w 5143500"/>
              <a:gd name="connsiteY0" fmla="*/ 4187827 h 5448300"/>
              <a:gd name="connsiteX1" fmla="*/ 5143500 w 5143500"/>
              <a:gd name="connsiteY1" fmla="*/ 5448300 h 5448300"/>
              <a:gd name="connsiteX2" fmla="*/ 3912579 w 5143500"/>
              <a:gd name="connsiteY2" fmla="*/ 5448300 h 5448300"/>
              <a:gd name="connsiteX3" fmla="*/ 3918931 w 5143500"/>
              <a:gd name="connsiteY3" fmla="*/ 5319433 h 5448300"/>
              <a:gd name="connsiteX4" fmla="*/ 5017606 w 5143500"/>
              <a:gd name="connsiteY4" fmla="*/ 4194335 h 5448300"/>
              <a:gd name="connsiteX5" fmla="*/ 0 w 5143500"/>
              <a:gd name="connsiteY5" fmla="*/ 0 h 5448300"/>
              <a:gd name="connsiteX6" fmla="*/ 5143500 w 5143500"/>
              <a:gd name="connsiteY6" fmla="*/ 0 h 5448300"/>
              <a:gd name="connsiteX7" fmla="*/ 5143500 w 5143500"/>
              <a:gd name="connsiteY7" fmla="*/ 3408108 h 5448300"/>
              <a:gd name="connsiteX8" fmla="*/ 4939818 w 5143500"/>
              <a:gd name="connsiteY8" fmla="*/ 3418641 h 5448300"/>
              <a:gd name="connsiteX9" fmla="*/ 3161669 w 5143500"/>
              <a:gd name="connsiteY9" fmla="*/ 5239704 h 5448300"/>
              <a:gd name="connsiteX10" fmla="*/ 3151384 w 5143500"/>
              <a:gd name="connsiteY10" fmla="*/ 5448300 h 5448300"/>
              <a:gd name="connsiteX11" fmla="*/ 0 w 5143500"/>
              <a:gd name="connsiteY11" fmla="*/ 5448300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3500" h="5448300">
                <a:moveTo>
                  <a:pt x="5143500" y="4187827"/>
                </a:moveTo>
                <a:lnTo>
                  <a:pt x="5143500" y="5448300"/>
                </a:lnTo>
                <a:lnTo>
                  <a:pt x="3912579" y="5448300"/>
                </a:lnTo>
                <a:lnTo>
                  <a:pt x="3918931" y="5319433"/>
                </a:lnTo>
                <a:cubicBezTo>
                  <a:pt x="3977740" y="4726238"/>
                  <a:pt x="4438123" y="4254586"/>
                  <a:pt x="5017606" y="4194335"/>
                </a:cubicBezTo>
                <a:close/>
                <a:moveTo>
                  <a:pt x="0" y="0"/>
                </a:moveTo>
                <a:lnTo>
                  <a:pt x="5143500" y="0"/>
                </a:lnTo>
                <a:lnTo>
                  <a:pt x="5143500" y="3408108"/>
                </a:lnTo>
                <a:lnTo>
                  <a:pt x="4939818" y="3418641"/>
                </a:lnTo>
                <a:cubicBezTo>
                  <a:pt x="4002248" y="3516155"/>
                  <a:pt x="3256884" y="4279511"/>
                  <a:pt x="3161669" y="5239704"/>
                </a:cubicBezTo>
                <a:lnTo>
                  <a:pt x="3151384" y="5448300"/>
                </a:lnTo>
                <a:lnTo>
                  <a:pt x="0" y="5448300"/>
                </a:lnTo>
                <a:close/>
              </a:path>
            </a:pathLst>
          </a:custGeom>
          <a:solidFill>
            <a:schemeClr val="accent5"/>
          </a:solidFill>
        </p:spPr>
        <p:txBody>
          <a:bodyPr wrap="square">
            <a:noAutofit/>
          </a:bodyPr>
          <a:lstStyle/>
          <a:p>
            <a:endParaRPr lang="en-US"/>
          </a:p>
        </p:txBody>
      </p:sp>
      <p:sp>
        <p:nvSpPr>
          <p:cNvPr id="18" name="Text Placeholder 19">
            <a:extLst>
              <a:ext uri="{FF2B5EF4-FFF2-40B4-BE49-F238E27FC236}">
                <a16:creationId xmlns:a16="http://schemas.microsoft.com/office/drawing/2014/main" id="{5A27E887-A1C7-4999-A975-43871A589DF6}"/>
              </a:ext>
            </a:extLst>
          </p:cNvPr>
          <p:cNvSpPr>
            <a:spLocks noGrp="1"/>
          </p:cNvSpPr>
          <p:nvPr>
            <p:ph type="body" sz="quarter" idx="12" hasCustomPrompt="1"/>
          </p:nvPr>
        </p:nvSpPr>
        <p:spPr>
          <a:xfrm>
            <a:off x="838200" y="2638423"/>
            <a:ext cx="3443514" cy="1614263"/>
          </a:xfrm>
        </p:spPr>
        <p:txBody>
          <a:bodyPr anchor="t">
            <a:noAutofit/>
          </a:bodyPr>
          <a:lstStyle>
            <a:lvl1pPr marL="0" indent="0">
              <a:buNone/>
              <a:defRPr sz="2000" b="0">
                <a:solidFill>
                  <a:schemeClr val="tx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19" name="Text Placeholder 19">
            <a:extLst>
              <a:ext uri="{FF2B5EF4-FFF2-40B4-BE49-F238E27FC236}">
                <a16:creationId xmlns:a16="http://schemas.microsoft.com/office/drawing/2014/main" id="{56119B23-2632-4155-8B4C-387550CC5D1A}"/>
              </a:ext>
            </a:extLst>
          </p:cNvPr>
          <p:cNvSpPr>
            <a:spLocks noGrp="1"/>
          </p:cNvSpPr>
          <p:nvPr>
            <p:ph type="body" sz="quarter" idx="13" hasCustomPrompt="1"/>
          </p:nvPr>
        </p:nvSpPr>
        <p:spPr>
          <a:xfrm>
            <a:off x="838200" y="4358367"/>
            <a:ext cx="5143500" cy="381000"/>
          </a:xfrm>
        </p:spPr>
        <p:txBody>
          <a:bodyPr anchor="ctr">
            <a:noAutofit/>
          </a:bodyPr>
          <a:lstStyle>
            <a:lvl1pPr marL="0" indent="0">
              <a:buNone/>
              <a:defRPr sz="1800" b="1">
                <a:solidFill>
                  <a:schemeClr val="accent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0" name="Text Placeholder 19">
            <a:extLst>
              <a:ext uri="{FF2B5EF4-FFF2-40B4-BE49-F238E27FC236}">
                <a16:creationId xmlns:a16="http://schemas.microsoft.com/office/drawing/2014/main" id="{B6EB55DA-EA74-497F-846B-D67100702BE4}"/>
              </a:ext>
            </a:extLst>
          </p:cNvPr>
          <p:cNvSpPr>
            <a:spLocks noGrp="1"/>
          </p:cNvSpPr>
          <p:nvPr>
            <p:ph type="body" sz="quarter" idx="14" hasCustomPrompt="1"/>
          </p:nvPr>
        </p:nvSpPr>
        <p:spPr>
          <a:xfrm>
            <a:off x="838200" y="4888138"/>
            <a:ext cx="3390900" cy="656320"/>
          </a:xfrm>
        </p:spPr>
        <p:txBody>
          <a:bodyPr anchor="t">
            <a:noAutofit/>
          </a:bodyPr>
          <a:lstStyle>
            <a:lvl1pPr marL="0" indent="0">
              <a:lnSpc>
                <a:spcPct val="100000"/>
              </a:lnSpc>
              <a:buNone/>
              <a:defRPr sz="2000" b="0">
                <a:solidFill>
                  <a:schemeClr val="tx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5" name="Text Placeholder 19">
            <a:extLst>
              <a:ext uri="{FF2B5EF4-FFF2-40B4-BE49-F238E27FC236}">
                <a16:creationId xmlns:a16="http://schemas.microsoft.com/office/drawing/2014/main" id="{2D3B211B-BE43-4A83-985B-B83FD16C2239}"/>
              </a:ext>
            </a:extLst>
          </p:cNvPr>
          <p:cNvSpPr>
            <a:spLocks noGrp="1"/>
          </p:cNvSpPr>
          <p:nvPr>
            <p:ph type="body" sz="quarter" idx="15" hasCustomPrompt="1"/>
          </p:nvPr>
        </p:nvSpPr>
        <p:spPr>
          <a:xfrm>
            <a:off x="1157514" y="5776686"/>
            <a:ext cx="3390900" cy="395514"/>
          </a:xfrm>
        </p:spPr>
        <p:txBody>
          <a:bodyPr anchor="ctr">
            <a:noAutofit/>
          </a:bodyPr>
          <a:lstStyle>
            <a:lvl1pPr marL="0" indent="0">
              <a:buNone/>
              <a:defRPr sz="2000" b="0">
                <a:solidFill>
                  <a:schemeClr val="tx2"/>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Location</a:t>
            </a:r>
          </a:p>
        </p:txBody>
      </p:sp>
      <p:pic>
        <p:nvPicPr>
          <p:cNvPr id="26" name="Graphic 25" descr="Marker">
            <a:extLst>
              <a:ext uri="{FF2B5EF4-FFF2-40B4-BE49-F238E27FC236}">
                <a16:creationId xmlns:a16="http://schemas.microsoft.com/office/drawing/2014/main" id="{1206ECF0-DEC8-41EE-BF89-A2E981758264}"/>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6428" y="5769428"/>
            <a:ext cx="406402" cy="406402"/>
          </a:xfrm>
          <a:prstGeom prst="rect">
            <a:avLst/>
          </a:prstGeom>
        </p:spPr>
      </p:pic>
    </p:spTree>
    <p:extLst>
      <p:ext uri="{BB962C8B-B14F-4D97-AF65-F5344CB8AC3E}">
        <p14:creationId xmlns:p14="http://schemas.microsoft.com/office/powerpoint/2010/main" val="323283756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losind 03">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529043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7200" b="0" i="0" baseline="0">
              <a:latin typeface="Poppins ExtraBold" panose="00000900000000000000" pitchFamily="2" charset="0"/>
              <a:ea typeface="+mj-ea"/>
              <a:cs typeface="+mj-cs"/>
              <a:sym typeface="Poppins ExtraBold" panose="00000900000000000000" pitchFamily="2" charset="0"/>
            </a:endParaRPr>
          </a:p>
        </p:txBody>
      </p:sp>
      <p:sp>
        <p:nvSpPr>
          <p:cNvPr id="34" name="Freeform: Shape 33">
            <a:extLst>
              <a:ext uri="{FF2B5EF4-FFF2-40B4-BE49-F238E27FC236}">
                <a16:creationId xmlns:a16="http://schemas.microsoft.com/office/drawing/2014/main" id="{50125DA0-2888-4964-B311-B44814979B1B}"/>
              </a:ext>
            </a:extLst>
          </p:cNvPr>
          <p:cNvSpPr/>
          <p:nvPr userDrawn="1"/>
        </p:nvSpPr>
        <p:spPr>
          <a:xfrm>
            <a:off x="6096000" y="723900"/>
            <a:ext cx="5319915" cy="5448300"/>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chemeClr val="accent5"/>
          </a:solidFill>
          <a:ln w="9264" cap="flat">
            <a:noFill/>
            <a:prstDash val="solid"/>
            <a:miter/>
          </a:ln>
        </p:spPr>
        <p:txBody>
          <a:bodyPr rtlCol="0" anchor="ctr"/>
          <a:lstStyle/>
          <a:p>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2"/>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18" name="Rectangle 17">
            <a:extLst>
              <a:ext uri="{FF2B5EF4-FFF2-40B4-BE49-F238E27FC236}">
                <a16:creationId xmlns:a16="http://schemas.microsoft.com/office/drawing/2014/main" id="{D3D0F794-BF98-49A7-A3AA-94AEDBE61DC7}"/>
              </a:ext>
            </a:extLst>
          </p:cNvPr>
          <p:cNvSpPr/>
          <p:nvPr userDrawn="1"/>
        </p:nvSpPr>
        <p:spPr>
          <a:xfrm>
            <a:off x="8736746" y="0"/>
            <a:ext cx="345525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2322249F-FBC2-4DD3-BD5B-014B02DCF611}"/>
              </a:ext>
            </a:extLst>
          </p:cNvPr>
          <p:cNvSpPr/>
          <p:nvPr userDrawn="1"/>
        </p:nvSpPr>
        <p:spPr>
          <a:xfrm>
            <a:off x="8736746" y="726620"/>
            <a:ext cx="2607372" cy="5442861"/>
          </a:xfrm>
          <a:custGeom>
            <a:avLst/>
            <a:gdLst>
              <a:gd name="connsiteX0" fmla="*/ 0 w 2607372"/>
              <a:gd name="connsiteY0" fmla="*/ 0 h 5442861"/>
              <a:gd name="connsiteX1" fmla="*/ 219493 w 2607372"/>
              <a:gd name="connsiteY1" fmla="*/ 11346 h 5442861"/>
              <a:gd name="connsiteX2" fmla="*/ 2607372 w 2607372"/>
              <a:gd name="connsiteY2" fmla="*/ 2721431 h 5442861"/>
              <a:gd name="connsiteX3" fmla="*/ 219375 w 2607372"/>
              <a:gd name="connsiteY3" fmla="*/ 5431517 h 5442861"/>
              <a:gd name="connsiteX4" fmla="*/ 0 w 2607372"/>
              <a:gd name="connsiteY4" fmla="*/ 5442861 h 5442861"/>
              <a:gd name="connsiteX5" fmla="*/ 0 w 2607372"/>
              <a:gd name="connsiteY5" fmla="*/ 4401749 h 5442861"/>
              <a:gd name="connsiteX6" fmla="*/ 115509 w 2607372"/>
              <a:gd name="connsiteY6" fmla="*/ 4395778 h 5442861"/>
              <a:gd name="connsiteX7" fmla="*/ 1590993 w 2607372"/>
              <a:gd name="connsiteY7" fmla="*/ 2721431 h 5442861"/>
              <a:gd name="connsiteX8" fmla="*/ 115509 w 2607372"/>
              <a:gd name="connsiteY8" fmla="*/ 1047085 h 5442861"/>
              <a:gd name="connsiteX9" fmla="*/ 0 w 2607372"/>
              <a:gd name="connsiteY9" fmla="*/ 1041113 h 544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7372" h="5442861">
                <a:moveTo>
                  <a:pt x="0" y="0"/>
                </a:moveTo>
                <a:lnTo>
                  <a:pt x="219493" y="11346"/>
                </a:lnTo>
                <a:cubicBezTo>
                  <a:pt x="1561351" y="150850"/>
                  <a:pt x="2607994" y="1310960"/>
                  <a:pt x="2607372" y="2721431"/>
                </a:cubicBezTo>
                <a:cubicBezTo>
                  <a:pt x="2607372" y="4131903"/>
                  <a:pt x="1560683" y="5292013"/>
                  <a:pt x="219375" y="5431517"/>
                </a:cubicBezTo>
                <a:lnTo>
                  <a:pt x="0" y="5442861"/>
                </a:lnTo>
                <a:lnTo>
                  <a:pt x="0" y="4401749"/>
                </a:lnTo>
                <a:lnTo>
                  <a:pt x="115509" y="4395778"/>
                </a:lnTo>
                <a:cubicBezTo>
                  <a:pt x="944533" y="4309583"/>
                  <a:pt x="1590993" y="3592791"/>
                  <a:pt x="1590993" y="2721431"/>
                </a:cubicBezTo>
                <a:cubicBezTo>
                  <a:pt x="1590993" y="1850072"/>
                  <a:pt x="944533" y="1133280"/>
                  <a:pt x="115509" y="1047085"/>
                </a:cubicBezTo>
                <a:lnTo>
                  <a:pt x="0" y="1041113"/>
                </a:lnTo>
                <a:close/>
              </a:path>
            </a:pathLst>
          </a:custGeom>
          <a:solidFill>
            <a:schemeClr val="accent2"/>
          </a:solidFill>
          <a:ln w="25400" cap="flat">
            <a:noFill/>
            <a:prstDash val="solid"/>
            <a:miter/>
          </a:ln>
        </p:spPr>
        <p:txBody>
          <a:bodyPr wrap="square" rtlCol="0" anchor="ctr">
            <a:noAutofit/>
          </a:bodyPr>
          <a:lstStyle/>
          <a:p>
            <a:endParaRPr lang="en-US"/>
          </a:p>
        </p:txBody>
      </p:sp>
      <p:sp>
        <p:nvSpPr>
          <p:cNvPr id="20" name="Text Placeholder 19">
            <a:extLst>
              <a:ext uri="{FF2B5EF4-FFF2-40B4-BE49-F238E27FC236}">
                <a16:creationId xmlns:a16="http://schemas.microsoft.com/office/drawing/2014/main" id="{A42BCB1D-1DBE-4137-AE3E-7C8FDDC1B9C7}"/>
              </a:ext>
            </a:extLst>
          </p:cNvPr>
          <p:cNvSpPr>
            <a:spLocks noGrp="1"/>
          </p:cNvSpPr>
          <p:nvPr>
            <p:ph type="body" sz="quarter" idx="10" hasCustomPrompt="1"/>
          </p:nvPr>
        </p:nvSpPr>
        <p:spPr>
          <a:xfrm>
            <a:off x="838200" y="1553029"/>
            <a:ext cx="5143500" cy="936624"/>
          </a:xfrm>
        </p:spPr>
        <p:txBody>
          <a:bodyPr anchor="ctr">
            <a:noAutofit/>
          </a:bodyPr>
          <a:lstStyle>
            <a:lvl1pPr marL="0" indent="0">
              <a:buNone/>
              <a:defRPr sz="3200" b="1">
                <a:solidFill>
                  <a:schemeClr val="accent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Get in touch</a:t>
            </a:r>
          </a:p>
        </p:txBody>
      </p:sp>
      <p:sp>
        <p:nvSpPr>
          <p:cNvPr id="25" name="Text Placeholder 19">
            <a:extLst>
              <a:ext uri="{FF2B5EF4-FFF2-40B4-BE49-F238E27FC236}">
                <a16:creationId xmlns:a16="http://schemas.microsoft.com/office/drawing/2014/main" id="{43438594-87F2-48ED-A304-431973F0FF9A}"/>
              </a:ext>
            </a:extLst>
          </p:cNvPr>
          <p:cNvSpPr>
            <a:spLocks noGrp="1"/>
          </p:cNvSpPr>
          <p:nvPr>
            <p:ph type="body" sz="quarter" idx="13" hasCustomPrompt="1"/>
          </p:nvPr>
        </p:nvSpPr>
        <p:spPr>
          <a:xfrm>
            <a:off x="838200" y="2660195"/>
            <a:ext cx="5143500" cy="381000"/>
          </a:xfrm>
        </p:spPr>
        <p:txBody>
          <a:bodyPr anchor="ctr">
            <a:noAutofit/>
          </a:bodyPr>
          <a:lstStyle>
            <a:lvl1pPr marL="0" indent="0">
              <a:buNone/>
              <a:defRPr sz="1800" b="1">
                <a:solidFill>
                  <a:schemeClr val="accent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6" name="Text Placeholder 19">
            <a:extLst>
              <a:ext uri="{FF2B5EF4-FFF2-40B4-BE49-F238E27FC236}">
                <a16:creationId xmlns:a16="http://schemas.microsoft.com/office/drawing/2014/main" id="{EE62091C-3107-44A8-B428-143FD01D2F8D}"/>
              </a:ext>
            </a:extLst>
          </p:cNvPr>
          <p:cNvSpPr>
            <a:spLocks noGrp="1"/>
          </p:cNvSpPr>
          <p:nvPr>
            <p:ph type="body" sz="quarter" idx="14" hasCustomPrompt="1"/>
          </p:nvPr>
        </p:nvSpPr>
        <p:spPr>
          <a:xfrm>
            <a:off x="838200" y="3081108"/>
            <a:ext cx="3390900" cy="656320"/>
          </a:xfrm>
        </p:spPr>
        <p:txBody>
          <a:bodyPr anchor="t">
            <a:noAutofit/>
          </a:bodyPr>
          <a:lstStyle>
            <a:lvl1pPr marL="0" indent="0">
              <a:lnSpc>
                <a:spcPct val="100000"/>
              </a:lnSpc>
              <a:buNone/>
              <a:defRPr sz="2000" b="0">
                <a:solidFill>
                  <a:schemeClr val="tx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7" name="Text Placeholder 19">
            <a:extLst>
              <a:ext uri="{FF2B5EF4-FFF2-40B4-BE49-F238E27FC236}">
                <a16:creationId xmlns:a16="http://schemas.microsoft.com/office/drawing/2014/main" id="{619E251F-4D23-4468-900C-BF5FAC2CC3A9}"/>
              </a:ext>
            </a:extLst>
          </p:cNvPr>
          <p:cNvSpPr>
            <a:spLocks noGrp="1"/>
          </p:cNvSpPr>
          <p:nvPr>
            <p:ph type="body" sz="quarter" idx="15" hasCustomPrompt="1"/>
          </p:nvPr>
        </p:nvSpPr>
        <p:spPr>
          <a:xfrm>
            <a:off x="1157514" y="3846285"/>
            <a:ext cx="3390900" cy="395514"/>
          </a:xfrm>
        </p:spPr>
        <p:txBody>
          <a:bodyPr anchor="ctr">
            <a:noAutofit/>
          </a:bodyPr>
          <a:lstStyle>
            <a:lvl1pPr marL="0" indent="0">
              <a:buNone/>
              <a:defRPr sz="2000" b="0">
                <a:solidFill>
                  <a:schemeClr val="tx2"/>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Location</a:t>
            </a:r>
          </a:p>
        </p:txBody>
      </p:sp>
      <p:pic>
        <p:nvPicPr>
          <p:cNvPr id="28" name="Graphic 27" descr="Marker">
            <a:extLst>
              <a:ext uri="{FF2B5EF4-FFF2-40B4-BE49-F238E27FC236}">
                <a16:creationId xmlns:a16="http://schemas.microsoft.com/office/drawing/2014/main" id="{FE41185B-9D93-407C-AF1F-D2B5B02B114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6428" y="3839027"/>
            <a:ext cx="406402" cy="406402"/>
          </a:xfrm>
          <a:prstGeom prst="rect">
            <a:avLst/>
          </a:prstGeom>
        </p:spPr>
      </p:pic>
      <p:sp>
        <p:nvSpPr>
          <p:cNvPr id="29" name="Text Placeholder 19">
            <a:extLst>
              <a:ext uri="{FF2B5EF4-FFF2-40B4-BE49-F238E27FC236}">
                <a16:creationId xmlns:a16="http://schemas.microsoft.com/office/drawing/2014/main" id="{F1A54FBC-0783-42C7-AAB0-447237780D1F}"/>
              </a:ext>
            </a:extLst>
          </p:cNvPr>
          <p:cNvSpPr>
            <a:spLocks noGrp="1"/>
          </p:cNvSpPr>
          <p:nvPr>
            <p:ph type="body" sz="quarter" idx="16" hasCustomPrompt="1"/>
          </p:nvPr>
        </p:nvSpPr>
        <p:spPr>
          <a:xfrm>
            <a:off x="838200" y="4521652"/>
            <a:ext cx="5143500" cy="381000"/>
          </a:xfrm>
        </p:spPr>
        <p:txBody>
          <a:bodyPr anchor="ctr">
            <a:noAutofit/>
          </a:bodyPr>
          <a:lstStyle>
            <a:lvl1pPr marL="0" indent="0">
              <a:buNone/>
              <a:defRPr sz="1800" b="1">
                <a:solidFill>
                  <a:schemeClr val="accent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30" name="Text Placeholder 19">
            <a:extLst>
              <a:ext uri="{FF2B5EF4-FFF2-40B4-BE49-F238E27FC236}">
                <a16:creationId xmlns:a16="http://schemas.microsoft.com/office/drawing/2014/main" id="{C05A40B9-D3BC-4F82-AFEE-2E5AFC78B6C0}"/>
              </a:ext>
            </a:extLst>
          </p:cNvPr>
          <p:cNvSpPr>
            <a:spLocks noGrp="1"/>
          </p:cNvSpPr>
          <p:nvPr>
            <p:ph type="body" sz="quarter" idx="17" hasCustomPrompt="1"/>
          </p:nvPr>
        </p:nvSpPr>
        <p:spPr>
          <a:xfrm>
            <a:off x="838200" y="4957080"/>
            <a:ext cx="3390900" cy="656320"/>
          </a:xfrm>
        </p:spPr>
        <p:txBody>
          <a:bodyPr anchor="t">
            <a:noAutofit/>
          </a:bodyPr>
          <a:lstStyle>
            <a:lvl1pPr marL="0" indent="0">
              <a:lnSpc>
                <a:spcPct val="100000"/>
              </a:lnSpc>
              <a:buNone/>
              <a:defRPr sz="2000" b="0">
                <a:solidFill>
                  <a:schemeClr val="tx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31" name="Text Placeholder 19">
            <a:extLst>
              <a:ext uri="{FF2B5EF4-FFF2-40B4-BE49-F238E27FC236}">
                <a16:creationId xmlns:a16="http://schemas.microsoft.com/office/drawing/2014/main" id="{91FA6253-C047-48A2-BA4B-9489970CDBF3}"/>
              </a:ext>
            </a:extLst>
          </p:cNvPr>
          <p:cNvSpPr>
            <a:spLocks noGrp="1"/>
          </p:cNvSpPr>
          <p:nvPr>
            <p:ph type="body" sz="quarter" idx="18" hasCustomPrompt="1"/>
          </p:nvPr>
        </p:nvSpPr>
        <p:spPr>
          <a:xfrm>
            <a:off x="1157514" y="5776686"/>
            <a:ext cx="3390900" cy="395514"/>
          </a:xfrm>
        </p:spPr>
        <p:txBody>
          <a:bodyPr anchor="ctr">
            <a:noAutofit/>
          </a:bodyPr>
          <a:lstStyle>
            <a:lvl1pPr marL="0" indent="0">
              <a:buNone/>
              <a:defRPr sz="2000" b="0">
                <a:solidFill>
                  <a:schemeClr val="tx2"/>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Location</a:t>
            </a:r>
          </a:p>
        </p:txBody>
      </p:sp>
      <p:pic>
        <p:nvPicPr>
          <p:cNvPr id="32" name="Graphic 31" descr="Marker">
            <a:extLst>
              <a:ext uri="{FF2B5EF4-FFF2-40B4-BE49-F238E27FC236}">
                <a16:creationId xmlns:a16="http://schemas.microsoft.com/office/drawing/2014/main" id="{16E13A47-C8D5-4FFF-9214-2AF186DA8BD5}"/>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6428" y="5769428"/>
            <a:ext cx="406402" cy="406402"/>
          </a:xfrm>
          <a:prstGeom prst="rect">
            <a:avLst/>
          </a:prstGeom>
        </p:spPr>
      </p:pic>
      <p:cxnSp>
        <p:nvCxnSpPr>
          <p:cNvPr id="3" name="Straight Connector 2">
            <a:extLst>
              <a:ext uri="{FF2B5EF4-FFF2-40B4-BE49-F238E27FC236}">
                <a16:creationId xmlns:a16="http://schemas.microsoft.com/office/drawing/2014/main" id="{853673FB-BAD4-4556-AD14-9ADD867C2AE6}"/>
              </a:ext>
            </a:extLst>
          </p:cNvPr>
          <p:cNvCxnSpPr/>
          <p:nvPr userDrawn="1"/>
        </p:nvCxnSpPr>
        <p:spPr>
          <a:xfrm>
            <a:off x="838200" y="4434114"/>
            <a:ext cx="33909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733684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losing 05">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3304445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21F82D18-A7FF-456E-805E-A70AC625A2E8}"/>
              </a:ext>
            </a:extLst>
          </p:cNvPr>
          <p:cNvSpPr/>
          <p:nvPr userDrawn="1"/>
        </p:nvSpPr>
        <p:spPr>
          <a:xfrm>
            <a:off x="0" y="0"/>
            <a:ext cx="77343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9" name="Picture Placeholder 8">
            <a:extLst>
              <a:ext uri="{FF2B5EF4-FFF2-40B4-BE49-F238E27FC236}">
                <a16:creationId xmlns:a16="http://schemas.microsoft.com/office/drawing/2014/main" id="{58CE89ED-413D-47E7-B6FD-C32A75B80955}"/>
              </a:ext>
            </a:extLst>
          </p:cNvPr>
          <p:cNvSpPr>
            <a:spLocks noGrp="1"/>
          </p:cNvSpPr>
          <p:nvPr>
            <p:ph type="pic" sz="quarter" idx="11"/>
          </p:nvPr>
        </p:nvSpPr>
        <p:spPr>
          <a:xfrm>
            <a:off x="7734300" y="0"/>
            <a:ext cx="4457700" cy="6858000"/>
          </a:xfrm>
        </p:spPr>
        <p:txBody>
          <a:bodyPr/>
          <a:lstStyle/>
          <a:p>
            <a:endParaRPr lang="en-US"/>
          </a:p>
        </p:txBody>
      </p:sp>
      <p:sp>
        <p:nvSpPr>
          <p:cNvPr id="18" name="Text Placeholder 19">
            <a:extLst>
              <a:ext uri="{FF2B5EF4-FFF2-40B4-BE49-F238E27FC236}">
                <a16:creationId xmlns:a16="http://schemas.microsoft.com/office/drawing/2014/main" id="{1A430E2B-8ED8-4D85-9C56-176192A4A79D}"/>
              </a:ext>
            </a:extLst>
          </p:cNvPr>
          <p:cNvSpPr>
            <a:spLocks noGrp="1"/>
          </p:cNvSpPr>
          <p:nvPr>
            <p:ph type="body" sz="quarter" idx="10" hasCustomPrompt="1"/>
          </p:nvPr>
        </p:nvSpPr>
        <p:spPr>
          <a:xfrm>
            <a:off x="838200" y="1553029"/>
            <a:ext cx="5143500" cy="936624"/>
          </a:xfrm>
        </p:spPr>
        <p:txBody>
          <a:bodyPr anchor="ctr">
            <a:noAutofit/>
          </a:bodyPr>
          <a:lstStyle>
            <a:lvl1pPr marL="0" indent="0">
              <a:buNone/>
              <a:defRPr sz="3200" b="1">
                <a:solidFill>
                  <a:schemeClr val="bg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Get in touch</a:t>
            </a:r>
          </a:p>
        </p:txBody>
      </p:sp>
      <p:sp>
        <p:nvSpPr>
          <p:cNvPr id="19" name="Text Placeholder 19">
            <a:extLst>
              <a:ext uri="{FF2B5EF4-FFF2-40B4-BE49-F238E27FC236}">
                <a16:creationId xmlns:a16="http://schemas.microsoft.com/office/drawing/2014/main" id="{995DB472-FD40-4927-BF49-923A6B809C18}"/>
              </a:ext>
            </a:extLst>
          </p:cNvPr>
          <p:cNvSpPr>
            <a:spLocks noGrp="1"/>
          </p:cNvSpPr>
          <p:nvPr>
            <p:ph type="body" sz="quarter" idx="13" hasCustomPrompt="1"/>
          </p:nvPr>
        </p:nvSpPr>
        <p:spPr>
          <a:xfrm>
            <a:off x="838200" y="2660195"/>
            <a:ext cx="5143500" cy="381000"/>
          </a:xfrm>
        </p:spPr>
        <p:txBody>
          <a:bodyPr anchor="ctr">
            <a:noAutofit/>
          </a:bodyPr>
          <a:lstStyle>
            <a:lvl1pPr marL="0" indent="0">
              <a:buNone/>
              <a:defRPr sz="20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0" name="Text Placeholder 19">
            <a:extLst>
              <a:ext uri="{FF2B5EF4-FFF2-40B4-BE49-F238E27FC236}">
                <a16:creationId xmlns:a16="http://schemas.microsoft.com/office/drawing/2014/main" id="{556786F3-6457-4101-9D74-9846484E508D}"/>
              </a:ext>
            </a:extLst>
          </p:cNvPr>
          <p:cNvSpPr>
            <a:spLocks noGrp="1"/>
          </p:cNvSpPr>
          <p:nvPr>
            <p:ph type="body" sz="quarter" idx="14" hasCustomPrompt="1"/>
          </p:nvPr>
        </p:nvSpPr>
        <p:spPr>
          <a:xfrm>
            <a:off x="838200" y="3081108"/>
            <a:ext cx="3390900" cy="656320"/>
          </a:xfrm>
        </p:spPr>
        <p:txBody>
          <a:bodyPr anchor="t">
            <a:noAutofit/>
          </a:bodyPr>
          <a:lstStyle>
            <a:lvl1pPr marL="0" indent="0">
              <a:lnSpc>
                <a:spcPct val="100000"/>
              </a:lnSpc>
              <a:buNone/>
              <a:defRPr sz="20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2" name="Text Placeholder 19">
            <a:extLst>
              <a:ext uri="{FF2B5EF4-FFF2-40B4-BE49-F238E27FC236}">
                <a16:creationId xmlns:a16="http://schemas.microsoft.com/office/drawing/2014/main" id="{993CAD56-7ECD-4BCF-BCBE-E722F11EFAAD}"/>
              </a:ext>
            </a:extLst>
          </p:cNvPr>
          <p:cNvSpPr>
            <a:spLocks noGrp="1"/>
          </p:cNvSpPr>
          <p:nvPr>
            <p:ph type="body" sz="quarter" idx="15" hasCustomPrompt="1"/>
          </p:nvPr>
        </p:nvSpPr>
        <p:spPr>
          <a:xfrm>
            <a:off x="1157514" y="3846285"/>
            <a:ext cx="3390900" cy="395514"/>
          </a:xfrm>
        </p:spPr>
        <p:txBody>
          <a:bodyPr anchor="ctr">
            <a:noAutofit/>
          </a:bodyPr>
          <a:lstStyle>
            <a:lvl1pPr marL="0" indent="0">
              <a:buNone/>
              <a:defRPr sz="1600" b="0">
                <a:solidFill>
                  <a:schemeClr val="bg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Location</a:t>
            </a:r>
          </a:p>
        </p:txBody>
      </p:sp>
      <p:pic>
        <p:nvPicPr>
          <p:cNvPr id="25" name="Graphic 24" descr="Marker">
            <a:extLst>
              <a:ext uri="{FF2B5EF4-FFF2-40B4-BE49-F238E27FC236}">
                <a16:creationId xmlns:a16="http://schemas.microsoft.com/office/drawing/2014/main" id="{A1682CF7-DD18-4D06-AF3A-C6D45EEA71E8}"/>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6428" y="3839027"/>
            <a:ext cx="406402" cy="406402"/>
          </a:xfrm>
          <a:prstGeom prst="rect">
            <a:avLst/>
          </a:prstGeom>
        </p:spPr>
      </p:pic>
      <p:sp>
        <p:nvSpPr>
          <p:cNvPr id="27" name="Text Placeholder 19">
            <a:extLst>
              <a:ext uri="{FF2B5EF4-FFF2-40B4-BE49-F238E27FC236}">
                <a16:creationId xmlns:a16="http://schemas.microsoft.com/office/drawing/2014/main" id="{B9945815-D07B-4DC9-AE2F-444DEE42DEAA}"/>
              </a:ext>
            </a:extLst>
          </p:cNvPr>
          <p:cNvSpPr>
            <a:spLocks noGrp="1"/>
          </p:cNvSpPr>
          <p:nvPr>
            <p:ph type="body" sz="quarter" idx="16" hasCustomPrompt="1"/>
          </p:nvPr>
        </p:nvSpPr>
        <p:spPr>
          <a:xfrm>
            <a:off x="838200" y="4521652"/>
            <a:ext cx="5143500" cy="381000"/>
          </a:xfrm>
        </p:spPr>
        <p:txBody>
          <a:bodyPr anchor="ctr">
            <a:noAutofit/>
          </a:bodyPr>
          <a:lstStyle>
            <a:lvl1pPr marL="0" indent="0">
              <a:buNone/>
              <a:defRPr sz="20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8" name="Text Placeholder 19">
            <a:extLst>
              <a:ext uri="{FF2B5EF4-FFF2-40B4-BE49-F238E27FC236}">
                <a16:creationId xmlns:a16="http://schemas.microsoft.com/office/drawing/2014/main" id="{83C797FB-88CF-4E5D-9527-516888E34010}"/>
              </a:ext>
            </a:extLst>
          </p:cNvPr>
          <p:cNvSpPr>
            <a:spLocks noGrp="1"/>
          </p:cNvSpPr>
          <p:nvPr>
            <p:ph type="body" sz="quarter" idx="17" hasCustomPrompt="1"/>
          </p:nvPr>
        </p:nvSpPr>
        <p:spPr>
          <a:xfrm>
            <a:off x="838200" y="4957080"/>
            <a:ext cx="3390900" cy="656320"/>
          </a:xfrm>
        </p:spPr>
        <p:txBody>
          <a:bodyPr anchor="t">
            <a:noAutofit/>
          </a:bodyPr>
          <a:lstStyle>
            <a:lvl1pPr marL="0" indent="0">
              <a:lnSpc>
                <a:spcPct val="100000"/>
              </a:lnSpc>
              <a:buNone/>
              <a:defRPr sz="20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9" name="Text Placeholder 19">
            <a:extLst>
              <a:ext uri="{FF2B5EF4-FFF2-40B4-BE49-F238E27FC236}">
                <a16:creationId xmlns:a16="http://schemas.microsoft.com/office/drawing/2014/main" id="{4AD3F5B7-EE9D-4708-81E6-88D865106AD5}"/>
              </a:ext>
            </a:extLst>
          </p:cNvPr>
          <p:cNvSpPr>
            <a:spLocks noGrp="1"/>
          </p:cNvSpPr>
          <p:nvPr>
            <p:ph type="body" sz="quarter" idx="18" hasCustomPrompt="1"/>
          </p:nvPr>
        </p:nvSpPr>
        <p:spPr>
          <a:xfrm>
            <a:off x="1157514" y="5776686"/>
            <a:ext cx="3390900" cy="395514"/>
          </a:xfrm>
        </p:spPr>
        <p:txBody>
          <a:bodyPr anchor="ctr">
            <a:noAutofit/>
          </a:bodyPr>
          <a:lstStyle>
            <a:lvl1pPr marL="0" indent="0">
              <a:buNone/>
              <a:defRPr sz="1600" b="0">
                <a:solidFill>
                  <a:schemeClr val="bg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Location</a:t>
            </a:r>
          </a:p>
        </p:txBody>
      </p:sp>
      <p:pic>
        <p:nvPicPr>
          <p:cNvPr id="30" name="Graphic 29" descr="Marker">
            <a:extLst>
              <a:ext uri="{FF2B5EF4-FFF2-40B4-BE49-F238E27FC236}">
                <a16:creationId xmlns:a16="http://schemas.microsoft.com/office/drawing/2014/main" id="{BD0DD077-8224-45CE-845F-CF9B1DC3406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6428" y="5769428"/>
            <a:ext cx="406402" cy="406402"/>
          </a:xfrm>
          <a:prstGeom prst="rect">
            <a:avLst/>
          </a:prstGeom>
        </p:spPr>
      </p:pic>
      <p:cxnSp>
        <p:nvCxnSpPr>
          <p:cNvPr id="31" name="Straight Connector 30">
            <a:extLst>
              <a:ext uri="{FF2B5EF4-FFF2-40B4-BE49-F238E27FC236}">
                <a16:creationId xmlns:a16="http://schemas.microsoft.com/office/drawing/2014/main" id="{95A7297C-A002-42F4-8627-C9E3C2936A43}"/>
              </a:ext>
            </a:extLst>
          </p:cNvPr>
          <p:cNvCxnSpPr/>
          <p:nvPr userDrawn="1"/>
        </p:nvCxnSpPr>
        <p:spPr>
          <a:xfrm>
            <a:off x="838200" y="4434114"/>
            <a:ext cx="33909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207705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04">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528480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904999" y="0"/>
            <a:ext cx="10287001" cy="6857999"/>
          </a:xfrm>
          <a:prstGeom prst="rect">
            <a:avLst/>
          </a:prstGeom>
          <a:gradFill>
            <a:gsLst>
              <a:gs pos="0">
                <a:schemeClr val="accent5">
                  <a:lumMod val="10000"/>
                  <a:alpha val="73000"/>
                </a:schemeClr>
              </a:gs>
              <a:gs pos="46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4551896"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4457700" y="2288320"/>
            <a:ext cx="5143499" cy="2281360"/>
          </a:xfrm>
        </p:spPr>
        <p:txBody>
          <a:bodyPr anchor="ctr">
            <a:noAutofit/>
          </a:bodyPr>
          <a:lstStyle>
            <a:lvl1pPr>
              <a:defRPr sz="4400">
                <a:solidFill>
                  <a:schemeClr val="bg1"/>
                </a:solidFill>
              </a:defRPr>
            </a:lvl1pPr>
          </a:lstStyle>
          <a:p>
            <a:r>
              <a:rPr lang="en-US"/>
              <a:t>Closing slide</a:t>
            </a:r>
          </a:p>
        </p:txBody>
      </p:sp>
      <p:sp>
        <p:nvSpPr>
          <p:cNvPr id="26" name="Freeform: Shape 25">
            <a:extLst>
              <a:ext uri="{FF2B5EF4-FFF2-40B4-BE49-F238E27FC236}">
                <a16:creationId xmlns:a16="http://schemas.microsoft.com/office/drawing/2014/main" id="{F2A2AE34-7892-42F4-AFE1-463A5BEF0007}"/>
              </a:ext>
            </a:extLst>
          </p:cNvPr>
          <p:cNvSpPr/>
          <p:nvPr userDrawn="1"/>
        </p:nvSpPr>
        <p:spPr>
          <a:xfrm rot="10800000">
            <a:off x="1" y="0"/>
            <a:ext cx="3497357" cy="6858000"/>
          </a:xfrm>
          <a:custGeom>
            <a:avLst/>
            <a:gdLst>
              <a:gd name="connsiteX0" fmla="*/ 1398588 w 3497357"/>
              <a:gd name="connsiteY0" fmla="*/ 0 h 6858000"/>
              <a:gd name="connsiteX1" fmla="*/ 3497357 w 3497357"/>
              <a:gd name="connsiteY1" fmla="*/ 0 h 6858000"/>
              <a:gd name="connsiteX2" fmla="*/ 3497357 w 3497357"/>
              <a:gd name="connsiteY2" fmla="*/ 722525 h 6858000"/>
              <a:gd name="connsiteX3" fmla="*/ 3321786 w 3497357"/>
              <a:gd name="connsiteY3" fmla="*/ 809134 h 6858000"/>
              <a:gd name="connsiteX4" fmla="*/ 1799307 w 3497357"/>
              <a:gd name="connsiteY4" fmla="*/ 3429000 h 6858000"/>
              <a:gd name="connsiteX5" fmla="*/ 3322313 w 3497357"/>
              <a:gd name="connsiteY5" fmla="*/ 6048867 h 6858000"/>
              <a:gd name="connsiteX6" fmla="*/ 3497357 w 3497357"/>
              <a:gd name="connsiteY6" fmla="*/ 6135224 h 6858000"/>
              <a:gd name="connsiteX7" fmla="*/ 3497357 w 3497357"/>
              <a:gd name="connsiteY7" fmla="*/ 6858000 h 6858000"/>
              <a:gd name="connsiteX8" fmla="*/ 1398588 w 3497357"/>
              <a:gd name="connsiteY8" fmla="*/ 6858000 h 6858000"/>
              <a:gd name="connsiteX9" fmla="*/ 1379218 w 3497357"/>
              <a:gd name="connsiteY9" fmla="*/ 6839087 h 6858000"/>
              <a:gd name="connsiteX10" fmla="*/ 0 w 3497357"/>
              <a:gd name="connsiteY10" fmla="*/ 3429000 h 6858000"/>
              <a:gd name="connsiteX11" fmla="*/ 1379218 w 3497357"/>
              <a:gd name="connsiteY11" fmla="*/ 189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357" h="6858000">
                <a:moveTo>
                  <a:pt x="1398588" y="0"/>
                </a:moveTo>
                <a:lnTo>
                  <a:pt x="3497357" y="0"/>
                </a:lnTo>
                <a:lnTo>
                  <a:pt x="3497357" y="722525"/>
                </a:lnTo>
                <a:lnTo>
                  <a:pt x="3321786" y="809134"/>
                </a:lnTo>
                <a:cubicBezTo>
                  <a:pt x="2414760" y="1313706"/>
                  <a:pt x="1799307" y="2297777"/>
                  <a:pt x="1799307" y="3429000"/>
                </a:cubicBezTo>
                <a:cubicBezTo>
                  <a:pt x="1799307" y="4560224"/>
                  <a:pt x="2415321" y="5544294"/>
                  <a:pt x="3322313" y="6048867"/>
                </a:cubicBezTo>
                <a:lnTo>
                  <a:pt x="3497357" y="6135224"/>
                </a:lnTo>
                <a:lnTo>
                  <a:pt x="3497357" y="6858000"/>
                </a:lnTo>
                <a:lnTo>
                  <a:pt x="1398588" y="6858000"/>
                </a:lnTo>
                <a:lnTo>
                  <a:pt x="1379218" y="6839087"/>
                </a:lnTo>
                <a:cubicBezTo>
                  <a:pt x="527066" y="5966368"/>
                  <a:pt x="0" y="4760720"/>
                  <a:pt x="0" y="3429000"/>
                </a:cubicBezTo>
                <a:cubicBezTo>
                  <a:pt x="0" y="2097281"/>
                  <a:pt x="527066" y="891632"/>
                  <a:pt x="1379218" y="18914"/>
                </a:cubicBezTo>
                <a:close/>
              </a:path>
            </a:pathLst>
          </a:custGeom>
          <a:solidFill>
            <a:schemeClr val="accent2"/>
          </a:solidFill>
          <a:ln w="9264" cap="flat">
            <a:noFill/>
            <a:prstDash val="solid"/>
            <a:miter/>
          </a:ln>
        </p:spPr>
        <p:txBody>
          <a:bodyPr wrap="square" rtlCol="0" anchor="ctr">
            <a:noAutofit/>
          </a:bodyPr>
          <a:lstStyle/>
          <a:p>
            <a:endParaRPr lang="en-US"/>
          </a:p>
        </p:txBody>
      </p:sp>
      <p:sp>
        <p:nvSpPr>
          <p:cNvPr id="18" name="Freeform: Shape 17">
            <a:extLst>
              <a:ext uri="{FF2B5EF4-FFF2-40B4-BE49-F238E27FC236}">
                <a16:creationId xmlns:a16="http://schemas.microsoft.com/office/drawing/2014/main" id="{E16B03FA-0ED2-4DEC-8263-A2CD8B9152E6}"/>
              </a:ext>
            </a:extLst>
          </p:cNvPr>
          <p:cNvSpPr/>
          <p:nvPr userDrawn="1"/>
        </p:nvSpPr>
        <p:spPr>
          <a:xfrm>
            <a:off x="8655578" y="2750662"/>
            <a:ext cx="678922" cy="1356677"/>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a:p>
        </p:txBody>
      </p:sp>
    </p:spTree>
    <p:extLst>
      <p:ext uri="{BB962C8B-B14F-4D97-AF65-F5344CB8AC3E}">
        <p14:creationId xmlns:p14="http://schemas.microsoft.com/office/powerpoint/2010/main" val="322231997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losing">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776882B-B6FA-4247-837A-97CF996CBF72}"/>
              </a:ext>
            </a:extLst>
          </p:cNvPr>
          <p:cNvGraphicFramePr>
            <a:graphicFrameLocks noChangeAspect="1"/>
          </p:cNvGraphicFramePr>
          <p:nvPr userDrawn="1">
            <p:custDataLst>
              <p:tags r:id="rId1"/>
            </p:custDataLst>
            <p:extLst>
              <p:ext uri="{D42A27DB-BD31-4B8C-83A1-F6EECF244321}">
                <p14:modId xmlns:p14="http://schemas.microsoft.com/office/powerpoint/2010/main" val="2232294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16" name="Object 15" hidden="1">
                        <a:extLst>
                          <a:ext uri="{FF2B5EF4-FFF2-40B4-BE49-F238E27FC236}">
                            <a16:creationId xmlns:a16="http://schemas.microsoft.com/office/drawing/2014/main" id="{1776882B-B6FA-4247-837A-97CF996CBF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EC76C1CB-1CF7-45DF-AB63-A29E3E1B98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7200" b="0" i="0" baseline="0">
              <a:latin typeface="Poppins ExtraBold" panose="00000900000000000000" pitchFamily="2" charset="0"/>
              <a:ea typeface="+mj-ea"/>
              <a:cs typeface="+mj-cs"/>
              <a:sym typeface="Poppins ExtraBold" panose="00000900000000000000" pitchFamily="2" charset="0"/>
            </a:endParaRPr>
          </a:p>
        </p:txBody>
      </p:sp>
      <p:sp>
        <p:nvSpPr>
          <p:cNvPr id="5" name="Rectangle 4">
            <a:extLst>
              <a:ext uri="{FF2B5EF4-FFF2-40B4-BE49-F238E27FC236}">
                <a16:creationId xmlns:a16="http://schemas.microsoft.com/office/drawing/2014/main" id="{A125620E-B7F4-47D4-9203-9C2D6590298E}"/>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E6C6DDF7-879A-4E7C-BAE9-0C03D0717054}"/>
              </a:ext>
            </a:extLst>
          </p:cNvPr>
          <p:cNvSpPr/>
          <p:nvPr userDrawn="1"/>
        </p:nvSpPr>
        <p:spPr>
          <a:xfrm rot="5400000">
            <a:off x="7290914" y="1956914"/>
            <a:ext cx="4985260" cy="4816912"/>
          </a:xfrm>
          <a:custGeom>
            <a:avLst/>
            <a:gdLst>
              <a:gd name="connsiteX0" fmla="*/ 0 w 4985260"/>
              <a:gd name="connsiteY0" fmla="*/ 0 h 4816912"/>
              <a:gd name="connsiteX1" fmla="*/ 1878781 w 4985260"/>
              <a:gd name="connsiteY1" fmla="*/ 0 h 4816912"/>
              <a:gd name="connsiteX2" fmla="*/ 1886645 w 4985260"/>
              <a:gd name="connsiteY2" fmla="*/ 105851 h 4816912"/>
              <a:gd name="connsiteX3" fmla="*/ 4904969 w 4985260"/>
              <a:gd name="connsiteY3" fmla="*/ 2895050 h 4816912"/>
              <a:gd name="connsiteX4" fmla="*/ 4985260 w 4985260"/>
              <a:gd name="connsiteY4" fmla="*/ 2892971 h 4816912"/>
              <a:gd name="connsiteX5" fmla="*/ 4985260 w 4985260"/>
              <a:gd name="connsiteY5" fmla="*/ 4814833 h 4816912"/>
              <a:gd name="connsiteX6" fmla="*/ 4904969 w 4985260"/>
              <a:gd name="connsiteY6" fmla="*/ 4816912 h 4816912"/>
              <a:gd name="connsiteX7" fmla="*/ 1160 w 4985260"/>
              <a:gd name="connsiteY7" fmla="*/ 46991 h 481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5260" h="4816912">
                <a:moveTo>
                  <a:pt x="0" y="0"/>
                </a:moveTo>
                <a:lnTo>
                  <a:pt x="1878781" y="0"/>
                </a:lnTo>
                <a:lnTo>
                  <a:pt x="1886645" y="105851"/>
                </a:lnTo>
                <a:cubicBezTo>
                  <a:pt x="2042084" y="1672405"/>
                  <a:pt x="3334663" y="2895050"/>
                  <a:pt x="4904969" y="2895050"/>
                </a:cubicBezTo>
                <a:lnTo>
                  <a:pt x="4985260" y="2892971"/>
                </a:lnTo>
                <a:lnTo>
                  <a:pt x="4985260" y="4814833"/>
                </a:lnTo>
                <a:lnTo>
                  <a:pt x="4904969" y="4816912"/>
                </a:lnTo>
                <a:cubicBezTo>
                  <a:pt x="2277879" y="4816912"/>
                  <a:pt x="132671" y="2703997"/>
                  <a:pt x="1160" y="46991"/>
                </a:cubicBezTo>
                <a:close/>
              </a:path>
            </a:pathLst>
          </a:custGeom>
          <a:solidFill>
            <a:srgbClr val="FF9E18"/>
          </a:solidFill>
          <a:ln w="9264" cap="flat">
            <a:noFill/>
            <a:prstDash val="solid"/>
            <a:miter/>
          </a:ln>
        </p:spPr>
        <p:txBody>
          <a:bodyPr wrap="square" rtlCol="0" anchor="ctr">
            <a:noAutofit/>
          </a:bodyPr>
          <a:lstStyle/>
          <a:p>
            <a:endParaRPr lang="en-US"/>
          </a:p>
        </p:txBody>
      </p:sp>
      <p:grpSp>
        <p:nvGrpSpPr>
          <p:cNvPr id="9" name="Graphic 6">
            <a:extLst>
              <a:ext uri="{FF2B5EF4-FFF2-40B4-BE49-F238E27FC236}">
                <a16:creationId xmlns:a16="http://schemas.microsoft.com/office/drawing/2014/main" id="{E1BA4648-BD6E-4E74-8851-45EBABEF72E7}"/>
              </a:ext>
            </a:extLst>
          </p:cNvPr>
          <p:cNvGrpSpPr/>
          <p:nvPr/>
        </p:nvGrpSpPr>
        <p:grpSpPr>
          <a:xfrm>
            <a:off x="932397" y="702032"/>
            <a:ext cx="1063488" cy="459481"/>
            <a:chOff x="85969" y="3646150"/>
            <a:chExt cx="1544103" cy="667132"/>
          </a:xfrm>
          <a:solidFill>
            <a:schemeClr val="bg1"/>
          </a:solidFill>
        </p:grpSpPr>
        <p:sp>
          <p:nvSpPr>
            <p:cNvPr id="11" name="Freeform: Shape 10">
              <a:extLst>
                <a:ext uri="{FF2B5EF4-FFF2-40B4-BE49-F238E27FC236}">
                  <a16:creationId xmlns:a16="http://schemas.microsoft.com/office/drawing/2014/main" id="{98C1CA3B-8903-4213-A8E6-83E0B43BD8C1}"/>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5836414-77CE-417A-9897-D3290681691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487FDF2-DA56-4525-800E-1EC016598F5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D217F72-15C5-468B-81F4-C205BCEC74DD}"/>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0DD8270-24BC-42A8-8EBA-64CB62DD4CD1}"/>
              </a:ext>
            </a:extLst>
          </p:cNvPr>
          <p:cNvSpPr>
            <a:spLocks noGrp="1"/>
          </p:cNvSpPr>
          <p:nvPr>
            <p:ph type="title" hasCustomPrompt="1"/>
          </p:nvPr>
        </p:nvSpPr>
        <p:spPr>
          <a:xfrm>
            <a:off x="838201" y="2399043"/>
            <a:ext cx="5143499" cy="2281360"/>
          </a:xfrm>
        </p:spPr>
        <p:txBody>
          <a:bodyPr anchor="ctr">
            <a:noAutofit/>
          </a:bodyPr>
          <a:lstStyle>
            <a:lvl1pPr>
              <a:defRPr sz="4400">
                <a:solidFill>
                  <a:schemeClr val="bg1"/>
                </a:solidFill>
              </a:defRPr>
            </a:lvl1pPr>
          </a:lstStyle>
          <a:p>
            <a:r>
              <a:rPr lang="en-US"/>
              <a:t>Thanks</a:t>
            </a:r>
          </a:p>
        </p:txBody>
      </p:sp>
    </p:spTree>
    <p:extLst>
      <p:ext uri="{BB962C8B-B14F-4D97-AF65-F5344CB8AC3E}">
        <p14:creationId xmlns:p14="http://schemas.microsoft.com/office/powerpoint/2010/main" val="118238155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7774005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7_Title Slide">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776882B-B6FA-4247-837A-97CF996CBF72}"/>
              </a:ext>
            </a:extLst>
          </p:cNvPr>
          <p:cNvGraphicFramePr>
            <a:graphicFrameLocks noChangeAspect="1"/>
          </p:cNvGraphicFramePr>
          <p:nvPr userDrawn="1">
            <p:custDataLst>
              <p:tags r:id="rId1"/>
            </p:custDataLst>
            <p:extLst>
              <p:ext uri="{D42A27DB-BD31-4B8C-83A1-F6EECF244321}">
                <p14:modId xmlns:p14="http://schemas.microsoft.com/office/powerpoint/2010/main" val="2448964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16" name="Object 15" hidden="1">
                        <a:extLst>
                          <a:ext uri="{FF2B5EF4-FFF2-40B4-BE49-F238E27FC236}">
                            <a16:creationId xmlns:a16="http://schemas.microsoft.com/office/drawing/2014/main" id="{1776882B-B6FA-4247-837A-97CF996CBF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EC76C1CB-1CF7-45DF-AB63-A29E3E1B98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5" name="Rectangle 4">
            <a:extLst>
              <a:ext uri="{FF2B5EF4-FFF2-40B4-BE49-F238E27FC236}">
                <a16:creationId xmlns:a16="http://schemas.microsoft.com/office/drawing/2014/main" id="{A125620E-B7F4-47D4-9203-9C2D6590298E}"/>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E6C6DDF7-879A-4E7C-BAE9-0C03D0717054}"/>
              </a:ext>
            </a:extLst>
          </p:cNvPr>
          <p:cNvSpPr/>
          <p:nvPr userDrawn="1"/>
        </p:nvSpPr>
        <p:spPr>
          <a:xfrm>
            <a:off x="7206740" y="0"/>
            <a:ext cx="4985260" cy="4816912"/>
          </a:xfrm>
          <a:custGeom>
            <a:avLst/>
            <a:gdLst>
              <a:gd name="connsiteX0" fmla="*/ 0 w 4985260"/>
              <a:gd name="connsiteY0" fmla="*/ 0 h 4816912"/>
              <a:gd name="connsiteX1" fmla="*/ 1878781 w 4985260"/>
              <a:gd name="connsiteY1" fmla="*/ 0 h 4816912"/>
              <a:gd name="connsiteX2" fmla="*/ 1886645 w 4985260"/>
              <a:gd name="connsiteY2" fmla="*/ 105851 h 4816912"/>
              <a:gd name="connsiteX3" fmla="*/ 4904969 w 4985260"/>
              <a:gd name="connsiteY3" fmla="*/ 2895050 h 4816912"/>
              <a:gd name="connsiteX4" fmla="*/ 4985260 w 4985260"/>
              <a:gd name="connsiteY4" fmla="*/ 2892971 h 4816912"/>
              <a:gd name="connsiteX5" fmla="*/ 4985260 w 4985260"/>
              <a:gd name="connsiteY5" fmla="*/ 4814833 h 4816912"/>
              <a:gd name="connsiteX6" fmla="*/ 4904969 w 4985260"/>
              <a:gd name="connsiteY6" fmla="*/ 4816912 h 4816912"/>
              <a:gd name="connsiteX7" fmla="*/ 1160 w 4985260"/>
              <a:gd name="connsiteY7" fmla="*/ 46991 h 481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5260" h="4816912">
                <a:moveTo>
                  <a:pt x="0" y="0"/>
                </a:moveTo>
                <a:lnTo>
                  <a:pt x="1878781" y="0"/>
                </a:lnTo>
                <a:lnTo>
                  <a:pt x="1886645" y="105851"/>
                </a:lnTo>
                <a:cubicBezTo>
                  <a:pt x="2042084" y="1672405"/>
                  <a:pt x="3334663" y="2895050"/>
                  <a:pt x="4904969" y="2895050"/>
                </a:cubicBezTo>
                <a:lnTo>
                  <a:pt x="4985260" y="2892971"/>
                </a:lnTo>
                <a:lnTo>
                  <a:pt x="4985260" y="4814833"/>
                </a:lnTo>
                <a:lnTo>
                  <a:pt x="4904969" y="4816912"/>
                </a:lnTo>
                <a:cubicBezTo>
                  <a:pt x="2277879" y="4816912"/>
                  <a:pt x="132671" y="2703997"/>
                  <a:pt x="1160" y="46991"/>
                </a:cubicBezTo>
                <a:close/>
              </a:path>
            </a:pathLst>
          </a:custGeom>
          <a:solidFill>
            <a:srgbClr val="FF9E18"/>
          </a:solidFill>
          <a:ln w="9264" cap="flat">
            <a:noFill/>
            <a:prstDash val="solid"/>
            <a:miter/>
          </a:ln>
        </p:spPr>
        <p:txBody>
          <a:bodyPr wrap="square" rtlCol="0" anchor="ctr">
            <a:noAutofit/>
          </a:bodyPr>
          <a:lstStyle/>
          <a:p>
            <a:endParaRPr lang="en-US"/>
          </a:p>
        </p:txBody>
      </p:sp>
      <p:sp>
        <p:nvSpPr>
          <p:cNvPr id="7" name="Rectangle 6">
            <a:extLst>
              <a:ext uri="{FF2B5EF4-FFF2-40B4-BE49-F238E27FC236}">
                <a16:creationId xmlns:a16="http://schemas.microsoft.com/office/drawing/2014/main" id="{74B56715-AE28-4C11-8869-7AA1A2D4DC00}"/>
              </a:ext>
            </a:extLst>
          </p:cNvPr>
          <p:cNvSpPr/>
          <p:nvPr userDrawn="1"/>
        </p:nvSpPr>
        <p:spPr>
          <a:xfrm>
            <a:off x="2706449" y="5596645"/>
            <a:ext cx="577702" cy="5777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57FD71DE-F152-48CF-95AE-7F68DADBDCAB}"/>
              </a:ext>
            </a:extLst>
          </p:cNvPr>
          <p:cNvGrpSpPr/>
          <p:nvPr userDrawn="1"/>
        </p:nvGrpSpPr>
        <p:grpSpPr>
          <a:xfrm>
            <a:off x="932397" y="653642"/>
            <a:ext cx="1544103" cy="832491"/>
            <a:chOff x="932397" y="653642"/>
            <a:chExt cx="2241920" cy="1208714"/>
          </a:xfrm>
        </p:grpSpPr>
        <p:grpSp>
          <p:nvGrpSpPr>
            <p:cNvPr id="9" name="Graphic 6">
              <a:extLst>
                <a:ext uri="{FF2B5EF4-FFF2-40B4-BE49-F238E27FC236}">
                  <a16:creationId xmlns:a16="http://schemas.microsoft.com/office/drawing/2014/main" id="{E1BA4648-BD6E-4E74-8851-45EBABEF72E7}"/>
                </a:ext>
              </a:extLst>
            </p:cNvPr>
            <p:cNvGrpSpPr/>
            <p:nvPr/>
          </p:nvGrpSpPr>
          <p:grpSpPr>
            <a:xfrm>
              <a:off x="932397" y="723900"/>
              <a:ext cx="1544103" cy="667132"/>
              <a:chOff x="85969" y="3646150"/>
              <a:chExt cx="1544103" cy="667132"/>
            </a:xfrm>
            <a:solidFill>
              <a:schemeClr val="bg1"/>
            </a:solidFill>
          </p:grpSpPr>
          <p:sp>
            <p:nvSpPr>
              <p:cNvPr id="11" name="Freeform: Shape 10">
                <a:extLst>
                  <a:ext uri="{FF2B5EF4-FFF2-40B4-BE49-F238E27FC236}">
                    <a16:creationId xmlns:a16="http://schemas.microsoft.com/office/drawing/2014/main" id="{98C1CA3B-8903-4213-A8E6-83E0B43BD8C1}"/>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5836414-77CE-417A-9897-D3290681691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487FDF2-DA56-4525-800E-1EC016598F5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D217F72-15C5-468B-81F4-C205BCEC74DD}"/>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pic>
          <p:nvPicPr>
            <p:cNvPr id="10" name="Graphic 9">
              <a:extLst>
                <a:ext uri="{FF2B5EF4-FFF2-40B4-BE49-F238E27FC236}">
                  <a16:creationId xmlns:a16="http://schemas.microsoft.com/office/drawing/2014/main" id="{BE935090-2F88-4800-97AD-B4DD2F55CA4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590800" y="653642"/>
              <a:ext cx="583517" cy="1208714"/>
            </a:xfrm>
            <a:prstGeom prst="rect">
              <a:avLst/>
            </a:prstGeom>
          </p:spPr>
        </p:pic>
      </p:grpSp>
      <p:sp>
        <p:nvSpPr>
          <p:cNvPr id="2" name="Title 1">
            <a:extLst>
              <a:ext uri="{FF2B5EF4-FFF2-40B4-BE49-F238E27FC236}">
                <a16:creationId xmlns:a16="http://schemas.microsoft.com/office/drawing/2014/main" id="{40DD8270-24BC-42A8-8EBA-64CB62DD4CD1}"/>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Title Here</a:t>
            </a:r>
          </a:p>
        </p:txBody>
      </p:sp>
      <p:sp>
        <p:nvSpPr>
          <p:cNvPr id="20" name="Text Placeholder 19">
            <a:extLst>
              <a:ext uri="{FF2B5EF4-FFF2-40B4-BE49-F238E27FC236}">
                <a16:creationId xmlns:a16="http://schemas.microsoft.com/office/drawing/2014/main" id="{16BB815A-06DC-4A68-A35B-38C54785E94B}"/>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3" name="TextBox 2">
            <a:extLst>
              <a:ext uri="{FF2B5EF4-FFF2-40B4-BE49-F238E27FC236}">
                <a16:creationId xmlns:a16="http://schemas.microsoft.com/office/drawing/2014/main" id="{975785DD-AE69-4000-878F-B146079CADB4}"/>
              </a:ext>
            </a:extLst>
          </p:cNvPr>
          <p:cNvSpPr txBox="1">
            <a:spLocks noChangeAspect="1"/>
          </p:cNvSpPr>
          <p:nvPr userDrawn="1"/>
        </p:nvSpPr>
        <p:spPr>
          <a:xfrm>
            <a:off x="12712085" y="-1615618"/>
            <a:ext cx="7811407" cy="13419058"/>
          </a:xfrm>
          <a:prstGeom prst="rect">
            <a:avLst/>
          </a:prstGeom>
          <a:noFill/>
        </p:spPr>
        <p:txBody>
          <a:bodyPr wrap="square" rtlCol="0">
            <a:spAutoFit/>
          </a:bodyPr>
          <a:lstStyle/>
          <a:p>
            <a:r>
              <a:rPr lang="en-US" sz="2800" b="1">
                <a:solidFill>
                  <a:srgbClr val="004B64"/>
                </a:solidFill>
              </a:rPr>
              <a:t>Welcome to the new VEIC slide deck! </a:t>
            </a:r>
          </a:p>
          <a:p>
            <a:endParaRPr lang="en-US" sz="2800" b="1">
              <a:solidFill>
                <a:srgbClr val="004B64"/>
              </a:solidFill>
            </a:endParaRPr>
          </a:p>
          <a:p>
            <a:r>
              <a:rPr lang="en-US">
                <a:solidFill>
                  <a:srgbClr val="004B64"/>
                </a:solidFill>
              </a:rPr>
              <a:t>We are excited to have a presentation template that reflects the new brand and elevates the information we provide to clients, partners, and the industry. </a:t>
            </a:r>
          </a:p>
          <a:p>
            <a:endParaRPr lang="en-US">
              <a:solidFill>
                <a:srgbClr val="004B64"/>
              </a:solidFill>
            </a:endParaRPr>
          </a:p>
          <a:p>
            <a:r>
              <a:rPr lang="en-US">
                <a:solidFill>
                  <a:srgbClr val="004B64"/>
                </a:solidFill>
              </a:rPr>
              <a:t>We built many different slide formats to accommodate a range of information. We encourage you to explore and try new things out. </a:t>
            </a:r>
          </a:p>
          <a:p>
            <a:endParaRPr lang="en-US">
              <a:solidFill>
                <a:srgbClr val="004B64"/>
              </a:solidFill>
            </a:endParaRPr>
          </a:p>
          <a:p>
            <a:r>
              <a:rPr lang="en-US">
                <a:solidFill>
                  <a:srgbClr val="004B64"/>
                </a:solidFill>
              </a:rPr>
              <a:t>In general, we are trying to move away from text heavy slides and towards graphics and key takeaways. </a:t>
            </a:r>
          </a:p>
          <a:p>
            <a:endParaRPr lang="en-US">
              <a:solidFill>
                <a:srgbClr val="004B64"/>
              </a:solidFill>
            </a:endParaRPr>
          </a:p>
          <a:p>
            <a:r>
              <a:rPr lang="en-US">
                <a:solidFill>
                  <a:srgbClr val="004B64"/>
                </a:solidFill>
              </a:rPr>
              <a:t>Some suggestions as you build your presentations: </a:t>
            </a:r>
          </a:p>
          <a:p>
            <a:endParaRPr lang="en-US">
              <a:solidFill>
                <a:srgbClr val="004B64"/>
              </a:solidFill>
            </a:endParaRPr>
          </a:p>
          <a:p>
            <a:pPr marL="285750" indent="-285750">
              <a:buFontTx/>
              <a:buChar char="-"/>
            </a:pPr>
            <a:r>
              <a:rPr lang="en-US" b="1">
                <a:solidFill>
                  <a:srgbClr val="004B64"/>
                </a:solidFill>
              </a:rPr>
              <a:t>Be thoughtful about the images you include</a:t>
            </a:r>
          </a:p>
          <a:p>
            <a:pPr marL="742950" lvl="1" indent="-285750">
              <a:buFontTx/>
              <a:buChar char="-"/>
            </a:pPr>
            <a:r>
              <a:rPr lang="en-US">
                <a:solidFill>
                  <a:srgbClr val="004B64"/>
                </a:solidFill>
              </a:rPr>
              <a:t>Images sourced from Google should not be used for webinars and presentation with a large attendance. There are both legal implications and quality implications</a:t>
            </a:r>
          </a:p>
          <a:p>
            <a:pPr marL="742950" lvl="1" indent="-285750">
              <a:buFontTx/>
              <a:buChar char="-"/>
            </a:pPr>
            <a:r>
              <a:rPr lang="en-US">
                <a:solidFill>
                  <a:srgbClr val="004B64"/>
                </a:solidFill>
              </a:rPr>
              <a:t>Incorporate images that sync with the deck design (no clip art, please) </a:t>
            </a:r>
          </a:p>
          <a:p>
            <a:pPr marL="742950" lvl="1" indent="-285750">
              <a:buFontTx/>
              <a:buChar char="-"/>
            </a:pPr>
            <a:r>
              <a:rPr lang="en-US">
                <a:solidFill>
                  <a:srgbClr val="004B64"/>
                </a:solidFill>
              </a:rPr>
              <a:t>Over the next few weeks will be adding images to Templafy so you have a core library to pull from </a:t>
            </a:r>
          </a:p>
          <a:p>
            <a:pPr marL="285750" lvl="0" indent="-285750">
              <a:buFontTx/>
              <a:buChar char="-"/>
            </a:pPr>
            <a:r>
              <a:rPr lang="en-US" b="1">
                <a:solidFill>
                  <a:srgbClr val="004B64"/>
                </a:solidFill>
              </a:rPr>
              <a:t>Rebuild charts when possible </a:t>
            </a:r>
          </a:p>
          <a:p>
            <a:pPr marL="742950" lvl="1" indent="-285750">
              <a:buFontTx/>
              <a:buChar char="-"/>
            </a:pPr>
            <a:r>
              <a:rPr lang="en-US">
                <a:solidFill>
                  <a:srgbClr val="004B64"/>
                </a:solidFill>
              </a:rPr>
              <a:t>We reference research from outside sources often</a:t>
            </a:r>
          </a:p>
          <a:p>
            <a:pPr marL="742950" lvl="1" indent="-285750">
              <a:buFontTx/>
              <a:buChar char="-"/>
            </a:pPr>
            <a:r>
              <a:rPr lang="en-US">
                <a:solidFill>
                  <a:srgbClr val="004B64"/>
                </a:solidFill>
              </a:rPr>
              <a:t>Instead of just dropping in image file of this data, rebuild the chart and properly credit the author </a:t>
            </a:r>
          </a:p>
          <a:p>
            <a:pPr marL="285750" indent="-285750">
              <a:buFontTx/>
              <a:buChar char="-"/>
            </a:pPr>
            <a:r>
              <a:rPr lang="en-US">
                <a:solidFill>
                  <a:srgbClr val="004B64"/>
                </a:solidFill>
              </a:rPr>
              <a:t> </a:t>
            </a:r>
            <a:r>
              <a:rPr lang="en-US" b="1">
                <a:solidFill>
                  <a:srgbClr val="004B64"/>
                </a:solidFill>
              </a:rPr>
              <a:t>Rethink how you present information</a:t>
            </a:r>
          </a:p>
          <a:p>
            <a:pPr marL="742950" lvl="1" indent="-285750">
              <a:buFontTx/>
              <a:buChar char="-"/>
            </a:pPr>
            <a:r>
              <a:rPr lang="en-US" b="0">
                <a:solidFill>
                  <a:srgbClr val="004B64"/>
                </a:solidFill>
              </a:rPr>
              <a:t>Consider what needs to be on a slide versus what can be voiceover </a:t>
            </a:r>
          </a:p>
          <a:p>
            <a:pPr marL="742950" lvl="1" indent="-285750">
              <a:buFontTx/>
              <a:buChar char="-"/>
            </a:pPr>
            <a:r>
              <a:rPr lang="en-US" b="0">
                <a:solidFill>
                  <a:srgbClr val="004B64"/>
                </a:solidFill>
              </a:rPr>
              <a:t>The most engaging presentation present prompts of information that you can speak to</a:t>
            </a:r>
          </a:p>
          <a:p>
            <a:pPr marL="285750" lvl="0" indent="-285750">
              <a:buFontTx/>
              <a:buChar char="-"/>
            </a:pPr>
            <a:r>
              <a:rPr lang="en-US" b="1">
                <a:solidFill>
                  <a:srgbClr val="004B64"/>
                </a:solidFill>
              </a:rPr>
              <a:t>Adjust the font for the forum: </a:t>
            </a:r>
          </a:p>
          <a:p>
            <a:pPr marL="742950" marR="0" lvl="1" indent="-285750" algn="l" defTabSz="914400" rtl="0" eaLnBrk="1" fontAlgn="auto" latinLnBrk="0" hangingPunct="1">
              <a:lnSpc>
                <a:spcPct val="100000"/>
              </a:lnSpc>
              <a:spcBef>
                <a:spcPts val="0"/>
              </a:spcBef>
              <a:spcAft>
                <a:spcPts val="0"/>
              </a:spcAft>
              <a:buClrTx/>
              <a:buSzTx/>
              <a:buFontTx/>
              <a:buChar char="-"/>
              <a:tabLst/>
              <a:defRPr/>
            </a:pPr>
            <a:r>
              <a:rPr lang="en-US" b="0">
                <a:solidFill>
                  <a:srgbClr val="004B64"/>
                </a:solidFill>
              </a:rPr>
              <a:t>Team meetings: 18 pts +</a:t>
            </a:r>
          </a:p>
          <a:p>
            <a:pPr marL="742950" lvl="1" indent="-285750">
              <a:buFontTx/>
              <a:buChar char="-"/>
            </a:pPr>
            <a:r>
              <a:rPr lang="en-US" b="0">
                <a:solidFill>
                  <a:srgbClr val="004B64"/>
                </a:solidFill>
              </a:rPr>
              <a:t>Webinars: 20 pts + </a:t>
            </a:r>
          </a:p>
          <a:p>
            <a:pPr marL="742950" lvl="1" indent="-285750">
              <a:buFontTx/>
              <a:buChar char="-"/>
            </a:pPr>
            <a:r>
              <a:rPr lang="en-US" b="0">
                <a:solidFill>
                  <a:srgbClr val="004B64"/>
                </a:solidFill>
              </a:rPr>
              <a:t>Conferences: 26 pts +</a:t>
            </a:r>
          </a:p>
          <a:p>
            <a:pPr marL="742950" lvl="1" indent="-285750">
              <a:buFontTx/>
              <a:buChar char="-"/>
            </a:pPr>
            <a:r>
              <a:rPr lang="en-US" b="0">
                <a:solidFill>
                  <a:srgbClr val="004B64"/>
                </a:solidFill>
              </a:rPr>
              <a:t>Also, keep in mind that GoToMeeting cuts off the bottom of slide decks so provide buffer there. </a:t>
            </a:r>
          </a:p>
          <a:p>
            <a:pPr marL="285750" lvl="0" indent="-285750">
              <a:buFontTx/>
              <a:buChar char="-"/>
            </a:pPr>
            <a:r>
              <a:rPr lang="en-US" b="1">
                <a:solidFill>
                  <a:srgbClr val="004B64"/>
                </a:solidFill>
              </a:rPr>
              <a:t>Have fun:</a:t>
            </a:r>
          </a:p>
          <a:p>
            <a:pPr marL="742950" lvl="1" indent="-285750">
              <a:buFontTx/>
              <a:buChar char="-"/>
            </a:pPr>
            <a:r>
              <a:rPr lang="en-US" b="0">
                <a:solidFill>
                  <a:srgbClr val="004B64"/>
                </a:solidFill>
              </a:rPr>
              <a:t>Explore new ways to bring information forward</a:t>
            </a:r>
          </a:p>
          <a:p>
            <a:pPr marL="742950" lvl="1" indent="-285750">
              <a:buFontTx/>
              <a:buChar char="-"/>
            </a:pPr>
            <a:r>
              <a:rPr lang="en-US" b="0">
                <a:solidFill>
                  <a:srgbClr val="004B64"/>
                </a:solidFill>
              </a:rPr>
              <a:t>Try out new slide templates and play around</a:t>
            </a:r>
          </a:p>
          <a:p>
            <a:pPr marL="457200" lvl="1" indent="0">
              <a:buFontTx/>
              <a:buNone/>
            </a:pPr>
            <a:endParaRPr lang="en-US" b="0">
              <a:solidFill>
                <a:srgbClr val="004B64"/>
              </a:solidFill>
            </a:endParaRPr>
          </a:p>
          <a:p>
            <a:pPr marL="457200" lvl="1" indent="0">
              <a:buFontTx/>
              <a:buNone/>
            </a:pPr>
            <a:r>
              <a:rPr lang="en-US" b="0">
                <a:solidFill>
                  <a:srgbClr val="004B64"/>
                </a:solidFill>
              </a:rPr>
              <a:t>We are all responsible for the sophistication of our work product. That includes having tight designs that can support storytelling. </a:t>
            </a:r>
          </a:p>
          <a:p>
            <a:pPr marL="457200" lvl="1" indent="0">
              <a:buFontTx/>
              <a:buNone/>
            </a:pPr>
            <a:endParaRPr lang="en-US" b="0">
              <a:solidFill>
                <a:srgbClr val="004B64"/>
              </a:solidFill>
            </a:endParaRPr>
          </a:p>
          <a:p>
            <a:pPr marL="457200" lvl="1" indent="0">
              <a:buFontTx/>
              <a:buNone/>
            </a:pPr>
            <a:r>
              <a:rPr lang="en-US" b="0">
                <a:solidFill>
                  <a:srgbClr val="004B64"/>
                </a:solidFill>
              </a:rPr>
              <a:t>Reach out to Kait (k</a:t>
            </a:r>
            <a:r>
              <a:rPr lang="en-US" b="0">
                <a:solidFill>
                  <a:srgbClr val="004B64"/>
                </a:solidFill>
                <a:hlinkClick r:id="rId8"/>
              </a:rPr>
              <a:t>sherman@veic.org</a:t>
            </a:r>
            <a:r>
              <a:rPr lang="en-US" b="0">
                <a:solidFill>
                  <a:srgbClr val="004B64"/>
                </a:solidFill>
              </a:rPr>
              <a:t>) with any questions. </a:t>
            </a:r>
          </a:p>
          <a:p>
            <a:pPr marL="742950" lvl="1" indent="-285750">
              <a:buFontTx/>
              <a:buChar char="-"/>
            </a:pPr>
            <a:endParaRPr lang="en-US" b="0">
              <a:solidFill>
                <a:srgbClr val="004B64"/>
              </a:solidFill>
            </a:endParaRPr>
          </a:p>
          <a:p>
            <a:endParaRPr lang="en-US">
              <a:solidFill>
                <a:srgbClr val="004B64"/>
              </a:solidFill>
            </a:endParaRPr>
          </a:p>
          <a:p>
            <a:endParaRPr lang="en-US">
              <a:solidFill>
                <a:srgbClr val="004B64"/>
              </a:solidFill>
            </a:endParaRPr>
          </a:p>
        </p:txBody>
      </p:sp>
    </p:spTree>
    <p:extLst>
      <p:ext uri="{BB962C8B-B14F-4D97-AF65-F5344CB8AC3E}">
        <p14:creationId xmlns:p14="http://schemas.microsoft.com/office/powerpoint/2010/main" val="161937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ubtitle + 3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1531993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a:off x="7043889" y="1"/>
            <a:ext cx="5148111" cy="535952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5" name="Text Placeholder 16">
            <a:extLst>
              <a:ext uri="{FF2B5EF4-FFF2-40B4-BE49-F238E27FC236}">
                <a16:creationId xmlns:a16="http://schemas.microsoft.com/office/drawing/2014/main" id="{6CEE755F-9829-4092-90AC-8A2CD500C2F0}"/>
              </a:ext>
            </a:extLst>
          </p:cNvPr>
          <p:cNvSpPr>
            <a:spLocks noGrp="1"/>
          </p:cNvSpPr>
          <p:nvPr>
            <p:ph type="body" sz="quarter" idx="16" hasCustomPrompt="1"/>
          </p:nvPr>
        </p:nvSpPr>
        <p:spPr>
          <a:xfrm>
            <a:off x="8382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6" name="Text Placeholder 16">
            <a:extLst>
              <a:ext uri="{FF2B5EF4-FFF2-40B4-BE49-F238E27FC236}">
                <a16:creationId xmlns:a16="http://schemas.microsoft.com/office/drawing/2014/main" id="{F6BBA5F5-1469-40AC-AD18-653B25551787}"/>
              </a:ext>
            </a:extLst>
          </p:cNvPr>
          <p:cNvSpPr>
            <a:spLocks noGrp="1"/>
          </p:cNvSpPr>
          <p:nvPr>
            <p:ph type="body" sz="quarter" idx="17" hasCustomPrompt="1"/>
          </p:nvPr>
        </p:nvSpPr>
        <p:spPr>
          <a:xfrm>
            <a:off x="4457700" y="1751960"/>
            <a:ext cx="32766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7" name="Text Placeholder 16">
            <a:extLst>
              <a:ext uri="{FF2B5EF4-FFF2-40B4-BE49-F238E27FC236}">
                <a16:creationId xmlns:a16="http://schemas.microsoft.com/office/drawing/2014/main" id="{DE8B970E-C6BC-4C4E-874A-5238CEA1FF38}"/>
              </a:ext>
            </a:extLst>
          </p:cNvPr>
          <p:cNvSpPr>
            <a:spLocks noGrp="1"/>
          </p:cNvSpPr>
          <p:nvPr>
            <p:ph type="body" sz="quarter" idx="18" hasCustomPrompt="1"/>
          </p:nvPr>
        </p:nvSpPr>
        <p:spPr>
          <a:xfrm>
            <a:off x="79629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8" name="Text Placeholder 16">
            <a:extLst>
              <a:ext uri="{FF2B5EF4-FFF2-40B4-BE49-F238E27FC236}">
                <a16:creationId xmlns:a16="http://schemas.microsoft.com/office/drawing/2014/main" id="{730E0CEA-7D99-4109-BD8B-3831C2E6F3E6}"/>
              </a:ext>
            </a:extLst>
          </p:cNvPr>
          <p:cNvSpPr>
            <a:spLocks noGrp="1"/>
          </p:cNvSpPr>
          <p:nvPr>
            <p:ph type="body" sz="quarter" idx="12"/>
          </p:nvPr>
        </p:nvSpPr>
        <p:spPr>
          <a:xfrm>
            <a:off x="838200" y="2243738"/>
            <a:ext cx="3390900" cy="3928462"/>
          </a:xfrm>
        </p:spPr>
        <p:txBody>
          <a:bodyPr>
            <a:normAutofit/>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6">
            <a:extLst>
              <a:ext uri="{FF2B5EF4-FFF2-40B4-BE49-F238E27FC236}">
                <a16:creationId xmlns:a16="http://schemas.microsoft.com/office/drawing/2014/main" id="{1D6814CB-13E1-4FA8-A6F0-8899250A718F}"/>
              </a:ext>
            </a:extLst>
          </p:cNvPr>
          <p:cNvSpPr>
            <a:spLocks noGrp="1"/>
          </p:cNvSpPr>
          <p:nvPr>
            <p:ph type="body" sz="quarter" idx="19"/>
          </p:nvPr>
        </p:nvSpPr>
        <p:spPr>
          <a:xfrm>
            <a:off x="4457700" y="2243738"/>
            <a:ext cx="3276600" cy="3928462"/>
          </a:xfrm>
        </p:spPr>
        <p:txBody>
          <a:bodyPr>
            <a:normAutofit/>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6">
            <a:extLst>
              <a:ext uri="{FF2B5EF4-FFF2-40B4-BE49-F238E27FC236}">
                <a16:creationId xmlns:a16="http://schemas.microsoft.com/office/drawing/2014/main" id="{FA35E789-4E4E-4C65-91FD-5D399C36E448}"/>
              </a:ext>
            </a:extLst>
          </p:cNvPr>
          <p:cNvSpPr>
            <a:spLocks noGrp="1"/>
          </p:cNvSpPr>
          <p:nvPr>
            <p:ph type="body" sz="quarter" idx="20"/>
          </p:nvPr>
        </p:nvSpPr>
        <p:spPr>
          <a:xfrm>
            <a:off x="7962900" y="2243738"/>
            <a:ext cx="3390900" cy="3928462"/>
          </a:xfrm>
        </p:spPr>
        <p:txBody>
          <a:bodyPr>
            <a:normAutofit/>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238169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776882B-B6FA-4247-837A-97CF996CBF72}"/>
              </a:ext>
            </a:extLst>
          </p:cNvPr>
          <p:cNvGraphicFramePr>
            <a:graphicFrameLocks noChangeAspect="1"/>
          </p:cNvGraphicFramePr>
          <p:nvPr userDrawn="1">
            <p:custDataLst>
              <p:tags r:id="rId1"/>
            </p:custDataLst>
            <p:extLst>
              <p:ext uri="{D42A27DB-BD31-4B8C-83A1-F6EECF244321}">
                <p14:modId xmlns:p14="http://schemas.microsoft.com/office/powerpoint/2010/main" val="2448964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6" name="Object 15" hidden="1">
                        <a:extLst>
                          <a:ext uri="{FF2B5EF4-FFF2-40B4-BE49-F238E27FC236}">
                            <a16:creationId xmlns:a16="http://schemas.microsoft.com/office/drawing/2014/main" id="{1776882B-B6FA-4247-837A-97CF996CBF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EC76C1CB-1CF7-45DF-AB63-A29E3E1B98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8" name="Freeform: Shape 17">
            <a:extLst>
              <a:ext uri="{FF2B5EF4-FFF2-40B4-BE49-F238E27FC236}">
                <a16:creationId xmlns:a16="http://schemas.microsoft.com/office/drawing/2014/main" id="{E6C6DDF7-879A-4E7C-BAE9-0C03D0717054}"/>
              </a:ext>
            </a:extLst>
          </p:cNvPr>
          <p:cNvSpPr/>
          <p:nvPr userDrawn="1"/>
        </p:nvSpPr>
        <p:spPr>
          <a:xfrm>
            <a:off x="7206740" y="0"/>
            <a:ext cx="4985260" cy="4816912"/>
          </a:xfrm>
          <a:custGeom>
            <a:avLst/>
            <a:gdLst>
              <a:gd name="connsiteX0" fmla="*/ 0 w 4985260"/>
              <a:gd name="connsiteY0" fmla="*/ 0 h 4816912"/>
              <a:gd name="connsiteX1" fmla="*/ 1878781 w 4985260"/>
              <a:gd name="connsiteY1" fmla="*/ 0 h 4816912"/>
              <a:gd name="connsiteX2" fmla="*/ 1886645 w 4985260"/>
              <a:gd name="connsiteY2" fmla="*/ 105851 h 4816912"/>
              <a:gd name="connsiteX3" fmla="*/ 4904969 w 4985260"/>
              <a:gd name="connsiteY3" fmla="*/ 2895050 h 4816912"/>
              <a:gd name="connsiteX4" fmla="*/ 4985260 w 4985260"/>
              <a:gd name="connsiteY4" fmla="*/ 2892971 h 4816912"/>
              <a:gd name="connsiteX5" fmla="*/ 4985260 w 4985260"/>
              <a:gd name="connsiteY5" fmla="*/ 4814833 h 4816912"/>
              <a:gd name="connsiteX6" fmla="*/ 4904969 w 4985260"/>
              <a:gd name="connsiteY6" fmla="*/ 4816912 h 4816912"/>
              <a:gd name="connsiteX7" fmla="*/ 1160 w 4985260"/>
              <a:gd name="connsiteY7" fmla="*/ 46991 h 481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5260" h="4816912">
                <a:moveTo>
                  <a:pt x="0" y="0"/>
                </a:moveTo>
                <a:lnTo>
                  <a:pt x="1878781" y="0"/>
                </a:lnTo>
                <a:lnTo>
                  <a:pt x="1886645" y="105851"/>
                </a:lnTo>
                <a:cubicBezTo>
                  <a:pt x="2042084" y="1672405"/>
                  <a:pt x="3334663" y="2895050"/>
                  <a:pt x="4904969" y="2895050"/>
                </a:cubicBezTo>
                <a:lnTo>
                  <a:pt x="4985260" y="2892971"/>
                </a:lnTo>
                <a:lnTo>
                  <a:pt x="4985260" y="4814833"/>
                </a:lnTo>
                <a:lnTo>
                  <a:pt x="4904969" y="4816912"/>
                </a:lnTo>
                <a:cubicBezTo>
                  <a:pt x="2277879" y="4816912"/>
                  <a:pt x="132671" y="2703997"/>
                  <a:pt x="1160" y="46991"/>
                </a:cubicBezTo>
                <a:close/>
              </a:path>
            </a:pathLst>
          </a:custGeom>
          <a:solidFill>
            <a:srgbClr val="FF9E18"/>
          </a:solidFill>
          <a:ln w="9264" cap="flat">
            <a:noFill/>
            <a:prstDash val="solid"/>
            <a:miter/>
          </a:ln>
        </p:spPr>
        <p:txBody>
          <a:bodyPr wrap="square" rtlCol="0" anchor="ctr">
            <a:noAutofit/>
          </a:bodyPr>
          <a:lstStyle/>
          <a:p>
            <a:endParaRPr lang="en-US"/>
          </a:p>
        </p:txBody>
      </p:sp>
      <p:sp>
        <p:nvSpPr>
          <p:cNvPr id="7" name="Rectangle 6">
            <a:extLst>
              <a:ext uri="{FF2B5EF4-FFF2-40B4-BE49-F238E27FC236}">
                <a16:creationId xmlns:a16="http://schemas.microsoft.com/office/drawing/2014/main" id="{74B56715-AE28-4C11-8869-7AA1A2D4DC00}"/>
              </a:ext>
            </a:extLst>
          </p:cNvPr>
          <p:cNvSpPr/>
          <p:nvPr userDrawn="1"/>
        </p:nvSpPr>
        <p:spPr>
          <a:xfrm>
            <a:off x="2706449" y="5596645"/>
            <a:ext cx="577702" cy="5777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57FD71DE-F152-48CF-95AE-7F68DADBDCAB}"/>
              </a:ext>
            </a:extLst>
          </p:cNvPr>
          <p:cNvGrpSpPr/>
          <p:nvPr userDrawn="1"/>
        </p:nvGrpSpPr>
        <p:grpSpPr>
          <a:xfrm>
            <a:off x="932397" y="653642"/>
            <a:ext cx="1544103" cy="832491"/>
            <a:chOff x="932397" y="653642"/>
            <a:chExt cx="2241920" cy="1208714"/>
          </a:xfrm>
        </p:grpSpPr>
        <p:grpSp>
          <p:nvGrpSpPr>
            <p:cNvPr id="9" name="Graphic 6">
              <a:extLst>
                <a:ext uri="{FF2B5EF4-FFF2-40B4-BE49-F238E27FC236}">
                  <a16:creationId xmlns:a16="http://schemas.microsoft.com/office/drawing/2014/main" id="{E1BA4648-BD6E-4E74-8851-45EBABEF72E7}"/>
                </a:ext>
              </a:extLst>
            </p:cNvPr>
            <p:cNvGrpSpPr/>
            <p:nvPr/>
          </p:nvGrpSpPr>
          <p:grpSpPr>
            <a:xfrm>
              <a:off x="932397" y="723900"/>
              <a:ext cx="1544103" cy="667132"/>
              <a:chOff x="85969" y="3646150"/>
              <a:chExt cx="1544103" cy="667132"/>
            </a:xfrm>
            <a:solidFill>
              <a:schemeClr val="bg1"/>
            </a:solidFill>
          </p:grpSpPr>
          <p:sp>
            <p:nvSpPr>
              <p:cNvPr id="11" name="Freeform: Shape 10">
                <a:extLst>
                  <a:ext uri="{FF2B5EF4-FFF2-40B4-BE49-F238E27FC236}">
                    <a16:creationId xmlns:a16="http://schemas.microsoft.com/office/drawing/2014/main" id="{98C1CA3B-8903-4213-A8E6-83E0B43BD8C1}"/>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5836414-77CE-417A-9897-D3290681691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487FDF2-DA56-4525-800E-1EC016598F5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D217F72-15C5-468B-81F4-C205BCEC74DD}"/>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pic>
          <p:nvPicPr>
            <p:cNvPr id="10" name="Graphic 9">
              <a:extLst>
                <a:ext uri="{FF2B5EF4-FFF2-40B4-BE49-F238E27FC236}">
                  <a16:creationId xmlns:a16="http://schemas.microsoft.com/office/drawing/2014/main" id="{BE935090-2F88-4800-97AD-B4DD2F55CA42}"/>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2590800" y="653642"/>
              <a:ext cx="583517" cy="1208714"/>
            </a:xfrm>
            <a:prstGeom prst="rect">
              <a:avLst/>
            </a:prstGeom>
          </p:spPr>
        </p:pic>
      </p:grpSp>
      <p:sp>
        <p:nvSpPr>
          <p:cNvPr id="2" name="Title 1">
            <a:extLst>
              <a:ext uri="{FF2B5EF4-FFF2-40B4-BE49-F238E27FC236}">
                <a16:creationId xmlns:a16="http://schemas.microsoft.com/office/drawing/2014/main" id="{40DD8270-24BC-42A8-8EBA-64CB62DD4CD1}"/>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Title Here</a:t>
            </a:r>
          </a:p>
        </p:txBody>
      </p:sp>
      <p:sp>
        <p:nvSpPr>
          <p:cNvPr id="20" name="Text Placeholder 19">
            <a:extLst>
              <a:ext uri="{FF2B5EF4-FFF2-40B4-BE49-F238E27FC236}">
                <a16:creationId xmlns:a16="http://schemas.microsoft.com/office/drawing/2014/main" id="{16BB815A-06DC-4A68-A35B-38C54785E94B}"/>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3" name="TextBox 2">
            <a:extLst>
              <a:ext uri="{FF2B5EF4-FFF2-40B4-BE49-F238E27FC236}">
                <a16:creationId xmlns:a16="http://schemas.microsoft.com/office/drawing/2014/main" id="{975785DD-AE69-4000-878F-B146079CADB4}"/>
              </a:ext>
            </a:extLst>
          </p:cNvPr>
          <p:cNvSpPr txBox="1">
            <a:spLocks noChangeAspect="1"/>
          </p:cNvSpPr>
          <p:nvPr userDrawn="1"/>
        </p:nvSpPr>
        <p:spPr>
          <a:xfrm>
            <a:off x="12712085" y="-1615618"/>
            <a:ext cx="7811407" cy="13419058"/>
          </a:xfrm>
          <a:prstGeom prst="rect">
            <a:avLst/>
          </a:prstGeom>
          <a:noFill/>
        </p:spPr>
        <p:txBody>
          <a:bodyPr wrap="square" rtlCol="0">
            <a:spAutoFit/>
          </a:bodyPr>
          <a:lstStyle/>
          <a:p>
            <a:r>
              <a:rPr lang="en-US" sz="2800" b="1">
                <a:solidFill>
                  <a:srgbClr val="004B64"/>
                </a:solidFill>
              </a:rPr>
              <a:t>Welcome to the new VEIC slide deck! </a:t>
            </a:r>
          </a:p>
          <a:p>
            <a:endParaRPr lang="en-US" sz="2800" b="1">
              <a:solidFill>
                <a:srgbClr val="004B64"/>
              </a:solidFill>
            </a:endParaRPr>
          </a:p>
          <a:p>
            <a:r>
              <a:rPr lang="en-US">
                <a:solidFill>
                  <a:srgbClr val="004B64"/>
                </a:solidFill>
              </a:rPr>
              <a:t>We are excited to have a presentation template that reflects the new brand and elevates the information we provide to clients, partners, and the industry. </a:t>
            </a:r>
          </a:p>
          <a:p>
            <a:endParaRPr lang="en-US">
              <a:solidFill>
                <a:srgbClr val="004B64"/>
              </a:solidFill>
            </a:endParaRPr>
          </a:p>
          <a:p>
            <a:r>
              <a:rPr lang="en-US">
                <a:solidFill>
                  <a:srgbClr val="004B64"/>
                </a:solidFill>
              </a:rPr>
              <a:t>We built many different slide formats to accommodate a range of information. We encourage you to explore and try new things out. </a:t>
            </a:r>
          </a:p>
          <a:p>
            <a:endParaRPr lang="en-US">
              <a:solidFill>
                <a:srgbClr val="004B64"/>
              </a:solidFill>
            </a:endParaRPr>
          </a:p>
          <a:p>
            <a:r>
              <a:rPr lang="en-US">
                <a:solidFill>
                  <a:srgbClr val="004B64"/>
                </a:solidFill>
              </a:rPr>
              <a:t>In general, we are trying to move away from text heavy slides and towards graphics and key takeaways. </a:t>
            </a:r>
          </a:p>
          <a:p>
            <a:endParaRPr lang="en-US">
              <a:solidFill>
                <a:srgbClr val="004B64"/>
              </a:solidFill>
            </a:endParaRPr>
          </a:p>
          <a:p>
            <a:r>
              <a:rPr lang="en-US">
                <a:solidFill>
                  <a:srgbClr val="004B64"/>
                </a:solidFill>
              </a:rPr>
              <a:t>Some suggestions as you build your presentations: </a:t>
            </a:r>
          </a:p>
          <a:p>
            <a:endParaRPr lang="en-US">
              <a:solidFill>
                <a:srgbClr val="004B64"/>
              </a:solidFill>
            </a:endParaRPr>
          </a:p>
          <a:p>
            <a:pPr marL="285750" indent="-285750">
              <a:buFontTx/>
              <a:buChar char="-"/>
            </a:pPr>
            <a:r>
              <a:rPr lang="en-US" b="1">
                <a:solidFill>
                  <a:srgbClr val="004B64"/>
                </a:solidFill>
              </a:rPr>
              <a:t>Be thoughtful about the images you include</a:t>
            </a:r>
          </a:p>
          <a:p>
            <a:pPr marL="742950" lvl="1" indent="-285750">
              <a:buFontTx/>
              <a:buChar char="-"/>
            </a:pPr>
            <a:r>
              <a:rPr lang="en-US">
                <a:solidFill>
                  <a:srgbClr val="004B64"/>
                </a:solidFill>
              </a:rPr>
              <a:t>Images sourced from Google should not be used for webinars and presentation with a large attendance. There are both legal implications and quality implications</a:t>
            </a:r>
          </a:p>
          <a:p>
            <a:pPr marL="742950" lvl="1" indent="-285750">
              <a:buFontTx/>
              <a:buChar char="-"/>
            </a:pPr>
            <a:r>
              <a:rPr lang="en-US">
                <a:solidFill>
                  <a:srgbClr val="004B64"/>
                </a:solidFill>
              </a:rPr>
              <a:t>Incorporate images that sync with the deck design (no clip art, please) </a:t>
            </a:r>
          </a:p>
          <a:p>
            <a:pPr marL="742950" lvl="1" indent="-285750">
              <a:buFontTx/>
              <a:buChar char="-"/>
            </a:pPr>
            <a:r>
              <a:rPr lang="en-US">
                <a:solidFill>
                  <a:srgbClr val="004B64"/>
                </a:solidFill>
              </a:rPr>
              <a:t>Over the next few weeks will be adding images to Templafy so you have a core library to pull from </a:t>
            </a:r>
          </a:p>
          <a:p>
            <a:pPr marL="285750" lvl="0" indent="-285750">
              <a:buFontTx/>
              <a:buChar char="-"/>
            </a:pPr>
            <a:r>
              <a:rPr lang="en-US" b="1">
                <a:solidFill>
                  <a:srgbClr val="004B64"/>
                </a:solidFill>
              </a:rPr>
              <a:t>Rebuild charts when possible </a:t>
            </a:r>
          </a:p>
          <a:p>
            <a:pPr marL="742950" lvl="1" indent="-285750">
              <a:buFontTx/>
              <a:buChar char="-"/>
            </a:pPr>
            <a:r>
              <a:rPr lang="en-US">
                <a:solidFill>
                  <a:srgbClr val="004B64"/>
                </a:solidFill>
              </a:rPr>
              <a:t>We reference research from outside sources often</a:t>
            </a:r>
          </a:p>
          <a:p>
            <a:pPr marL="742950" lvl="1" indent="-285750">
              <a:buFontTx/>
              <a:buChar char="-"/>
            </a:pPr>
            <a:r>
              <a:rPr lang="en-US">
                <a:solidFill>
                  <a:srgbClr val="004B64"/>
                </a:solidFill>
              </a:rPr>
              <a:t>Instead of just dropping in image file of this data, rebuild the chart and properly credit the author </a:t>
            </a:r>
          </a:p>
          <a:p>
            <a:pPr marL="285750" indent="-285750">
              <a:buFontTx/>
              <a:buChar char="-"/>
            </a:pPr>
            <a:r>
              <a:rPr lang="en-US">
                <a:solidFill>
                  <a:srgbClr val="004B64"/>
                </a:solidFill>
              </a:rPr>
              <a:t> </a:t>
            </a:r>
            <a:r>
              <a:rPr lang="en-US" b="1">
                <a:solidFill>
                  <a:srgbClr val="004B64"/>
                </a:solidFill>
              </a:rPr>
              <a:t>Rethink how you present information</a:t>
            </a:r>
          </a:p>
          <a:p>
            <a:pPr marL="742950" lvl="1" indent="-285750">
              <a:buFontTx/>
              <a:buChar char="-"/>
            </a:pPr>
            <a:r>
              <a:rPr lang="en-US" b="0">
                <a:solidFill>
                  <a:srgbClr val="004B64"/>
                </a:solidFill>
              </a:rPr>
              <a:t>Consider what needs to be on a slide versus what can be voiceover </a:t>
            </a:r>
          </a:p>
          <a:p>
            <a:pPr marL="742950" lvl="1" indent="-285750">
              <a:buFontTx/>
              <a:buChar char="-"/>
            </a:pPr>
            <a:r>
              <a:rPr lang="en-US" b="0">
                <a:solidFill>
                  <a:srgbClr val="004B64"/>
                </a:solidFill>
              </a:rPr>
              <a:t>The most engaging presentation present prompts of information that you can speak to</a:t>
            </a:r>
          </a:p>
          <a:p>
            <a:pPr marL="285750" lvl="0" indent="-285750">
              <a:buFontTx/>
              <a:buChar char="-"/>
            </a:pPr>
            <a:r>
              <a:rPr lang="en-US" b="1">
                <a:solidFill>
                  <a:srgbClr val="004B64"/>
                </a:solidFill>
              </a:rPr>
              <a:t>Adjust the font for the forum: </a:t>
            </a:r>
          </a:p>
          <a:p>
            <a:pPr marL="742950" marR="0" lvl="1" indent="-285750" algn="l" defTabSz="914400" rtl="0" eaLnBrk="1" fontAlgn="auto" latinLnBrk="0" hangingPunct="1">
              <a:lnSpc>
                <a:spcPct val="100000"/>
              </a:lnSpc>
              <a:spcBef>
                <a:spcPts val="0"/>
              </a:spcBef>
              <a:spcAft>
                <a:spcPts val="0"/>
              </a:spcAft>
              <a:buClrTx/>
              <a:buSzTx/>
              <a:buFontTx/>
              <a:buChar char="-"/>
              <a:tabLst/>
              <a:defRPr/>
            </a:pPr>
            <a:r>
              <a:rPr lang="en-US" b="0">
                <a:solidFill>
                  <a:srgbClr val="004B64"/>
                </a:solidFill>
              </a:rPr>
              <a:t>Team meetings: 18 pts +</a:t>
            </a:r>
          </a:p>
          <a:p>
            <a:pPr marL="742950" lvl="1" indent="-285750">
              <a:buFontTx/>
              <a:buChar char="-"/>
            </a:pPr>
            <a:r>
              <a:rPr lang="en-US" b="0">
                <a:solidFill>
                  <a:srgbClr val="004B64"/>
                </a:solidFill>
              </a:rPr>
              <a:t>Webinars: 20 pts + </a:t>
            </a:r>
          </a:p>
          <a:p>
            <a:pPr marL="742950" lvl="1" indent="-285750">
              <a:buFontTx/>
              <a:buChar char="-"/>
            </a:pPr>
            <a:r>
              <a:rPr lang="en-US" b="0">
                <a:solidFill>
                  <a:srgbClr val="004B64"/>
                </a:solidFill>
              </a:rPr>
              <a:t>Conferences: 26 pts +</a:t>
            </a:r>
          </a:p>
          <a:p>
            <a:pPr marL="742950" lvl="1" indent="-285750">
              <a:buFontTx/>
              <a:buChar char="-"/>
            </a:pPr>
            <a:r>
              <a:rPr lang="en-US" b="0">
                <a:solidFill>
                  <a:srgbClr val="004B64"/>
                </a:solidFill>
              </a:rPr>
              <a:t>Also, keep in mind that GoToMeeting cuts off the bottom of slide decks so provide buffer there. </a:t>
            </a:r>
          </a:p>
          <a:p>
            <a:pPr marL="285750" lvl="0" indent="-285750">
              <a:buFontTx/>
              <a:buChar char="-"/>
            </a:pPr>
            <a:r>
              <a:rPr lang="en-US" b="1">
                <a:solidFill>
                  <a:srgbClr val="004B64"/>
                </a:solidFill>
              </a:rPr>
              <a:t>Have fun:</a:t>
            </a:r>
          </a:p>
          <a:p>
            <a:pPr marL="742950" lvl="1" indent="-285750">
              <a:buFontTx/>
              <a:buChar char="-"/>
            </a:pPr>
            <a:r>
              <a:rPr lang="en-US" b="0">
                <a:solidFill>
                  <a:srgbClr val="004B64"/>
                </a:solidFill>
              </a:rPr>
              <a:t>Explore new ways to bring information forward</a:t>
            </a:r>
          </a:p>
          <a:p>
            <a:pPr marL="742950" lvl="1" indent="-285750">
              <a:buFontTx/>
              <a:buChar char="-"/>
            </a:pPr>
            <a:r>
              <a:rPr lang="en-US" b="0">
                <a:solidFill>
                  <a:srgbClr val="004B64"/>
                </a:solidFill>
              </a:rPr>
              <a:t>Try out new slide templates and play around</a:t>
            </a:r>
          </a:p>
          <a:p>
            <a:pPr marL="457200" lvl="1" indent="0">
              <a:buFontTx/>
              <a:buNone/>
            </a:pPr>
            <a:endParaRPr lang="en-US" b="0">
              <a:solidFill>
                <a:srgbClr val="004B64"/>
              </a:solidFill>
            </a:endParaRPr>
          </a:p>
          <a:p>
            <a:pPr marL="457200" lvl="1" indent="0">
              <a:buFontTx/>
              <a:buNone/>
            </a:pPr>
            <a:r>
              <a:rPr lang="en-US" b="0">
                <a:solidFill>
                  <a:srgbClr val="004B64"/>
                </a:solidFill>
              </a:rPr>
              <a:t>We are all responsible for the sophistication of our work product. That includes having tight designs that can support storytelling. </a:t>
            </a:r>
          </a:p>
          <a:p>
            <a:pPr marL="457200" lvl="1" indent="0">
              <a:buFontTx/>
              <a:buNone/>
            </a:pPr>
            <a:endParaRPr lang="en-US" b="0">
              <a:solidFill>
                <a:srgbClr val="004B64"/>
              </a:solidFill>
            </a:endParaRPr>
          </a:p>
          <a:p>
            <a:pPr marL="457200" lvl="1" indent="0">
              <a:buFontTx/>
              <a:buNone/>
            </a:pPr>
            <a:r>
              <a:rPr lang="en-US" b="0">
                <a:solidFill>
                  <a:srgbClr val="004B64"/>
                </a:solidFill>
              </a:rPr>
              <a:t>Reach out to Kait (k</a:t>
            </a:r>
            <a:r>
              <a:rPr lang="en-US" b="0">
                <a:solidFill>
                  <a:srgbClr val="004B64"/>
                </a:solidFill>
                <a:hlinkClick r:id="rId7"/>
              </a:rPr>
              <a:t>sherman@veic.org</a:t>
            </a:r>
            <a:r>
              <a:rPr lang="en-US" b="0">
                <a:solidFill>
                  <a:srgbClr val="004B64"/>
                </a:solidFill>
              </a:rPr>
              <a:t>) with any questions. </a:t>
            </a:r>
          </a:p>
          <a:p>
            <a:pPr marL="742950" lvl="1" indent="-285750">
              <a:buFontTx/>
              <a:buChar char="-"/>
            </a:pPr>
            <a:endParaRPr lang="en-US" b="0">
              <a:solidFill>
                <a:srgbClr val="004B64"/>
              </a:solidFill>
            </a:endParaRPr>
          </a:p>
          <a:p>
            <a:endParaRPr lang="en-US">
              <a:solidFill>
                <a:srgbClr val="004B64"/>
              </a:solidFill>
            </a:endParaRPr>
          </a:p>
          <a:p>
            <a:endParaRPr lang="en-US">
              <a:solidFill>
                <a:srgbClr val="004B64"/>
              </a:solidFill>
            </a:endParaRPr>
          </a:p>
        </p:txBody>
      </p:sp>
    </p:spTree>
    <p:extLst>
      <p:ext uri="{BB962C8B-B14F-4D97-AF65-F5344CB8AC3E}">
        <p14:creationId xmlns:p14="http://schemas.microsoft.com/office/powerpoint/2010/main" val="55891249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2B02988-24A9-44AB-B78C-1D4CD87F012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aphicFrame>
        <p:nvGraphicFramePr>
          <p:cNvPr id="16" name="Object 15" hidden="1">
            <a:extLst>
              <a:ext uri="{FF2B5EF4-FFF2-40B4-BE49-F238E27FC236}">
                <a16:creationId xmlns:a16="http://schemas.microsoft.com/office/drawing/2014/main" id="{1776882B-B6FA-4247-837A-97CF996CBF72}"/>
              </a:ext>
            </a:extLst>
          </p:cNvPr>
          <p:cNvGraphicFramePr>
            <a:graphicFrameLocks noChangeAspect="1"/>
          </p:cNvGraphicFramePr>
          <p:nvPr userDrawn="1">
            <p:custDataLst>
              <p:tags r:id="rId1"/>
            </p:custDataLst>
            <p:extLst>
              <p:ext uri="{D42A27DB-BD31-4B8C-83A1-F6EECF244321}">
                <p14:modId xmlns:p14="http://schemas.microsoft.com/office/powerpoint/2010/main" val="2448964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16" name="Object 15" hidden="1">
                        <a:extLst>
                          <a:ext uri="{FF2B5EF4-FFF2-40B4-BE49-F238E27FC236}">
                            <a16:creationId xmlns:a16="http://schemas.microsoft.com/office/drawing/2014/main" id="{1776882B-B6FA-4247-837A-97CF996CBF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EC76C1CB-1CF7-45DF-AB63-A29E3E1B98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5" name="Rectangle 4">
            <a:extLst>
              <a:ext uri="{FF2B5EF4-FFF2-40B4-BE49-F238E27FC236}">
                <a16:creationId xmlns:a16="http://schemas.microsoft.com/office/drawing/2014/main" id="{A125620E-B7F4-47D4-9203-9C2D6590298E}"/>
              </a:ext>
            </a:extLst>
          </p:cNvPr>
          <p:cNvSpPr/>
          <p:nvPr userDrawn="1"/>
        </p:nvSpPr>
        <p:spPr>
          <a:xfrm>
            <a:off x="0" y="0"/>
            <a:ext cx="12192001"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E6C6DDF7-879A-4E7C-BAE9-0C03D0717054}"/>
              </a:ext>
            </a:extLst>
          </p:cNvPr>
          <p:cNvSpPr/>
          <p:nvPr userDrawn="1"/>
        </p:nvSpPr>
        <p:spPr>
          <a:xfrm>
            <a:off x="7206740" y="0"/>
            <a:ext cx="4985260" cy="4816912"/>
          </a:xfrm>
          <a:custGeom>
            <a:avLst/>
            <a:gdLst>
              <a:gd name="connsiteX0" fmla="*/ 0 w 4985260"/>
              <a:gd name="connsiteY0" fmla="*/ 0 h 4816912"/>
              <a:gd name="connsiteX1" fmla="*/ 1878781 w 4985260"/>
              <a:gd name="connsiteY1" fmla="*/ 0 h 4816912"/>
              <a:gd name="connsiteX2" fmla="*/ 1886645 w 4985260"/>
              <a:gd name="connsiteY2" fmla="*/ 105851 h 4816912"/>
              <a:gd name="connsiteX3" fmla="*/ 4904969 w 4985260"/>
              <a:gd name="connsiteY3" fmla="*/ 2895050 h 4816912"/>
              <a:gd name="connsiteX4" fmla="*/ 4985260 w 4985260"/>
              <a:gd name="connsiteY4" fmla="*/ 2892971 h 4816912"/>
              <a:gd name="connsiteX5" fmla="*/ 4985260 w 4985260"/>
              <a:gd name="connsiteY5" fmla="*/ 4814833 h 4816912"/>
              <a:gd name="connsiteX6" fmla="*/ 4904969 w 4985260"/>
              <a:gd name="connsiteY6" fmla="*/ 4816912 h 4816912"/>
              <a:gd name="connsiteX7" fmla="*/ 1160 w 4985260"/>
              <a:gd name="connsiteY7" fmla="*/ 46991 h 481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5260" h="4816912">
                <a:moveTo>
                  <a:pt x="0" y="0"/>
                </a:moveTo>
                <a:lnTo>
                  <a:pt x="1878781" y="0"/>
                </a:lnTo>
                <a:lnTo>
                  <a:pt x="1886645" y="105851"/>
                </a:lnTo>
                <a:cubicBezTo>
                  <a:pt x="2042084" y="1672405"/>
                  <a:pt x="3334663" y="2895050"/>
                  <a:pt x="4904969" y="2895050"/>
                </a:cubicBezTo>
                <a:lnTo>
                  <a:pt x="4985260" y="2892971"/>
                </a:lnTo>
                <a:lnTo>
                  <a:pt x="4985260" y="4814833"/>
                </a:lnTo>
                <a:lnTo>
                  <a:pt x="4904969" y="4816912"/>
                </a:lnTo>
                <a:cubicBezTo>
                  <a:pt x="2277879" y="4816912"/>
                  <a:pt x="132671" y="2703997"/>
                  <a:pt x="1160" y="46991"/>
                </a:cubicBezTo>
                <a:close/>
              </a:path>
            </a:pathLst>
          </a:custGeom>
          <a:solidFill>
            <a:srgbClr val="FF9E18"/>
          </a:solidFill>
          <a:ln w="9264" cap="flat">
            <a:noFill/>
            <a:prstDash val="solid"/>
            <a:miter/>
          </a:ln>
        </p:spPr>
        <p:txBody>
          <a:bodyPr wrap="square" rtlCol="0" anchor="ctr">
            <a:noAutofit/>
          </a:bodyPr>
          <a:lstStyle/>
          <a:p>
            <a:endParaRPr lang="en-US"/>
          </a:p>
        </p:txBody>
      </p:sp>
      <p:sp>
        <p:nvSpPr>
          <p:cNvPr id="7" name="Rectangle 6">
            <a:extLst>
              <a:ext uri="{FF2B5EF4-FFF2-40B4-BE49-F238E27FC236}">
                <a16:creationId xmlns:a16="http://schemas.microsoft.com/office/drawing/2014/main" id="{74B56715-AE28-4C11-8869-7AA1A2D4DC00}"/>
              </a:ext>
            </a:extLst>
          </p:cNvPr>
          <p:cNvSpPr/>
          <p:nvPr userDrawn="1"/>
        </p:nvSpPr>
        <p:spPr>
          <a:xfrm>
            <a:off x="2706449" y="5596645"/>
            <a:ext cx="577702" cy="5777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57FD71DE-F152-48CF-95AE-7F68DADBDCAB}"/>
              </a:ext>
            </a:extLst>
          </p:cNvPr>
          <p:cNvGrpSpPr/>
          <p:nvPr userDrawn="1"/>
        </p:nvGrpSpPr>
        <p:grpSpPr>
          <a:xfrm>
            <a:off x="932397" y="653642"/>
            <a:ext cx="1544103" cy="832491"/>
            <a:chOff x="932397" y="653642"/>
            <a:chExt cx="2241920" cy="1208714"/>
          </a:xfrm>
        </p:grpSpPr>
        <p:grpSp>
          <p:nvGrpSpPr>
            <p:cNvPr id="9" name="Graphic 6">
              <a:extLst>
                <a:ext uri="{FF2B5EF4-FFF2-40B4-BE49-F238E27FC236}">
                  <a16:creationId xmlns:a16="http://schemas.microsoft.com/office/drawing/2014/main" id="{E1BA4648-BD6E-4E74-8851-45EBABEF72E7}"/>
                </a:ext>
              </a:extLst>
            </p:cNvPr>
            <p:cNvGrpSpPr/>
            <p:nvPr/>
          </p:nvGrpSpPr>
          <p:grpSpPr>
            <a:xfrm>
              <a:off x="932397" y="723900"/>
              <a:ext cx="1544103" cy="667132"/>
              <a:chOff x="85969" y="3646150"/>
              <a:chExt cx="1544103" cy="667132"/>
            </a:xfrm>
            <a:solidFill>
              <a:schemeClr val="bg1"/>
            </a:solidFill>
          </p:grpSpPr>
          <p:sp>
            <p:nvSpPr>
              <p:cNvPr id="11" name="Freeform: Shape 10">
                <a:extLst>
                  <a:ext uri="{FF2B5EF4-FFF2-40B4-BE49-F238E27FC236}">
                    <a16:creationId xmlns:a16="http://schemas.microsoft.com/office/drawing/2014/main" id="{98C1CA3B-8903-4213-A8E6-83E0B43BD8C1}"/>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5836414-77CE-417A-9897-D3290681691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487FDF2-DA56-4525-800E-1EC016598F5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D217F72-15C5-468B-81F4-C205BCEC74DD}"/>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pic>
          <p:nvPicPr>
            <p:cNvPr id="10" name="Graphic 9">
              <a:extLst>
                <a:ext uri="{FF2B5EF4-FFF2-40B4-BE49-F238E27FC236}">
                  <a16:creationId xmlns:a16="http://schemas.microsoft.com/office/drawing/2014/main" id="{BE935090-2F88-4800-97AD-B4DD2F55CA4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590800" y="653642"/>
              <a:ext cx="583517" cy="1208714"/>
            </a:xfrm>
            <a:prstGeom prst="rect">
              <a:avLst/>
            </a:prstGeom>
          </p:spPr>
        </p:pic>
      </p:grpSp>
      <p:sp>
        <p:nvSpPr>
          <p:cNvPr id="2" name="Title 1">
            <a:extLst>
              <a:ext uri="{FF2B5EF4-FFF2-40B4-BE49-F238E27FC236}">
                <a16:creationId xmlns:a16="http://schemas.microsoft.com/office/drawing/2014/main" id="{40DD8270-24BC-42A8-8EBA-64CB62DD4CD1}"/>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Title Here</a:t>
            </a:r>
          </a:p>
        </p:txBody>
      </p:sp>
      <p:sp>
        <p:nvSpPr>
          <p:cNvPr id="20" name="Text Placeholder 19">
            <a:extLst>
              <a:ext uri="{FF2B5EF4-FFF2-40B4-BE49-F238E27FC236}">
                <a16:creationId xmlns:a16="http://schemas.microsoft.com/office/drawing/2014/main" id="{16BB815A-06DC-4A68-A35B-38C54785E94B}"/>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Tree>
    <p:extLst>
      <p:ext uri="{BB962C8B-B14F-4D97-AF65-F5344CB8AC3E}">
        <p14:creationId xmlns:p14="http://schemas.microsoft.com/office/powerpoint/2010/main" val="236937291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_Title Slide">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776882B-B6FA-4247-837A-97CF996CBF72}"/>
              </a:ext>
            </a:extLst>
          </p:cNvPr>
          <p:cNvGraphicFramePr>
            <a:graphicFrameLocks noChangeAspect="1"/>
          </p:cNvGraphicFramePr>
          <p:nvPr userDrawn="1">
            <p:custDataLst>
              <p:tags r:id="rId1"/>
            </p:custDataLst>
            <p:extLst>
              <p:ext uri="{D42A27DB-BD31-4B8C-83A1-F6EECF244321}">
                <p14:modId xmlns:p14="http://schemas.microsoft.com/office/powerpoint/2010/main" val="2448964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16" name="Object 15" hidden="1">
                        <a:extLst>
                          <a:ext uri="{FF2B5EF4-FFF2-40B4-BE49-F238E27FC236}">
                            <a16:creationId xmlns:a16="http://schemas.microsoft.com/office/drawing/2014/main" id="{1776882B-B6FA-4247-837A-97CF996CBF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EC76C1CB-1CF7-45DF-AB63-A29E3E1B98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5" name="Rectangle 4">
            <a:extLst>
              <a:ext uri="{FF2B5EF4-FFF2-40B4-BE49-F238E27FC236}">
                <a16:creationId xmlns:a16="http://schemas.microsoft.com/office/drawing/2014/main" id="{A125620E-B7F4-47D4-9203-9C2D6590298E}"/>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E6C6DDF7-879A-4E7C-BAE9-0C03D0717054}"/>
              </a:ext>
            </a:extLst>
          </p:cNvPr>
          <p:cNvSpPr/>
          <p:nvPr userDrawn="1"/>
        </p:nvSpPr>
        <p:spPr>
          <a:xfrm>
            <a:off x="7206740" y="0"/>
            <a:ext cx="4985260" cy="4816912"/>
          </a:xfrm>
          <a:custGeom>
            <a:avLst/>
            <a:gdLst>
              <a:gd name="connsiteX0" fmla="*/ 0 w 4985260"/>
              <a:gd name="connsiteY0" fmla="*/ 0 h 4816912"/>
              <a:gd name="connsiteX1" fmla="*/ 1878781 w 4985260"/>
              <a:gd name="connsiteY1" fmla="*/ 0 h 4816912"/>
              <a:gd name="connsiteX2" fmla="*/ 1886645 w 4985260"/>
              <a:gd name="connsiteY2" fmla="*/ 105851 h 4816912"/>
              <a:gd name="connsiteX3" fmla="*/ 4904969 w 4985260"/>
              <a:gd name="connsiteY3" fmla="*/ 2895050 h 4816912"/>
              <a:gd name="connsiteX4" fmla="*/ 4985260 w 4985260"/>
              <a:gd name="connsiteY4" fmla="*/ 2892971 h 4816912"/>
              <a:gd name="connsiteX5" fmla="*/ 4985260 w 4985260"/>
              <a:gd name="connsiteY5" fmla="*/ 4814833 h 4816912"/>
              <a:gd name="connsiteX6" fmla="*/ 4904969 w 4985260"/>
              <a:gd name="connsiteY6" fmla="*/ 4816912 h 4816912"/>
              <a:gd name="connsiteX7" fmla="*/ 1160 w 4985260"/>
              <a:gd name="connsiteY7" fmla="*/ 46991 h 481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5260" h="4816912">
                <a:moveTo>
                  <a:pt x="0" y="0"/>
                </a:moveTo>
                <a:lnTo>
                  <a:pt x="1878781" y="0"/>
                </a:lnTo>
                <a:lnTo>
                  <a:pt x="1886645" y="105851"/>
                </a:lnTo>
                <a:cubicBezTo>
                  <a:pt x="2042084" y="1672405"/>
                  <a:pt x="3334663" y="2895050"/>
                  <a:pt x="4904969" y="2895050"/>
                </a:cubicBezTo>
                <a:lnTo>
                  <a:pt x="4985260" y="2892971"/>
                </a:lnTo>
                <a:lnTo>
                  <a:pt x="4985260" y="4814833"/>
                </a:lnTo>
                <a:lnTo>
                  <a:pt x="4904969" y="4816912"/>
                </a:lnTo>
                <a:cubicBezTo>
                  <a:pt x="2277879" y="4816912"/>
                  <a:pt x="132671" y="2703997"/>
                  <a:pt x="1160" y="46991"/>
                </a:cubicBezTo>
                <a:close/>
              </a:path>
            </a:pathLst>
          </a:custGeom>
          <a:solidFill>
            <a:srgbClr val="FF9E18"/>
          </a:solidFill>
          <a:ln w="9264" cap="flat">
            <a:noFill/>
            <a:prstDash val="solid"/>
            <a:miter/>
          </a:ln>
        </p:spPr>
        <p:txBody>
          <a:bodyPr wrap="square" rtlCol="0" anchor="ctr">
            <a:noAutofit/>
          </a:bodyPr>
          <a:lstStyle/>
          <a:p>
            <a:endParaRPr lang="en-US"/>
          </a:p>
        </p:txBody>
      </p:sp>
      <p:sp>
        <p:nvSpPr>
          <p:cNvPr id="7" name="Rectangle 6">
            <a:extLst>
              <a:ext uri="{FF2B5EF4-FFF2-40B4-BE49-F238E27FC236}">
                <a16:creationId xmlns:a16="http://schemas.microsoft.com/office/drawing/2014/main" id="{74B56715-AE28-4C11-8869-7AA1A2D4DC00}"/>
              </a:ext>
            </a:extLst>
          </p:cNvPr>
          <p:cNvSpPr/>
          <p:nvPr userDrawn="1"/>
        </p:nvSpPr>
        <p:spPr>
          <a:xfrm>
            <a:off x="2706449" y="5596645"/>
            <a:ext cx="577702" cy="5777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57FD71DE-F152-48CF-95AE-7F68DADBDCAB}"/>
              </a:ext>
            </a:extLst>
          </p:cNvPr>
          <p:cNvGrpSpPr/>
          <p:nvPr userDrawn="1"/>
        </p:nvGrpSpPr>
        <p:grpSpPr>
          <a:xfrm>
            <a:off x="932397" y="653642"/>
            <a:ext cx="1544103" cy="832491"/>
            <a:chOff x="932397" y="653642"/>
            <a:chExt cx="2241920" cy="1208714"/>
          </a:xfrm>
        </p:grpSpPr>
        <p:grpSp>
          <p:nvGrpSpPr>
            <p:cNvPr id="9" name="Graphic 6">
              <a:extLst>
                <a:ext uri="{FF2B5EF4-FFF2-40B4-BE49-F238E27FC236}">
                  <a16:creationId xmlns:a16="http://schemas.microsoft.com/office/drawing/2014/main" id="{E1BA4648-BD6E-4E74-8851-45EBABEF72E7}"/>
                </a:ext>
              </a:extLst>
            </p:cNvPr>
            <p:cNvGrpSpPr/>
            <p:nvPr/>
          </p:nvGrpSpPr>
          <p:grpSpPr>
            <a:xfrm>
              <a:off x="932397" y="723900"/>
              <a:ext cx="1544103" cy="667132"/>
              <a:chOff x="85969" y="3646150"/>
              <a:chExt cx="1544103" cy="667132"/>
            </a:xfrm>
            <a:solidFill>
              <a:schemeClr val="bg1"/>
            </a:solidFill>
          </p:grpSpPr>
          <p:sp>
            <p:nvSpPr>
              <p:cNvPr id="11" name="Freeform: Shape 10">
                <a:extLst>
                  <a:ext uri="{FF2B5EF4-FFF2-40B4-BE49-F238E27FC236}">
                    <a16:creationId xmlns:a16="http://schemas.microsoft.com/office/drawing/2014/main" id="{98C1CA3B-8903-4213-A8E6-83E0B43BD8C1}"/>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5836414-77CE-417A-9897-D3290681691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487FDF2-DA56-4525-800E-1EC016598F5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D217F72-15C5-468B-81F4-C205BCEC74DD}"/>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pic>
          <p:nvPicPr>
            <p:cNvPr id="10" name="Graphic 9">
              <a:extLst>
                <a:ext uri="{FF2B5EF4-FFF2-40B4-BE49-F238E27FC236}">
                  <a16:creationId xmlns:a16="http://schemas.microsoft.com/office/drawing/2014/main" id="{BE935090-2F88-4800-97AD-B4DD2F55CA4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590800" y="653642"/>
              <a:ext cx="583517" cy="1208714"/>
            </a:xfrm>
            <a:prstGeom prst="rect">
              <a:avLst/>
            </a:prstGeom>
          </p:spPr>
        </p:pic>
      </p:grpSp>
      <p:sp>
        <p:nvSpPr>
          <p:cNvPr id="2" name="Title 1">
            <a:extLst>
              <a:ext uri="{FF2B5EF4-FFF2-40B4-BE49-F238E27FC236}">
                <a16:creationId xmlns:a16="http://schemas.microsoft.com/office/drawing/2014/main" id="{40DD8270-24BC-42A8-8EBA-64CB62DD4CD1}"/>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Title Here</a:t>
            </a:r>
          </a:p>
        </p:txBody>
      </p:sp>
      <p:sp>
        <p:nvSpPr>
          <p:cNvPr id="20" name="Text Placeholder 19">
            <a:extLst>
              <a:ext uri="{FF2B5EF4-FFF2-40B4-BE49-F238E27FC236}">
                <a16:creationId xmlns:a16="http://schemas.microsoft.com/office/drawing/2014/main" id="{16BB815A-06DC-4A68-A35B-38C54785E94B}"/>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3" name="TextBox 2">
            <a:extLst>
              <a:ext uri="{FF2B5EF4-FFF2-40B4-BE49-F238E27FC236}">
                <a16:creationId xmlns:a16="http://schemas.microsoft.com/office/drawing/2014/main" id="{975785DD-AE69-4000-878F-B146079CADB4}"/>
              </a:ext>
            </a:extLst>
          </p:cNvPr>
          <p:cNvSpPr txBox="1">
            <a:spLocks noChangeAspect="1"/>
          </p:cNvSpPr>
          <p:nvPr userDrawn="1"/>
        </p:nvSpPr>
        <p:spPr>
          <a:xfrm>
            <a:off x="12712085" y="-1615618"/>
            <a:ext cx="7811407" cy="13419058"/>
          </a:xfrm>
          <a:prstGeom prst="rect">
            <a:avLst/>
          </a:prstGeom>
          <a:noFill/>
        </p:spPr>
        <p:txBody>
          <a:bodyPr wrap="square" rtlCol="0">
            <a:spAutoFit/>
          </a:bodyPr>
          <a:lstStyle/>
          <a:p>
            <a:r>
              <a:rPr lang="en-US" sz="2800" b="1">
                <a:solidFill>
                  <a:srgbClr val="004B64"/>
                </a:solidFill>
              </a:rPr>
              <a:t>Welcome to the new VEIC slide deck! </a:t>
            </a:r>
          </a:p>
          <a:p>
            <a:endParaRPr lang="en-US" sz="2800" b="1">
              <a:solidFill>
                <a:srgbClr val="004B64"/>
              </a:solidFill>
            </a:endParaRPr>
          </a:p>
          <a:p>
            <a:r>
              <a:rPr lang="en-US">
                <a:solidFill>
                  <a:srgbClr val="004B64"/>
                </a:solidFill>
              </a:rPr>
              <a:t>We are excited to have a presentation template that reflects the new brand and elevates the information we provide to clients, partners, and the industry. </a:t>
            </a:r>
          </a:p>
          <a:p>
            <a:endParaRPr lang="en-US">
              <a:solidFill>
                <a:srgbClr val="004B64"/>
              </a:solidFill>
            </a:endParaRPr>
          </a:p>
          <a:p>
            <a:r>
              <a:rPr lang="en-US">
                <a:solidFill>
                  <a:srgbClr val="004B64"/>
                </a:solidFill>
              </a:rPr>
              <a:t>We built many different slide formats to accommodate a range of information. We encourage you to explore and try new things out. </a:t>
            </a:r>
          </a:p>
          <a:p>
            <a:endParaRPr lang="en-US">
              <a:solidFill>
                <a:srgbClr val="004B64"/>
              </a:solidFill>
            </a:endParaRPr>
          </a:p>
          <a:p>
            <a:r>
              <a:rPr lang="en-US">
                <a:solidFill>
                  <a:srgbClr val="004B64"/>
                </a:solidFill>
              </a:rPr>
              <a:t>In general, we are trying to move away from text heavy slides and towards graphics and key takeaways. </a:t>
            </a:r>
          </a:p>
          <a:p>
            <a:endParaRPr lang="en-US">
              <a:solidFill>
                <a:srgbClr val="004B64"/>
              </a:solidFill>
            </a:endParaRPr>
          </a:p>
          <a:p>
            <a:r>
              <a:rPr lang="en-US">
                <a:solidFill>
                  <a:srgbClr val="004B64"/>
                </a:solidFill>
              </a:rPr>
              <a:t>Some suggestions as you build your presentations: </a:t>
            </a:r>
          </a:p>
          <a:p>
            <a:endParaRPr lang="en-US">
              <a:solidFill>
                <a:srgbClr val="004B64"/>
              </a:solidFill>
            </a:endParaRPr>
          </a:p>
          <a:p>
            <a:pPr marL="285750" indent="-285750">
              <a:buFontTx/>
              <a:buChar char="-"/>
            </a:pPr>
            <a:r>
              <a:rPr lang="en-US" b="1">
                <a:solidFill>
                  <a:srgbClr val="004B64"/>
                </a:solidFill>
              </a:rPr>
              <a:t>Be thoughtful about the images you include</a:t>
            </a:r>
          </a:p>
          <a:p>
            <a:pPr marL="742950" lvl="1" indent="-285750">
              <a:buFontTx/>
              <a:buChar char="-"/>
            </a:pPr>
            <a:r>
              <a:rPr lang="en-US">
                <a:solidFill>
                  <a:srgbClr val="004B64"/>
                </a:solidFill>
              </a:rPr>
              <a:t>Images sourced from Google should not be used for webinars and presentation with a large attendance. There are both legal implications and quality implications</a:t>
            </a:r>
          </a:p>
          <a:p>
            <a:pPr marL="742950" lvl="1" indent="-285750">
              <a:buFontTx/>
              <a:buChar char="-"/>
            </a:pPr>
            <a:r>
              <a:rPr lang="en-US">
                <a:solidFill>
                  <a:srgbClr val="004B64"/>
                </a:solidFill>
              </a:rPr>
              <a:t>Incorporate images that sync with the deck design (no clip art, please) </a:t>
            </a:r>
          </a:p>
          <a:p>
            <a:pPr marL="742950" lvl="1" indent="-285750">
              <a:buFontTx/>
              <a:buChar char="-"/>
            </a:pPr>
            <a:r>
              <a:rPr lang="en-US">
                <a:solidFill>
                  <a:srgbClr val="004B64"/>
                </a:solidFill>
              </a:rPr>
              <a:t>Over the next few weeks will be adding images to Templafy so you have a core library to pull from </a:t>
            </a:r>
          </a:p>
          <a:p>
            <a:pPr marL="285750" lvl="0" indent="-285750">
              <a:buFontTx/>
              <a:buChar char="-"/>
            </a:pPr>
            <a:r>
              <a:rPr lang="en-US" b="1">
                <a:solidFill>
                  <a:srgbClr val="004B64"/>
                </a:solidFill>
              </a:rPr>
              <a:t>Rebuild charts when possible </a:t>
            </a:r>
          </a:p>
          <a:p>
            <a:pPr marL="742950" lvl="1" indent="-285750">
              <a:buFontTx/>
              <a:buChar char="-"/>
            </a:pPr>
            <a:r>
              <a:rPr lang="en-US">
                <a:solidFill>
                  <a:srgbClr val="004B64"/>
                </a:solidFill>
              </a:rPr>
              <a:t>We reference research from outside sources often</a:t>
            </a:r>
          </a:p>
          <a:p>
            <a:pPr marL="742950" lvl="1" indent="-285750">
              <a:buFontTx/>
              <a:buChar char="-"/>
            </a:pPr>
            <a:r>
              <a:rPr lang="en-US">
                <a:solidFill>
                  <a:srgbClr val="004B64"/>
                </a:solidFill>
              </a:rPr>
              <a:t>Instead of just dropping in image file of this data, rebuild the chart and properly credit the author </a:t>
            </a:r>
          </a:p>
          <a:p>
            <a:pPr marL="285750" indent="-285750">
              <a:buFontTx/>
              <a:buChar char="-"/>
            </a:pPr>
            <a:r>
              <a:rPr lang="en-US">
                <a:solidFill>
                  <a:srgbClr val="004B64"/>
                </a:solidFill>
              </a:rPr>
              <a:t> </a:t>
            </a:r>
            <a:r>
              <a:rPr lang="en-US" b="1">
                <a:solidFill>
                  <a:srgbClr val="004B64"/>
                </a:solidFill>
              </a:rPr>
              <a:t>Rethink how you present information</a:t>
            </a:r>
          </a:p>
          <a:p>
            <a:pPr marL="742950" lvl="1" indent="-285750">
              <a:buFontTx/>
              <a:buChar char="-"/>
            </a:pPr>
            <a:r>
              <a:rPr lang="en-US" b="0">
                <a:solidFill>
                  <a:srgbClr val="004B64"/>
                </a:solidFill>
              </a:rPr>
              <a:t>Consider what needs to be on a slide versus what can be voiceover </a:t>
            </a:r>
          </a:p>
          <a:p>
            <a:pPr marL="742950" lvl="1" indent="-285750">
              <a:buFontTx/>
              <a:buChar char="-"/>
            </a:pPr>
            <a:r>
              <a:rPr lang="en-US" b="0">
                <a:solidFill>
                  <a:srgbClr val="004B64"/>
                </a:solidFill>
              </a:rPr>
              <a:t>The most engaging presentation present prompts of information that you can speak to</a:t>
            </a:r>
          </a:p>
          <a:p>
            <a:pPr marL="285750" lvl="0" indent="-285750">
              <a:buFontTx/>
              <a:buChar char="-"/>
            </a:pPr>
            <a:r>
              <a:rPr lang="en-US" b="1">
                <a:solidFill>
                  <a:srgbClr val="004B64"/>
                </a:solidFill>
              </a:rPr>
              <a:t>Adjust the font for the forum: </a:t>
            </a:r>
          </a:p>
          <a:p>
            <a:pPr marL="742950" marR="0" lvl="1" indent="-285750" algn="l" defTabSz="914400" rtl="0" eaLnBrk="1" fontAlgn="auto" latinLnBrk="0" hangingPunct="1">
              <a:lnSpc>
                <a:spcPct val="100000"/>
              </a:lnSpc>
              <a:spcBef>
                <a:spcPts val="0"/>
              </a:spcBef>
              <a:spcAft>
                <a:spcPts val="0"/>
              </a:spcAft>
              <a:buClrTx/>
              <a:buSzTx/>
              <a:buFontTx/>
              <a:buChar char="-"/>
              <a:tabLst/>
              <a:defRPr/>
            </a:pPr>
            <a:r>
              <a:rPr lang="en-US" b="0">
                <a:solidFill>
                  <a:srgbClr val="004B64"/>
                </a:solidFill>
              </a:rPr>
              <a:t>Team meetings: 18 pts +</a:t>
            </a:r>
          </a:p>
          <a:p>
            <a:pPr marL="742950" lvl="1" indent="-285750">
              <a:buFontTx/>
              <a:buChar char="-"/>
            </a:pPr>
            <a:r>
              <a:rPr lang="en-US" b="0">
                <a:solidFill>
                  <a:srgbClr val="004B64"/>
                </a:solidFill>
              </a:rPr>
              <a:t>Webinars: 20 pts + </a:t>
            </a:r>
          </a:p>
          <a:p>
            <a:pPr marL="742950" lvl="1" indent="-285750">
              <a:buFontTx/>
              <a:buChar char="-"/>
            </a:pPr>
            <a:r>
              <a:rPr lang="en-US" b="0">
                <a:solidFill>
                  <a:srgbClr val="004B64"/>
                </a:solidFill>
              </a:rPr>
              <a:t>Conferences: 26 pts +</a:t>
            </a:r>
          </a:p>
          <a:p>
            <a:pPr marL="742950" lvl="1" indent="-285750">
              <a:buFontTx/>
              <a:buChar char="-"/>
            </a:pPr>
            <a:r>
              <a:rPr lang="en-US" b="0">
                <a:solidFill>
                  <a:srgbClr val="004B64"/>
                </a:solidFill>
              </a:rPr>
              <a:t>Also, keep in mind that GoToMeeting cuts off the bottom of slide decks so provide buffer there. </a:t>
            </a:r>
          </a:p>
          <a:p>
            <a:pPr marL="285750" lvl="0" indent="-285750">
              <a:buFontTx/>
              <a:buChar char="-"/>
            </a:pPr>
            <a:r>
              <a:rPr lang="en-US" b="1">
                <a:solidFill>
                  <a:srgbClr val="004B64"/>
                </a:solidFill>
              </a:rPr>
              <a:t>Have fun:</a:t>
            </a:r>
          </a:p>
          <a:p>
            <a:pPr marL="742950" lvl="1" indent="-285750">
              <a:buFontTx/>
              <a:buChar char="-"/>
            </a:pPr>
            <a:r>
              <a:rPr lang="en-US" b="0">
                <a:solidFill>
                  <a:srgbClr val="004B64"/>
                </a:solidFill>
              </a:rPr>
              <a:t>Explore new ways to bring information forward</a:t>
            </a:r>
          </a:p>
          <a:p>
            <a:pPr marL="742950" lvl="1" indent="-285750">
              <a:buFontTx/>
              <a:buChar char="-"/>
            </a:pPr>
            <a:r>
              <a:rPr lang="en-US" b="0">
                <a:solidFill>
                  <a:srgbClr val="004B64"/>
                </a:solidFill>
              </a:rPr>
              <a:t>Try out new slide templates and play around</a:t>
            </a:r>
          </a:p>
          <a:p>
            <a:pPr marL="457200" lvl="1" indent="0">
              <a:buFontTx/>
              <a:buNone/>
            </a:pPr>
            <a:endParaRPr lang="en-US" b="0">
              <a:solidFill>
                <a:srgbClr val="004B64"/>
              </a:solidFill>
            </a:endParaRPr>
          </a:p>
          <a:p>
            <a:pPr marL="457200" lvl="1" indent="0">
              <a:buFontTx/>
              <a:buNone/>
            </a:pPr>
            <a:r>
              <a:rPr lang="en-US" b="0">
                <a:solidFill>
                  <a:srgbClr val="004B64"/>
                </a:solidFill>
              </a:rPr>
              <a:t>We are all responsible for the sophistication of our work product. That includes having tight designs that can support storytelling. </a:t>
            </a:r>
          </a:p>
          <a:p>
            <a:pPr marL="457200" lvl="1" indent="0">
              <a:buFontTx/>
              <a:buNone/>
            </a:pPr>
            <a:endParaRPr lang="en-US" b="0">
              <a:solidFill>
                <a:srgbClr val="004B64"/>
              </a:solidFill>
            </a:endParaRPr>
          </a:p>
          <a:p>
            <a:pPr marL="457200" lvl="1" indent="0">
              <a:buFontTx/>
              <a:buNone/>
            </a:pPr>
            <a:r>
              <a:rPr lang="en-US" b="0">
                <a:solidFill>
                  <a:srgbClr val="004B64"/>
                </a:solidFill>
              </a:rPr>
              <a:t>Reach out to Kait (k</a:t>
            </a:r>
            <a:r>
              <a:rPr lang="en-US" b="0">
                <a:solidFill>
                  <a:srgbClr val="004B64"/>
                </a:solidFill>
                <a:hlinkClick r:id="rId8"/>
              </a:rPr>
              <a:t>sherman@veic.org</a:t>
            </a:r>
            <a:r>
              <a:rPr lang="en-US" b="0">
                <a:solidFill>
                  <a:srgbClr val="004B64"/>
                </a:solidFill>
              </a:rPr>
              <a:t>) with any questions. </a:t>
            </a:r>
          </a:p>
          <a:p>
            <a:pPr marL="742950" lvl="1" indent="-285750">
              <a:buFontTx/>
              <a:buChar char="-"/>
            </a:pPr>
            <a:endParaRPr lang="en-US" b="0">
              <a:solidFill>
                <a:srgbClr val="004B64"/>
              </a:solidFill>
            </a:endParaRPr>
          </a:p>
          <a:p>
            <a:endParaRPr lang="en-US">
              <a:solidFill>
                <a:srgbClr val="004B64"/>
              </a:solidFill>
            </a:endParaRPr>
          </a:p>
          <a:p>
            <a:endParaRPr lang="en-US">
              <a:solidFill>
                <a:srgbClr val="004B64"/>
              </a:solidFill>
            </a:endParaRPr>
          </a:p>
        </p:txBody>
      </p:sp>
    </p:spTree>
    <p:extLst>
      <p:ext uri="{BB962C8B-B14F-4D97-AF65-F5344CB8AC3E}">
        <p14:creationId xmlns:p14="http://schemas.microsoft.com/office/powerpoint/2010/main" val="289120338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776882B-B6FA-4247-837A-97CF996CBF72}"/>
              </a:ext>
            </a:extLst>
          </p:cNvPr>
          <p:cNvGraphicFramePr>
            <a:graphicFrameLocks noChangeAspect="1"/>
          </p:cNvGraphicFramePr>
          <p:nvPr userDrawn="1">
            <p:custDataLst>
              <p:tags r:id="rId1"/>
            </p:custDataLst>
            <p:extLst>
              <p:ext uri="{D42A27DB-BD31-4B8C-83A1-F6EECF244321}">
                <p14:modId xmlns:p14="http://schemas.microsoft.com/office/powerpoint/2010/main" val="2448964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6" name="Object 15" hidden="1">
                        <a:extLst>
                          <a:ext uri="{FF2B5EF4-FFF2-40B4-BE49-F238E27FC236}">
                            <a16:creationId xmlns:a16="http://schemas.microsoft.com/office/drawing/2014/main" id="{1776882B-B6FA-4247-837A-97CF996CBF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EC76C1CB-1CF7-45DF-AB63-A29E3E1B98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8" name="Freeform: Shape 17">
            <a:extLst>
              <a:ext uri="{FF2B5EF4-FFF2-40B4-BE49-F238E27FC236}">
                <a16:creationId xmlns:a16="http://schemas.microsoft.com/office/drawing/2014/main" id="{E6C6DDF7-879A-4E7C-BAE9-0C03D0717054}"/>
              </a:ext>
            </a:extLst>
          </p:cNvPr>
          <p:cNvSpPr/>
          <p:nvPr userDrawn="1"/>
        </p:nvSpPr>
        <p:spPr>
          <a:xfrm>
            <a:off x="7206740" y="0"/>
            <a:ext cx="4985260" cy="4816912"/>
          </a:xfrm>
          <a:custGeom>
            <a:avLst/>
            <a:gdLst>
              <a:gd name="connsiteX0" fmla="*/ 0 w 4985260"/>
              <a:gd name="connsiteY0" fmla="*/ 0 h 4816912"/>
              <a:gd name="connsiteX1" fmla="*/ 1878781 w 4985260"/>
              <a:gd name="connsiteY1" fmla="*/ 0 h 4816912"/>
              <a:gd name="connsiteX2" fmla="*/ 1886645 w 4985260"/>
              <a:gd name="connsiteY2" fmla="*/ 105851 h 4816912"/>
              <a:gd name="connsiteX3" fmla="*/ 4904969 w 4985260"/>
              <a:gd name="connsiteY3" fmla="*/ 2895050 h 4816912"/>
              <a:gd name="connsiteX4" fmla="*/ 4985260 w 4985260"/>
              <a:gd name="connsiteY4" fmla="*/ 2892971 h 4816912"/>
              <a:gd name="connsiteX5" fmla="*/ 4985260 w 4985260"/>
              <a:gd name="connsiteY5" fmla="*/ 4814833 h 4816912"/>
              <a:gd name="connsiteX6" fmla="*/ 4904969 w 4985260"/>
              <a:gd name="connsiteY6" fmla="*/ 4816912 h 4816912"/>
              <a:gd name="connsiteX7" fmla="*/ 1160 w 4985260"/>
              <a:gd name="connsiteY7" fmla="*/ 46991 h 481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5260" h="4816912">
                <a:moveTo>
                  <a:pt x="0" y="0"/>
                </a:moveTo>
                <a:lnTo>
                  <a:pt x="1878781" y="0"/>
                </a:lnTo>
                <a:lnTo>
                  <a:pt x="1886645" y="105851"/>
                </a:lnTo>
                <a:cubicBezTo>
                  <a:pt x="2042084" y="1672405"/>
                  <a:pt x="3334663" y="2895050"/>
                  <a:pt x="4904969" y="2895050"/>
                </a:cubicBezTo>
                <a:lnTo>
                  <a:pt x="4985260" y="2892971"/>
                </a:lnTo>
                <a:lnTo>
                  <a:pt x="4985260" y="4814833"/>
                </a:lnTo>
                <a:lnTo>
                  <a:pt x="4904969" y="4816912"/>
                </a:lnTo>
                <a:cubicBezTo>
                  <a:pt x="2277879" y="4816912"/>
                  <a:pt x="132671" y="2703997"/>
                  <a:pt x="1160" y="46991"/>
                </a:cubicBezTo>
                <a:close/>
              </a:path>
            </a:pathLst>
          </a:custGeom>
          <a:solidFill>
            <a:srgbClr val="FF9E18"/>
          </a:solidFill>
          <a:ln w="9264" cap="flat">
            <a:noFill/>
            <a:prstDash val="solid"/>
            <a:miter/>
          </a:ln>
        </p:spPr>
        <p:txBody>
          <a:bodyPr wrap="square" rtlCol="0" anchor="ctr">
            <a:noAutofit/>
          </a:bodyPr>
          <a:lstStyle/>
          <a:p>
            <a:endParaRPr lang="en-US"/>
          </a:p>
        </p:txBody>
      </p:sp>
      <p:sp>
        <p:nvSpPr>
          <p:cNvPr id="7" name="Rectangle 6">
            <a:extLst>
              <a:ext uri="{FF2B5EF4-FFF2-40B4-BE49-F238E27FC236}">
                <a16:creationId xmlns:a16="http://schemas.microsoft.com/office/drawing/2014/main" id="{74B56715-AE28-4C11-8869-7AA1A2D4DC00}"/>
              </a:ext>
            </a:extLst>
          </p:cNvPr>
          <p:cNvSpPr/>
          <p:nvPr userDrawn="1"/>
        </p:nvSpPr>
        <p:spPr>
          <a:xfrm>
            <a:off x="2706449" y="5596645"/>
            <a:ext cx="577702" cy="5777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57FD71DE-F152-48CF-95AE-7F68DADBDCAB}"/>
              </a:ext>
            </a:extLst>
          </p:cNvPr>
          <p:cNvGrpSpPr/>
          <p:nvPr userDrawn="1"/>
        </p:nvGrpSpPr>
        <p:grpSpPr>
          <a:xfrm>
            <a:off x="932397" y="653642"/>
            <a:ext cx="1544103" cy="832491"/>
            <a:chOff x="932397" y="653642"/>
            <a:chExt cx="2241920" cy="1208714"/>
          </a:xfrm>
        </p:grpSpPr>
        <p:grpSp>
          <p:nvGrpSpPr>
            <p:cNvPr id="9" name="Graphic 6">
              <a:extLst>
                <a:ext uri="{FF2B5EF4-FFF2-40B4-BE49-F238E27FC236}">
                  <a16:creationId xmlns:a16="http://schemas.microsoft.com/office/drawing/2014/main" id="{E1BA4648-BD6E-4E74-8851-45EBABEF72E7}"/>
                </a:ext>
              </a:extLst>
            </p:cNvPr>
            <p:cNvGrpSpPr/>
            <p:nvPr/>
          </p:nvGrpSpPr>
          <p:grpSpPr>
            <a:xfrm>
              <a:off x="932397" y="723900"/>
              <a:ext cx="1544103" cy="667132"/>
              <a:chOff x="85969" y="3646150"/>
              <a:chExt cx="1544103" cy="667132"/>
            </a:xfrm>
            <a:solidFill>
              <a:schemeClr val="bg1"/>
            </a:solidFill>
          </p:grpSpPr>
          <p:sp>
            <p:nvSpPr>
              <p:cNvPr id="11" name="Freeform: Shape 10">
                <a:extLst>
                  <a:ext uri="{FF2B5EF4-FFF2-40B4-BE49-F238E27FC236}">
                    <a16:creationId xmlns:a16="http://schemas.microsoft.com/office/drawing/2014/main" id="{98C1CA3B-8903-4213-A8E6-83E0B43BD8C1}"/>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5836414-77CE-417A-9897-D3290681691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487FDF2-DA56-4525-800E-1EC016598F5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D217F72-15C5-468B-81F4-C205BCEC74DD}"/>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pic>
          <p:nvPicPr>
            <p:cNvPr id="10" name="Graphic 9">
              <a:extLst>
                <a:ext uri="{FF2B5EF4-FFF2-40B4-BE49-F238E27FC236}">
                  <a16:creationId xmlns:a16="http://schemas.microsoft.com/office/drawing/2014/main" id="{BE935090-2F88-4800-97AD-B4DD2F55CA42}"/>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2590800" y="653642"/>
              <a:ext cx="583517" cy="1208714"/>
            </a:xfrm>
            <a:prstGeom prst="rect">
              <a:avLst/>
            </a:prstGeom>
          </p:spPr>
        </p:pic>
      </p:grpSp>
      <p:sp>
        <p:nvSpPr>
          <p:cNvPr id="2" name="Title 1">
            <a:extLst>
              <a:ext uri="{FF2B5EF4-FFF2-40B4-BE49-F238E27FC236}">
                <a16:creationId xmlns:a16="http://schemas.microsoft.com/office/drawing/2014/main" id="{40DD8270-24BC-42A8-8EBA-64CB62DD4CD1}"/>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Title Here</a:t>
            </a:r>
          </a:p>
        </p:txBody>
      </p:sp>
      <p:sp>
        <p:nvSpPr>
          <p:cNvPr id="20" name="Text Placeholder 19">
            <a:extLst>
              <a:ext uri="{FF2B5EF4-FFF2-40B4-BE49-F238E27FC236}">
                <a16:creationId xmlns:a16="http://schemas.microsoft.com/office/drawing/2014/main" id="{16BB815A-06DC-4A68-A35B-38C54785E94B}"/>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Tree>
    <p:extLst>
      <p:ext uri="{BB962C8B-B14F-4D97-AF65-F5344CB8AC3E}">
        <p14:creationId xmlns:p14="http://schemas.microsoft.com/office/powerpoint/2010/main" val="393400006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solidFill>
        <a:effectLst/>
      </p:bgPr>
    </p:bg>
    <p:spTree>
      <p:nvGrpSpPr>
        <p:cNvPr id="1" name=""/>
        <p:cNvGrpSpPr/>
        <p:nvPr/>
      </p:nvGrpSpPr>
      <p:grpSpPr>
        <a:xfrm>
          <a:off x="0" y="0"/>
          <a:ext cx="0" cy="0"/>
          <a:chOff x="0" y="0"/>
          <a:chExt cx="0" cy="0"/>
        </a:xfrm>
      </p:grpSpPr>
      <p:pic>
        <p:nvPicPr>
          <p:cNvPr id="17" name="Picture 16" descr="A close-up of some water&#10;&#10;Description automatically generated with low confidence">
            <a:extLst>
              <a:ext uri="{FF2B5EF4-FFF2-40B4-BE49-F238E27FC236}">
                <a16:creationId xmlns:a16="http://schemas.microsoft.com/office/drawing/2014/main" id="{C4FBBF49-5116-4C4D-917D-11A4B2D694DB}"/>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0" y="-1"/>
            <a:ext cx="12192000" cy="7250749"/>
          </a:xfrm>
          <a:prstGeom prst="rect">
            <a:avLst/>
          </a:prstGeom>
        </p:spPr>
      </p:pic>
      <p:graphicFrame>
        <p:nvGraphicFramePr>
          <p:cNvPr id="16" name="Object 15" hidden="1">
            <a:extLst>
              <a:ext uri="{FF2B5EF4-FFF2-40B4-BE49-F238E27FC236}">
                <a16:creationId xmlns:a16="http://schemas.microsoft.com/office/drawing/2014/main" id="{1776882B-B6FA-4247-837A-97CF996CBF72}"/>
              </a:ext>
            </a:extLst>
          </p:cNvPr>
          <p:cNvGraphicFramePr>
            <a:graphicFrameLocks noChangeAspect="1"/>
          </p:cNvGraphicFramePr>
          <p:nvPr userDrawn="1">
            <p:custDataLst>
              <p:tags r:id="rId1"/>
            </p:custDataLst>
            <p:extLst>
              <p:ext uri="{D42A27DB-BD31-4B8C-83A1-F6EECF244321}">
                <p14:modId xmlns:p14="http://schemas.microsoft.com/office/powerpoint/2010/main" val="2448964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16" name="Object 15" hidden="1">
                        <a:extLst>
                          <a:ext uri="{FF2B5EF4-FFF2-40B4-BE49-F238E27FC236}">
                            <a16:creationId xmlns:a16="http://schemas.microsoft.com/office/drawing/2014/main" id="{1776882B-B6FA-4247-837A-97CF996CBF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EC76C1CB-1CF7-45DF-AB63-A29E3E1B98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5" name="Rectangle 4">
            <a:extLst>
              <a:ext uri="{FF2B5EF4-FFF2-40B4-BE49-F238E27FC236}">
                <a16:creationId xmlns:a16="http://schemas.microsoft.com/office/drawing/2014/main" id="{A125620E-B7F4-47D4-9203-9C2D6590298E}"/>
              </a:ext>
            </a:extLst>
          </p:cNvPr>
          <p:cNvSpPr/>
          <p:nvPr userDrawn="1"/>
        </p:nvSpPr>
        <p:spPr>
          <a:xfrm>
            <a:off x="0" y="-240898"/>
            <a:ext cx="12192001" cy="7098898"/>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E6C6DDF7-879A-4E7C-BAE9-0C03D0717054}"/>
              </a:ext>
            </a:extLst>
          </p:cNvPr>
          <p:cNvSpPr/>
          <p:nvPr userDrawn="1"/>
        </p:nvSpPr>
        <p:spPr>
          <a:xfrm>
            <a:off x="7206740" y="0"/>
            <a:ext cx="4985260" cy="4816912"/>
          </a:xfrm>
          <a:custGeom>
            <a:avLst/>
            <a:gdLst>
              <a:gd name="connsiteX0" fmla="*/ 0 w 4985260"/>
              <a:gd name="connsiteY0" fmla="*/ 0 h 4816912"/>
              <a:gd name="connsiteX1" fmla="*/ 1878781 w 4985260"/>
              <a:gd name="connsiteY1" fmla="*/ 0 h 4816912"/>
              <a:gd name="connsiteX2" fmla="*/ 1886645 w 4985260"/>
              <a:gd name="connsiteY2" fmla="*/ 105851 h 4816912"/>
              <a:gd name="connsiteX3" fmla="*/ 4904969 w 4985260"/>
              <a:gd name="connsiteY3" fmla="*/ 2895050 h 4816912"/>
              <a:gd name="connsiteX4" fmla="*/ 4985260 w 4985260"/>
              <a:gd name="connsiteY4" fmla="*/ 2892971 h 4816912"/>
              <a:gd name="connsiteX5" fmla="*/ 4985260 w 4985260"/>
              <a:gd name="connsiteY5" fmla="*/ 4814833 h 4816912"/>
              <a:gd name="connsiteX6" fmla="*/ 4904969 w 4985260"/>
              <a:gd name="connsiteY6" fmla="*/ 4816912 h 4816912"/>
              <a:gd name="connsiteX7" fmla="*/ 1160 w 4985260"/>
              <a:gd name="connsiteY7" fmla="*/ 46991 h 481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5260" h="4816912">
                <a:moveTo>
                  <a:pt x="0" y="0"/>
                </a:moveTo>
                <a:lnTo>
                  <a:pt x="1878781" y="0"/>
                </a:lnTo>
                <a:lnTo>
                  <a:pt x="1886645" y="105851"/>
                </a:lnTo>
                <a:cubicBezTo>
                  <a:pt x="2042084" y="1672405"/>
                  <a:pt x="3334663" y="2895050"/>
                  <a:pt x="4904969" y="2895050"/>
                </a:cubicBezTo>
                <a:lnTo>
                  <a:pt x="4985260" y="2892971"/>
                </a:lnTo>
                <a:lnTo>
                  <a:pt x="4985260" y="4814833"/>
                </a:lnTo>
                <a:lnTo>
                  <a:pt x="4904969" y="4816912"/>
                </a:lnTo>
                <a:cubicBezTo>
                  <a:pt x="2277879" y="4816912"/>
                  <a:pt x="132671" y="2703997"/>
                  <a:pt x="1160" y="46991"/>
                </a:cubicBezTo>
                <a:close/>
              </a:path>
            </a:pathLst>
          </a:custGeom>
          <a:solidFill>
            <a:schemeClr val="bg1"/>
          </a:solidFill>
          <a:ln w="9264" cap="flat">
            <a:noFill/>
            <a:prstDash val="solid"/>
            <a:miter/>
          </a:ln>
        </p:spPr>
        <p:txBody>
          <a:bodyPr wrap="square" rtlCol="0" anchor="ctr">
            <a:noAutofit/>
          </a:bodyPr>
          <a:lstStyle/>
          <a:p>
            <a:endParaRPr lang="en-US"/>
          </a:p>
        </p:txBody>
      </p:sp>
      <p:sp>
        <p:nvSpPr>
          <p:cNvPr id="7" name="Rectangle 6">
            <a:extLst>
              <a:ext uri="{FF2B5EF4-FFF2-40B4-BE49-F238E27FC236}">
                <a16:creationId xmlns:a16="http://schemas.microsoft.com/office/drawing/2014/main" id="{74B56715-AE28-4C11-8869-7AA1A2D4DC00}"/>
              </a:ext>
            </a:extLst>
          </p:cNvPr>
          <p:cNvSpPr/>
          <p:nvPr userDrawn="1"/>
        </p:nvSpPr>
        <p:spPr>
          <a:xfrm>
            <a:off x="2706449" y="5596645"/>
            <a:ext cx="577702" cy="5777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57FD71DE-F152-48CF-95AE-7F68DADBDCAB}"/>
              </a:ext>
            </a:extLst>
          </p:cNvPr>
          <p:cNvGrpSpPr/>
          <p:nvPr userDrawn="1"/>
        </p:nvGrpSpPr>
        <p:grpSpPr>
          <a:xfrm>
            <a:off x="932397" y="653642"/>
            <a:ext cx="1544103" cy="832491"/>
            <a:chOff x="932397" y="653642"/>
            <a:chExt cx="2241920" cy="1208714"/>
          </a:xfrm>
        </p:grpSpPr>
        <p:grpSp>
          <p:nvGrpSpPr>
            <p:cNvPr id="9" name="Graphic 6">
              <a:extLst>
                <a:ext uri="{FF2B5EF4-FFF2-40B4-BE49-F238E27FC236}">
                  <a16:creationId xmlns:a16="http://schemas.microsoft.com/office/drawing/2014/main" id="{E1BA4648-BD6E-4E74-8851-45EBABEF72E7}"/>
                </a:ext>
              </a:extLst>
            </p:cNvPr>
            <p:cNvGrpSpPr/>
            <p:nvPr/>
          </p:nvGrpSpPr>
          <p:grpSpPr>
            <a:xfrm>
              <a:off x="932397" y="723900"/>
              <a:ext cx="1544103" cy="667132"/>
              <a:chOff x="85969" y="3646150"/>
              <a:chExt cx="1544103" cy="667132"/>
            </a:xfrm>
            <a:solidFill>
              <a:schemeClr val="bg1"/>
            </a:solidFill>
          </p:grpSpPr>
          <p:sp>
            <p:nvSpPr>
              <p:cNvPr id="11" name="Freeform: Shape 10">
                <a:extLst>
                  <a:ext uri="{FF2B5EF4-FFF2-40B4-BE49-F238E27FC236}">
                    <a16:creationId xmlns:a16="http://schemas.microsoft.com/office/drawing/2014/main" id="{98C1CA3B-8903-4213-A8E6-83E0B43BD8C1}"/>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5836414-77CE-417A-9897-D3290681691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487FDF2-DA56-4525-800E-1EC016598F5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D217F72-15C5-468B-81F4-C205BCEC74DD}"/>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pic>
          <p:nvPicPr>
            <p:cNvPr id="10" name="Graphic 9">
              <a:extLst>
                <a:ext uri="{FF2B5EF4-FFF2-40B4-BE49-F238E27FC236}">
                  <a16:creationId xmlns:a16="http://schemas.microsoft.com/office/drawing/2014/main" id="{BE935090-2F88-4800-97AD-B4DD2F55CA4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590800" y="653642"/>
              <a:ext cx="583517" cy="1208714"/>
            </a:xfrm>
            <a:prstGeom prst="rect">
              <a:avLst/>
            </a:prstGeom>
          </p:spPr>
        </p:pic>
      </p:grpSp>
      <p:sp>
        <p:nvSpPr>
          <p:cNvPr id="2" name="Title 1">
            <a:extLst>
              <a:ext uri="{FF2B5EF4-FFF2-40B4-BE49-F238E27FC236}">
                <a16:creationId xmlns:a16="http://schemas.microsoft.com/office/drawing/2014/main" id="{40DD8270-24BC-42A8-8EBA-64CB62DD4CD1}"/>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Title Here</a:t>
            </a:r>
          </a:p>
        </p:txBody>
      </p:sp>
      <p:sp>
        <p:nvSpPr>
          <p:cNvPr id="20" name="Text Placeholder 19">
            <a:extLst>
              <a:ext uri="{FF2B5EF4-FFF2-40B4-BE49-F238E27FC236}">
                <a16:creationId xmlns:a16="http://schemas.microsoft.com/office/drawing/2014/main" id="{16BB815A-06DC-4A68-A35B-38C54785E94B}"/>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3" name="TextBox 2">
            <a:extLst>
              <a:ext uri="{FF2B5EF4-FFF2-40B4-BE49-F238E27FC236}">
                <a16:creationId xmlns:a16="http://schemas.microsoft.com/office/drawing/2014/main" id="{975785DD-AE69-4000-878F-B146079CADB4}"/>
              </a:ext>
            </a:extLst>
          </p:cNvPr>
          <p:cNvSpPr txBox="1">
            <a:spLocks noChangeAspect="1"/>
          </p:cNvSpPr>
          <p:nvPr userDrawn="1"/>
        </p:nvSpPr>
        <p:spPr>
          <a:xfrm>
            <a:off x="12486665" y="0"/>
            <a:ext cx="7811407" cy="12311063"/>
          </a:xfrm>
          <a:prstGeom prst="rect">
            <a:avLst/>
          </a:prstGeom>
          <a:noFill/>
        </p:spPr>
        <p:txBody>
          <a:bodyPr wrap="square" rtlCol="0">
            <a:spAutoFit/>
          </a:bodyPr>
          <a:lstStyle/>
          <a:p>
            <a:r>
              <a:rPr lang="en-US" sz="2800" b="1">
                <a:solidFill>
                  <a:srgbClr val="004B64"/>
                </a:solidFill>
              </a:rPr>
              <a:t>Welcome to the VEIC presentation template.</a:t>
            </a:r>
          </a:p>
          <a:p>
            <a:endParaRPr lang="en-US" sz="2800" b="1">
              <a:solidFill>
                <a:srgbClr val="004B64"/>
              </a:solidFill>
            </a:endParaRPr>
          </a:p>
          <a:p>
            <a:r>
              <a:rPr lang="en-US">
                <a:solidFill>
                  <a:srgbClr val="004B64"/>
                </a:solidFill>
              </a:rPr>
              <a:t>As opposed to the full VEIC PowerPoint, this document is intended to allow you to fully customize the content you are presenting. </a:t>
            </a:r>
          </a:p>
          <a:p>
            <a:endParaRPr lang="en-US">
              <a:solidFill>
                <a:srgbClr val="004B64"/>
              </a:solidFill>
            </a:endParaRPr>
          </a:p>
          <a:p>
            <a:r>
              <a:rPr lang="en-US">
                <a:solidFill>
                  <a:srgbClr val="004B64"/>
                </a:solidFill>
              </a:rPr>
              <a:t>If you are looking for the pre-developed slides that provide important background on VEIC, please leverage the full VEIC PowerPoint. </a:t>
            </a:r>
          </a:p>
          <a:p>
            <a:endParaRPr lang="en-US">
              <a:solidFill>
                <a:srgbClr val="004B64"/>
              </a:solidFill>
            </a:endParaRPr>
          </a:p>
          <a:p>
            <a:r>
              <a:rPr lang="en-US">
                <a:solidFill>
                  <a:srgbClr val="004B64"/>
                </a:solidFill>
              </a:rPr>
              <a:t>Some suggestions as you build your presentations: </a:t>
            </a:r>
          </a:p>
          <a:p>
            <a:endParaRPr lang="en-US">
              <a:solidFill>
                <a:srgbClr val="004B64"/>
              </a:solidFill>
            </a:endParaRPr>
          </a:p>
          <a:p>
            <a:pPr marL="285750" indent="-285750">
              <a:buFontTx/>
              <a:buChar char="-"/>
            </a:pPr>
            <a:r>
              <a:rPr lang="en-US" b="1">
                <a:solidFill>
                  <a:srgbClr val="004B64"/>
                </a:solidFill>
              </a:rPr>
              <a:t>Be thoughtful about the images you include</a:t>
            </a:r>
          </a:p>
          <a:p>
            <a:pPr marL="742950" lvl="1" indent="-285750">
              <a:buFontTx/>
              <a:buChar char="-"/>
            </a:pPr>
            <a:r>
              <a:rPr lang="en-US">
                <a:solidFill>
                  <a:srgbClr val="004B64"/>
                </a:solidFill>
              </a:rPr>
              <a:t>Images sourced from Google should not be used for webinars and presentation with a large attendance. There are both legal implications and quality implications</a:t>
            </a:r>
          </a:p>
          <a:p>
            <a:pPr marL="742950" lvl="1" indent="-285750">
              <a:buFontTx/>
              <a:buChar char="-"/>
            </a:pPr>
            <a:r>
              <a:rPr lang="en-US">
                <a:solidFill>
                  <a:srgbClr val="004B64"/>
                </a:solidFill>
              </a:rPr>
              <a:t>Incorporate images that sync with the deck design (no clip art, please) </a:t>
            </a:r>
          </a:p>
          <a:p>
            <a:pPr marL="742950" lvl="1" indent="-285750">
              <a:buFontTx/>
              <a:buChar char="-"/>
            </a:pPr>
            <a:r>
              <a:rPr lang="en-US">
                <a:solidFill>
                  <a:srgbClr val="004B64"/>
                </a:solidFill>
              </a:rPr>
              <a:t>Over the next few weeks will be adding images to Templafy so you have a core library to pull from </a:t>
            </a:r>
          </a:p>
          <a:p>
            <a:pPr marL="285750" lvl="0" indent="-285750">
              <a:buFontTx/>
              <a:buChar char="-"/>
            </a:pPr>
            <a:r>
              <a:rPr lang="en-US" b="1">
                <a:solidFill>
                  <a:srgbClr val="004B64"/>
                </a:solidFill>
              </a:rPr>
              <a:t>Rebuild charts when possible </a:t>
            </a:r>
          </a:p>
          <a:p>
            <a:pPr marL="742950" lvl="1" indent="-285750">
              <a:buFontTx/>
              <a:buChar char="-"/>
            </a:pPr>
            <a:r>
              <a:rPr lang="en-US">
                <a:solidFill>
                  <a:srgbClr val="004B64"/>
                </a:solidFill>
              </a:rPr>
              <a:t>We reference research from outside sources often</a:t>
            </a:r>
          </a:p>
          <a:p>
            <a:pPr marL="742950" lvl="1" indent="-285750">
              <a:buFontTx/>
              <a:buChar char="-"/>
            </a:pPr>
            <a:r>
              <a:rPr lang="en-US">
                <a:solidFill>
                  <a:srgbClr val="004B64"/>
                </a:solidFill>
              </a:rPr>
              <a:t>Instead of just dropping in image file of this data, rebuild the chart and properly credit the author </a:t>
            </a:r>
          </a:p>
          <a:p>
            <a:pPr marL="285750" indent="-285750">
              <a:buFontTx/>
              <a:buChar char="-"/>
            </a:pPr>
            <a:r>
              <a:rPr lang="en-US">
                <a:solidFill>
                  <a:srgbClr val="004B64"/>
                </a:solidFill>
              </a:rPr>
              <a:t> </a:t>
            </a:r>
            <a:r>
              <a:rPr lang="en-US" b="1">
                <a:solidFill>
                  <a:srgbClr val="004B64"/>
                </a:solidFill>
              </a:rPr>
              <a:t>Rethink how you present information</a:t>
            </a:r>
          </a:p>
          <a:p>
            <a:pPr marL="742950" lvl="1" indent="-285750">
              <a:buFontTx/>
              <a:buChar char="-"/>
            </a:pPr>
            <a:r>
              <a:rPr lang="en-US" b="0">
                <a:solidFill>
                  <a:srgbClr val="004B64"/>
                </a:solidFill>
              </a:rPr>
              <a:t>Consider what needs to be on a slide versus what can be voiceover </a:t>
            </a:r>
          </a:p>
          <a:p>
            <a:pPr marL="742950" lvl="1" indent="-285750">
              <a:buFontTx/>
              <a:buChar char="-"/>
            </a:pPr>
            <a:r>
              <a:rPr lang="en-US" b="0">
                <a:solidFill>
                  <a:srgbClr val="004B64"/>
                </a:solidFill>
              </a:rPr>
              <a:t>The most engaging presentation present prompts of information that you can speak to</a:t>
            </a:r>
          </a:p>
          <a:p>
            <a:pPr marL="285750" lvl="0" indent="-285750">
              <a:buFontTx/>
              <a:buChar char="-"/>
            </a:pPr>
            <a:r>
              <a:rPr lang="en-US" b="1">
                <a:solidFill>
                  <a:srgbClr val="004B64"/>
                </a:solidFill>
              </a:rPr>
              <a:t>Adjust the font for the forum: </a:t>
            </a:r>
          </a:p>
          <a:p>
            <a:pPr marL="742950" marR="0" lvl="1" indent="-285750" algn="l" defTabSz="914400" rtl="0" eaLnBrk="1" fontAlgn="auto" latinLnBrk="0" hangingPunct="1">
              <a:lnSpc>
                <a:spcPct val="100000"/>
              </a:lnSpc>
              <a:spcBef>
                <a:spcPts val="0"/>
              </a:spcBef>
              <a:spcAft>
                <a:spcPts val="0"/>
              </a:spcAft>
              <a:buClrTx/>
              <a:buSzTx/>
              <a:buFontTx/>
              <a:buChar char="-"/>
              <a:tabLst/>
              <a:defRPr/>
            </a:pPr>
            <a:r>
              <a:rPr lang="en-US" b="0">
                <a:solidFill>
                  <a:srgbClr val="004B64"/>
                </a:solidFill>
              </a:rPr>
              <a:t>Team meetings: 18 pts +</a:t>
            </a:r>
          </a:p>
          <a:p>
            <a:pPr marL="742950" lvl="1" indent="-285750">
              <a:buFontTx/>
              <a:buChar char="-"/>
            </a:pPr>
            <a:r>
              <a:rPr lang="en-US" b="0">
                <a:solidFill>
                  <a:srgbClr val="004B64"/>
                </a:solidFill>
              </a:rPr>
              <a:t>Webinars: 20 pts + </a:t>
            </a:r>
          </a:p>
          <a:p>
            <a:pPr marL="742950" lvl="1" indent="-285750">
              <a:buFontTx/>
              <a:buChar char="-"/>
            </a:pPr>
            <a:r>
              <a:rPr lang="en-US" b="0">
                <a:solidFill>
                  <a:srgbClr val="004B64"/>
                </a:solidFill>
              </a:rPr>
              <a:t>Conferences: 26 pts +</a:t>
            </a:r>
          </a:p>
          <a:p>
            <a:pPr marL="742950" lvl="1" indent="-285750">
              <a:buFontTx/>
              <a:buChar char="-"/>
            </a:pPr>
            <a:r>
              <a:rPr lang="en-US" b="0">
                <a:solidFill>
                  <a:srgbClr val="004B64"/>
                </a:solidFill>
              </a:rPr>
              <a:t>Also, keep in mind that GoToMeeting cuts off the bottom of slide decks so provide buffer there. </a:t>
            </a:r>
          </a:p>
          <a:p>
            <a:pPr marL="285750" lvl="0" indent="-285750">
              <a:buFontTx/>
              <a:buChar char="-"/>
            </a:pPr>
            <a:r>
              <a:rPr lang="en-US" b="1">
                <a:solidFill>
                  <a:srgbClr val="004B64"/>
                </a:solidFill>
              </a:rPr>
              <a:t>Have fun:</a:t>
            </a:r>
          </a:p>
          <a:p>
            <a:pPr marL="742950" lvl="1" indent="-285750">
              <a:buFontTx/>
              <a:buChar char="-"/>
            </a:pPr>
            <a:r>
              <a:rPr lang="en-US" b="0">
                <a:solidFill>
                  <a:srgbClr val="004B64"/>
                </a:solidFill>
              </a:rPr>
              <a:t>Explore new ways to bring information forward</a:t>
            </a:r>
          </a:p>
          <a:p>
            <a:pPr marL="742950" lvl="1" indent="-285750">
              <a:buFontTx/>
              <a:buChar char="-"/>
            </a:pPr>
            <a:r>
              <a:rPr lang="en-US" b="0">
                <a:solidFill>
                  <a:srgbClr val="004B64"/>
                </a:solidFill>
              </a:rPr>
              <a:t>Try out new slide templates and play around</a:t>
            </a:r>
          </a:p>
          <a:p>
            <a:pPr marL="457200" lvl="1" indent="0">
              <a:buFontTx/>
              <a:buNone/>
            </a:pPr>
            <a:endParaRPr lang="en-US" b="0">
              <a:solidFill>
                <a:srgbClr val="004B64"/>
              </a:solidFill>
            </a:endParaRPr>
          </a:p>
          <a:p>
            <a:pPr marL="457200" lvl="1" indent="0">
              <a:buFontTx/>
              <a:buNone/>
            </a:pPr>
            <a:r>
              <a:rPr lang="en-US" b="0">
                <a:solidFill>
                  <a:srgbClr val="004B64"/>
                </a:solidFill>
              </a:rPr>
              <a:t>We are all responsible for the sophistication of our work product. That includes having tight designs that can support storytelling. </a:t>
            </a:r>
          </a:p>
          <a:p>
            <a:pPr marL="457200" lvl="1" indent="0">
              <a:buFontTx/>
              <a:buNone/>
            </a:pPr>
            <a:endParaRPr lang="en-US" b="0">
              <a:solidFill>
                <a:srgbClr val="004B64"/>
              </a:solidFill>
            </a:endParaRPr>
          </a:p>
          <a:p>
            <a:pPr marL="457200" lvl="1" indent="0">
              <a:buFontTx/>
              <a:buNone/>
            </a:pPr>
            <a:r>
              <a:rPr lang="en-US" b="0">
                <a:solidFill>
                  <a:srgbClr val="004B64"/>
                </a:solidFill>
              </a:rPr>
              <a:t>Reach out to Kait (k</a:t>
            </a:r>
            <a:r>
              <a:rPr lang="en-US" b="0">
                <a:solidFill>
                  <a:srgbClr val="004B64"/>
                </a:solidFill>
                <a:hlinkClick r:id="rId8"/>
              </a:rPr>
              <a:t>sherman@veic.org</a:t>
            </a:r>
            <a:r>
              <a:rPr lang="en-US" b="0">
                <a:solidFill>
                  <a:srgbClr val="004B64"/>
                </a:solidFill>
              </a:rPr>
              <a:t>) with any questions. </a:t>
            </a:r>
          </a:p>
          <a:p>
            <a:pPr marL="742950" lvl="1" indent="-285750">
              <a:buFontTx/>
              <a:buChar char="-"/>
            </a:pPr>
            <a:endParaRPr lang="en-US" b="0">
              <a:solidFill>
                <a:srgbClr val="004B64"/>
              </a:solidFill>
            </a:endParaRPr>
          </a:p>
          <a:p>
            <a:endParaRPr lang="en-US">
              <a:solidFill>
                <a:srgbClr val="004B64"/>
              </a:solidFill>
            </a:endParaRPr>
          </a:p>
          <a:p>
            <a:endParaRPr lang="en-US">
              <a:solidFill>
                <a:srgbClr val="004B64"/>
              </a:solidFill>
            </a:endParaRPr>
          </a:p>
        </p:txBody>
      </p:sp>
    </p:spTree>
    <p:extLst>
      <p:ext uri="{BB962C8B-B14F-4D97-AF65-F5344CB8AC3E}">
        <p14:creationId xmlns:p14="http://schemas.microsoft.com/office/powerpoint/2010/main" val="189751566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7_Title Slide 2">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1344981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0" name="Rectangle 9">
            <a:extLst>
              <a:ext uri="{FF2B5EF4-FFF2-40B4-BE49-F238E27FC236}">
                <a16:creationId xmlns:a16="http://schemas.microsoft.com/office/drawing/2014/main" id="{CF8D282B-141A-4592-8956-EF2F480A728A}"/>
              </a:ext>
            </a:extLst>
          </p:cNvPr>
          <p:cNvSpPr/>
          <p:nvPr userDrawn="1"/>
        </p:nvSpPr>
        <p:spPr>
          <a:xfrm>
            <a:off x="1053980" y="3448050"/>
            <a:ext cx="577702" cy="5777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2"/>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966106" y="706071"/>
            <a:ext cx="5143499" cy="2281360"/>
          </a:xfrm>
        </p:spPr>
        <p:txBody>
          <a:bodyPr anchor="ctr">
            <a:noAutofit/>
          </a:bodyPr>
          <a:lstStyle>
            <a:lvl1pPr>
              <a:defRPr sz="4400">
                <a:solidFill>
                  <a:schemeClr val="accent1"/>
                </a:solidFill>
              </a:defRPr>
            </a:lvl1pPr>
          </a:lstStyle>
          <a:p>
            <a:r>
              <a:rPr lang="en-US"/>
              <a:t>Title Here</a:t>
            </a:r>
          </a:p>
        </p:txBody>
      </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1263433" y="3546401"/>
            <a:ext cx="4591050" cy="381000"/>
          </a:xfrm>
        </p:spPr>
        <p:txBody>
          <a:bodyPr anchor="ctr">
            <a:noAutofit/>
          </a:bodyPr>
          <a:lstStyle>
            <a:lvl1pPr marL="0" indent="0">
              <a:buNone/>
              <a:defRPr sz="1800" b="1">
                <a:solidFill>
                  <a:schemeClr val="accent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8" name="Picture Placeholder 27">
            <a:extLst>
              <a:ext uri="{FF2B5EF4-FFF2-40B4-BE49-F238E27FC236}">
                <a16:creationId xmlns:a16="http://schemas.microsoft.com/office/drawing/2014/main" id="{9218AEC5-B009-4CA6-8C15-D341FD6254C2}"/>
              </a:ext>
            </a:extLst>
          </p:cNvPr>
          <p:cNvSpPr>
            <a:spLocks noGrp="1"/>
          </p:cNvSpPr>
          <p:nvPr>
            <p:ph type="pic" sz="quarter" idx="11"/>
          </p:nvPr>
        </p:nvSpPr>
        <p:spPr>
          <a:xfrm>
            <a:off x="6210300" y="723900"/>
            <a:ext cx="5143500" cy="5448300"/>
          </a:xfrm>
          <a:custGeom>
            <a:avLst/>
            <a:gdLst>
              <a:gd name="connsiteX0" fmla="*/ 5143500 w 5143500"/>
              <a:gd name="connsiteY0" fmla="*/ 4187827 h 5448300"/>
              <a:gd name="connsiteX1" fmla="*/ 5143500 w 5143500"/>
              <a:gd name="connsiteY1" fmla="*/ 5448300 h 5448300"/>
              <a:gd name="connsiteX2" fmla="*/ 3912579 w 5143500"/>
              <a:gd name="connsiteY2" fmla="*/ 5448300 h 5448300"/>
              <a:gd name="connsiteX3" fmla="*/ 3918931 w 5143500"/>
              <a:gd name="connsiteY3" fmla="*/ 5319433 h 5448300"/>
              <a:gd name="connsiteX4" fmla="*/ 5017606 w 5143500"/>
              <a:gd name="connsiteY4" fmla="*/ 4194335 h 5448300"/>
              <a:gd name="connsiteX5" fmla="*/ 0 w 5143500"/>
              <a:gd name="connsiteY5" fmla="*/ 0 h 5448300"/>
              <a:gd name="connsiteX6" fmla="*/ 5143500 w 5143500"/>
              <a:gd name="connsiteY6" fmla="*/ 0 h 5448300"/>
              <a:gd name="connsiteX7" fmla="*/ 5143500 w 5143500"/>
              <a:gd name="connsiteY7" fmla="*/ 3408108 h 5448300"/>
              <a:gd name="connsiteX8" fmla="*/ 4939818 w 5143500"/>
              <a:gd name="connsiteY8" fmla="*/ 3418641 h 5448300"/>
              <a:gd name="connsiteX9" fmla="*/ 3161669 w 5143500"/>
              <a:gd name="connsiteY9" fmla="*/ 5239704 h 5448300"/>
              <a:gd name="connsiteX10" fmla="*/ 3151384 w 5143500"/>
              <a:gd name="connsiteY10" fmla="*/ 5448300 h 5448300"/>
              <a:gd name="connsiteX11" fmla="*/ 0 w 5143500"/>
              <a:gd name="connsiteY11" fmla="*/ 5448300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3500" h="5448300">
                <a:moveTo>
                  <a:pt x="5143500" y="4187827"/>
                </a:moveTo>
                <a:lnTo>
                  <a:pt x="5143500" y="5448300"/>
                </a:lnTo>
                <a:lnTo>
                  <a:pt x="3912579" y="5448300"/>
                </a:lnTo>
                <a:lnTo>
                  <a:pt x="3918931" y="5319433"/>
                </a:lnTo>
                <a:cubicBezTo>
                  <a:pt x="3977740" y="4726238"/>
                  <a:pt x="4438123" y="4254586"/>
                  <a:pt x="5017606" y="4194335"/>
                </a:cubicBezTo>
                <a:close/>
                <a:moveTo>
                  <a:pt x="0" y="0"/>
                </a:moveTo>
                <a:lnTo>
                  <a:pt x="5143500" y="0"/>
                </a:lnTo>
                <a:lnTo>
                  <a:pt x="5143500" y="3408108"/>
                </a:lnTo>
                <a:lnTo>
                  <a:pt x="4939818" y="3418641"/>
                </a:lnTo>
                <a:cubicBezTo>
                  <a:pt x="4002248" y="3516155"/>
                  <a:pt x="3256884" y="4279511"/>
                  <a:pt x="3161669" y="5239704"/>
                </a:cubicBezTo>
                <a:lnTo>
                  <a:pt x="3151384" y="5448300"/>
                </a:lnTo>
                <a:lnTo>
                  <a:pt x="0" y="5448300"/>
                </a:lnTo>
                <a:close/>
              </a:path>
            </a:pathLst>
          </a:custGeom>
          <a:solidFill>
            <a:schemeClr val="accent5"/>
          </a:solidFill>
        </p:spPr>
        <p:txBody>
          <a:bodyPr wrap="square">
            <a:noAutofit/>
          </a:bodyPr>
          <a:lstStyle/>
          <a:p>
            <a:endParaRPr lang="en-US"/>
          </a:p>
        </p:txBody>
      </p:sp>
      <p:sp>
        <p:nvSpPr>
          <p:cNvPr id="2" name="Text Placeholder 19">
            <a:extLst>
              <a:ext uri="{FF2B5EF4-FFF2-40B4-BE49-F238E27FC236}">
                <a16:creationId xmlns:a16="http://schemas.microsoft.com/office/drawing/2014/main" id="{6ACE1D06-0BE8-16DC-E46D-4A4BDE5416BD}"/>
              </a:ext>
            </a:extLst>
          </p:cNvPr>
          <p:cNvSpPr>
            <a:spLocks noGrp="1"/>
          </p:cNvSpPr>
          <p:nvPr>
            <p:ph type="body" sz="quarter" idx="12" hasCustomPrompt="1"/>
          </p:nvPr>
        </p:nvSpPr>
        <p:spPr>
          <a:xfrm>
            <a:off x="932397" y="5498002"/>
            <a:ext cx="4591050" cy="381000"/>
          </a:xfrm>
        </p:spPr>
        <p:txBody>
          <a:bodyPr anchor="ctr">
            <a:noAutofit/>
          </a:bodyPr>
          <a:lstStyle>
            <a:lvl1pPr marL="0" indent="0">
              <a:buNone/>
              <a:defRPr sz="1800" b="1">
                <a:solidFill>
                  <a:schemeClr val="accent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Tree>
    <p:extLst>
      <p:ext uri="{BB962C8B-B14F-4D97-AF65-F5344CB8AC3E}">
        <p14:creationId xmlns:p14="http://schemas.microsoft.com/office/powerpoint/2010/main" val="217007151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Section Title 1">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831647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Section Title</a:t>
            </a:r>
          </a:p>
        </p:txBody>
      </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0" name="Freeform: Shape 19">
            <a:extLst>
              <a:ext uri="{FF2B5EF4-FFF2-40B4-BE49-F238E27FC236}">
                <a16:creationId xmlns:a16="http://schemas.microsoft.com/office/drawing/2014/main" id="{24A8F651-B61D-425B-88CE-5CD87852F272}"/>
              </a:ext>
            </a:extLst>
          </p:cNvPr>
          <p:cNvSpPr/>
          <p:nvPr userDrawn="1"/>
        </p:nvSpPr>
        <p:spPr>
          <a:xfrm>
            <a:off x="2626301" y="2"/>
            <a:ext cx="6939411" cy="2051637"/>
          </a:xfrm>
          <a:custGeom>
            <a:avLst/>
            <a:gdLst>
              <a:gd name="connsiteX0" fmla="*/ 0 w 6939411"/>
              <a:gd name="connsiteY0" fmla="*/ 0 h 2051637"/>
              <a:gd name="connsiteX1" fmla="*/ 2021768 w 6939411"/>
              <a:gd name="connsiteY1" fmla="*/ 0 h 2051637"/>
              <a:gd name="connsiteX2" fmla="*/ 2083611 w 6939411"/>
              <a:gd name="connsiteY2" fmla="*/ 47354 h 2051637"/>
              <a:gd name="connsiteX3" fmla="*/ 3469700 w 6939411"/>
              <a:gd name="connsiteY3" fmla="*/ 481008 h 2051637"/>
              <a:gd name="connsiteX4" fmla="*/ 4856243 w 6939411"/>
              <a:gd name="connsiteY4" fmla="*/ 47354 h 2051637"/>
              <a:gd name="connsiteX5" fmla="*/ 4918078 w 6939411"/>
              <a:gd name="connsiteY5" fmla="*/ 0 h 2051637"/>
              <a:gd name="connsiteX6" fmla="*/ 6939411 w 6939411"/>
              <a:gd name="connsiteY6" fmla="*/ 0 h 2051637"/>
              <a:gd name="connsiteX7" fmla="*/ 6797208 w 6939411"/>
              <a:gd name="connsiteY7" fmla="*/ 239721 h 2051637"/>
              <a:gd name="connsiteX8" fmla="*/ 3469700 w 6939411"/>
              <a:gd name="connsiteY8" fmla="*/ 2051637 h 2051637"/>
              <a:gd name="connsiteX9" fmla="*/ 142202 w 6939411"/>
              <a:gd name="connsiteY9" fmla="*/ 239721 h 2051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39411" h="2051637">
                <a:moveTo>
                  <a:pt x="0" y="0"/>
                </a:moveTo>
                <a:lnTo>
                  <a:pt x="2021768" y="0"/>
                </a:lnTo>
                <a:lnTo>
                  <a:pt x="2083611" y="47354"/>
                </a:lnTo>
                <a:cubicBezTo>
                  <a:pt x="2479359" y="321136"/>
                  <a:pt x="2956372" y="481008"/>
                  <a:pt x="3469700" y="481008"/>
                </a:cubicBezTo>
                <a:cubicBezTo>
                  <a:pt x="3983413" y="481008"/>
                  <a:pt x="4460523" y="321136"/>
                  <a:pt x="4856243" y="47354"/>
                </a:cubicBezTo>
                <a:lnTo>
                  <a:pt x="4918078" y="0"/>
                </a:lnTo>
                <a:lnTo>
                  <a:pt x="6939411" y="0"/>
                </a:lnTo>
                <a:lnTo>
                  <a:pt x="6797208" y="239721"/>
                </a:lnTo>
                <a:cubicBezTo>
                  <a:pt x="6076075" y="1332900"/>
                  <a:pt x="4854849" y="2051637"/>
                  <a:pt x="3469700" y="2051637"/>
                </a:cubicBezTo>
                <a:cubicBezTo>
                  <a:pt x="2084558" y="2051637"/>
                  <a:pt x="863334" y="1332900"/>
                  <a:pt x="142202" y="239721"/>
                </a:cubicBezTo>
                <a:close/>
              </a:path>
            </a:pathLst>
          </a:custGeom>
          <a:solidFill>
            <a:srgbClr val="FF9E18"/>
          </a:solidFill>
          <a:ln w="926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59323367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_Section Title 2">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34690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Section Title</a:t>
            </a:r>
          </a:p>
        </p:txBody>
      </p:sp>
      <p:sp>
        <p:nvSpPr>
          <p:cNvPr id="26" name="Freeform: Shape 25">
            <a:extLst>
              <a:ext uri="{FF2B5EF4-FFF2-40B4-BE49-F238E27FC236}">
                <a16:creationId xmlns:a16="http://schemas.microsoft.com/office/drawing/2014/main" id="{F2A2AE34-7892-42F4-AFE1-463A5BEF0007}"/>
              </a:ext>
            </a:extLst>
          </p:cNvPr>
          <p:cNvSpPr/>
          <p:nvPr userDrawn="1"/>
        </p:nvSpPr>
        <p:spPr>
          <a:xfrm>
            <a:off x="8694644" y="0"/>
            <a:ext cx="3497357" cy="6858000"/>
          </a:xfrm>
          <a:custGeom>
            <a:avLst/>
            <a:gdLst>
              <a:gd name="connsiteX0" fmla="*/ 1398588 w 3497357"/>
              <a:gd name="connsiteY0" fmla="*/ 0 h 6858000"/>
              <a:gd name="connsiteX1" fmla="*/ 3497357 w 3497357"/>
              <a:gd name="connsiteY1" fmla="*/ 0 h 6858000"/>
              <a:gd name="connsiteX2" fmla="*/ 3497357 w 3497357"/>
              <a:gd name="connsiteY2" fmla="*/ 722525 h 6858000"/>
              <a:gd name="connsiteX3" fmla="*/ 3321786 w 3497357"/>
              <a:gd name="connsiteY3" fmla="*/ 809134 h 6858000"/>
              <a:gd name="connsiteX4" fmla="*/ 1799307 w 3497357"/>
              <a:gd name="connsiteY4" fmla="*/ 3429000 h 6858000"/>
              <a:gd name="connsiteX5" fmla="*/ 3322313 w 3497357"/>
              <a:gd name="connsiteY5" fmla="*/ 6048867 h 6858000"/>
              <a:gd name="connsiteX6" fmla="*/ 3497357 w 3497357"/>
              <a:gd name="connsiteY6" fmla="*/ 6135224 h 6858000"/>
              <a:gd name="connsiteX7" fmla="*/ 3497357 w 3497357"/>
              <a:gd name="connsiteY7" fmla="*/ 6858000 h 6858000"/>
              <a:gd name="connsiteX8" fmla="*/ 1398588 w 3497357"/>
              <a:gd name="connsiteY8" fmla="*/ 6858000 h 6858000"/>
              <a:gd name="connsiteX9" fmla="*/ 1379218 w 3497357"/>
              <a:gd name="connsiteY9" fmla="*/ 6839087 h 6858000"/>
              <a:gd name="connsiteX10" fmla="*/ 0 w 3497357"/>
              <a:gd name="connsiteY10" fmla="*/ 3429000 h 6858000"/>
              <a:gd name="connsiteX11" fmla="*/ 1379218 w 3497357"/>
              <a:gd name="connsiteY11" fmla="*/ 189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357" h="6858000">
                <a:moveTo>
                  <a:pt x="1398588" y="0"/>
                </a:moveTo>
                <a:lnTo>
                  <a:pt x="3497357" y="0"/>
                </a:lnTo>
                <a:lnTo>
                  <a:pt x="3497357" y="722525"/>
                </a:lnTo>
                <a:lnTo>
                  <a:pt x="3321786" y="809134"/>
                </a:lnTo>
                <a:cubicBezTo>
                  <a:pt x="2414760" y="1313706"/>
                  <a:pt x="1799307" y="2297777"/>
                  <a:pt x="1799307" y="3429000"/>
                </a:cubicBezTo>
                <a:cubicBezTo>
                  <a:pt x="1799307" y="4560224"/>
                  <a:pt x="2415321" y="5544294"/>
                  <a:pt x="3322313" y="6048867"/>
                </a:cubicBezTo>
                <a:lnTo>
                  <a:pt x="3497357" y="6135224"/>
                </a:lnTo>
                <a:lnTo>
                  <a:pt x="3497357" y="6858000"/>
                </a:lnTo>
                <a:lnTo>
                  <a:pt x="1398588" y="6858000"/>
                </a:lnTo>
                <a:lnTo>
                  <a:pt x="1379218" y="6839087"/>
                </a:lnTo>
                <a:cubicBezTo>
                  <a:pt x="527066" y="5966368"/>
                  <a:pt x="0" y="4760720"/>
                  <a:pt x="0" y="3429000"/>
                </a:cubicBezTo>
                <a:cubicBezTo>
                  <a:pt x="0" y="2097281"/>
                  <a:pt x="527066" y="891632"/>
                  <a:pt x="1379218" y="18914"/>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31" name="Text Placeholder 19">
            <a:extLst>
              <a:ext uri="{FF2B5EF4-FFF2-40B4-BE49-F238E27FC236}">
                <a16:creationId xmlns:a16="http://schemas.microsoft.com/office/drawing/2014/main" id="{7BA5FB97-E6BC-4D7A-B26D-B9F1C20C4AC3}"/>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Tree>
    <p:extLst>
      <p:ext uri="{BB962C8B-B14F-4D97-AF65-F5344CB8AC3E}">
        <p14:creationId xmlns:p14="http://schemas.microsoft.com/office/powerpoint/2010/main" val="56263645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_Section Title 3">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887740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Section Title</a:t>
            </a:r>
          </a:p>
        </p:txBody>
      </p:sp>
      <p:sp>
        <p:nvSpPr>
          <p:cNvPr id="18" name="Freeform: Shape 17">
            <a:extLst>
              <a:ext uri="{FF2B5EF4-FFF2-40B4-BE49-F238E27FC236}">
                <a16:creationId xmlns:a16="http://schemas.microsoft.com/office/drawing/2014/main" id="{FE7C006C-C0E0-4482-AC7F-F81FF3BEF348}"/>
              </a:ext>
            </a:extLst>
          </p:cNvPr>
          <p:cNvSpPr/>
          <p:nvPr userDrawn="1"/>
        </p:nvSpPr>
        <p:spPr>
          <a:xfrm>
            <a:off x="8226453" y="0"/>
            <a:ext cx="3431948" cy="6858000"/>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a:p>
        </p:txBody>
      </p:sp>
      <p:sp>
        <p:nvSpPr>
          <p:cNvPr id="27" name="Text Placeholder 19">
            <a:extLst>
              <a:ext uri="{FF2B5EF4-FFF2-40B4-BE49-F238E27FC236}">
                <a16:creationId xmlns:a16="http://schemas.microsoft.com/office/drawing/2014/main" id="{31D63194-B773-4B19-A8E4-6A7BFC8F58E8}"/>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Tree>
    <p:extLst>
      <p:ext uri="{BB962C8B-B14F-4D97-AF65-F5344CB8AC3E}">
        <p14:creationId xmlns:p14="http://schemas.microsoft.com/office/powerpoint/2010/main" val="40907875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_Section Title 4">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1393377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Section Title</a:t>
            </a:r>
          </a:p>
        </p:txBody>
      </p:sp>
      <p:sp>
        <p:nvSpPr>
          <p:cNvPr id="18" name="Freeform: Shape 17">
            <a:extLst>
              <a:ext uri="{FF2B5EF4-FFF2-40B4-BE49-F238E27FC236}">
                <a16:creationId xmlns:a16="http://schemas.microsoft.com/office/drawing/2014/main" id="{FE7C006C-C0E0-4482-AC7F-F81FF3BEF348}"/>
              </a:ext>
            </a:extLst>
          </p:cNvPr>
          <p:cNvSpPr/>
          <p:nvPr userDrawn="1"/>
        </p:nvSpPr>
        <p:spPr>
          <a:xfrm>
            <a:off x="10506131" y="3489158"/>
            <a:ext cx="1685869" cy="3368841"/>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a:p>
        </p:txBody>
      </p:sp>
      <p:sp>
        <p:nvSpPr>
          <p:cNvPr id="26" name="Text Placeholder 19">
            <a:extLst>
              <a:ext uri="{FF2B5EF4-FFF2-40B4-BE49-F238E27FC236}">
                <a16:creationId xmlns:a16="http://schemas.microsoft.com/office/drawing/2014/main" id="{48CDFF59-67B7-4062-BE0A-DEB0597E73AB}"/>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Tree>
    <p:extLst>
      <p:ext uri="{BB962C8B-B14F-4D97-AF65-F5344CB8AC3E}">
        <p14:creationId xmlns:p14="http://schemas.microsoft.com/office/powerpoint/2010/main" val="23559688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 Subtitle + 1 Colum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2728298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C28D76B-1E4B-4CAD-91D0-7031CCB234FF}"/>
              </a:ext>
            </a:extLst>
          </p:cNvPr>
          <p:cNvSpPr/>
          <p:nvPr userDrawn="1"/>
        </p:nvSpPr>
        <p:spPr>
          <a:xfrm>
            <a:off x="7962900" y="0"/>
            <a:ext cx="42291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838200" y="4313065"/>
            <a:ext cx="3390900" cy="1859135"/>
          </a:xfrm>
        </p:spPr>
        <p:txBody>
          <a:bodyPr>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6210301" y="723900"/>
            <a:ext cx="5143500" cy="5448300"/>
          </a:xfrm>
          <a:solidFill>
            <a:schemeClr val="accent5"/>
          </a:solidFill>
        </p:spPr>
        <p:txBody>
          <a:bodyPr/>
          <a:lstStyle/>
          <a:p>
            <a:endParaRPr lang="en-US"/>
          </a:p>
        </p:txBody>
      </p:sp>
      <p:sp>
        <p:nvSpPr>
          <p:cNvPr id="24" name="Text Placeholder 16">
            <a:extLst>
              <a:ext uri="{FF2B5EF4-FFF2-40B4-BE49-F238E27FC236}">
                <a16:creationId xmlns:a16="http://schemas.microsoft.com/office/drawing/2014/main" id="{9C08595A-C0E9-4D62-A7D5-69C220C46CCE}"/>
              </a:ext>
            </a:extLst>
          </p:cNvPr>
          <p:cNvSpPr>
            <a:spLocks noGrp="1"/>
          </p:cNvSpPr>
          <p:nvPr>
            <p:ph type="body" sz="quarter" idx="14" hasCustomPrompt="1"/>
          </p:nvPr>
        </p:nvSpPr>
        <p:spPr>
          <a:xfrm>
            <a:off x="838200" y="3821287"/>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7" name="Picture Placeholder 6">
            <a:extLst>
              <a:ext uri="{FF2B5EF4-FFF2-40B4-BE49-F238E27FC236}">
                <a16:creationId xmlns:a16="http://schemas.microsoft.com/office/drawing/2014/main" id="{78C400D9-8E74-47BE-8A36-47053691763A}"/>
              </a:ext>
            </a:extLst>
          </p:cNvPr>
          <p:cNvSpPr>
            <a:spLocks noGrp="1"/>
          </p:cNvSpPr>
          <p:nvPr>
            <p:ph type="pic" sz="quarter" idx="15"/>
          </p:nvPr>
        </p:nvSpPr>
        <p:spPr>
          <a:xfrm>
            <a:off x="1657350" y="2006600"/>
            <a:ext cx="1638300" cy="1638300"/>
          </a:xfrm>
        </p:spPr>
        <p:txBody>
          <a:bodyPr/>
          <a:lstStyle/>
          <a:p>
            <a:endParaRPr lang="en-US"/>
          </a:p>
        </p:txBody>
      </p:sp>
    </p:spTree>
    <p:extLst>
      <p:ext uri="{BB962C8B-B14F-4D97-AF65-F5344CB8AC3E}">
        <p14:creationId xmlns:p14="http://schemas.microsoft.com/office/powerpoint/2010/main" val="57946070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_Section Title 4">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5322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Section Title</a:t>
            </a:r>
          </a:p>
        </p:txBody>
      </p:sp>
      <p:sp>
        <p:nvSpPr>
          <p:cNvPr id="26" name="Text Placeholder 19">
            <a:extLst>
              <a:ext uri="{FF2B5EF4-FFF2-40B4-BE49-F238E27FC236}">
                <a16:creationId xmlns:a16="http://schemas.microsoft.com/office/drawing/2014/main" id="{48CDFF59-67B7-4062-BE0A-DEB0597E73AB}"/>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cxnSp>
        <p:nvCxnSpPr>
          <p:cNvPr id="27" name="Straight Connector 26">
            <a:extLst>
              <a:ext uri="{FF2B5EF4-FFF2-40B4-BE49-F238E27FC236}">
                <a16:creationId xmlns:a16="http://schemas.microsoft.com/office/drawing/2014/main" id="{285A4F78-EB86-45ED-A09F-9FBD86DD89D1}"/>
              </a:ext>
            </a:extLst>
          </p:cNvPr>
          <p:cNvCxnSpPr>
            <a:cxnSpLocks/>
          </p:cNvCxnSpPr>
          <p:nvPr userDrawn="1"/>
        </p:nvCxnSpPr>
        <p:spPr>
          <a:xfrm>
            <a:off x="838200" y="4479792"/>
            <a:ext cx="728382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C0152A9C-5C6A-4986-AD8B-1B816693BE88}"/>
              </a:ext>
            </a:extLst>
          </p:cNvPr>
          <p:cNvSpPr/>
          <p:nvPr userDrawn="1"/>
        </p:nvSpPr>
        <p:spPr>
          <a:xfrm>
            <a:off x="7962900" y="2781300"/>
            <a:ext cx="3390900" cy="33909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595899DF-BA62-4912-9844-E858C6BF4C86}"/>
              </a:ext>
            </a:extLst>
          </p:cNvPr>
          <p:cNvSpPr>
            <a:spLocks noGrp="1"/>
          </p:cNvSpPr>
          <p:nvPr>
            <p:ph type="pic" sz="quarter" idx="11"/>
          </p:nvPr>
        </p:nvSpPr>
        <p:spPr>
          <a:xfrm>
            <a:off x="8932069" y="3750469"/>
            <a:ext cx="1452563" cy="1452563"/>
          </a:xfrm>
        </p:spPr>
        <p:txBody>
          <a:bodyPr/>
          <a:lstStyle/>
          <a:p>
            <a:endParaRPr lang="en-US"/>
          </a:p>
        </p:txBody>
      </p:sp>
    </p:spTree>
    <p:extLst>
      <p:ext uri="{BB962C8B-B14F-4D97-AF65-F5344CB8AC3E}">
        <p14:creationId xmlns:p14="http://schemas.microsoft.com/office/powerpoint/2010/main" val="252001296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_Section Title 2">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34690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Section Title</a:t>
            </a:r>
          </a:p>
        </p:txBody>
      </p:sp>
      <p:sp>
        <p:nvSpPr>
          <p:cNvPr id="26" name="Freeform: Shape 25">
            <a:extLst>
              <a:ext uri="{FF2B5EF4-FFF2-40B4-BE49-F238E27FC236}">
                <a16:creationId xmlns:a16="http://schemas.microsoft.com/office/drawing/2014/main" id="{F2A2AE34-7892-42F4-AFE1-463A5BEF0007}"/>
              </a:ext>
            </a:extLst>
          </p:cNvPr>
          <p:cNvSpPr/>
          <p:nvPr userDrawn="1"/>
        </p:nvSpPr>
        <p:spPr>
          <a:xfrm>
            <a:off x="8694644" y="0"/>
            <a:ext cx="3497357" cy="6858000"/>
          </a:xfrm>
          <a:custGeom>
            <a:avLst/>
            <a:gdLst>
              <a:gd name="connsiteX0" fmla="*/ 1398588 w 3497357"/>
              <a:gd name="connsiteY0" fmla="*/ 0 h 6858000"/>
              <a:gd name="connsiteX1" fmla="*/ 3497357 w 3497357"/>
              <a:gd name="connsiteY1" fmla="*/ 0 h 6858000"/>
              <a:gd name="connsiteX2" fmla="*/ 3497357 w 3497357"/>
              <a:gd name="connsiteY2" fmla="*/ 722525 h 6858000"/>
              <a:gd name="connsiteX3" fmla="*/ 3321786 w 3497357"/>
              <a:gd name="connsiteY3" fmla="*/ 809134 h 6858000"/>
              <a:gd name="connsiteX4" fmla="*/ 1799307 w 3497357"/>
              <a:gd name="connsiteY4" fmla="*/ 3429000 h 6858000"/>
              <a:gd name="connsiteX5" fmla="*/ 3322313 w 3497357"/>
              <a:gd name="connsiteY5" fmla="*/ 6048867 h 6858000"/>
              <a:gd name="connsiteX6" fmla="*/ 3497357 w 3497357"/>
              <a:gd name="connsiteY6" fmla="*/ 6135224 h 6858000"/>
              <a:gd name="connsiteX7" fmla="*/ 3497357 w 3497357"/>
              <a:gd name="connsiteY7" fmla="*/ 6858000 h 6858000"/>
              <a:gd name="connsiteX8" fmla="*/ 1398588 w 3497357"/>
              <a:gd name="connsiteY8" fmla="*/ 6858000 h 6858000"/>
              <a:gd name="connsiteX9" fmla="*/ 1379218 w 3497357"/>
              <a:gd name="connsiteY9" fmla="*/ 6839087 h 6858000"/>
              <a:gd name="connsiteX10" fmla="*/ 0 w 3497357"/>
              <a:gd name="connsiteY10" fmla="*/ 3429000 h 6858000"/>
              <a:gd name="connsiteX11" fmla="*/ 1379218 w 3497357"/>
              <a:gd name="connsiteY11" fmla="*/ 189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357" h="6858000">
                <a:moveTo>
                  <a:pt x="1398588" y="0"/>
                </a:moveTo>
                <a:lnTo>
                  <a:pt x="3497357" y="0"/>
                </a:lnTo>
                <a:lnTo>
                  <a:pt x="3497357" y="722525"/>
                </a:lnTo>
                <a:lnTo>
                  <a:pt x="3321786" y="809134"/>
                </a:lnTo>
                <a:cubicBezTo>
                  <a:pt x="2414760" y="1313706"/>
                  <a:pt x="1799307" y="2297777"/>
                  <a:pt x="1799307" y="3429000"/>
                </a:cubicBezTo>
                <a:cubicBezTo>
                  <a:pt x="1799307" y="4560224"/>
                  <a:pt x="2415321" y="5544294"/>
                  <a:pt x="3322313" y="6048867"/>
                </a:cubicBezTo>
                <a:lnTo>
                  <a:pt x="3497357" y="6135224"/>
                </a:lnTo>
                <a:lnTo>
                  <a:pt x="3497357" y="6858000"/>
                </a:lnTo>
                <a:lnTo>
                  <a:pt x="1398588" y="6858000"/>
                </a:lnTo>
                <a:lnTo>
                  <a:pt x="1379218" y="6839087"/>
                </a:lnTo>
                <a:cubicBezTo>
                  <a:pt x="527066" y="5966368"/>
                  <a:pt x="0" y="4760720"/>
                  <a:pt x="0" y="3429000"/>
                </a:cubicBezTo>
                <a:cubicBezTo>
                  <a:pt x="0" y="2097281"/>
                  <a:pt x="527066" y="891632"/>
                  <a:pt x="1379218" y="18914"/>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31" name="Text Placeholder 19">
            <a:extLst>
              <a:ext uri="{FF2B5EF4-FFF2-40B4-BE49-F238E27FC236}">
                <a16:creationId xmlns:a16="http://schemas.microsoft.com/office/drawing/2014/main" id="{7BA5FB97-E6BC-4D7A-B26D-B9F1C20C4AC3}"/>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Tree>
    <p:extLst>
      <p:ext uri="{BB962C8B-B14F-4D97-AF65-F5344CB8AC3E}">
        <p14:creationId xmlns:p14="http://schemas.microsoft.com/office/powerpoint/2010/main" val="103785569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_Section Title 3">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887740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Section Title</a:t>
            </a:r>
          </a:p>
        </p:txBody>
      </p:sp>
      <p:sp>
        <p:nvSpPr>
          <p:cNvPr id="18" name="Freeform: Shape 17">
            <a:extLst>
              <a:ext uri="{FF2B5EF4-FFF2-40B4-BE49-F238E27FC236}">
                <a16:creationId xmlns:a16="http://schemas.microsoft.com/office/drawing/2014/main" id="{FE7C006C-C0E0-4482-AC7F-F81FF3BEF348}"/>
              </a:ext>
            </a:extLst>
          </p:cNvPr>
          <p:cNvSpPr/>
          <p:nvPr userDrawn="1"/>
        </p:nvSpPr>
        <p:spPr>
          <a:xfrm>
            <a:off x="8226453" y="0"/>
            <a:ext cx="3431948" cy="6858000"/>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a:p>
        </p:txBody>
      </p:sp>
      <p:sp>
        <p:nvSpPr>
          <p:cNvPr id="27" name="Text Placeholder 19">
            <a:extLst>
              <a:ext uri="{FF2B5EF4-FFF2-40B4-BE49-F238E27FC236}">
                <a16:creationId xmlns:a16="http://schemas.microsoft.com/office/drawing/2014/main" id="{31D63194-B773-4B19-A8E4-6A7BFC8F58E8}"/>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Tree>
    <p:extLst>
      <p:ext uri="{BB962C8B-B14F-4D97-AF65-F5344CB8AC3E}">
        <p14:creationId xmlns:p14="http://schemas.microsoft.com/office/powerpoint/2010/main" val="162621432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5CDA7-3277-4BEF-B83F-00A6A1F359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7452D38-F127-4220-828A-AD175D044060}"/>
              </a:ext>
            </a:extLst>
          </p:cNvPr>
          <p:cNvSpPr>
            <a:spLocks noGrp="1"/>
          </p:cNvSpPr>
          <p:nvPr>
            <p:ph type="sldNum" sz="quarter" idx="10"/>
          </p:nvPr>
        </p:nvSpPr>
        <p:spPr/>
        <p:txBody>
          <a:bodyPr/>
          <a:lstStyle/>
          <a:p>
            <a:fld id="{A1471D42-392E-4D14-982B-D9D765EA1509}" type="slidenum">
              <a:rPr lang="en-US" smtClean="0"/>
              <a:pPr/>
              <a:t>‹#›</a:t>
            </a:fld>
            <a:endParaRPr lang="en-US"/>
          </a:p>
        </p:txBody>
      </p:sp>
      <p:sp>
        <p:nvSpPr>
          <p:cNvPr id="5" name="Text Placeholder 4">
            <a:extLst>
              <a:ext uri="{FF2B5EF4-FFF2-40B4-BE49-F238E27FC236}">
                <a16:creationId xmlns:a16="http://schemas.microsoft.com/office/drawing/2014/main" id="{77B1E8FD-61C8-4EC3-96A2-10CED7ABF8BB}"/>
              </a:ext>
            </a:extLst>
          </p:cNvPr>
          <p:cNvSpPr>
            <a:spLocks noGrp="1"/>
          </p:cNvSpPr>
          <p:nvPr>
            <p:ph type="body" sz="quarter" idx="11"/>
          </p:nvPr>
        </p:nvSpPr>
        <p:spPr>
          <a:xfrm>
            <a:off x="838200" y="1790700"/>
            <a:ext cx="10515600" cy="4381500"/>
          </a:xfrm>
        </p:spPr>
        <p:txBody>
          <a:bodyPr>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84862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5CDA7-3277-4BEF-B83F-00A6A1F359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7452D38-F127-4220-828A-AD175D044060}"/>
              </a:ext>
            </a:extLst>
          </p:cNvPr>
          <p:cNvSpPr>
            <a:spLocks noGrp="1"/>
          </p:cNvSpPr>
          <p:nvPr>
            <p:ph type="sldNum" sz="quarter" idx="10"/>
          </p:nvPr>
        </p:nvSpPr>
        <p:spPr/>
        <p:txBody>
          <a:bodyPr/>
          <a:lstStyle/>
          <a:p>
            <a:fld id="{A1471D42-392E-4D14-982B-D9D765EA1509}" type="slidenum">
              <a:rPr lang="en-US" smtClean="0"/>
              <a:pPr/>
              <a:t>‹#›</a:t>
            </a:fld>
            <a:endParaRPr lang="en-US"/>
          </a:p>
        </p:txBody>
      </p:sp>
      <p:sp>
        <p:nvSpPr>
          <p:cNvPr id="5" name="Text Placeholder 4">
            <a:extLst>
              <a:ext uri="{FF2B5EF4-FFF2-40B4-BE49-F238E27FC236}">
                <a16:creationId xmlns:a16="http://schemas.microsoft.com/office/drawing/2014/main" id="{77B1E8FD-61C8-4EC3-96A2-10CED7ABF8BB}"/>
              </a:ext>
            </a:extLst>
          </p:cNvPr>
          <p:cNvSpPr>
            <a:spLocks noGrp="1"/>
          </p:cNvSpPr>
          <p:nvPr>
            <p:ph type="body" sz="quarter" idx="11"/>
          </p:nvPr>
        </p:nvSpPr>
        <p:spPr>
          <a:xfrm>
            <a:off x="838200" y="1790700"/>
            <a:ext cx="10515600" cy="4381500"/>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262082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5CDA7-3277-4BEF-B83F-00A6A1F359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7452D38-F127-4220-828A-AD175D044060}"/>
              </a:ext>
            </a:extLst>
          </p:cNvPr>
          <p:cNvSpPr>
            <a:spLocks noGrp="1"/>
          </p:cNvSpPr>
          <p:nvPr>
            <p:ph type="sldNum" sz="quarter" idx="10"/>
          </p:nvPr>
        </p:nvSpPr>
        <p:spPr/>
        <p:txBody>
          <a:bodyPr/>
          <a:lstStyle/>
          <a:p>
            <a:fld id="{A1471D42-392E-4D14-982B-D9D765EA1509}" type="slidenum">
              <a:rPr lang="en-US" smtClean="0"/>
              <a:pPr/>
              <a:t>‹#›</a:t>
            </a:fld>
            <a:endParaRPr lang="en-US"/>
          </a:p>
        </p:txBody>
      </p:sp>
      <p:sp>
        <p:nvSpPr>
          <p:cNvPr id="5" name="Text Placeholder 4">
            <a:extLst>
              <a:ext uri="{FF2B5EF4-FFF2-40B4-BE49-F238E27FC236}">
                <a16:creationId xmlns:a16="http://schemas.microsoft.com/office/drawing/2014/main" id="{77B1E8FD-61C8-4EC3-96A2-10CED7ABF8BB}"/>
              </a:ext>
            </a:extLst>
          </p:cNvPr>
          <p:cNvSpPr>
            <a:spLocks noGrp="1"/>
          </p:cNvSpPr>
          <p:nvPr>
            <p:ph type="body" sz="quarter" idx="11"/>
          </p:nvPr>
        </p:nvSpPr>
        <p:spPr>
          <a:xfrm>
            <a:off x="838200" y="1790700"/>
            <a:ext cx="10515600" cy="4381500"/>
          </a:xfrm>
        </p:spPr>
        <p:txBody>
          <a:bodyPr>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aphic 6">
            <a:extLst>
              <a:ext uri="{FF2B5EF4-FFF2-40B4-BE49-F238E27FC236}">
                <a16:creationId xmlns:a16="http://schemas.microsoft.com/office/drawing/2014/main" id="{0932BE40-7296-4234-B41A-9BE211628113}"/>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6CA3551C-4176-4443-AF06-DA30C9EC269C}"/>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1351E13A-8E5D-49DA-88C5-956A5ABAE7B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45C88B97-F372-49B5-9C33-651247974731}"/>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2853A605-DA00-4C39-881D-4E49DDF7C2A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Tree>
    <p:extLst>
      <p:ext uri="{BB962C8B-B14F-4D97-AF65-F5344CB8AC3E}">
        <p14:creationId xmlns:p14="http://schemas.microsoft.com/office/powerpoint/2010/main" val="167111816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4_Custom Layout_Text">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C3EB70E4-1CDF-4FD7-AB7F-4568C60AF552}"/>
              </a:ext>
            </a:extLst>
          </p:cNvPr>
          <p:cNvSpPr/>
          <p:nvPr userDrawn="1"/>
        </p:nvSpPr>
        <p:spPr>
          <a:xfrm rot="5400000">
            <a:off x="5648785" y="314786"/>
            <a:ext cx="6411566" cy="667486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2" name="Title 1">
            <a:extLst>
              <a:ext uri="{FF2B5EF4-FFF2-40B4-BE49-F238E27FC236}">
                <a16:creationId xmlns:a16="http://schemas.microsoft.com/office/drawing/2014/main" id="{25C5CDA7-3277-4BEF-B83F-00A6A1F359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7452D38-F127-4220-828A-AD175D044060}"/>
              </a:ext>
            </a:extLst>
          </p:cNvPr>
          <p:cNvSpPr>
            <a:spLocks noGrp="1"/>
          </p:cNvSpPr>
          <p:nvPr>
            <p:ph type="sldNum" sz="quarter" idx="10"/>
          </p:nvPr>
        </p:nvSpPr>
        <p:spPr/>
        <p:txBody>
          <a:bodyPr/>
          <a:lstStyle/>
          <a:p>
            <a:fld id="{A1471D42-392E-4D14-982B-D9D765EA1509}" type="slidenum">
              <a:rPr lang="en-US" smtClean="0"/>
              <a:pPr/>
              <a:t>‹#›</a:t>
            </a:fld>
            <a:endParaRPr lang="en-US"/>
          </a:p>
        </p:txBody>
      </p:sp>
      <p:sp>
        <p:nvSpPr>
          <p:cNvPr id="5" name="Text Placeholder 4">
            <a:extLst>
              <a:ext uri="{FF2B5EF4-FFF2-40B4-BE49-F238E27FC236}">
                <a16:creationId xmlns:a16="http://schemas.microsoft.com/office/drawing/2014/main" id="{77B1E8FD-61C8-4EC3-96A2-10CED7ABF8BB}"/>
              </a:ext>
            </a:extLst>
          </p:cNvPr>
          <p:cNvSpPr>
            <a:spLocks noGrp="1"/>
          </p:cNvSpPr>
          <p:nvPr>
            <p:ph type="body" sz="quarter" idx="11"/>
          </p:nvPr>
        </p:nvSpPr>
        <p:spPr>
          <a:xfrm>
            <a:off x="838200" y="1790700"/>
            <a:ext cx="10515600" cy="4381500"/>
          </a:xfrm>
        </p:spPr>
        <p:txBody>
          <a:bodyPr>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aphic 6">
            <a:extLst>
              <a:ext uri="{FF2B5EF4-FFF2-40B4-BE49-F238E27FC236}">
                <a16:creationId xmlns:a16="http://schemas.microsoft.com/office/drawing/2014/main" id="{47D65B5B-C190-4B5D-9F20-BDC8B88F0B1A}"/>
              </a:ext>
            </a:extLst>
          </p:cNvPr>
          <p:cNvGrpSpPr/>
          <p:nvPr userDrawn="1"/>
        </p:nvGrpSpPr>
        <p:grpSpPr>
          <a:xfrm>
            <a:off x="891988" y="6394893"/>
            <a:ext cx="432890" cy="187030"/>
            <a:chOff x="85969" y="3646150"/>
            <a:chExt cx="1544103" cy="667132"/>
          </a:xfrm>
          <a:solidFill>
            <a:srgbClr val="FF9E18"/>
          </a:solidFill>
        </p:grpSpPr>
        <p:sp>
          <p:nvSpPr>
            <p:cNvPr id="8" name="Freeform: Shape 7">
              <a:extLst>
                <a:ext uri="{FF2B5EF4-FFF2-40B4-BE49-F238E27FC236}">
                  <a16:creationId xmlns:a16="http://schemas.microsoft.com/office/drawing/2014/main" id="{1269CA11-9AB2-4BA9-9933-AF47730E3C5D}"/>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47FFC0E8-F9B0-4EA7-A1BD-8F7688A8B76F}"/>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8A3E1C1F-61B6-461C-A021-7B00A77391D1}"/>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F4F6123C-836D-42A8-BF72-C8103D85FF7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Tree>
    <p:extLst>
      <p:ext uri="{BB962C8B-B14F-4D97-AF65-F5344CB8AC3E}">
        <p14:creationId xmlns:p14="http://schemas.microsoft.com/office/powerpoint/2010/main" val="426430402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Custom Layout_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5CDA7-3277-4BEF-B83F-00A6A1F359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7452D38-F127-4220-828A-AD175D044060}"/>
              </a:ext>
            </a:extLst>
          </p:cNvPr>
          <p:cNvSpPr>
            <a:spLocks noGrp="1"/>
          </p:cNvSpPr>
          <p:nvPr>
            <p:ph type="sldNum" sz="quarter" idx="10"/>
          </p:nvPr>
        </p:nvSpPr>
        <p:spPr/>
        <p:txBody>
          <a:bodyPr/>
          <a:lstStyle/>
          <a:p>
            <a:fld id="{A1471D42-392E-4D14-982B-D9D765EA1509}" type="slidenum">
              <a:rPr lang="en-US" smtClean="0"/>
              <a:pPr/>
              <a:t>‹#›</a:t>
            </a:fld>
            <a:endParaRPr lang="en-US"/>
          </a:p>
        </p:txBody>
      </p:sp>
      <p:sp>
        <p:nvSpPr>
          <p:cNvPr id="5" name="Text Placeholder 4">
            <a:extLst>
              <a:ext uri="{FF2B5EF4-FFF2-40B4-BE49-F238E27FC236}">
                <a16:creationId xmlns:a16="http://schemas.microsoft.com/office/drawing/2014/main" id="{77B1E8FD-61C8-4EC3-96A2-10CED7ABF8BB}"/>
              </a:ext>
            </a:extLst>
          </p:cNvPr>
          <p:cNvSpPr>
            <a:spLocks noGrp="1"/>
          </p:cNvSpPr>
          <p:nvPr>
            <p:ph type="body" sz="quarter" idx="11"/>
          </p:nvPr>
        </p:nvSpPr>
        <p:spPr>
          <a:xfrm>
            <a:off x="838200" y="1790700"/>
            <a:ext cx="10515600" cy="4381500"/>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aphic 6">
            <a:extLst>
              <a:ext uri="{FF2B5EF4-FFF2-40B4-BE49-F238E27FC236}">
                <a16:creationId xmlns:a16="http://schemas.microsoft.com/office/drawing/2014/main" id="{D3B01B5E-C40E-429D-81D7-E6C46C61E6AA}"/>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75B0A86A-8BBE-4CB7-B3F8-97337298D550}"/>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A5953E6C-7296-422E-B272-1A7E574A65BE}"/>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111E1F10-4036-4DDA-AE93-06B835097A80}"/>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81A7BA27-C6BB-4D63-9A2D-7F645E853B96}"/>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Tree>
    <p:extLst>
      <p:ext uri="{BB962C8B-B14F-4D97-AF65-F5344CB8AC3E}">
        <p14:creationId xmlns:p14="http://schemas.microsoft.com/office/powerpoint/2010/main" val="130501961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4_Title + Subtitle + 1 Colum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740576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838200" y="2243738"/>
            <a:ext cx="3390900" cy="3928462"/>
          </a:xfrm>
        </p:spPr>
        <p:txBody>
          <a:bodyPr>
            <a:normAutofit/>
          </a:bodyPr>
          <a:lstStyle>
            <a:lvl1pPr marL="171450" indent="-171450">
              <a:buFont typeface="Arial" panose="020B0604020202020204" pitchFamily="34" charset="0"/>
              <a:buChar char="•"/>
              <a:defRPr sz="2000">
                <a:solidFill>
                  <a:schemeClr val="tx1"/>
                </a:solidFill>
              </a:defRPr>
            </a:lvl1pPr>
            <a:lvl2pPr marL="628650" indent="-171450">
              <a:buFont typeface="Arial" panose="020B0604020202020204" pitchFamily="34" charset="0"/>
              <a:buChar char="•"/>
              <a:defRPr sz="2000">
                <a:solidFill>
                  <a:schemeClr val="tx1"/>
                </a:solidFill>
              </a:defRPr>
            </a:lvl2pPr>
            <a:lvl3pPr marL="1085850" indent="-171450">
              <a:buFont typeface="Arial" panose="020B0604020202020204" pitchFamily="34" charset="0"/>
              <a:buChar char="•"/>
              <a:defRPr sz="2000">
                <a:solidFill>
                  <a:schemeClr val="tx1"/>
                </a:solidFill>
              </a:defRPr>
            </a:lvl3pPr>
            <a:lvl4pPr marL="1543050" indent="-171450">
              <a:buFont typeface="Arial" panose="020B0604020202020204" pitchFamily="34" charset="0"/>
              <a:buChar char="•"/>
              <a:defRPr sz="2000">
                <a:solidFill>
                  <a:schemeClr val="tx1"/>
                </a:solidFill>
              </a:defRPr>
            </a:lvl4pPr>
            <a:lvl5pPr marL="2000250" indent="-171450">
              <a:buFont typeface="Arial" panose="020B0604020202020204" pitchFamily="34" charset="0"/>
              <a:buChar cha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6210301" y="723900"/>
            <a:ext cx="5143500" cy="5448300"/>
          </a:xfrm>
          <a:solidFill>
            <a:schemeClr val="accent5"/>
          </a:solidFill>
        </p:spPr>
        <p:txBody>
          <a:bodyPr/>
          <a:lstStyle/>
          <a:p>
            <a:endParaRPr lang="en-US"/>
          </a:p>
        </p:txBody>
      </p:sp>
      <p:sp>
        <p:nvSpPr>
          <p:cNvPr id="24" name="Text Placeholder 16">
            <a:extLst>
              <a:ext uri="{FF2B5EF4-FFF2-40B4-BE49-F238E27FC236}">
                <a16:creationId xmlns:a16="http://schemas.microsoft.com/office/drawing/2014/main" id="{9C08595A-C0E9-4D62-A7D5-69C220C46CCE}"/>
              </a:ext>
            </a:extLst>
          </p:cNvPr>
          <p:cNvSpPr>
            <a:spLocks noGrp="1"/>
          </p:cNvSpPr>
          <p:nvPr>
            <p:ph type="body" sz="quarter" idx="14" hasCustomPrompt="1"/>
          </p:nvPr>
        </p:nvSpPr>
        <p:spPr>
          <a:xfrm>
            <a:off x="838200" y="1751960"/>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Tree>
    <p:extLst>
      <p:ext uri="{BB962C8B-B14F-4D97-AF65-F5344CB8AC3E}">
        <p14:creationId xmlns:p14="http://schemas.microsoft.com/office/powerpoint/2010/main" val="216597417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_Title + Subtitle + 3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1531993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a:off x="7043889" y="1"/>
            <a:ext cx="5148111" cy="535952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5" name="Text Placeholder 16">
            <a:extLst>
              <a:ext uri="{FF2B5EF4-FFF2-40B4-BE49-F238E27FC236}">
                <a16:creationId xmlns:a16="http://schemas.microsoft.com/office/drawing/2014/main" id="{6CEE755F-9829-4092-90AC-8A2CD500C2F0}"/>
              </a:ext>
            </a:extLst>
          </p:cNvPr>
          <p:cNvSpPr>
            <a:spLocks noGrp="1"/>
          </p:cNvSpPr>
          <p:nvPr>
            <p:ph type="body" sz="quarter" idx="16" hasCustomPrompt="1"/>
          </p:nvPr>
        </p:nvSpPr>
        <p:spPr>
          <a:xfrm>
            <a:off x="8382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6" name="Text Placeholder 16">
            <a:extLst>
              <a:ext uri="{FF2B5EF4-FFF2-40B4-BE49-F238E27FC236}">
                <a16:creationId xmlns:a16="http://schemas.microsoft.com/office/drawing/2014/main" id="{F6BBA5F5-1469-40AC-AD18-653B25551787}"/>
              </a:ext>
            </a:extLst>
          </p:cNvPr>
          <p:cNvSpPr>
            <a:spLocks noGrp="1"/>
          </p:cNvSpPr>
          <p:nvPr>
            <p:ph type="body" sz="quarter" idx="17" hasCustomPrompt="1"/>
          </p:nvPr>
        </p:nvSpPr>
        <p:spPr>
          <a:xfrm>
            <a:off x="4457700" y="1751960"/>
            <a:ext cx="3276600" cy="391885"/>
          </a:xfrm>
        </p:spPr>
        <p:txBody>
          <a:bodyPr>
            <a:noAutofit/>
          </a:bodyPr>
          <a:lstStyle>
            <a:lvl1pPr marL="0" indent="0">
              <a:buNone/>
              <a:defRPr sz="16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7" name="Text Placeholder 16">
            <a:extLst>
              <a:ext uri="{FF2B5EF4-FFF2-40B4-BE49-F238E27FC236}">
                <a16:creationId xmlns:a16="http://schemas.microsoft.com/office/drawing/2014/main" id="{DE8B970E-C6BC-4C4E-874A-5238CEA1FF38}"/>
              </a:ext>
            </a:extLst>
          </p:cNvPr>
          <p:cNvSpPr>
            <a:spLocks noGrp="1"/>
          </p:cNvSpPr>
          <p:nvPr>
            <p:ph type="body" sz="quarter" idx="18" hasCustomPrompt="1"/>
          </p:nvPr>
        </p:nvSpPr>
        <p:spPr>
          <a:xfrm>
            <a:off x="79629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8" name="Text Placeholder 16">
            <a:extLst>
              <a:ext uri="{FF2B5EF4-FFF2-40B4-BE49-F238E27FC236}">
                <a16:creationId xmlns:a16="http://schemas.microsoft.com/office/drawing/2014/main" id="{730E0CEA-7D99-4109-BD8B-3831C2E6F3E6}"/>
              </a:ext>
            </a:extLst>
          </p:cNvPr>
          <p:cNvSpPr>
            <a:spLocks noGrp="1"/>
          </p:cNvSpPr>
          <p:nvPr>
            <p:ph type="body" sz="quarter" idx="12"/>
          </p:nvPr>
        </p:nvSpPr>
        <p:spPr>
          <a:xfrm>
            <a:off x="838200" y="2243738"/>
            <a:ext cx="3390900" cy="3928462"/>
          </a:xfrm>
        </p:spPr>
        <p:txBody>
          <a:bodyPr>
            <a:normAutofit/>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6">
            <a:extLst>
              <a:ext uri="{FF2B5EF4-FFF2-40B4-BE49-F238E27FC236}">
                <a16:creationId xmlns:a16="http://schemas.microsoft.com/office/drawing/2014/main" id="{1D6814CB-13E1-4FA8-A6F0-8899250A718F}"/>
              </a:ext>
            </a:extLst>
          </p:cNvPr>
          <p:cNvSpPr>
            <a:spLocks noGrp="1"/>
          </p:cNvSpPr>
          <p:nvPr>
            <p:ph type="body" sz="quarter" idx="19"/>
          </p:nvPr>
        </p:nvSpPr>
        <p:spPr>
          <a:xfrm>
            <a:off x="4457700" y="2243738"/>
            <a:ext cx="3276600" cy="3928462"/>
          </a:xfrm>
        </p:spPr>
        <p:txBody>
          <a:bodyPr>
            <a:normAutofit/>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6">
            <a:extLst>
              <a:ext uri="{FF2B5EF4-FFF2-40B4-BE49-F238E27FC236}">
                <a16:creationId xmlns:a16="http://schemas.microsoft.com/office/drawing/2014/main" id="{FA35E789-4E4E-4C65-91FD-5D399C36E448}"/>
              </a:ext>
            </a:extLst>
          </p:cNvPr>
          <p:cNvSpPr>
            <a:spLocks noGrp="1"/>
          </p:cNvSpPr>
          <p:nvPr>
            <p:ph type="body" sz="quarter" idx="20"/>
          </p:nvPr>
        </p:nvSpPr>
        <p:spPr>
          <a:xfrm>
            <a:off x="7962900" y="2243738"/>
            <a:ext cx="3390900" cy="3928462"/>
          </a:xfrm>
        </p:spPr>
        <p:txBody>
          <a:bodyPr>
            <a:normAutofit/>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0238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 Subtitle + 2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021328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68961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7962901" y="0"/>
            <a:ext cx="4229100" cy="6858000"/>
          </a:xfrm>
          <a:solidFill>
            <a:schemeClr val="accent5"/>
          </a:solidFill>
        </p:spPr>
        <p:txBody>
          <a:bodyPr/>
          <a:lstStyle/>
          <a:p>
            <a:endParaRPr lang="en-US"/>
          </a:p>
        </p:txBody>
      </p:sp>
      <p:sp>
        <p:nvSpPr>
          <p:cNvPr id="17" name="Picture Placeholder 6">
            <a:extLst>
              <a:ext uri="{FF2B5EF4-FFF2-40B4-BE49-F238E27FC236}">
                <a16:creationId xmlns:a16="http://schemas.microsoft.com/office/drawing/2014/main" id="{D93C7FD6-B735-4D4F-8D3F-F6D1007E60B7}"/>
              </a:ext>
            </a:extLst>
          </p:cNvPr>
          <p:cNvSpPr>
            <a:spLocks noGrp="1"/>
          </p:cNvSpPr>
          <p:nvPr>
            <p:ph type="pic" sz="quarter" idx="18"/>
          </p:nvPr>
        </p:nvSpPr>
        <p:spPr>
          <a:xfrm>
            <a:off x="1657350" y="2006600"/>
            <a:ext cx="1638300" cy="1638300"/>
          </a:xfrm>
        </p:spPr>
        <p:txBody>
          <a:bodyPr/>
          <a:lstStyle/>
          <a:p>
            <a:endParaRPr lang="en-US"/>
          </a:p>
        </p:txBody>
      </p:sp>
      <p:sp>
        <p:nvSpPr>
          <p:cNvPr id="20" name="Picture Placeholder 6">
            <a:extLst>
              <a:ext uri="{FF2B5EF4-FFF2-40B4-BE49-F238E27FC236}">
                <a16:creationId xmlns:a16="http://schemas.microsoft.com/office/drawing/2014/main" id="{FF5E8E2B-069D-45E7-9360-55B69D9F6E2A}"/>
              </a:ext>
            </a:extLst>
          </p:cNvPr>
          <p:cNvSpPr>
            <a:spLocks noGrp="1"/>
          </p:cNvSpPr>
          <p:nvPr>
            <p:ph type="pic" sz="quarter" idx="19"/>
          </p:nvPr>
        </p:nvSpPr>
        <p:spPr>
          <a:xfrm>
            <a:off x="5276850" y="2006600"/>
            <a:ext cx="1638300" cy="1638300"/>
          </a:xfrm>
        </p:spPr>
        <p:txBody>
          <a:bodyPr/>
          <a:lstStyle/>
          <a:p>
            <a:endParaRPr lang="en-US"/>
          </a:p>
        </p:txBody>
      </p:sp>
      <p:sp>
        <p:nvSpPr>
          <p:cNvPr id="27" name="Text Placeholder 16">
            <a:extLst>
              <a:ext uri="{FF2B5EF4-FFF2-40B4-BE49-F238E27FC236}">
                <a16:creationId xmlns:a16="http://schemas.microsoft.com/office/drawing/2014/main" id="{3B449CA5-DA92-4EB5-9405-9195207B8C4B}"/>
              </a:ext>
            </a:extLst>
          </p:cNvPr>
          <p:cNvSpPr>
            <a:spLocks noGrp="1"/>
          </p:cNvSpPr>
          <p:nvPr>
            <p:ph type="body" sz="quarter" idx="12"/>
          </p:nvPr>
        </p:nvSpPr>
        <p:spPr>
          <a:xfrm>
            <a:off x="838200" y="4313065"/>
            <a:ext cx="3390900" cy="1859135"/>
          </a:xfrm>
        </p:spPr>
        <p:txBody>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28" name="Text Placeholder 16">
            <a:extLst>
              <a:ext uri="{FF2B5EF4-FFF2-40B4-BE49-F238E27FC236}">
                <a16:creationId xmlns:a16="http://schemas.microsoft.com/office/drawing/2014/main" id="{34146ABF-1F6F-4EDD-BC91-961EE1229A95}"/>
              </a:ext>
            </a:extLst>
          </p:cNvPr>
          <p:cNvSpPr>
            <a:spLocks noGrp="1"/>
          </p:cNvSpPr>
          <p:nvPr>
            <p:ph type="body" sz="quarter" idx="14" hasCustomPrompt="1"/>
          </p:nvPr>
        </p:nvSpPr>
        <p:spPr>
          <a:xfrm>
            <a:off x="838200" y="3821287"/>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9" name="Text Placeholder 16">
            <a:extLst>
              <a:ext uri="{FF2B5EF4-FFF2-40B4-BE49-F238E27FC236}">
                <a16:creationId xmlns:a16="http://schemas.microsoft.com/office/drawing/2014/main" id="{EE4470FE-1263-418F-BF73-F84BEDBFEF7A}"/>
              </a:ext>
            </a:extLst>
          </p:cNvPr>
          <p:cNvSpPr>
            <a:spLocks noGrp="1"/>
          </p:cNvSpPr>
          <p:nvPr>
            <p:ph type="body" sz="quarter" idx="20"/>
          </p:nvPr>
        </p:nvSpPr>
        <p:spPr>
          <a:xfrm>
            <a:off x="4457700" y="4313065"/>
            <a:ext cx="3276600" cy="1859135"/>
          </a:xfrm>
        </p:spPr>
        <p:txBody>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0" name="Text Placeholder 16">
            <a:extLst>
              <a:ext uri="{FF2B5EF4-FFF2-40B4-BE49-F238E27FC236}">
                <a16:creationId xmlns:a16="http://schemas.microsoft.com/office/drawing/2014/main" id="{20DF23EE-294C-4411-ACF3-05450BED07A8}"/>
              </a:ext>
            </a:extLst>
          </p:cNvPr>
          <p:cNvSpPr>
            <a:spLocks noGrp="1"/>
          </p:cNvSpPr>
          <p:nvPr>
            <p:ph type="body" sz="quarter" idx="21" hasCustomPrompt="1"/>
          </p:nvPr>
        </p:nvSpPr>
        <p:spPr>
          <a:xfrm>
            <a:off x="4457700" y="3821287"/>
            <a:ext cx="32766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Tree>
    <p:extLst>
      <p:ext uri="{BB962C8B-B14F-4D97-AF65-F5344CB8AC3E}">
        <p14:creationId xmlns:p14="http://schemas.microsoft.com/office/powerpoint/2010/main" val="48808495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Quot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983174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rot="16200000">
            <a:off x="120542" y="-120543"/>
            <a:ext cx="5870603" cy="6111686"/>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3">
              <a:alpha val="15000"/>
            </a:schemeClr>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38" name="Text Placeholder 16">
            <a:extLst>
              <a:ext uri="{FF2B5EF4-FFF2-40B4-BE49-F238E27FC236}">
                <a16:creationId xmlns:a16="http://schemas.microsoft.com/office/drawing/2014/main" id="{08A9C4CC-BE26-4895-BC3D-9615B6B22DE6}"/>
              </a:ext>
            </a:extLst>
          </p:cNvPr>
          <p:cNvSpPr>
            <a:spLocks noGrp="1"/>
          </p:cNvSpPr>
          <p:nvPr>
            <p:ph type="body" sz="quarter" idx="14" hasCustomPrompt="1"/>
          </p:nvPr>
        </p:nvSpPr>
        <p:spPr>
          <a:xfrm>
            <a:off x="2705100" y="5307186"/>
            <a:ext cx="8648700" cy="438293"/>
          </a:xfrm>
        </p:spPr>
        <p:txBody>
          <a:bodyPr>
            <a:noAutofit/>
          </a:bodyPr>
          <a:lstStyle>
            <a:lvl1pPr marL="0" indent="0" algn="r">
              <a:buNone/>
              <a:defRPr sz="1600">
                <a:solidFill>
                  <a:schemeClr val="accent3"/>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Author</a:t>
            </a:r>
          </a:p>
        </p:txBody>
      </p:sp>
      <p:sp>
        <p:nvSpPr>
          <p:cNvPr id="3" name="TextBox 2">
            <a:extLst>
              <a:ext uri="{FF2B5EF4-FFF2-40B4-BE49-F238E27FC236}">
                <a16:creationId xmlns:a16="http://schemas.microsoft.com/office/drawing/2014/main" id="{C0DD6E0F-FAD1-48FA-8992-7706F27E3366}"/>
              </a:ext>
            </a:extLst>
          </p:cNvPr>
          <p:cNvSpPr txBox="1"/>
          <p:nvPr userDrawn="1"/>
        </p:nvSpPr>
        <p:spPr>
          <a:xfrm>
            <a:off x="891988" y="392509"/>
            <a:ext cx="1386840" cy="2215991"/>
          </a:xfrm>
          <a:prstGeom prst="rect">
            <a:avLst/>
          </a:prstGeom>
          <a:noFill/>
        </p:spPr>
        <p:txBody>
          <a:bodyPr wrap="square" rtlCol="0">
            <a:spAutoFit/>
          </a:bodyPr>
          <a:lstStyle/>
          <a:p>
            <a:r>
              <a:rPr lang="en-US" sz="13800" b="1">
                <a:solidFill>
                  <a:schemeClr val="accent2"/>
                </a:solidFill>
                <a:latin typeface="Arial" panose="020B0604020202020204" pitchFamily="34" charset="0"/>
                <a:cs typeface="Arial" panose="020B0604020202020204" pitchFamily="34" charset="0"/>
              </a:rPr>
              <a:t>“</a:t>
            </a:r>
          </a:p>
        </p:txBody>
      </p:sp>
      <p:sp>
        <p:nvSpPr>
          <p:cNvPr id="6" name="Text Placeholder 5">
            <a:extLst>
              <a:ext uri="{FF2B5EF4-FFF2-40B4-BE49-F238E27FC236}">
                <a16:creationId xmlns:a16="http://schemas.microsoft.com/office/drawing/2014/main" id="{A6047EF4-41C3-46AC-8EB5-33D2AB91A4A9}"/>
              </a:ext>
            </a:extLst>
          </p:cNvPr>
          <p:cNvSpPr>
            <a:spLocks noGrp="1"/>
          </p:cNvSpPr>
          <p:nvPr>
            <p:ph type="body" sz="quarter" idx="15" hasCustomPrompt="1"/>
          </p:nvPr>
        </p:nvSpPr>
        <p:spPr>
          <a:xfrm>
            <a:off x="2705100" y="1500505"/>
            <a:ext cx="8648700" cy="2911475"/>
          </a:xfrm>
        </p:spPr>
        <p:txBody>
          <a:bodyPr>
            <a:noAutofit/>
          </a:bodyPr>
          <a:lstStyle>
            <a:lvl1pPr marL="0" indent="0">
              <a:buNone/>
              <a:defRPr sz="2400"/>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err="1"/>
              <a:t>Vivamus</a:t>
            </a:r>
            <a:r>
              <a:rPr lang="en-US"/>
              <a:t> </a:t>
            </a:r>
            <a:r>
              <a:rPr lang="en-US" err="1"/>
              <a:t>pretium</a:t>
            </a:r>
            <a:r>
              <a:rPr lang="en-US"/>
              <a:t> </a:t>
            </a:r>
            <a:r>
              <a:rPr lang="en-US" err="1"/>
              <a:t>auctor</a:t>
            </a:r>
            <a:r>
              <a:rPr lang="en-US"/>
              <a:t> ipsum, </a:t>
            </a:r>
            <a:r>
              <a:rPr lang="en-US" err="1"/>
              <a:t>nec</a:t>
            </a:r>
            <a:r>
              <a:rPr lang="en-US"/>
              <a:t> </a:t>
            </a:r>
            <a:r>
              <a:rPr lang="en-US" err="1"/>
              <a:t>vulputate</a:t>
            </a:r>
            <a:r>
              <a:rPr lang="en-US"/>
              <a:t> </a:t>
            </a:r>
            <a:r>
              <a:rPr lang="en-US" err="1"/>
              <a:t>quam</a:t>
            </a:r>
            <a:r>
              <a:rPr lang="en-US"/>
              <a:t> </a:t>
            </a:r>
            <a:r>
              <a:rPr lang="en-US" err="1"/>
              <a:t>tempor</a:t>
            </a:r>
            <a:r>
              <a:rPr lang="en-US"/>
              <a:t> </a:t>
            </a:r>
            <a:r>
              <a:rPr lang="en-US" err="1"/>
              <a:t>nec</a:t>
            </a:r>
            <a:r>
              <a:rPr lang="en-US"/>
              <a:t>. Maecenas a </a:t>
            </a:r>
            <a:r>
              <a:rPr lang="en-US" err="1"/>
              <a:t>nunc</a:t>
            </a:r>
            <a:r>
              <a:rPr lang="en-US"/>
              <a:t> </a:t>
            </a:r>
            <a:r>
              <a:rPr lang="en-US" err="1"/>
              <a:t>ut</a:t>
            </a:r>
            <a:r>
              <a:rPr lang="en-US"/>
              <a:t> </a:t>
            </a:r>
            <a:r>
              <a:rPr lang="en-US" err="1"/>
              <a:t>lacus</a:t>
            </a:r>
            <a:r>
              <a:rPr lang="en-US"/>
              <a:t> cursus </a:t>
            </a:r>
            <a:r>
              <a:rPr lang="en-US" err="1"/>
              <a:t>tristique</a:t>
            </a:r>
            <a:r>
              <a:rPr lang="en-US"/>
              <a:t> non </a:t>
            </a:r>
            <a:r>
              <a:rPr lang="en-US" err="1"/>
              <a:t>non</a:t>
            </a:r>
            <a:r>
              <a:rPr lang="en-US"/>
              <a:t> </a:t>
            </a:r>
            <a:r>
              <a:rPr lang="en-US" err="1"/>
              <a:t>lacus</a:t>
            </a:r>
            <a:r>
              <a:rPr lang="en-US"/>
              <a:t>. </a:t>
            </a:r>
            <a:r>
              <a:rPr lang="en-US" err="1"/>
              <a:t>Aenean</a:t>
            </a:r>
            <a:r>
              <a:rPr lang="en-US"/>
              <a:t> sit </a:t>
            </a:r>
            <a:r>
              <a:rPr lang="en-US" err="1"/>
              <a:t>amet</a:t>
            </a:r>
            <a:r>
              <a:rPr lang="en-US"/>
              <a:t> lorem sed dui </a:t>
            </a:r>
            <a:r>
              <a:rPr lang="en-US" err="1"/>
              <a:t>egestas</a:t>
            </a:r>
            <a:r>
              <a:rPr lang="en-US"/>
              <a:t> </a:t>
            </a:r>
            <a:r>
              <a:rPr lang="en-US" err="1"/>
              <a:t>molestie</a:t>
            </a:r>
            <a:r>
              <a:rPr lang="en-US"/>
              <a:t>. </a:t>
            </a:r>
            <a:r>
              <a:rPr lang="en-US" err="1"/>
              <a:t>Fusce</a:t>
            </a:r>
            <a:r>
              <a:rPr lang="en-US"/>
              <a:t> semper </a:t>
            </a:r>
            <a:r>
              <a:rPr lang="en-US" err="1"/>
              <a:t>tortor</a:t>
            </a:r>
            <a:r>
              <a:rPr lang="en-US"/>
              <a:t> </a:t>
            </a:r>
            <a:r>
              <a:rPr lang="en-US" err="1"/>
              <a:t>ut</a:t>
            </a:r>
            <a:r>
              <a:rPr lang="en-US"/>
              <a:t> </a:t>
            </a:r>
            <a:r>
              <a:rPr lang="en-US" err="1"/>
              <a:t>sem</a:t>
            </a:r>
            <a:r>
              <a:rPr lang="en-US"/>
              <a:t> cursus </a:t>
            </a:r>
            <a:r>
              <a:rPr lang="en-US" err="1"/>
              <a:t>volutpat</a:t>
            </a:r>
            <a:r>
              <a:rPr lang="en-US"/>
              <a:t>.</a:t>
            </a:r>
          </a:p>
        </p:txBody>
      </p:sp>
      <p:sp>
        <p:nvSpPr>
          <p:cNvPr id="25" name="TextBox 24">
            <a:extLst>
              <a:ext uri="{FF2B5EF4-FFF2-40B4-BE49-F238E27FC236}">
                <a16:creationId xmlns:a16="http://schemas.microsoft.com/office/drawing/2014/main" id="{1087F3AB-D7F7-4A06-914A-3AE71107C0F6}"/>
              </a:ext>
            </a:extLst>
          </p:cNvPr>
          <p:cNvSpPr txBox="1"/>
          <p:nvPr userDrawn="1"/>
        </p:nvSpPr>
        <p:spPr>
          <a:xfrm rot="10800000">
            <a:off x="10359736" y="3934545"/>
            <a:ext cx="1386840" cy="2215991"/>
          </a:xfrm>
          <a:prstGeom prst="rect">
            <a:avLst/>
          </a:prstGeom>
          <a:noFill/>
        </p:spPr>
        <p:txBody>
          <a:bodyPr wrap="square" rtlCol="0">
            <a:spAutoFit/>
          </a:bodyPr>
          <a:lstStyle/>
          <a:p>
            <a:r>
              <a:rPr lang="en-US" sz="13800" b="1">
                <a:solidFill>
                  <a:schemeClr val="accent2"/>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61338056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7_Our Story 2">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2636991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a:latin typeface="Poppins ExtraBold" panose="00000900000000000000" pitchFamily="2" charset="0"/>
              <a:ea typeface="+mj-ea"/>
              <a:cs typeface="+mj-cs"/>
              <a:sym typeface="Poppins ExtraBold" panose="00000900000000000000" pitchFamily="2" charset="0"/>
            </a:endParaRPr>
          </a:p>
        </p:txBody>
      </p:sp>
      <p:sp>
        <p:nvSpPr>
          <p:cNvPr id="43" name="Rectangle 42">
            <a:extLst>
              <a:ext uri="{FF2B5EF4-FFF2-40B4-BE49-F238E27FC236}">
                <a16:creationId xmlns:a16="http://schemas.microsoft.com/office/drawing/2014/main" id="{98848DF4-74E0-42EC-BE79-4CB4CDEC1717}"/>
              </a:ext>
            </a:extLst>
          </p:cNvPr>
          <p:cNvSpPr/>
          <p:nvPr userDrawn="1"/>
        </p:nvSpPr>
        <p:spPr>
          <a:xfrm>
            <a:off x="-1" y="0"/>
            <a:ext cx="4971143" cy="6858000"/>
          </a:xfrm>
          <a:prstGeom prst="rect">
            <a:avLst/>
          </a:prstGeom>
          <a:gradFill>
            <a:gsLst>
              <a:gs pos="0">
                <a:schemeClr val="accent5">
                  <a:lumMod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BBD28020-CB11-4020-9334-84B4904674F7}"/>
              </a:ext>
            </a:extLst>
          </p:cNvPr>
          <p:cNvSpPr/>
          <p:nvPr userDrawn="1"/>
        </p:nvSpPr>
        <p:spPr>
          <a:xfrm>
            <a:off x="4457700" y="0"/>
            <a:ext cx="50292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lvl1pPr>
              <a:defRPr>
                <a:solidFill>
                  <a:schemeClr val="bg1"/>
                </a:solidFill>
              </a:defRPr>
            </a:lvl1pPr>
          </a:lstStyle>
          <a:p>
            <a:fld id="{A1471D42-392E-4D14-982B-D9D765EA1509}" type="slidenum">
              <a:rPr lang="en-US" smtClean="0"/>
              <a:pPr/>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20">
            <a:extLst>
              <a:ext uri="{FF2B5EF4-FFF2-40B4-BE49-F238E27FC236}">
                <a16:creationId xmlns:a16="http://schemas.microsoft.com/office/drawing/2014/main" id="{80FC398A-D951-4440-BD74-C11F06328371}"/>
              </a:ext>
            </a:extLst>
          </p:cNvPr>
          <p:cNvSpPr>
            <a:spLocks noGrp="1"/>
          </p:cNvSpPr>
          <p:nvPr>
            <p:ph type="body" sz="quarter" idx="16" hasCustomPrompt="1"/>
          </p:nvPr>
        </p:nvSpPr>
        <p:spPr>
          <a:xfrm>
            <a:off x="838200" y="723899"/>
            <a:ext cx="3390900" cy="2723243"/>
          </a:xfrm>
        </p:spPr>
        <p:txBody>
          <a:bodyPr anchor="t">
            <a:noAutofit/>
          </a:bodyPr>
          <a:lstStyle>
            <a:lvl1pPr marL="0" indent="0">
              <a:buNone/>
              <a:defRPr sz="3200" b="1">
                <a:solidFill>
                  <a:schemeClr val="bg1"/>
                </a:solidFill>
              </a:defRPr>
            </a:lvl1pPr>
          </a:lstStyle>
          <a:p>
            <a:pPr lvl="0"/>
            <a:r>
              <a:rPr lang="en-US"/>
              <a:t>Title</a:t>
            </a:r>
          </a:p>
        </p:txBody>
      </p:sp>
      <p:sp>
        <p:nvSpPr>
          <p:cNvPr id="32" name="Picture Placeholder 31">
            <a:extLst>
              <a:ext uri="{FF2B5EF4-FFF2-40B4-BE49-F238E27FC236}">
                <a16:creationId xmlns:a16="http://schemas.microsoft.com/office/drawing/2014/main" id="{45838521-3A84-49F1-AD26-4C3192EBD1B7}"/>
              </a:ext>
            </a:extLst>
          </p:cNvPr>
          <p:cNvSpPr>
            <a:spLocks noGrp="1"/>
          </p:cNvSpPr>
          <p:nvPr>
            <p:ph type="pic" sz="quarter" idx="19"/>
          </p:nvPr>
        </p:nvSpPr>
        <p:spPr>
          <a:xfrm>
            <a:off x="5219700" y="3764644"/>
            <a:ext cx="1524000" cy="1524000"/>
          </a:xfrm>
        </p:spPr>
        <p:txBody>
          <a:bodyPr/>
          <a:lstStyle/>
          <a:p>
            <a:endParaRPr lang="en-US"/>
          </a:p>
        </p:txBody>
      </p:sp>
      <p:cxnSp>
        <p:nvCxnSpPr>
          <p:cNvPr id="11" name="Straight Connector 10">
            <a:extLst>
              <a:ext uri="{FF2B5EF4-FFF2-40B4-BE49-F238E27FC236}">
                <a16:creationId xmlns:a16="http://schemas.microsoft.com/office/drawing/2014/main" id="{C2201BE5-3F99-48C1-BBBD-D79A641EAD20}"/>
              </a:ext>
            </a:extLst>
          </p:cNvPr>
          <p:cNvCxnSpPr>
            <a:cxnSpLocks/>
          </p:cNvCxnSpPr>
          <p:nvPr userDrawn="1"/>
        </p:nvCxnSpPr>
        <p:spPr>
          <a:xfrm flipH="1">
            <a:off x="5219700" y="3571415"/>
            <a:ext cx="355418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Text Placeholder 20">
            <a:extLst>
              <a:ext uri="{FF2B5EF4-FFF2-40B4-BE49-F238E27FC236}">
                <a16:creationId xmlns:a16="http://schemas.microsoft.com/office/drawing/2014/main" id="{948741A6-2BFC-4770-9DCE-F80BD2A66B29}"/>
              </a:ext>
            </a:extLst>
          </p:cNvPr>
          <p:cNvSpPr>
            <a:spLocks noGrp="1"/>
          </p:cNvSpPr>
          <p:nvPr>
            <p:ph type="body" sz="quarter" idx="15" hasCustomPrompt="1"/>
          </p:nvPr>
        </p:nvSpPr>
        <p:spPr>
          <a:xfrm>
            <a:off x="5219700" y="1124857"/>
            <a:ext cx="3505200" cy="624116"/>
          </a:xfrm>
        </p:spPr>
        <p:txBody>
          <a:bodyPr lIns="0" anchor="ctr">
            <a:noAutofit/>
          </a:bodyPr>
          <a:lstStyle>
            <a:lvl1pPr marL="0" indent="0" algn="l">
              <a:buNone/>
              <a:defRPr sz="2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0</a:t>
            </a:r>
          </a:p>
        </p:txBody>
      </p:sp>
      <p:sp>
        <p:nvSpPr>
          <p:cNvPr id="31" name="Text Placeholder 20">
            <a:extLst>
              <a:ext uri="{FF2B5EF4-FFF2-40B4-BE49-F238E27FC236}">
                <a16:creationId xmlns:a16="http://schemas.microsoft.com/office/drawing/2014/main" id="{93A674FC-63C8-448C-8A63-A918B5893DA5}"/>
              </a:ext>
            </a:extLst>
          </p:cNvPr>
          <p:cNvSpPr>
            <a:spLocks noGrp="1"/>
          </p:cNvSpPr>
          <p:nvPr>
            <p:ph type="body" sz="quarter" idx="21" hasCustomPrompt="1"/>
          </p:nvPr>
        </p:nvSpPr>
        <p:spPr>
          <a:xfrm>
            <a:off x="5219700" y="1816420"/>
            <a:ext cx="3526971" cy="1434780"/>
          </a:xfrm>
        </p:spPr>
        <p:txBody>
          <a:bodyPr lIns="0" rIns="457200">
            <a:noAutofit/>
          </a:bodyPr>
          <a:lstStyle>
            <a:lvl1pPr marL="0" indent="0" algn="l">
              <a:buNone/>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Tree>
    <p:extLst>
      <p:ext uri="{BB962C8B-B14F-4D97-AF65-F5344CB8AC3E}">
        <p14:creationId xmlns:p14="http://schemas.microsoft.com/office/powerpoint/2010/main" val="205455933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_About Veic">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1253352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514BEF3-23E8-4358-917A-43097F295F2B}"/>
              </a:ext>
            </a:extLst>
          </p:cNvPr>
          <p:cNvSpPr/>
          <p:nvPr userDrawn="1"/>
        </p:nvSpPr>
        <p:spPr>
          <a:xfrm>
            <a:off x="1" y="1"/>
            <a:ext cx="12192000" cy="3327186"/>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4C48CBC-9FBB-43DF-BD4A-B3216FB008EC}"/>
              </a:ext>
            </a:extLst>
          </p:cNvPr>
          <p:cNvSpPr>
            <a:spLocks noGrp="1"/>
          </p:cNvSpPr>
          <p:nvPr>
            <p:ph type="title" hasCustomPrompt="1"/>
          </p:nvPr>
        </p:nvSpPr>
        <p:spPr>
          <a:xfrm>
            <a:off x="838200" y="719015"/>
            <a:ext cx="5143500" cy="2170182"/>
          </a:xfrm>
        </p:spPr>
        <p:txBody>
          <a:bodyPr anchor="ctr"/>
          <a:lstStyle>
            <a:lvl1pPr>
              <a:defRPr>
                <a:solidFill>
                  <a:schemeClr val="bg1"/>
                </a:solidFill>
              </a:defRPr>
            </a:lvl1pPr>
          </a:lstStyle>
          <a:p>
            <a:r>
              <a:rPr lang="en-US"/>
              <a:t>About VEIC</a:t>
            </a:r>
          </a:p>
        </p:txBody>
      </p:sp>
      <p:sp>
        <p:nvSpPr>
          <p:cNvPr id="3" name="Rectangle 2">
            <a:extLst>
              <a:ext uri="{FF2B5EF4-FFF2-40B4-BE49-F238E27FC236}">
                <a16:creationId xmlns:a16="http://schemas.microsoft.com/office/drawing/2014/main" id="{B16038B1-8613-4EFC-B764-165F64BECA97}"/>
              </a:ext>
            </a:extLst>
          </p:cNvPr>
          <p:cNvSpPr/>
          <p:nvPr userDrawn="1"/>
        </p:nvSpPr>
        <p:spPr>
          <a:xfrm>
            <a:off x="0" y="3265714"/>
            <a:ext cx="12192000" cy="3592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p>
            <a:fld id="{A1471D42-392E-4D14-982B-D9D765EA1509}" type="slidenum">
              <a:rPr lang="en-US" smtClean="0"/>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7" name="Freeform: Shape 16">
            <a:extLst>
              <a:ext uri="{FF2B5EF4-FFF2-40B4-BE49-F238E27FC236}">
                <a16:creationId xmlns:a16="http://schemas.microsoft.com/office/drawing/2014/main" id="{99476144-0D06-4648-9848-93F933A242CD}"/>
              </a:ext>
            </a:extLst>
          </p:cNvPr>
          <p:cNvSpPr/>
          <p:nvPr userDrawn="1"/>
        </p:nvSpPr>
        <p:spPr>
          <a:xfrm>
            <a:off x="10180784" y="3265715"/>
            <a:ext cx="2011216" cy="2093809"/>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19" name="Freeform: Shape 18">
            <a:extLst>
              <a:ext uri="{FF2B5EF4-FFF2-40B4-BE49-F238E27FC236}">
                <a16:creationId xmlns:a16="http://schemas.microsoft.com/office/drawing/2014/main" id="{CCCE6BA3-98F2-4BF8-914D-87F6CF58C587}"/>
              </a:ext>
            </a:extLst>
          </p:cNvPr>
          <p:cNvSpPr/>
          <p:nvPr userDrawn="1"/>
        </p:nvSpPr>
        <p:spPr>
          <a:xfrm>
            <a:off x="10181706" y="1224778"/>
            <a:ext cx="2010294" cy="2041065"/>
          </a:xfrm>
          <a:custGeom>
            <a:avLst/>
            <a:gdLst>
              <a:gd name="connsiteX0" fmla="*/ 2010294 w 2010294"/>
              <a:gd name="connsiteY0" fmla="*/ 0 h 2041065"/>
              <a:gd name="connsiteX1" fmla="*/ 2010294 w 2010294"/>
              <a:gd name="connsiteY1" fmla="*/ 787195 h 2041065"/>
              <a:gd name="connsiteX2" fmla="*/ 773983 w 2010294"/>
              <a:gd name="connsiteY2" fmla="*/ 1929650 h 2041065"/>
              <a:gd name="connsiteX3" fmla="*/ 768491 w 2010294"/>
              <a:gd name="connsiteY3" fmla="*/ 2041065 h 2041065"/>
              <a:gd name="connsiteX4" fmla="*/ 0 w 2010294"/>
              <a:gd name="connsiteY4" fmla="*/ 2041065 h 2041065"/>
              <a:gd name="connsiteX5" fmla="*/ 9462 w 2010294"/>
              <a:gd name="connsiteY5" fmla="*/ 1849156 h 2041065"/>
              <a:gd name="connsiteX6" fmla="*/ 2010294 w 2010294"/>
              <a:gd name="connsiteY6" fmla="*/ 0 h 2041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0294" h="2041065">
                <a:moveTo>
                  <a:pt x="2010294" y="0"/>
                </a:moveTo>
                <a:lnTo>
                  <a:pt x="2010294" y="787195"/>
                </a:lnTo>
                <a:cubicBezTo>
                  <a:pt x="1366622" y="787195"/>
                  <a:pt x="837597" y="1287990"/>
                  <a:pt x="773983" y="1929650"/>
                </a:cubicBezTo>
                <a:lnTo>
                  <a:pt x="768491" y="2041065"/>
                </a:lnTo>
                <a:lnTo>
                  <a:pt x="0" y="2041065"/>
                </a:lnTo>
                <a:lnTo>
                  <a:pt x="9462" y="1849156"/>
                </a:lnTo>
                <a:cubicBezTo>
                  <a:pt x="112456" y="810515"/>
                  <a:pt x="968950" y="0"/>
                  <a:pt x="2010294" y="0"/>
                </a:cubicBezTo>
                <a:close/>
              </a:path>
            </a:pathLst>
          </a:custGeom>
          <a:solidFill>
            <a:srgbClr val="FF9E18"/>
          </a:solidFill>
          <a:ln w="9264" cap="flat">
            <a:noFill/>
            <a:prstDash val="solid"/>
            <a:miter/>
          </a:ln>
        </p:spPr>
        <p:txBody>
          <a:bodyPr wrap="square" rtlCol="0" anchor="ctr">
            <a:noAutofit/>
          </a:bodyPr>
          <a:lstStyle/>
          <a:p>
            <a:endParaRPr lang="en-US"/>
          </a:p>
        </p:txBody>
      </p:sp>
      <p:sp>
        <p:nvSpPr>
          <p:cNvPr id="21" name="Text Placeholder 20">
            <a:extLst>
              <a:ext uri="{FF2B5EF4-FFF2-40B4-BE49-F238E27FC236}">
                <a16:creationId xmlns:a16="http://schemas.microsoft.com/office/drawing/2014/main" id="{DDA99C94-57EF-4B02-9671-725FC468AD7B}"/>
              </a:ext>
            </a:extLst>
          </p:cNvPr>
          <p:cNvSpPr>
            <a:spLocks noGrp="1"/>
          </p:cNvSpPr>
          <p:nvPr>
            <p:ph type="body" sz="quarter" idx="13" hasCustomPrompt="1"/>
          </p:nvPr>
        </p:nvSpPr>
        <p:spPr>
          <a:xfrm>
            <a:off x="838200" y="3603625"/>
            <a:ext cx="3064835" cy="2568575"/>
          </a:xfrm>
        </p:spPr>
        <p:txBody>
          <a:bodyPr rIns="457200">
            <a:noAutofit/>
          </a:bodyPr>
          <a:lstStyle>
            <a:lvl1pPr marL="0" marR="0" indent="0" algn="l" defTabSz="914400" rtl="0" eaLnBrk="1" fontAlgn="auto" latinLnBrk="0" hangingPunct="1">
              <a:lnSpc>
                <a:spcPct val="130000"/>
              </a:lnSpc>
              <a:spcBef>
                <a:spcPts val="1200"/>
              </a:spcBef>
              <a:spcAft>
                <a:spcPts val="0"/>
              </a:spcAft>
              <a:buClrTx/>
              <a:buSzTx/>
              <a:buFont typeface="Arial" panose="020B0604020202020204" pitchFamily="34" charset="0"/>
              <a:buNone/>
              <a:tabLst/>
              <a:defRPr sz="2000">
                <a:solidFill>
                  <a:schemeClr val="accent2"/>
                </a:solidFill>
                <a:latin typeface="+mj-lt"/>
              </a:defRPr>
            </a:lvl1pPr>
            <a:lvl2pPr>
              <a:defRPr sz="2000">
                <a:solidFill>
                  <a:schemeClr val="accent2"/>
                </a:solidFill>
                <a:latin typeface="+mj-lt"/>
              </a:defRPr>
            </a:lvl2pPr>
            <a:lvl3pPr>
              <a:defRPr sz="2000">
                <a:solidFill>
                  <a:schemeClr val="accent2"/>
                </a:solidFill>
                <a:latin typeface="+mj-lt"/>
              </a:defRPr>
            </a:lvl3pPr>
            <a:lvl4pPr>
              <a:defRPr sz="2000">
                <a:solidFill>
                  <a:schemeClr val="accent2"/>
                </a:solidFill>
                <a:latin typeface="+mj-lt"/>
              </a:defRPr>
            </a:lvl4pPr>
            <a:lvl5pPr>
              <a:defRPr sz="2000">
                <a:solidFill>
                  <a:schemeClr val="accent2"/>
                </a:solidFill>
                <a:latin typeface="+mj-lt"/>
              </a:defRPr>
            </a:lvl5pPr>
          </a:lstStyle>
          <a:p>
            <a:pPr marL="0" marR="0" lvl="0" indent="0" algn="l" defTabSz="914400" rtl="0" eaLnBrk="1" fontAlgn="auto" latinLnBrk="0" hangingPunct="1">
              <a:lnSpc>
                <a:spcPct val="130000"/>
              </a:lnSpc>
              <a:spcBef>
                <a:spcPts val="1200"/>
              </a:spcBef>
              <a:spcAft>
                <a:spcPts val="0"/>
              </a:spcAft>
              <a:buClrTx/>
              <a:buSzTx/>
              <a:buFont typeface="Arial" panose="020B0604020202020204" pitchFamily="34" charset="0"/>
              <a:buNone/>
              <a:tabLst/>
              <a:defRPr/>
            </a:pPr>
            <a:r>
              <a:rPr lang="en-US"/>
              <a:t>We are on a mission to generate the energy solutions </a:t>
            </a:r>
            <a:br>
              <a:rPr lang="en-US"/>
            </a:br>
            <a:r>
              <a:rPr lang="en-US"/>
              <a:t>the world needs.</a:t>
            </a:r>
          </a:p>
          <a:p>
            <a:pPr lvl="0"/>
            <a:endParaRPr lang="en-US"/>
          </a:p>
        </p:txBody>
      </p:sp>
      <p:sp>
        <p:nvSpPr>
          <p:cNvPr id="24" name="Text Placeholder 20">
            <a:extLst>
              <a:ext uri="{FF2B5EF4-FFF2-40B4-BE49-F238E27FC236}">
                <a16:creationId xmlns:a16="http://schemas.microsoft.com/office/drawing/2014/main" id="{3C53C450-2C06-4D6C-9F56-E2B9598D72CC}"/>
              </a:ext>
            </a:extLst>
          </p:cNvPr>
          <p:cNvSpPr>
            <a:spLocks noGrp="1"/>
          </p:cNvSpPr>
          <p:nvPr>
            <p:ph type="body" sz="quarter" idx="14" hasCustomPrompt="1"/>
          </p:nvPr>
        </p:nvSpPr>
        <p:spPr>
          <a:xfrm>
            <a:off x="4125433" y="3603625"/>
            <a:ext cx="7783031" cy="2568575"/>
          </a:xfrm>
        </p:spPr>
        <p:txBody>
          <a:bodyPr rIns="457200">
            <a:no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fontAlgn="base"/>
            <a:r>
              <a:rPr lang="en-US" sz="2000"/>
              <a:t>VEIC works with organizations to create immediate and lasting change. Since 1986, we’ve served as an objective partner for our clients as they navigate complex energy challenges. With expertise in energy efficiency, building and transportation electrification, and new approaches for a clean and flexible grid, we bring solutions to the market that meet your goals.</a:t>
            </a:r>
          </a:p>
          <a:p>
            <a:pPr lvl="3"/>
            <a:endParaRPr lang="en-US"/>
          </a:p>
        </p:txBody>
      </p:sp>
    </p:spTree>
    <p:extLst>
      <p:ext uri="{BB962C8B-B14F-4D97-AF65-F5344CB8AC3E}">
        <p14:creationId xmlns:p14="http://schemas.microsoft.com/office/powerpoint/2010/main" val="69810838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_About Veic">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1253352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3" name="Rectangle 2">
            <a:extLst>
              <a:ext uri="{FF2B5EF4-FFF2-40B4-BE49-F238E27FC236}">
                <a16:creationId xmlns:a16="http://schemas.microsoft.com/office/drawing/2014/main" id="{B16038B1-8613-4EFC-B764-165F64BECA97}"/>
              </a:ext>
            </a:extLst>
          </p:cNvPr>
          <p:cNvSpPr/>
          <p:nvPr userDrawn="1"/>
        </p:nvSpPr>
        <p:spPr>
          <a:xfrm>
            <a:off x="0" y="3265714"/>
            <a:ext cx="12192000" cy="3592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p>
            <a:fld id="{A1471D42-392E-4D14-982B-D9D765EA1509}" type="slidenum">
              <a:rPr lang="en-US" smtClean="0"/>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7" name="Freeform: Shape 16">
            <a:extLst>
              <a:ext uri="{FF2B5EF4-FFF2-40B4-BE49-F238E27FC236}">
                <a16:creationId xmlns:a16="http://schemas.microsoft.com/office/drawing/2014/main" id="{99476144-0D06-4648-9848-93F933A242CD}"/>
              </a:ext>
            </a:extLst>
          </p:cNvPr>
          <p:cNvSpPr/>
          <p:nvPr userDrawn="1"/>
        </p:nvSpPr>
        <p:spPr>
          <a:xfrm>
            <a:off x="10180784" y="3265715"/>
            <a:ext cx="2011216" cy="2093809"/>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21" name="Text Placeholder 20">
            <a:extLst>
              <a:ext uri="{FF2B5EF4-FFF2-40B4-BE49-F238E27FC236}">
                <a16:creationId xmlns:a16="http://schemas.microsoft.com/office/drawing/2014/main" id="{DDA99C94-57EF-4B02-9671-725FC468AD7B}"/>
              </a:ext>
            </a:extLst>
          </p:cNvPr>
          <p:cNvSpPr>
            <a:spLocks noGrp="1"/>
          </p:cNvSpPr>
          <p:nvPr>
            <p:ph type="body" sz="quarter" idx="13" hasCustomPrompt="1"/>
          </p:nvPr>
        </p:nvSpPr>
        <p:spPr>
          <a:xfrm>
            <a:off x="838200" y="3603625"/>
            <a:ext cx="3064835" cy="2568575"/>
          </a:xfrm>
        </p:spPr>
        <p:txBody>
          <a:bodyPr rIns="457200">
            <a:noAutofit/>
          </a:bodyPr>
          <a:lstStyle>
            <a:lvl1pPr marL="0" marR="0" indent="0" algn="l" defTabSz="914400" rtl="0" eaLnBrk="1" fontAlgn="auto" latinLnBrk="0" hangingPunct="1">
              <a:lnSpc>
                <a:spcPct val="130000"/>
              </a:lnSpc>
              <a:spcBef>
                <a:spcPts val="1200"/>
              </a:spcBef>
              <a:spcAft>
                <a:spcPts val="0"/>
              </a:spcAft>
              <a:buClrTx/>
              <a:buSzTx/>
              <a:buFont typeface="Arial" panose="020B0604020202020204" pitchFamily="34" charset="0"/>
              <a:buNone/>
              <a:tabLst/>
              <a:defRPr sz="2000">
                <a:solidFill>
                  <a:schemeClr val="accent2"/>
                </a:solidFill>
                <a:latin typeface="+mj-lt"/>
              </a:defRPr>
            </a:lvl1pPr>
            <a:lvl2pPr>
              <a:defRPr sz="2000">
                <a:solidFill>
                  <a:schemeClr val="accent2"/>
                </a:solidFill>
                <a:latin typeface="+mj-lt"/>
              </a:defRPr>
            </a:lvl2pPr>
            <a:lvl3pPr>
              <a:defRPr sz="2000">
                <a:solidFill>
                  <a:schemeClr val="accent2"/>
                </a:solidFill>
                <a:latin typeface="+mj-lt"/>
              </a:defRPr>
            </a:lvl3pPr>
            <a:lvl4pPr>
              <a:defRPr sz="2000">
                <a:solidFill>
                  <a:schemeClr val="accent2"/>
                </a:solidFill>
                <a:latin typeface="+mj-lt"/>
              </a:defRPr>
            </a:lvl4pPr>
            <a:lvl5pPr>
              <a:defRPr sz="2000">
                <a:solidFill>
                  <a:schemeClr val="accent2"/>
                </a:solidFill>
                <a:latin typeface="+mj-lt"/>
              </a:defRPr>
            </a:lvl5pPr>
          </a:lstStyle>
          <a:p>
            <a:pPr marL="0" marR="0" lvl="0" indent="0" algn="l" defTabSz="914400" rtl="0" eaLnBrk="1" fontAlgn="auto" latinLnBrk="0" hangingPunct="1">
              <a:lnSpc>
                <a:spcPct val="130000"/>
              </a:lnSpc>
              <a:spcBef>
                <a:spcPts val="1200"/>
              </a:spcBef>
              <a:spcAft>
                <a:spcPts val="0"/>
              </a:spcAft>
              <a:buClrTx/>
              <a:buSzTx/>
              <a:buFont typeface="Arial" panose="020B0604020202020204" pitchFamily="34" charset="0"/>
              <a:buNone/>
              <a:tabLst/>
              <a:defRPr/>
            </a:pPr>
            <a:r>
              <a:rPr lang="en-US"/>
              <a:t>We are on a mission to generate the energy solutions </a:t>
            </a:r>
            <a:br>
              <a:rPr lang="en-US"/>
            </a:br>
            <a:r>
              <a:rPr lang="en-US"/>
              <a:t>the world needs.</a:t>
            </a:r>
          </a:p>
          <a:p>
            <a:pPr lvl="0"/>
            <a:endParaRPr lang="en-US"/>
          </a:p>
        </p:txBody>
      </p:sp>
      <p:sp>
        <p:nvSpPr>
          <p:cNvPr id="24" name="Text Placeholder 20">
            <a:extLst>
              <a:ext uri="{FF2B5EF4-FFF2-40B4-BE49-F238E27FC236}">
                <a16:creationId xmlns:a16="http://schemas.microsoft.com/office/drawing/2014/main" id="{3C53C450-2C06-4D6C-9F56-E2B9598D72CC}"/>
              </a:ext>
            </a:extLst>
          </p:cNvPr>
          <p:cNvSpPr>
            <a:spLocks noGrp="1"/>
          </p:cNvSpPr>
          <p:nvPr>
            <p:ph type="body" sz="quarter" idx="14" hasCustomPrompt="1"/>
          </p:nvPr>
        </p:nvSpPr>
        <p:spPr>
          <a:xfrm>
            <a:off x="4125433" y="3603625"/>
            <a:ext cx="7783031" cy="2568575"/>
          </a:xfrm>
        </p:spPr>
        <p:txBody>
          <a:bodyPr rIns="457200">
            <a:no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fontAlgn="base"/>
            <a:r>
              <a:rPr lang="en-US" sz="2000"/>
              <a:t>VEIC works with organizations to create immediate and lasting change. Since 1986, we’ve served as an objective partner for our clients as they navigate complex energy challenges. With expertise in energy efficiency, building and transportation electrification, and new approaches for a clean and flexible grid, we bring solutions to the market that meet your goals.</a:t>
            </a:r>
          </a:p>
          <a:p>
            <a:pPr lvl="3"/>
            <a:endParaRPr lang="en-US"/>
          </a:p>
        </p:txBody>
      </p:sp>
    </p:spTree>
    <p:extLst>
      <p:ext uri="{BB962C8B-B14F-4D97-AF65-F5344CB8AC3E}">
        <p14:creationId xmlns:p14="http://schemas.microsoft.com/office/powerpoint/2010/main" val="2044007238"/>
      </p:ext>
    </p:extLst>
  </p:cSld>
  <p:clrMapOvr>
    <a:overrideClrMapping bg1="lt1" tx1="dk1" bg2="lt2" tx2="dk2" accent1="accent1" accent2="accent2" accent3="accent3" accent4="accent4" accent5="accent5" accent6="accent6" hlink="hlink" folHlink="folHlink"/>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About Veic">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1253352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p>
            <a:fld id="{A1471D42-392E-4D14-982B-D9D765EA1509}" type="slidenum">
              <a:rPr lang="en-US" smtClean="0"/>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7" name="Freeform: Shape 16">
            <a:extLst>
              <a:ext uri="{FF2B5EF4-FFF2-40B4-BE49-F238E27FC236}">
                <a16:creationId xmlns:a16="http://schemas.microsoft.com/office/drawing/2014/main" id="{99476144-0D06-4648-9848-93F933A242CD}"/>
              </a:ext>
            </a:extLst>
          </p:cNvPr>
          <p:cNvSpPr/>
          <p:nvPr userDrawn="1"/>
        </p:nvSpPr>
        <p:spPr>
          <a:xfrm>
            <a:off x="10180784" y="3265715"/>
            <a:ext cx="2011216" cy="2093809"/>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3423048380"/>
      </p:ext>
    </p:extLst>
  </p:cSld>
  <p:clrMapOvr>
    <a:overrideClrMapping bg1="lt1" tx1="dk1" bg2="lt2" tx2="dk2" accent1="accent1" accent2="accent2" accent3="accent3" accent4="accent4" accent5="accent5" accent6="accent6" hlink="hlink" folHlink="folHlink"/>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_Our Story 2">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330952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a:latin typeface="Poppins ExtraBold" panose="00000900000000000000" pitchFamily="2" charset="0"/>
              <a:ea typeface="+mj-ea"/>
              <a:cs typeface="+mj-cs"/>
              <a:sym typeface="Poppins ExtraBold" panose="00000900000000000000" pitchFamily="2" charset="0"/>
            </a:endParaRPr>
          </a:p>
        </p:txBody>
      </p:sp>
      <p:sp>
        <p:nvSpPr>
          <p:cNvPr id="38" name="Rectangle 37">
            <a:extLst>
              <a:ext uri="{FF2B5EF4-FFF2-40B4-BE49-F238E27FC236}">
                <a16:creationId xmlns:a16="http://schemas.microsoft.com/office/drawing/2014/main" id="{BBD28020-CB11-4020-9334-84B4904674F7}"/>
              </a:ext>
            </a:extLst>
          </p:cNvPr>
          <p:cNvSpPr/>
          <p:nvPr userDrawn="1"/>
        </p:nvSpPr>
        <p:spPr>
          <a:xfrm>
            <a:off x="0" y="0"/>
            <a:ext cx="5762171" cy="6858000"/>
          </a:xfrm>
          <a:prstGeom prst="rect">
            <a:avLst/>
          </a:prstGeom>
          <a:solidFill>
            <a:srgbClr val="004B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lvl1pPr>
              <a:defRPr>
                <a:solidFill>
                  <a:schemeClr val="bg1"/>
                </a:solidFill>
              </a:defRPr>
            </a:lvl1pPr>
          </a:lstStyle>
          <a:p>
            <a:fld id="{A1471D42-392E-4D14-982B-D9D765EA1509}" type="slidenum">
              <a:rPr lang="en-US" smtClean="0"/>
              <a:pPr/>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20">
            <a:extLst>
              <a:ext uri="{FF2B5EF4-FFF2-40B4-BE49-F238E27FC236}">
                <a16:creationId xmlns:a16="http://schemas.microsoft.com/office/drawing/2014/main" id="{80FC398A-D951-4440-BD74-C11F06328371}"/>
              </a:ext>
            </a:extLst>
          </p:cNvPr>
          <p:cNvSpPr>
            <a:spLocks noGrp="1"/>
          </p:cNvSpPr>
          <p:nvPr>
            <p:ph type="body" sz="quarter" idx="16" hasCustomPrompt="1"/>
          </p:nvPr>
        </p:nvSpPr>
        <p:spPr>
          <a:xfrm>
            <a:off x="838200" y="723899"/>
            <a:ext cx="4379686" cy="2839358"/>
          </a:xfrm>
        </p:spPr>
        <p:txBody>
          <a:bodyPr anchor="t">
            <a:noAutofit/>
          </a:bodyPr>
          <a:lstStyle>
            <a:lvl1pPr marL="0" indent="0">
              <a:buNone/>
              <a:defRPr sz="3200" b="1">
                <a:solidFill>
                  <a:schemeClr val="bg1"/>
                </a:solidFill>
              </a:defRPr>
            </a:lvl1pPr>
          </a:lstStyle>
          <a:p>
            <a:pPr lvl="0"/>
            <a:r>
              <a:rPr lang="en-US"/>
              <a:t>Title</a:t>
            </a:r>
          </a:p>
        </p:txBody>
      </p:sp>
      <p:sp>
        <p:nvSpPr>
          <p:cNvPr id="32" name="Picture Placeholder 31">
            <a:extLst>
              <a:ext uri="{FF2B5EF4-FFF2-40B4-BE49-F238E27FC236}">
                <a16:creationId xmlns:a16="http://schemas.microsoft.com/office/drawing/2014/main" id="{45838521-3A84-49F1-AD26-4C3192EBD1B7}"/>
              </a:ext>
            </a:extLst>
          </p:cNvPr>
          <p:cNvSpPr>
            <a:spLocks noGrp="1"/>
          </p:cNvSpPr>
          <p:nvPr>
            <p:ph type="pic" sz="quarter" idx="19"/>
          </p:nvPr>
        </p:nvSpPr>
        <p:spPr>
          <a:xfrm>
            <a:off x="866775" y="3764644"/>
            <a:ext cx="1524000" cy="1524000"/>
          </a:xfrm>
        </p:spPr>
        <p:txBody>
          <a:bodyPr/>
          <a:lstStyle/>
          <a:p>
            <a:endParaRPr lang="en-US"/>
          </a:p>
        </p:txBody>
      </p:sp>
      <p:sp>
        <p:nvSpPr>
          <p:cNvPr id="25" name="Text Placeholder 20">
            <a:extLst>
              <a:ext uri="{FF2B5EF4-FFF2-40B4-BE49-F238E27FC236}">
                <a16:creationId xmlns:a16="http://schemas.microsoft.com/office/drawing/2014/main" id="{948741A6-2BFC-4770-9DCE-F80BD2A66B29}"/>
              </a:ext>
            </a:extLst>
          </p:cNvPr>
          <p:cNvSpPr>
            <a:spLocks noGrp="1"/>
          </p:cNvSpPr>
          <p:nvPr>
            <p:ph type="body" sz="quarter" idx="15" hasCustomPrompt="1"/>
          </p:nvPr>
        </p:nvSpPr>
        <p:spPr>
          <a:xfrm>
            <a:off x="6210299" y="869043"/>
            <a:ext cx="5111751" cy="624116"/>
          </a:xfrm>
        </p:spPr>
        <p:txBody>
          <a:bodyPr lIns="0" anchor="ctr">
            <a:noAutofit/>
          </a:bodyPr>
          <a:lstStyle>
            <a:lvl1pPr marL="0" indent="0" algn="l">
              <a:buNone/>
              <a:defRPr sz="2400">
                <a:solidFill>
                  <a:schemeClr val="accent2"/>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0</a:t>
            </a:r>
          </a:p>
        </p:txBody>
      </p:sp>
      <p:sp>
        <p:nvSpPr>
          <p:cNvPr id="31" name="Text Placeholder 20">
            <a:extLst>
              <a:ext uri="{FF2B5EF4-FFF2-40B4-BE49-F238E27FC236}">
                <a16:creationId xmlns:a16="http://schemas.microsoft.com/office/drawing/2014/main" id="{93A674FC-63C8-448C-8A63-A918B5893DA5}"/>
              </a:ext>
            </a:extLst>
          </p:cNvPr>
          <p:cNvSpPr>
            <a:spLocks noGrp="1"/>
          </p:cNvSpPr>
          <p:nvPr>
            <p:ph type="body" sz="quarter" idx="21" hasCustomPrompt="1"/>
          </p:nvPr>
        </p:nvSpPr>
        <p:spPr>
          <a:xfrm>
            <a:off x="6210300" y="1560606"/>
            <a:ext cx="5143500" cy="1434780"/>
          </a:xfrm>
        </p:spPr>
        <p:txBody>
          <a:bodyPr lIns="0" rIns="457200">
            <a:noAutofit/>
          </a:bodyPr>
          <a:lstStyle>
            <a:lvl1pPr marL="0" indent="0" algn="l">
              <a:buNone/>
              <a:defRPr sz="2000">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3" name="Picture Placeholder 2">
            <a:extLst>
              <a:ext uri="{FF2B5EF4-FFF2-40B4-BE49-F238E27FC236}">
                <a16:creationId xmlns:a16="http://schemas.microsoft.com/office/drawing/2014/main" id="{0E004348-55EF-4B40-8BD9-E45F6263C057}"/>
              </a:ext>
            </a:extLst>
          </p:cNvPr>
          <p:cNvSpPr>
            <a:spLocks noGrp="1"/>
          </p:cNvSpPr>
          <p:nvPr>
            <p:ph type="pic" sz="quarter" idx="22"/>
          </p:nvPr>
        </p:nvSpPr>
        <p:spPr>
          <a:xfrm>
            <a:off x="5760218" y="3592286"/>
            <a:ext cx="6431782" cy="3265714"/>
          </a:xfrm>
        </p:spPr>
        <p:txBody>
          <a:bodyPr/>
          <a:lstStyle/>
          <a:p>
            <a:endParaRPr lang="en-US"/>
          </a:p>
        </p:txBody>
      </p:sp>
    </p:spTree>
    <p:extLst>
      <p:ext uri="{BB962C8B-B14F-4D97-AF65-F5344CB8AC3E}">
        <p14:creationId xmlns:p14="http://schemas.microsoft.com/office/powerpoint/2010/main" val="153750765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About Veic">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1253352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514BEF3-23E8-4358-917A-43097F295F2B}"/>
              </a:ext>
            </a:extLst>
          </p:cNvPr>
          <p:cNvSpPr/>
          <p:nvPr userDrawn="1"/>
        </p:nvSpPr>
        <p:spPr>
          <a:xfrm>
            <a:off x="1" y="1"/>
            <a:ext cx="12192000" cy="3327186"/>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4C48CBC-9FBB-43DF-BD4A-B3216FB008EC}"/>
              </a:ext>
            </a:extLst>
          </p:cNvPr>
          <p:cNvSpPr>
            <a:spLocks noGrp="1"/>
          </p:cNvSpPr>
          <p:nvPr>
            <p:ph type="title" hasCustomPrompt="1"/>
          </p:nvPr>
        </p:nvSpPr>
        <p:spPr>
          <a:xfrm>
            <a:off x="838200" y="719015"/>
            <a:ext cx="5143500" cy="2170182"/>
          </a:xfrm>
        </p:spPr>
        <p:txBody>
          <a:bodyPr anchor="ctr"/>
          <a:lstStyle>
            <a:lvl1pPr>
              <a:defRPr>
                <a:solidFill>
                  <a:schemeClr val="bg1"/>
                </a:solidFill>
              </a:defRPr>
            </a:lvl1pPr>
          </a:lstStyle>
          <a:p>
            <a:r>
              <a:rPr lang="en-US"/>
              <a:t>About VEIC</a:t>
            </a:r>
          </a:p>
        </p:txBody>
      </p:sp>
      <p:sp>
        <p:nvSpPr>
          <p:cNvPr id="3" name="Rectangle 2">
            <a:extLst>
              <a:ext uri="{FF2B5EF4-FFF2-40B4-BE49-F238E27FC236}">
                <a16:creationId xmlns:a16="http://schemas.microsoft.com/office/drawing/2014/main" id="{B16038B1-8613-4EFC-B764-165F64BECA97}"/>
              </a:ext>
            </a:extLst>
          </p:cNvPr>
          <p:cNvSpPr/>
          <p:nvPr userDrawn="1"/>
        </p:nvSpPr>
        <p:spPr>
          <a:xfrm>
            <a:off x="0" y="3265714"/>
            <a:ext cx="12192000" cy="3592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p>
            <a:fld id="{A1471D42-392E-4D14-982B-D9D765EA1509}" type="slidenum">
              <a:rPr lang="en-US" smtClean="0"/>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7" name="Freeform: Shape 16">
            <a:extLst>
              <a:ext uri="{FF2B5EF4-FFF2-40B4-BE49-F238E27FC236}">
                <a16:creationId xmlns:a16="http://schemas.microsoft.com/office/drawing/2014/main" id="{99476144-0D06-4648-9848-93F933A242CD}"/>
              </a:ext>
            </a:extLst>
          </p:cNvPr>
          <p:cNvSpPr/>
          <p:nvPr userDrawn="1"/>
        </p:nvSpPr>
        <p:spPr>
          <a:xfrm>
            <a:off x="10180784" y="3265715"/>
            <a:ext cx="2011216" cy="2093809"/>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19" name="Freeform: Shape 18">
            <a:extLst>
              <a:ext uri="{FF2B5EF4-FFF2-40B4-BE49-F238E27FC236}">
                <a16:creationId xmlns:a16="http://schemas.microsoft.com/office/drawing/2014/main" id="{CCCE6BA3-98F2-4BF8-914D-87F6CF58C587}"/>
              </a:ext>
            </a:extLst>
          </p:cNvPr>
          <p:cNvSpPr/>
          <p:nvPr userDrawn="1"/>
        </p:nvSpPr>
        <p:spPr>
          <a:xfrm>
            <a:off x="10181706" y="1224778"/>
            <a:ext cx="2010294" cy="2041065"/>
          </a:xfrm>
          <a:custGeom>
            <a:avLst/>
            <a:gdLst>
              <a:gd name="connsiteX0" fmla="*/ 2010294 w 2010294"/>
              <a:gd name="connsiteY0" fmla="*/ 0 h 2041065"/>
              <a:gd name="connsiteX1" fmla="*/ 2010294 w 2010294"/>
              <a:gd name="connsiteY1" fmla="*/ 787195 h 2041065"/>
              <a:gd name="connsiteX2" fmla="*/ 773983 w 2010294"/>
              <a:gd name="connsiteY2" fmla="*/ 1929650 h 2041065"/>
              <a:gd name="connsiteX3" fmla="*/ 768491 w 2010294"/>
              <a:gd name="connsiteY3" fmla="*/ 2041065 h 2041065"/>
              <a:gd name="connsiteX4" fmla="*/ 0 w 2010294"/>
              <a:gd name="connsiteY4" fmla="*/ 2041065 h 2041065"/>
              <a:gd name="connsiteX5" fmla="*/ 9462 w 2010294"/>
              <a:gd name="connsiteY5" fmla="*/ 1849156 h 2041065"/>
              <a:gd name="connsiteX6" fmla="*/ 2010294 w 2010294"/>
              <a:gd name="connsiteY6" fmla="*/ 0 h 2041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0294" h="2041065">
                <a:moveTo>
                  <a:pt x="2010294" y="0"/>
                </a:moveTo>
                <a:lnTo>
                  <a:pt x="2010294" y="787195"/>
                </a:lnTo>
                <a:cubicBezTo>
                  <a:pt x="1366622" y="787195"/>
                  <a:pt x="837597" y="1287990"/>
                  <a:pt x="773983" y="1929650"/>
                </a:cubicBezTo>
                <a:lnTo>
                  <a:pt x="768491" y="2041065"/>
                </a:lnTo>
                <a:lnTo>
                  <a:pt x="0" y="2041065"/>
                </a:lnTo>
                <a:lnTo>
                  <a:pt x="9462" y="1849156"/>
                </a:lnTo>
                <a:cubicBezTo>
                  <a:pt x="112456" y="810515"/>
                  <a:pt x="968950" y="0"/>
                  <a:pt x="2010294" y="0"/>
                </a:cubicBezTo>
                <a:close/>
              </a:path>
            </a:pathLst>
          </a:custGeom>
          <a:solidFill>
            <a:srgbClr val="FF9E18"/>
          </a:solidFill>
          <a:ln w="9264" cap="flat">
            <a:noFill/>
            <a:prstDash val="solid"/>
            <a:miter/>
          </a:ln>
        </p:spPr>
        <p:txBody>
          <a:bodyPr wrap="square" rtlCol="0" anchor="ctr">
            <a:noAutofit/>
          </a:bodyPr>
          <a:lstStyle/>
          <a:p>
            <a:endParaRPr lang="en-US"/>
          </a:p>
        </p:txBody>
      </p:sp>
      <p:sp>
        <p:nvSpPr>
          <p:cNvPr id="21" name="Text Placeholder 20">
            <a:extLst>
              <a:ext uri="{FF2B5EF4-FFF2-40B4-BE49-F238E27FC236}">
                <a16:creationId xmlns:a16="http://schemas.microsoft.com/office/drawing/2014/main" id="{DDA99C94-57EF-4B02-9671-725FC468AD7B}"/>
              </a:ext>
            </a:extLst>
          </p:cNvPr>
          <p:cNvSpPr>
            <a:spLocks noGrp="1"/>
          </p:cNvSpPr>
          <p:nvPr>
            <p:ph type="body" sz="quarter" idx="13" hasCustomPrompt="1"/>
          </p:nvPr>
        </p:nvSpPr>
        <p:spPr>
          <a:xfrm>
            <a:off x="838200" y="3603625"/>
            <a:ext cx="3064835" cy="2568575"/>
          </a:xfrm>
        </p:spPr>
        <p:txBody>
          <a:bodyPr rIns="457200">
            <a:noAutofit/>
          </a:bodyPr>
          <a:lstStyle>
            <a:lvl1pPr marL="0" marR="0" indent="0" algn="l" defTabSz="914400" rtl="0" eaLnBrk="1" fontAlgn="auto" latinLnBrk="0" hangingPunct="1">
              <a:lnSpc>
                <a:spcPct val="130000"/>
              </a:lnSpc>
              <a:spcBef>
                <a:spcPts val="1200"/>
              </a:spcBef>
              <a:spcAft>
                <a:spcPts val="0"/>
              </a:spcAft>
              <a:buClrTx/>
              <a:buSzTx/>
              <a:buFont typeface="Arial" panose="020B0604020202020204" pitchFamily="34" charset="0"/>
              <a:buNone/>
              <a:tabLst/>
              <a:defRPr sz="2000">
                <a:solidFill>
                  <a:schemeClr val="accent2"/>
                </a:solidFill>
                <a:latin typeface="+mj-lt"/>
              </a:defRPr>
            </a:lvl1pPr>
            <a:lvl2pPr>
              <a:defRPr sz="2000">
                <a:solidFill>
                  <a:schemeClr val="accent2"/>
                </a:solidFill>
                <a:latin typeface="+mj-lt"/>
              </a:defRPr>
            </a:lvl2pPr>
            <a:lvl3pPr>
              <a:defRPr sz="2000">
                <a:solidFill>
                  <a:schemeClr val="accent2"/>
                </a:solidFill>
                <a:latin typeface="+mj-lt"/>
              </a:defRPr>
            </a:lvl3pPr>
            <a:lvl4pPr>
              <a:defRPr sz="2000">
                <a:solidFill>
                  <a:schemeClr val="accent2"/>
                </a:solidFill>
                <a:latin typeface="+mj-lt"/>
              </a:defRPr>
            </a:lvl4pPr>
            <a:lvl5pPr>
              <a:defRPr sz="2000">
                <a:solidFill>
                  <a:schemeClr val="accent2"/>
                </a:solidFill>
                <a:latin typeface="+mj-lt"/>
              </a:defRPr>
            </a:lvl5pPr>
          </a:lstStyle>
          <a:p>
            <a:pPr marL="0" marR="0" lvl="0" indent="0" algn="l" defTabSz="914400" rtl="0" eaLnBrk="1" fontAlgn="auto" latinLnBrk="0" hangingPunct="1">
              <a:lnSpc>
                <a:spcPct val="130000"/>
              </a:lnSpc>
              <a:spcBef>
                <a:spcPts val="1200"/>
              </a:spcBef>
              <a:spcAft>
                <a:spcPts val="0"/>
              </a:spcAft>
              <a:buClrTx/>
              <a:buSzTx/>
              <a:buFont typeface="Arial" panose="020B0604020202020204" pitchFamily="34" charset="0"/>
              <a:buNone/>
              <a:tabLst/>
              <a:defRPr/>
            </a:pPr>
            <a:r>
              <a:rPr lang="en-US"/>
              <a:t>We are on a mission to generate the energy solutions </a:t>
            </a:r>
            <a:br>
              <a:rPr lang="en-US"/>
            </a:br>
            <a:r>
              <a:rPr lang="en-US"/>
              <a:t>the world needs.</a:t>
            </a:r>
          </a:p>
          <a:p>
            <a:pPr lvl="0"/>
            <a:endParaRPr lang="en-US"/>
          </a:p>
        </p:txBody>
      </p:sp>
      <p:sp>
        <p:nvSpPr>
          <p:cNvPr id="24" name="Text Placeholder 20">
            <a:extLst>
              <a:ext uri="{FF2B5EF4-FFF2-40B4-BE49-F238E27FC236}">
                <a16:creationId xmlns:a16="http://schemas.microsoft.com/office/drawing/2014/main" id="{3C53C450-2C06-4D6C-9F56-E2B9598D72CC}"/>
              </a:ext>
            </a:extLst>
          </p:cNvPr>
          <p:cNvSpPr>
            <a:spLocks noGrp="1"/>
          </p:cNvSpPr>
          <p:nvPr>
            <p:ph type="body" sz="quarter" idx="14" hasCustomPrompt="1"/>
          </p:nvPr>
        </p:nvSpPr>
        <p:spPr>
          <a:xfrm>
            <a:off x="4125433" y="3603625"/>
            <a:ext cx="7783031" cy="2568575"/>
          </a:xfrm>
        </p:spPr>
        <p:txBody>
          <a:bodyPr rIns="457200">
            <a:no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fontAlgn="base"/>
            <a:r>
              <a:rPr lang="en-US" sz="2000"/>
              <a:t>VEIC works with organizations to create immediate and lasting change. Since 1986, we’ve served as an objective partner for our clients as they navigate complex energy challenges. With expertise in energy efficiency, building and transportation electrification, and new approaches for a clean and flexible grid, we bring solutions to the market that meet your goals.</a:t>
            </a:r>
          </a:p>
          <a:p>
            <a:pPr lvl="3"/>
            <a:endParaRPr lang="en-US"/>
          </a:p>
        </p:txBody>
      </p:sp>
    </p:spTree>
    <p:extLst>
      <p:ext uri="{BB962C8B-B14F-4D97-AF65-F5344CB8AC3E}">
        <p14:creationId xmlns:p14="http://schemas.microsoft.com/office/powerpoint/2010/main" val="267438302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Our Story 1">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396073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0" name="Rectangle 19">
            <a:extLst>
              <a:ext uri="{FF2B5EF4-FFF2-40B4-BE49-F238E27FC236}">
                <a16:creationId xmlns:a16="http://schemas.microsoft.com/office/drawing/2014/main" id="{3330F4D7-4A9E-4DEE-8885-046C363D1BAC}"/>
              </a:ext>
            </a:extLst>
          </p:cNvPr>
          <p:cNvSpPr/>
          <p:nvPr userDrawn="1"/>
        </p:nvSpPr>
        <p:spPr>
          <a:xfrm>
            <a:off x="6210300" y="0"/>
            <a:ext cx="59817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4C48CBC-9FBB-43DF-BD4A-B3216FB008EC}"/>
              </a:ext>
            </a:extLst>
          </p:cNvPr>
          <p:cNvSpPr>
            <a:spLocks noGrp="1"/>
          </p:cNvSpPr>
          <p:nvPr>
            <p:ph type="title" hasCustomPrompt="1"/>
          </p:nvPr>
        </p:nvSpPr>
        <p:spPr>
          <a:xfrm>
            <a:off x="838200" y="719015"/>
            <a:ext cx="5143500" cy="1109785"/>
          </a:xfrm>
        </p:spPr>
        <p:txBody>
          <a:bodyPr anchor="ctr"/>
          <a:lstStyle>
            <a:lvl1pPr>
              <a:defRPr>
                <a:solidFill>
                  <a:schemeClr val="accent1"/>
                </a:solidFill>
              </a:defRPr>
            </a:lvl1pPr>
          </a:lstStyle>
          <a:p>
            <a:r>
              <a:rPr lang="en-US"/>
              <a:t>Our Story</a:t>
            </a:r>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p>
            <a:fld id="{A1471D42-392E-4D14-982B-D9D765EA1509}" type="slidenum">
              <a:rPr lang="en-US" smtClean="0"/>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1" name="Text Placeholder 20">
            <a:extLst>
              <a:ext uri="{FF2B5EF4-FFF2-40B4-BE49-F238E27FC236}">
                <a16:creationId xmlns:a16="http://schemas.microsoft.com/office/drawing/2014/main" id="{DDA99C94-57EF-4B02-9671-725FC468AD7B}"/>
              </a:ext>
            </a:extLst>
          </p:cNvPr>
          <p:cNvSpPr>
            <a:spLocks noGrp="1"/>
          </p:cNvSpPr>
          <p:nvPr>
            <p:ph type="body" sz="quarter" idx="13" hasCustomPrompt="1"/>
          </p:nvPr>
        </p:nvSpPr>
        <p:spPr>
          <a:xfrm>
            <a:off x="838200" y="2082373"/>
            <a:ext cx="5143500" cy="4089827"/>
          </a:xfrm>
        </p:spPr>
        <p:txBody>
          <a:bodyPr rIns="457200">
            <a:noAutofit/>
          </a:bodyPr>
          <a:lstStyle>
            <a:lvl1pPr marL="342900" indent="-342900">
              <a:buFont typeface="Arial" panose="020B0604020202020204" pitchFamily="34" charset="0"/>
              <a:buChar char="•"/>
              <a:defRPr sz="1800"/>
            </a:lvl1pPr>
            <a:lvl2pPr marL="457200" indent="0">
              <a:buNone/>
              <a:defRPr sz="2000"/>
            </a:lvl2pPr>
            <a:lvl3pPr marL="914400" indent="0">
              <a:buNone/>
              <a:defRPr sz="2000"/>
            </a:lvl3pPr>
            <a:lvl4pPr marL="1371600" indent="0">
              <a:buNone/>
              <a:defRPr sz="2000"/>
            </a:lvl4pPr>
            <a:lvl5pPr marL="1828800" indent="0">
              <a:buNone/>
              <a:defRPr sz="2000"/>
            </a:lvl5pPr>
          </a:lstStyle>
          <a:p>
            <a:r>
              <a:rPr lang="en-US" sz="2000"/>
              <a:t>Founded in 1986 by Beth Sachs and the late Blair Hamilton</a:t>
            </a:r>
          </a:p>
          <a:p>
            <a:r>
              <a:rPr lang="en-US" sz="2000"/>
              <a:t>Deep history in innovating Energy Efficiency approaches </a:t>
            </a:r>
          </a:p>
          <a:p>
            <a:r>
              <a:rPr lang="en-US" sz="2000"/>
              <a:t>Comprehensive expertise and approach </a:t>
            </a:r>
          </a:p>
          <a:p>
            <a:r>
              <a:rPr lang="en-US" sz="2000"/>
              <a:t>Focus on low-income and disadvantaged communities </a:t>
            </a:r>
          </a:p>
          <a:p>
            <a:r>
              <a:rPr lang="en-US" sz="2000"/>
              <a:t>Measure success by GHG reduction</a:t>
            </a:r>
          </a:p>
          <a:p>
            <a:endParaRPr lang="en-US" sz="2000"/>
          </a:p>
        </p:txBody>
      </p:sp>
      <p:sp>
        <p:nvSpPr>
          <p:cNvPr id="24" name="Text Placeholder 20">
            <a:extLst>
              <a:ext uri="{FF2B5EF4-FFF2-40B4-BE49-F238E27FC236}">
                <a16:creationId xmlns:a16="http://schemas.microsoft.com/office/drawing/2014/main" id="{3C53C450-2C06-4D6C-9F56-E2B9598D72CC}"/>
              </a:ext>
            </a:extLst>
          </p:cNvPr>
          <p:cNvSpPr>
            <a:spLocks noGrp="1"/>
          </p:cNvSpPr>
          <p:nvPr>
            <p:ph type="body" sz="quarter" idx="14" hasCustomPrompt="1"/>
          </p:nvPr>
        </p:nvSpPr>
        <p:spPr>
          <a:xfrm>
            <a:off x="7476565" y="3779227"/>
            <a:ext cx="3342554" cy="2128478"/>
          </a:xfrm>
        </p:spPr>
        <p:txBody>
          <a:bodyPr>
            <a:no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lang="en-US" b="0" i="0" smtClean="0">
                <a:effectLst/>
              </a:defRPr>
            </a:lvl3pPr>
            <a:lvl4pPr marL="1371600" indent="0">
              <a:buNone/>
              <a:defRPr sz="2000">
                <a:solidFill>
                  <a:schemeClr val="bg1"/>
                </a:solidFill>
              </a:defRPr>
            </a:lvl4pPr>
            <a:lvl5pPr marL="1828800" indent="0">
              <a:buNone/>
              <a:defRPr sz="2000">
                <a:solidFill>
                  <a:schemeClr val="bg1"/>
                </a:solidFill>
              </a:defRPr>
            </a:lvl5pPr>
          </a:lstStyle>
          <a:p>
            <a:pPr lvl="0"/>
            <a:r>
              <a:rPr lang="en-US"/>
              <a:t>It started with a simple ideas: the cleanest and cheapest form of energy is the energy not used. </a:t>
            </a:r>
          </a:p>
        </p:txBody>
      </p:sp>
      <p:sp>
        <p:nvSpPr>
          <p:cNvPr id="15" name="Picture Placeholder 14">
            <a:extLst>
              <a:ext uri="{FF2B5EF4-FFF2-40B4-BE49-F238E27FC236}">
                <a16:creationId xmlns:a16="http://schemas.microsoft.com/office/drawing/2014/main" id="{227D62EF-7589-4A8B-8223-4A9C4252E97D}"/>
              </a:ext>
            </a:extLst>
          </p:cNvPr>
          <p:cNvSpPr>
            <a:spLocks noGrp="1"/>
          </p:cNvSpPr>
          <p:nvPr>
            <p:ph type="pic" sz="quarter" idx="17"/>
          </p:nvPr>
        </p:nvSpPr>
        <p:spPr>
          <a:xfrm>
            <a:off x="6210300" y="0"/>
            <a:ext cx="5981700" cy="3381375"/>
          </a:xfrm>
          <a:solidFill>
            <a:schemeClr val="accent5"/>
          </a:solidFill>
        </p:spPr>
        <p:txBody>
          <a:bodyPr/>
          <a:lstStyle/>
          <a:p>
            <a:endParaRPr lang="en-US"/>
          </a:p>
        </p:txBody>
      </p:sp>
      <p:sp>
        <p:nvSpPr>
          <p:cNvPr id="16" name="TextBox 15">
            <a:extLst>
              <a:ext uri="{FF2B5EF4-FFF2-40B4-BE49-F238E27FC236}">
                <a16:creationId xmlns:a16="http://schemas.microsoft.com/office/drawing/2014/main" id="{409DA23E-6032-4A9E-B0AA-D20934A05E04}"/>
              </a:ext>
            </a:extLst>
          </p:cNvPr>
          <p:cNvSpPr txBox="1"/>
          <p:nvPr userDrawn="1"/>
        </p:nvSpPr>
        <p:spPr>
          <a:xfrm>
            <a:off x="6754265" y="3358078"/>
            <a:ext cx="880142" cy="1692771"/>
          </a:xfrm>
          <a:prstGeom prst="rect">
            <a:avLst/>
          </a:prstGeom>
          <a:noFill/>
        </p:spPr>
        <p:txBody>
          <a:bodyPr wrap="square" rtlCol="0">
            <a:spAutoFit/>
          </a:bodyPr>
          <a:lstStyle/>
          <a:p>
            <a:r>
              <a:rPr lang="en-US" sz="10400" b="1">
                <a:solidFill>
                  <a:schemeClr val="accent2"/>
                </a:solidFill>
                <a:latin typeface="Arial" panose="020B0604020202020204" pitchFamily="34" charset="0"/>
                <a:cs typeface="Arial" panose="020B0604020202020204" pitchFamily="34" charset="0"/>
              </a:rPr>
              <a:t>“</a:t>
            </a:r>
          </a:p>
        </p:txBody>
      </p:sp>
      <p:sp>
        <p:nvSpPr>
          <p:cNvPr id="26" name="TextBox 25">
            <a:extLst>
              <a:ext uri="{FF2B5EF4-FFF2-40B4-BE49-F238E27FC236}">
                <a16:creationId xmlns:a16="http://schemas.microsoft.com/office/drawing/2014/main" id="{DD6686E0-9D23-4B25-9AE7-6F95C49659F8}"/>
              </a:ext>
            </a:extLst>
          </p:cNvPr>
          <p:cNvSpPr txBox="1"/>
          <p:nvPr userDrawn="1"/>
        </p:nvSpPr>
        <p:spPr>
          <a:xfrm rot="10800000">
            <a:off x="10619334" y="4613165"/>
            <a:ext cx="880142" cy="1692771"/>
          </a:xfrm>
          <a:prstGeom prst="rect">
            <a:avLst/>
          </a:prstGeom>
          <a:noFill/>
        </p:spPr>
        <p:txBody>
          <a:bodyPr wrap="square" rtlCol="0">
            <a:spAutoFit/>
          </a:bodyPr>
          <a:lstStyle/>
          <a:p>
            <a:r>
              <a:rPr lang="en-US" sz="10400" b="1">
                <a:solidFill>
                  <a:schemeClr val="accent2"/>
                </a:solidFill>
                <a:latin typeface="Arial" panose="020B0604020202020204" pitchFamily="34" charset="0"/>
                <a:cs typeface="Arial" panose="020B0604020202020204" pitchFamily="34" charset="0"/>
              </a:rPr>
              <a:t>“</a:t>
            </a:r>
          </a:p>
        </p:txBody>
      </p:sp>
      <p:sp>
        <p:nvSpPr>
          <p:cNvPr id="30" name="Freeform: Shape 29">
            <a:extLst>
              <a:ext uri="{FF2B5EF4-FFF2-40B4-BE49-F238E27FC236}">
                <a16:creationId xmlns:a16="http://schemas.microsoft.com/office/drawing/2014/main" id="{B09B4822-DFCA-4A82-BE14-0328C0654944}"/>
              </a:ext>
            </a:extLst>
          </p:cNvPr>
          <p:cNvSpPr/>
          <p:nvPr userDrawn="1"/>
        </p:nvSpPr>
        <p:spPr>
          <a:xfrm>
            <a:off x="4838700" y="0"/>
            <a:ext cx="1401616" cy="1459175"/>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89099165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Our Story 1_Where We Work">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1406568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p>
            <a:fld id="{A1471D42-392E-4D14-982B-D9D765EA1509}" type="slidenum">
              <a:rPr lang="en-US" smtClean="0"/>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30" name="Freeform: Shape 29">
            <a:extLst>
              <a:ext uri="{FF2B5EF4-FFF2-40B4-BE49-F238E27FC236}">
                <a16:creationId xmlns:a16="http://schemas.microsoft.com/office/drawing/2014/main" id="{B09B4822-DFCA-4A82-BE14-0328C0654944}"/>
              </a:ext>
            </a:extLst>
          </p:cNvPr>
          <p:cNvSpPr/>
          <p:nvPr userDrawn="1"/>
        </p:nvSpPr>
        <p:spPr>
          <a:xfrm>
            <a:off x="8098217" y="0"/>
            <a:ext cx="4093783" cy="4261899"/>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2" name="Title 1">
            <a:extLst>
              <a:ext uri="{FF2B5EF4-FFF2-40B4-BE49-F238E27FC236}">
                <a16:creationId xmlns:a16="http://schemas.microsoft.com/office/drawing/2014/main" id="{E4C48CBC-9FBB-43DF-BD4A-B3216FB008EC}"/>
              </a:ext>
            </a:extLst>
          </p:cNvPr>
          <p:cNvSpPr>
            <a:spLocks noGrp="1"/>
          </p:cNvSpPr>
          <p:nvPr>
            <p:ph type="title" hasCustomPrompt="1"/>
          </p:nvPr>
        </p:nvSpPr>
        <p:spPr>
          <a:xfrm>
            <a:off x="838200" y="719015"/>
            <a:ext cx="10515600" cy="1109785"/>
          </a:xfrm>
        </p:spPr>
        <p:txBody>
          <a:bodyPr anchor="ctr"/>
          <a:lstStyle>
            <a:lvl1pPr>
              <a:defRPr>
                <a:solidFill>
                  <a:schemeClr val="accent1"/>
                </a:solidFill>
              </a:defRPr>
            </a:lvl1pPr>
          </a:lstStyle>
          <a:p>
            <a:r>
              <a:rPr lang="en-US"/>
              <a:t>Where We Work</a:t>
            </a:r>
          </a:p>
        </p:txBody>
      </p:sp>
      <p:grpSp>
        <p:nvGrpSpPr>
          <p:cNvPr id="14" name="Group 13">
            <a:extLst>
              <a:ext uri="{FF2B5EF4-FFF2-40B4-BE49-F238E27FC236}">
                <a16:creationId xmlns:a16="http://schemas.microsoft.com/office/drawing/2014/main" id="{EDD817DE-02DA-49EA-9A58-8576E6A68ACC}"/>
              </a:ext>
            </a:extLst>
          </p:cNvPr>
          <p:cNvGrpSpPr/>
          <p:nvPr userDrawn="1"/>
        </p:nvGrpSpPr>
        <p:grpSpPr>
          <a:xfrm>
            <a:off x="3062607" y="2213951"/>
            <a:ext cx="5645918" cy="4367349"/>
            <a:chOff x="3062607" y="1889759"/>
            <a:chExt cx="5645918" cy="4367349"/>
          </a:xfrm>
        </p:grpSpPr>
        <p:sp>
          <p:nvSpPr>
            <p:cNvPr id="15" name="Freeform 5">
              <a:extLst>
                <a:ext uri="{FF2B5EF4-FFF2-40B4-BE49-F238E27FC236}">
                  <a16:creationId xmlns:a16="http://schemas.microsoft.com/office/drawing/2014/main" id="{060798FB-BD62-47F1-B175-3D74CDE2A575}"/>
                </a:ext>
              </a:extLst>
            </p:cNvPr>
            <p:cNvSpPr>
              <a:spLocks noEditPoints="1"/>
            </p:cNvSpPr>
            <p:nvPr/>
          </p:nvSpPr>
          <p:spPr bwMode="auto">
            <a:xfrm>
              <a:off x="5657142" y="5664822"/>
              <a:ext cx="628672" cy="401258"/>
            </a:xfrm>
            <a:custGeom>
              <a:avLst/>
              <a:gdLst>
                <a:gd name="T0" fmla="*/ 466 w 566"/>
                <a:gd name="T1" fmla="*/ 354 h 361"/>
                <a:gd name="T2" fmla="*/ 454 w 566"/>
                <a:gd name="T3" fmla="*/ 334 h 361"/>
                <a:gd name="T4" fmla="*/ 452 w 566"/>
                <a:gd name="T5" fmla="*/ 307 h 361"/>
                <a:gd name="T6" fmla="*/ 445 w 566"/>
                <a:gd name="T7" fmla="*/ 286 h 361"/>
                <a:gd name="T8" fmla="*/ 451 w 566"/>
                <a:gd name="T9" fmla="*/ 262 h 361"/>
                <a:gd name="T10" fmla="*/ 463 w 566"/>
                <a:gd name="T11" fmla="*/ 244 h 361"/>
                <a:gd name="T12" fmla="*/ 460 w 566"/>
                <a:gd name="T13" fmla="*/ 217 h 361"/>
                <a:gd name="T14" fmla="*/ 483 w 566"/>
                <a:gd name="T15" fmla="*/ 231 h 361"/>
                <a:gd name="T16" fmla="*/ 518 w 566"/>
                <a:gd name="T17" fmla="*/ 245 h 361"/>
                <a:gd name="T18" fmla="*/ 539 w 566"/>
                <a:gd name="T19" fmla="*/ 267 h 361"/>
                <a:gd name="T20" fmla="*/ 555 w 566"/>
                <a:gd name="T21" fmla="*/ 291 h 361"/>
                <a:gd name="T22" fmla="*/ 556 w 566"/>
                <a:gd name="T23" fmla="*/ 311 h 361"/>
                <a:gd name="T24" fmla="*/ 535 w 566"/>
                <a:gd name="T25" fmla="*/ 325 h 361"/>
                <a:gd name="T26" fmla="*/ 507 w 566"/>
                <a:gd name="T27" fmla="*/ 333 h 361"/>
                <a:gd name="T28" fmla="*/ 489 w 566"/>
                <a:gd name="T29" fmla="*/ 353 h 361"/>
                <a:gd name="T30" fmla="*/ 398 w 566"/>
                <a:gd name="T31" fmla="*/ 183 h 361"/>
                <a:gd name="T32" fmla="*/ 423 w 566"/>
                <a:gd name="T33" fmla="*/ 177 h 361"/>
                <a:gd name="T34" fmla="*/ 433 w 566"/>
                <a:gd name="T35" fmla="*/ 157 h 361"/>
                <a:gd name="T36" fmla="*/ 413 w 566"/>
                <a:gd name="T37" fmla="*/ 144 h 361"/>
                <a:gd name="T38" fmla="*/ 386 w 566"/>
                <a:gd name="T39" fmla="*/ 144 h 361"/>
                <a:gd name="T40" fmla="*/ 367 w 566"/>
                <a:gd name="T41" fmla="*/ 138 h 361"/>
                <a:gd name="T42" fmla="*/ 389 w 566"/>
                <a:gd name="T43" fmla="*/ 164 h 361"/>
                <a:gd name="T44" fmla="*/ 398 w 566"/>
                <a:gd name="T45" fmla="*/ 183 h 361"/>
                <a:gd name="T46" fmla="*/ 354 w 566"/>
                <a:gd name="T47" fmla="*/ 156 h 361"/>
                <a:gd name="T48" fmla="*/ 327 w 566"/>
                <a:gd name="T49" fmla="*/ 148 h 361"/>
                <a:gd name="T50" fmla="*/ 348 w 566"/>
                <a:gd name="T51" fmla="*/ 132 h 361"/>
                <a:gd name="T52" fmla="*/ 359 w 566"/>
                <a:gd name="T53" fmla="*/ 118 h 361"/>
                <a:gd name="T54" fmla="*/ 335 w 566"/>
                <a:gd name="T55" fmla="*/ 117 h 361"/>
                <a:gd name="T56" fmla="*/ 308 w 566"/>
                <a:gd name="T57" fmla="*/ 117 h 361"/>
                <a:gd name="T58" fmla="*/ 329 w 566"/>
                <a:gd name="T59" fmla="*/ 125 h 361"/>
                <a:gd name="T60" fmla="*/ 189 w 566"/>
                <a:gd name="T61" fmla="*/ 108 h 361"/>
                <a:gd name="T62" fmla="*/ 198 w 566"/>
                <a:gd name="T63" fmla="*/ 85 h 361"/>
                <a:gd name="T64" fmla="*/ 174 w 566"/>
                <a:gd name="T65" fmla="*/ 60 h 361"/>
                <a:gd name="T66" fmla="*/ 147 w 566"/>
                <a:gd name="T67" fmla="*/ 71 h 361"/>
                <a:gd name="T68" fmla="*/ 155 w 566"/>
                <a:gd name="T69" fmla="*/ 94 h 361"/>
                <a:gd name="T70" fmla="*/ 171 w 566"/>
                <a:gd name="T71" fmla="*/ 96 h 361"/>
                <a:gd name="T72" fmla="*/ 81 w 566"/>
                <a:gd name="T73" fmla="*/ 41 h 361"/>
                <a:gd name="T74" fmla="*/ 93 w 566"/>
                <a:gd name="T75" fmla="*/ 21 h 361"/>
                <a:gd name="T76" fmla="*/ 88 w 566"/>
                <a:gd name="T77" fmla="*/ 0 h 361"/>
                <a:gd name="T78" fmla="*/ 62 w 566"/>
                <a:gd name="T79" fmla="*/ 5 h 361"/>
                <a:gd name="T80" fmla="*/ 46 w 566"/>
                <a:gd name="T81" fmla="*/ 21 h 361"/>
                <a:gd name="T82" fmla="*/ 81 w 566"/>
                <a:gd name="T83" fmla="*/ 41 h 361"/>
                <a:gd name="T84" fmla="*/ 14 w 566"/>
                <a:gd name="T85" fmla="*/ 38 h 361"/>
                <a:gd name="T86" fmla="*/ 8 w 566"/>
                <a:gd name="T87" fmla="*/ 3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6" h="361">
                  <a:moveTo>
                    <a:pt x="473" y="359"/>
                  </a:moveTo>
                  <a:cubicBezTo>
                    <a:pt x="473" y="358"/>
                    <a:pt x="472" y="358"/>
                    <a:pt x="471" y="358"/>
                  </a:cubicBezTo>
                  <a:cubicBezTo>
                    <a:pt x="470" y="357"/>
                    <a:pt x="467" y="355"/>
                    <a:pt x="466" y="354"/>
                  </a:cubicBezTo>
                  <a:cubicBezTo>
                    <a:pt x="464" y="354"/>
                    <a:pt x="459" y="353"/>
                    <a:pt x="457" y="352"/>
                  </a:cubicBezTo>
                  <a:cubicBezTo>
                    <a:pt x="455" y="350"/>
                    <a:pt x="453" y="346"/>
                    <a:pt x="453" y="343"/>
                  </a:cubicBezTo>
                  <a:cubicBezTo>
                    <a:pt x="452" y="341"/>
                    <a:pt x="453" y="336"/>
                    <a:pt x="454" y="334"/>
                  </a:cubicBezTo>
                  <a:cubicBezTo>
                    <a:pt x="454" y="332"/>
                    <a:pt x="454" y="328"/>
                    <a:pt x="455" y="326"/>
                  </a:cubicBezTo>
                  <a:cubicBezTo>
                    <a:pt x="455" y="323"/>
                    <a:pt x="456" y="318"/>
                    <a:pt x="455" y="316"/>
                  </a:cubicBezTo>
                  <a:cubicBezTo>
                    <a:pt x="455" y="314"/>
                    <a:pt x="452" y="309"/>
                    <a:pt x="452" y="307"/>
                  </a:cubicBezTo>
                  <a:cubicBezTo>
                    <a:pt x="452" y="307"/>
                    <a:pt x="452" y="305"/>
                    <a:pt x="452" y="305"/>
                  </a:cubicBezTo>
                  <a:cubicBezTo>
                    <a:pt x="451" y="302"/>
                    <a:pt x="449" y="297"/>
                    <a:pt x="448" y="295"/>
                  </a:cubicBezTo>
                  <a:cubicBezTo>
                    <a:pt x="448" y="293"/>
                    <a:pt x="446" y="288"/>
                    <a:pt x="445" y="286"/>
                  </a:cubicBezTo>
                  <a:cubicBezTo>
                    <a:pt x="444" y="284"/>
                    <a:pt x="439" y="280"/>
                    <a:pt x="439" y="277"/>
                  </a:cubicBezTo>
                  <a:cubicBezTo>
                    <a:pt x="438" y="275"/>
                    <a:pt x="441" y="270"/>
                    <a:pt x="442" y="269"/>
                  </a:cubicBezTo>
                  <a:cubicBezTo>
                    <a:pt x="444" y="266"/>
                    <a:pt x="449" y="264"/>
                    <a:pt x="451" y="262"/>
                  </a:cubicBezTo>
                  <a:cubicBezTo>
                    <a:pt x="451" y="262"/>
                    <a:pt x="452" y="262"/>
                    <a:pt x="452" y="262"/>
                  </a:cubicBezTo>
                  <a:cubicBezTo>
                    <a:pt x="453" y="260"/>
                    <a:pt x="456" y="255"/>
                    <a:pt x="457" y="253"/>
                  </a:cubicBezTo>
                  <a:cubicBezTo>
                    <a:pt x="459" y="251"/>
                    <a:pt x="463" y="247"/>
                    <a:pt x="463" y="244"/>
                  </a:cubicBezTo>
                  <a:cubicBezTo>
                    <a:pt x="463" y="241"/>
                    <a:pt x="457" y="237"/>
                    <a:pt x="456" y="234"/>
                  </a:cubicBezTo>
                  <a:cubicBezTo>
                    <a:pt x="455" y="232"/>
                    <a:pt x="454" y="228"/>
                    <a:pt x="455" y="226"/>
                  </a:cubicBezTo>
                  <a:cubicBezTo>
                    <a:pt x="455" y="223"/>
                    <a:pt x="457" y="218"/>
                    <a:pt x="460" y="217"/>
                  </a:cubicBezTo>
                  <a:cubicBezTo>
                    <a:pt x="461" y="217"/>
                    <a:pt x="463" y="218"/>
                    <a:pt x="464" y="219"/>
                  </a:cubicBezTo>
                  <a:cubicBezTo>
                    <a:pt x="467" y="220"/>
                    <a:pt x="471" y="224"/>
                    <a:pt x="474" y="226"/>
                  </a:cubicBezTo>
                  <a:cubicBezTo>
                    <a:pt x="476" y="227"/>
                    <a:pt x="480" y="230"/>
                    <a:pt x="483" y="231"/>
                  </a:cubicBezTo>
                  <a:cubicBezTo>
                    <a:pt x="485" y="232"/>
                    <a:pt x="489" y="232"/>
                    <a:pt x="491" y="233"/>
                  </a:cubicBezTo>
                  <a:cubicBezTo>
                    <a:pt x="494" y="233"/>
                    <a:pt x="499" y="235"/>
                    <a:pt x="501" y="236"/>
                  </a:cubicBezTo>
                  <a:cubicBezTo>
                    <a:pt x="505" y="238"/>
                    <a:pt x="514" y="243"/>
                    <a:pt x="518" y="245"/>
                  </a:cubicBezTo>
                  <a:cubicBezTo>
                    <a:pt x="521" y="246"/>
                    <a:pt x="525" y="248"/>
                    <a:pt x="527" y="249"/>
                  </a:cubicBezTo>
                  <a:cubicBezTo>
                    <a:pt x="530" y="251"/>
                    <a:pt x="534" y="256"/>
                    <a:pt x="535" y="258"/>
                  </a:cubicBezTo>
                  <a:cubicBezTo>
                    <a:pt x="536" y="260"/>
                    <a:pt x="538" y="265"/>
                    <a:pt x="539" y="267"/>
                  </a:cubicBezTo>
                  <a:cubicBezTo>
                    <a:pt x="540" y="269"/>
                    <a:pt x="542" y="274"/>
                    <a:pt x="544" y="276"/>
                  </a:cubicBezTo>
                  <a:cubicBezTo>
                    <a:pt x="545" y="277"/>
                    <a:pt x="548" y="279"/>
                    <a:pt x="549" y="281"/>
                  </a:cubicBezTo>
                  <a:cubicBezTo>
                    <a:pt x="551" y="283"/>
                    <a:pt x="553" y="289"/>
                    <a:pt x="555" y="291"/>
                  </a:cubicBezTo>
                  <a:cubicBezTo>
                    <a:pt x="557" y="292"/>
                    <a:pt x="563" y="294"/>
                    <a:pt x="564" y="296"/>
                  </a:cubicBezTo>
                  <a:cubicBezTo>
                    <a:pt x="565" y="298"/>
                    <a:pt x="566" y="303"/>
                    <a:pt x="565" y="305"/>
                  </a:cubicBezTo>
                  <a:cubicBezTo>
                    <a:pt x="564" y="307"/>
                    <a:pt x="558" y="309"/>
                    <a:pt x="556" y="311"/>
                  </a:cubicBezTo>
                  <a:cubicBezTo>
                    <a:pt x="555" y="311"/>
                    <a:pt x="554" y="313"/>
                    <a:pt x="554" y="313"/>
                  </a:cubicBezTo>
                  <a:cubicBezTo>
                    <a:pt x="551" y="315"/>
                    <a:pt x="547" y="320"/>
                    <a:pt x="545" y="321"/>
                  </a:cubicBezTo>
                  <a:cubicBezTo>
                    <a:pt x="543" y="323"/>
                    <a:pt x="538" y="324"/>
                    <a:pt x="535" y="325"/>
                  </a:cubicBezTo>
                  <a:cubicBezTo>
                    <a:pt x="533" y="325"/>
                    <a:pt x="528" y="327"/>
                    <a:pt x="526" y="327"/>
                  </a:cubicBezTo>
                  <a:cubicBezTo>
                    <a:pt x="523" y="327"/>
                    <a:pt x="517" y="326"/>
                    <a:pt x="517" y="326"/>
                  </a:cubicBezTo>
                  <a:cubicBezTo>
                    <a:pt x="507" y="333"/>
                    <a:pt x="507" y="333"/>
                    <a:pt x="507" y="333"/>
                  </a:cubicBezTo>
                  <a:cubicBezTo>
                    <a:pt x="502" y="339"/>
                    <a:pt x="502" y="339"/>
                    <a:pt x="502" y="339"/>
                  </a:cubicBezTo>
                  <a:cubicBezTo>
                    <a:pt x="492" y="344"/>
                    <a:pt x="492" y="344"/>
                    <a:pt x="492" y="344"/>
                  </a:cubicBezTo>
                  <a:cubicBezTo>
                    <a:pt x="489" y="353"/>
                    <a:pt x="489" y="353"/>
                    <a:pt x="489" y="353"/>
                  </a:cubicBezTo>
                  <a:cubicBezTo>
                    <a:pt x="482" y="361"/>
                    <a:pt x="482" y="361"/>
                    <a:pt x="482" y="361"/>
                  </a:cubicBezTo>
                  <a:cubicBezTo>
                    <a:pt x="482" y="361"/>
                    <a:pt x="473" y="361"/>
                    <a:pt x="473" y="359"/>
                  </a:cubicBezTo>
                  <a:close/>
                  <a:moveTo>
                    <a:pt x="398" y="183"/>
                  </a:moveTo>
                  <a:cubicBezTo>
                    <a:pt x="398" y="181"/>
                    <a:pt x="403" y="182"/>
                    <a:pt x="405" y="182"/>
                  </a:cubicBezTo>
                  <a:cubicBezTo>
                    <a:pt x="407" y="181"/>
                    <a:pt x="412" y="178"/>
                    <a:pt x="414" y="177"/>
                  </a:cubicBezTo>
                  <a:cubicBezTo>
                    <a:pt x="416" y="177"/>
                    <a:pt x="421" y="178"/>
                    <a:pt x="423" y="177"/>
                  </a:cubicBezTo>
                  <a:cubicBezTo>
                    <a:pt x="424" y="177"/>
                    <a:pt x="427" y="176"/>
                    <a:pt x="428" y="175"/>
                  </a:cubicBezTo>
                  <a:cubicBezTo>
                    <a:pt x="431" y="173"/>
                    <a:pt x="436" y="169"/>
                    <a:pt x="437" y="166"/>
                  </a:cubicBezTo>
                  <a:cubicBezTo>
                    <a:pt x="437" y="164"/>
                    <a:pt x="434" y="159"/>
                    <a:pt x="433" y="157"/>
                  </a:cubicBezTo>
                  <a:cubicBezTo>
                    <a:pt x="431" y="156"/>
                    <a:pt x="426" y="154"/>
                    <a:pt x="424" y="153"/>
                  </a:cubicBezTo>
                  <a:cubicBezTo>
                    <a:pt x="422" y="152"/>
                    <a:pt x="417" y="149"/>
                    <a:pt x="415" y="147"/>
                  </a:cubicBezTo>
                  <a:cubicBezTo>
                    <a:pt x="415" y="146"/>
                    <a:pt x="414" y="145"/>
                    <a:pt x="413" y="144"/>
                  </a:cubicBezTo>
                  <a:cubicBezTo>
                    <a:pt x="411" y="143"/>
                    <a:pt x="406" y="142"/>
                    <a:pt x="404" y="142"/>
                  </a:cubicBezTo>
                  <a:cubicBezTo>
                    <a:pt x="401" y="143"/>
                    <a:pt x="395" y="146"/>
                    <a:pt x="395" y="146"/>
                  </a:cubicBezTo>
                  <a:cubicBezTo>
                    <a:pt x="395" y="146"/>
                    <a:pt x="388" y="145"/>
                    <a:pt x="386" y="144"/>
                  </a:cubicBezTo>
                  <a:cubicBezTo>
                    <a:pt x="384" y="143"/>
                    <a:pt x="382" y="137"/>
                    <a:pt x="380" y="135"/>
                  </a:cubicBezTo>
                  <a:cubicBezTo>
                    <a:pt x="378" y="134"/>
                    <a:pt x="373" y="133"/>
                    <a:pt x="370" y="134"/>
                  </a:cubicBezTo>
                  <a:cubicBezTo>
                    <a:pt x="369" y="134"/>
                    <a:pt x="367" y="137"/>
                    <a:pt x="367" y="138"/>
                  </a:cubicBezTo>
                  <a:cubicBezTo>
                    <a:pt x="366" y="140"/>
                    <a:pt x="365" y="147"/>
                    <a:pt x="365" y="147"/>
                  </a:cubicBezTo>
                  <a:cubicBezTo>
                    <a:pt x="365" y="147"/>
                    <a:pt x="369" y="154"/>
                    <a:pt x="371" y="156"/>
                  </a:cubicBezTo>
                  <a:cubicBezTo>
                    <a:pt x="375" y="159"/>
                    <a:pt x="389" y="164"/>
                    <a:pt x="389" y="164"/>
                  </a:cubicBezTo>
                  <a:cubicBezTo>
                    <a:pt x="390" y="164"/>
                    <a:pt x="390" y="164"/>
                    <a:pt x="390" y="164"/>
                  </a:cubicBezTo>
                  <a:cubicBezTo>
                    <a:pt x="391" y="174"/>
                    <a:pt x="391" y="174"/>
                    <a:pt x="391" y="174"/>
                  </a:cubicBezTo>
                  <a:cubicBezTo>
                    <a:pt x="391" y="174"/>
                    <a:pt x="398" y="180"/>
                    <a:pt x="398" y="183"/>
                  </a:cubicBezTo>
                  <a:close/>
                  <a:moveTo>
                    <a:pt x="343" y="166"/>
                  </a:moveTo>
                  <a:cubicBezTo>
                    <a:pt x="345" y="165"/>
                    <a:pt x="345" y="165"/>
                    <a:pt x="345" y="165"/>
                  </a:cubicBezTo>
                  <a:cubicBezTo>
                    <a:pt x="354" y="156"/>
                    <a:pt x="354" y="156"/>
                    <a:pt x="354" y="156"/>
                  </a:cubicBezTo>
                  <a:cubicBezTo>
                    <a:pt x="346" y="148"/>
                    <a:pt x="346" y="148"/>
                    <a:pt x="346" y="148"/>
                  </a:cubicBezTo>
                  <a:cubicBezTo>
                    <a:pt x="337" y="145"/>
                    <a:pt x="337" y="145"/>
                    <a:pt x="337" y="145"/>
                  </a:cubicBezTo>
                  <a:cubicBezTo>
                    <a:pt x="327" y="148"/>
                    <a:pt x="327" y="148"/>
                    <a:pt x="327" y="148"/>
                  </a:cubicBezTo>
                  <a:cubicBezTo>
                    <a:pt x="335" y="156"/>
                    <a:pt x="335" y="156"/>
                    <a:pt x="335" y="156"/>
                  </a:cubicBezTo>
                  <a:cubicBezTo>
                    <a:pt x="343" y="166"/>
                    <a:pt x="343" y="166"/>
                    <a:pt x="343" y="166"/>
                  </a:cubicBezTo>
                  <a:close/>
                  <a:moveTo>
                    <a:pt x="348" y="132"/>
                  </a:moveTo>
                  <a:cubicBezTo>
                    <a:pt x="350" y="131"/>
                    <a:pt x="350" y="131"/>
                    <a:pt x="350" y="131"/>
                  </a:cubicBezTo>
                  <a:cubicBezTo>
                    <a:pt x="360" y="127"/>
                    <a:pt x="360" y="127"/>
                    <a:pt x="360" y="127"/>
                  </a:cubicBezTo>
                  <a:cubicBezTo>
                    <a:pt x="359" y="118"/>
                    <a:pt x="359" y="118"/>
                    <a:pt x="359" y="118"/>
                  </a:cubicBezTo>
                  <a:cubicBezTo>
                    <a:pt x="353" y="119"/>
                    <a:pt x="353" y="119"/>
                    <a:pt x="353" y="119"/>
                  </a:cubicBezTo>
                  <a:cubicBezTo>
                    <a:pt x="344" y="119"/>
                    <a:pt x="344" y="119"/>
                    <a:pt x="344" y="119"/>
                  </a:cubicBezTo>
                  <a:cubicBezTo>
                    <a:pt x="335" y="117"/>
                    <a:pt x="335" y="117"/>
                    <a:pt x="335" y="117"/>
                  </a:cubicBezTo>
                  <a:cubicBezTo>
                    <a:pt x="326" y="115"/>
                    <a:pt x="326" y="115"/>
                    <a:pt x="326" y="115"/>
                  </a:cubicBezTo>
                  <a:cubicBezTo>
                    <a:pt x="326" y="115"/>
                    <a:pt x="311" y="111"/>
                    <a:pt x="308" y="113"/>
                  </a:cubicBezTo>
                  <a:cubicBezTo>
                    <a:pt x="307" y="114"/>
                    <a:pt x="308" y="116"/>
                    <a:pt x="308" y="117"/>
                  </a:cubicBezTo>
                  <a:cubicBezTo>
                    <a:pt x="307" y="120"/>
                    <a:pt x="302" y="126"/>
                    <a:pt x="302" y="126"/>
                  </a:cubicBezTo>
                  <a:cubicBezTo>
                    <a:pt x="320" y="126"/>
                    <a:pt x="320" y="126"/>
                    <a:pt x="320" y="126"/>
                  </a:cubicBezTo>
                  <a:cubicBezTo>
                    <a:pt x="329" y="125"/>
                    <a:pt x="329" y="125"/>
                    <a:pt x="329" y="125"/>
                  </a:cubicBezTo>
                  <a:cubicBezTo>
                    <a:pt x="338" y="129"/>
                    <a:pt x="338" y="129"/>
                    <a:pt x="338" y="129"/>
                  </a:cubicBezTo>
                  <a:cubicBezTo>
                    <a:pt x="348" y="132"/>
                    <a:pt x="348" y="132"/>
                    <a:pt x="348" y="132"/>
                  </a:cubicBezTo>
                  <a:close/>
                  <a:moveTo>
                    <a:pt x="189" y="108"/>
                  </a:moveTo>
                  <a:cubicBezTo>
                    <a:pt x="206" y="103"/>
                    <a:pt x="206" y="103"/>
                    <a:pt x="206" y="103"/>
                  </a:cubicBezTo>
                  <a:cubicBezTo>
                    <a:pt x="200" y="94"/>
                    <a:pt x="200" y="94"/>
                    <a:pt x="200" y="94"/>
                  </a:cubicBezTo>
                  <a:cubicBezTo>
                    <a:pt x="198" y="85"/>
                    <a:pt x="198" y="85"/>
                    <a:pt x="198" y="85"/>
                  </a:cubicBezTo>
                  <a:cubicBezTo>
                    <a:pt x="189" y="86"/>
                    <a:pt x="189" y="86"/>
                    <a:pt x="189" y="86"/>
                  </a:cubicBezTo>
                  <a:cubicBezTo>
                    <a:pt x="186" y="78"/>
                    <a:pt x="186" y="78"/>
                    <a:pt x="186" y="78"/>
                  </a:cubicBezTo>
                  <a:cubicBezTo>
                    <a:pt x="186" y="78"/>
                    <a:pt x="179" y="62"/>
                    <a:pt x="174" y="60"/>
                  </a:cubicBezTo>
                  <a:cubicBezTo>
                    <a:pt x="171" y="59"/>
                    <a:pt x="166" y="62"/>
                    <a:pt x="164" y="64"/>
                  </a:cubicBezTo>
                  <a:cubicBezTo>
                    <a:pt x="162" y="65"/>
                    <a:pt x="158" y="70"/>
                    <a:pt x="155" y="71"/>
                  </a:cubicBezTo>
                  <a:cubicBezTo>
                    <a:pt x="153" y="72"/>
                    <a:pt x="148" y="70"/>
                    <a:pt x="147" y="71"/>
                  </a:cubicBezTo>
                  <a:cubicBezTo>
                    <a:pt x="146" y="72"/>
                    <a:pt x="145" y="75"/>
                    <a:pt x="145" y="76"/>
                  </a:cubicBezTo>
                  <a:cubicBezTo>
                    <a:pt x="144" y="78"/>
                    <a:pt x="147" y="85"/>
                    <a:pt x="147" y="85"/>
                  </a:cubicBezTo>
                  <a:cubicBezTo>
                    <a:pt x="155" y="94"/>
                    <a:pt x="155" y="94"/>
                    <a:pt x="155" y="94"/>
                  </a:cubicBezTo>
                  <a:cubicBezTo>
                    <a:pt x="163" y="103"/>
                    <a:pt x="163" y="103"/>
                    <a:pt x="163" y="103"/>
                  </a:cubicBezTo>
                  <a:cubicBezTo>
                    <a:pt x="172" y="102"/>
                    <a:pt x="172" y="102"/>
                    <a:pt x="172" y="102"/>
                  </a:cubicBezTo>
                  <a:cubicBezTo>
                    <a:pt x="171" y="96"/>
                    <a:pt x="171" y="96"/>
                    <a:pt x="171" y="96"/>
                  </a:cubicBezTo>
                  <a:cubicBezTo>
                    <a:pt x="180" y="99"/>
                    <a:pt x="180" y="99"/>
                    <a:pt x="180" y="99"/>
                  </a:cubicBezTo>
                  <a:cubicBezTo>
                    <a:pt x="189" y="108"/>
                    <a:pt x="189" y="108"/>
                    <a:pt x="189" y="108"/>
                  </a:cubicBezTo>
                  <a:close/>
                  <a:moveTo>
                    <a:pt x="81" y="41"/>
                  </a:moveTo>
                  <a:cubicBezTo>
                    <a:pt x="81" y="40"/>
                    <a:pt x="82" y="39"/>
                    <a:pt x="82" y="39"/>
                  </a:cubicBezTo>
                  <a:cubicBezTo>
                    <a:pt x="84" y="37"/>
                    <a:pt x="90" y="34"/>
                    <a:pt x="92" y="31"/>
                  </a:cubicBezTo>
                  <a:cubicBezTo>
                    <a:pt x="93" y="29"/>
                    <a:pt x="93" y="24"/>
                    <a:pt x="93" y="21"/>
                  </a:cubicBezTo>
                  <a:cubicBezTo>
                    <a:pt x="94" y="19"/>
                    <a:pt x="96" y="15"/>
                    <a:pt x="97" y="13"/>
                  </a:cubicBezTo>
                  <a:cubicBezTo>
                    <a:pt x="97" y="12"/>
                    <a:pt x="97" y="11"/>
                    <a:pt x="97" y="10"/>
                  </a:cubicBezTo>
                  <a:cubicBezTo>
                    <a:pt x="96" y="7"/>
                    <a:pt x="91" y="2"/>
                    <a:pt x="88" y="0"/>
                  </a:cubicBezTo>
                  <a:cubicBezTo>
                    <a:pt x="86" y="0"/>
                    <a:pt x="82" y="1"/>
                    <a:pt x="79" y="0"/>
                  </a:cubicBezTo>
                  <a:cubicBezTo>
                    <a:pt x="77" y="0"/>
                    <a:pt x="71" y="0"/>
                    <a:pt x="71" y="0"/>
                  </a:cubicBezTo>
                  <a:cubicBezTo>
                    <a:pt x="71" y="0"/>
                    <a:pt x="64" y="4"/>
                    <a:pt x="62" y="5"/>
                  </a:cubicBezTo>
                  <a:cubicBezTo>
                    <a:pt x="59" y="6"/>
                    <a:pt x="54" y="8"/>
                    <a:pt x="52" y="10"/>
                  </a:cubicBezTo>
                  <a:cubicBezTo>
                    <a:pt x="52" y="10"/>
                    <a:pt x="52" y="11"/>
                    <a:pt x="51" y="12"/>
                  </a:cubicBezTo>
                  <a:cubicBezTo>
                    <a:pt x="50" y="14"/>
                    <a:pt x="46" y="18"/>
                    <a:pt x="46" y="21"/>
                  </a:cubicBezTo>
                  <a:cubicBezTo>
                    <a:pt x="46" y="24"/>
                    <a:pt x="52" y="28"/>
                    <a:pt x="54" y="29"/>
                  </a:cubicBezTo>
                  <a:cubicBezTo>
                    <a:pt x="58" y="32"/>
                    <a:pt x="67" y="36"/>
                    <a:pt x="72" y="38"/>
                  </a:cubicBezTo>
                  <a:cubicBezTo>
                    <a:pt x="74" y="39"/>
                    <a:pt x="81" y="38"/>
                    <a:pt x="81" y="41"/>
                  </a:cubicBezTo>
                  <a:close/>
                  <a:moveTo>
                    <a:pt x="4" y="50"/>
                  </a:moveTo>
                  <a:cubicBezTo>
                    <a:pt x="5" y="47"/>
                    <a:pt x="5" y="47"/>
                    <a:pt x="5" y="47"/>
                  </a:cubicBezTo>
                  <a:cubicBezTo>
                    <a:pt x="14" y="38"/>
                    <a:pt x="14" y="38"/>
                    <a:pt x="14" y="38"/>
                  </a:cubicBezTo>
                  <a:cubicBezTo>
                    <a:pt x="16" y="34"/>
                    <a:pt x="16" y="34"/>
                    <a:pt x="16" y="34"/>
                  </a:cubicBezTo>
                  <a:cubicBezTo>
                    <a:pt x="17" y="25"/>
                    <a:pt x="17" y="25"/>
                    <a:pt x="17" y="25"/>
                  </a:cubicBezTo>
                  <a:cubicBezTo>
                    <a:pt x="8" y="32"/>
                    <a:pt x="8" y="32"/>
                    <a:pt x="8" y="32"/>
                  </a:cubicBezTo>
                  <a:cubicBezTo>
                    <a:pt x="0" y="41"/>
                    <a:pt x="0" y="41"/>
                    <a:pt x="0" y="41"/>
                  </a:cubicBezTo>
                  <a:cubicBezTo>
                    <a:pt x="4" y="50"/>
                    <a:pt x="4" y="50"/>
                    <a:pt x="4" y="50"/>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6">
              <a:extLst>
                <a:ext uri="{FF2B5EF4-FFF2-40B4-BE49-F238E27FC236}">
                  <a16:creationId xmlns:a16="http://schemas.microsoft.com/office/drawing/2014/main" id="{4B1A2BC6-D52F-4874-B630-FC06A24048EA}"/>
                </a:ext>
              </a:extLst>
            </p:cNvPr>
            <p:cNvSpPr>
              <a:spLocks/>
            </p:cNvSpPr>
            <p:nvPr/>
          </p:nvSpPr>
          <p:spPr bwMode="auto">
            <a:xfrm>
              <a:off x="8329503" y="2022164"/>
              <a:ext cx="379022" cy="598350"/>
            </a:xfrm>
            <a:custGeom>
              <a:avLst/>
              <a:gdLst>
                <a:gd name="T0" fmla="*/ 57 w 341"/>
                <a:gd name="T1" fmla="*/ 466 h 538"/>
                <a:gd name="T2" fmla="*/ 68 w 341"/>
                <a:gd name="T3" fmla="*/ 503 h 538"/>
                <a:gd name="T4" fmla="*/ 87 w 341"/>
                <a:gd name="T5" fmla="*/ 521 h 538"/>
                <a:gd name="T6" fmla="*/ 98 w 341"/>
                <a:gd name="T7" fmla="*/ 537 h 538"/>
                <a:gd name="T8" fmla="*/ 106 w 341"/>
                <a:gd name="T9" fmla="*/ 514 h 538"/>
                <a:gd name="T10" fmla="*/ 119 w 341"/>
                <a:gd name="T11" fmla="*/ 486 h 538"/>
                <a:gd name="T12" fmla="*/ 112 w 341"/>
                <a:gd name="T13" fmla="*/ 462 h 538"/>
                <a:gd name="T14" fmla="*/ 125 w 341"/>
                <a:gd name="T15" fmla="*/ 431 h 538"/>
                <a:gd name="T16" fmla="*/ 131 w 341"/>
                <a:gd name="T17" fmla="*/ 437 h 538"/>
                <a:gd name="T18" fmla="*/ 140 w 341"/>
                <a:gd name="T19" fmla="*/ 448 h 538"/>
                <a:gd name="T20" fmla="*/ 138 w 341"/>
                <a:gd name="T21" fmla="*/ 417 h 538"/>
                <a:gd name="T22" fmla="*/ 148 w 341"/>
                <a:gd name="T23" fmla="*/ 410 h 538"/>
                <a:gd name="T24" fmla="*/ 153 w 341"/>
                <a:gd name="T25" fmla="*/ 420 h 538"/>
                <a:gd name="T26" fmla="*/ 162 w 341"/>
                <a:gd name="T27" fmla="*/ 415 h 538"/>
                <a:gd name="T28" fmla="*/ 167 w 341"/>
                <a:gd name="T29" fmla="*/ 412 h 538"/>
                <a:gd name="T30" fmla="*/ 173 w 341"/>
                <a:gd name="T31" fmla="*/ 410 h 538"/>
                <a:gd name="T32" fmla="*/ 180 w 341"/>
                <a:gd name="T33" fmla="*/ 416 h 538"/>
                <a:gd name="T34" fmla="*/ 190 w 341"/>
                <a:gd name="T35" fmla="*/ 401 h 538"/>
                <a:gd name="T36" fmla="*/ 202 w 341"/>
                <a:gd name="T37" fmla="*/ 387 h 538"/>
                <a:gd name="T38" fmla="*/ 199 w 341"/>
                <a:gd name="T39" fmla="*/ 364 h 538"/>
                <a:gd name="T40" fmla="*/ 191 w 341"/>
                <a:gd name="T41" fmla="*/ 342 h 538"/>
                <a:gd name="T42" fmla="*/ 212 w 341"/>
                <a:gd name="T43" fmla="*/ 330 h 538"/>
                <a:gd name="T44" fmla="*/ 217 w 341"/>
                <a:gd name="T45" fmla="*/ 344 h 538"/>
                <a:gd name="T46" fmla="*/ 239 w 341"/>
                <a:gd name="T47" fmla="*/ 353 h 538"/>
                <a:gd name="T48" fmla="*/ 236 w 341"/>
                <a:gd name="T49" fmla="*/ 330 h 538"/>
                <a:gd name="T50" fmla="*/ 249 w 341"/>
                <a:gd name="T51" fmla="*/ 324 h 538"/>
                <a:gd name="T52" fmla="*/ 272 w 341"/>
                <a:gd name="T53" fmla="*/ 330 h 538"/>
                <a:gd name="T54" fmla="*/ 276 w 341"/>
                <a:gd name="T55" fmla="*/ 312 h 538"/>
                <a:gd name="T56" fmla="*/ 285 w 341"/>
                <a:gd name="T57" fmla="*/ 311 h 538"/>
                <a:gd name="T58" fmla="*/ 292 w 341"/>
                <a:gd name="T59" fmla="*/ 303 h 538"/>
                <a:gd name="T60" fmla="*/ 304 w 341"/>
                <a:gd name="T61" fmla="*/ 296 h 538"/>
                <a:gd name="T62" fmla="*/ 311 w 341"/>
                <a:gd name="T63" fmla="*/ 286 h 538"/>
                <a:gd name="T64" fmla="*/ 325 w 341"/>
                <a:gd name="T65" fmla="*/ 276 h 538"/>
                <a:gd name="T66" fmla="*/ 341 w 341"/>
                <a:gd name="T67" fmla="*/ 249 h 538"/>
                <a:gd name="T68" fmla="*/ 322 w 341"/>
                <a:gd name="T69" fmla="*/ 246 h 538"/>
                <a:gd name="T70" fmla="*/ 317 w 341"/>
                <a:gd name="T71" fmla="*/ 219 h 538"/>
                <a:gd name="T72" fmla="*/ 305 w 341"/>
                <a:gd name="T73" fmla="*/ 216 h 538"/>
                <a:gd name="T74" fmla="*/ 287 w 341"/>
                <a:gd name="T75" fmla="*/ 208 h 538"/>
                <a:gd name="T76" fmla="*/ 280 w 341"/>
                <a:gd name="T77" fmla="*/ 186 h 538"/>
                <a:gd name="T78" fmla="*/ 269 w 341"/>
                <a:gd name="T79" fmla="*/ 177 h 538"/>
                <a:gd name="T80" fmla="*/ 246 w 341"/>
                <a:gd name="T81" fmla="*/ 173 h 538"/>
                <a:gd name="T82" fmla="*/ 241 w 341"/>
                <a:gd name="T83" fmla="*/ 152 h 538"/>
                <a:gd name="T84" fmla="*/ 199 w 341"/>
                <a:gd name="T85" fmla="*/ 21 h 538"/>
                <a:gd name="T86" fmla="*/ 162 w 341"/>
                <a:gd name="T87" fmla="*/ 2 h 538"/>
                <a:gd name="T88" fmla="*/ 140 w 341"/>
                <a:gd name="T89" fmla="*/ 12 h 538"/>
                <a:gd name="T90" fmla="*/ 119 w 341"/>
                <a:gd name="T91" fmla="*/ 26 h 538"/>
                <a:gd name="T92" fmla="*/ 94 w 341"/>
                <a:gd name="T93" fmla="*/ 25 h 538"/>
                <a:gd name="T94" fmla="*/ 75 w 341"/>
                <a:gd name="T95" fmla="*/ 10 h 538"/>
                <a:gd name="T96" fmla="*/ 39 w 341"/>
                <a:gd name="T97" fmla="*/ 154 h 538"/>
                <a:gd name="T98" fmla="*/ 40 w 341"/>
                <a:gd name="T99" fmla="*/ 199 h 538"/>
                <a:gd name="T100" fmla="*/ 42 w 341"/>
                <a:gd name="T101" fmla="*/ 228 h 538"/>
                <a:gd name="T102" fmla="*/ 24 w 341"/>
                <a:gd name="T103" fmla="*/ 258 h 538"/>
                <a:gd name="T104" fmla="*/ 23 w 341"/>
                <a:gd name="T105" fmla="*/ 272 h 538"/>
                <a:gd name="T106" fmla="*/ 21 w 341"/>
                <a:gd name="T107" fmla="*/ 287 h 538"/>
                <a:gd name="T108" fmla="*/ 0 w 341"/>
                <a:gd name="T109" fmla="*/ 294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1" h="538">
                  <a:moveTo>
                    <a:pt x="0" y="294"/>
                  </a:moveTo>
                  <a:cubicBezTo>
                    <a:pt x="2" y="297"/>
                    <a:pt x="2" y="297"/>
                    <a:pt x="2" y="297"/>
                  </a:cubicBezTo>
                  <a:cubicBezTo>
                    <a:pt x="57" y="466"/>
                    <a:pt x="57" y="466"/>
                    <a:pt x="57" y="466"/>
                  </a:cubicBezTo>
                  <a:cubicBezTo>
                    <a:pt x="66" y="488"/>
                    <a:pt x="66" y="488"/>
                    <a:pt x="66" y="488"/>
                  </a:cubicBezTo>
                  <a:cubicBezTo>
                    <a:pt x="66" y="488"/>
                    <a:pt x="66" y="494"/>
                    <a:pt x="66" y="496"/>
                  </a:cubicBezTo>
                  <a:cubicBezTo>
                    <a:pt x="66" y="498"/>
                    <a:pt x="68" y="502"/>
                    <a:pt x="68" y="503"/>
                  </a:cubicBezTo>
                  <a:cubicBezTo>
                    <a:pt x="69" y="505"/>
                    <a:pt x="71" y="509"/>
                    <a:pt x="72" y="511"/>
                  </a:cubicBezTo>
                  <a:cubicBezTo>
                    <a:pt x="73" y="513"/>
                    <a:pt x="77" y="516"/>
                    <a:pt x="79" y="517"/>
                  </a:cubicBezTo>
                  <a:cubicBezTo>
                    <a:pt x="81" y="518"/>
                    <a:pt x="86" y="519"/>
                    <a:pt x="87" y="521"/>
                  </a:cubicBezTo>
                  <a:cubicBezTo>
                    <a:pt x="88" y="522"/>
                    <a:pt x="87" y="526"/>
                    <a:pt x="88" y="528"/>
                  </a:cubicBezTo>
                  <a:cubicBezTo>
                    <a:pt x="89" y="531"/>
                    <a:pt x="93" y="535"/>
                    <a:pt x="95" y="536"/>
                  </a:cubicBezTo>
                  <a:cubicBezTo>
                    <a:pt x="96" y="536"/>
                    <a:pt x="98" y="538"/>
                    <a:pt x="98" y="537"/>
                  </a:cubicBezTo>
                  <a:cubicBezTo>
                    <a:pt x="101" y="537"/>
                    <a:pt x="105" y="530"/>
                    <a:pt x="105" y="530"/>
                  </a:cubicBezTo>
                  <a:cubicBezTo>
                    <a:pt x="105" y="530"/>
                    <a:pt x="108" y="524"/>
                    <a:pt x="108" y="522"/>
                  </a:cubicBezTo>
                  <a:cubicBezTo>
                    <a:pt x="108" y="520"/>
                    <a:pt x="106" y="514"/>
                    <a:pt x="106" y="514"/>
                  </a:cubicBezTo>
                  <a:cubicBezTo>
                    <a:pt x="106" y="514"/>
                    <a:pt x="105" y="509"/>
                    <a:pt x="106" y="507"/>
                  </a:cubicBezTo>
                  <a:cubicBezTo>
                    <a:pt x="107" y="505"/>
                    <a:pt x="112" y="502"/>
                    <a:pt x="113" y="500"/>
                  </a:cubicBezTo>
                  <a:cubicBezTo>
                    <a:pt x="115" y="497"/>
                    <a:pt x="119" y="490"/>
                    <a:pt x="119" y="486"/>
                  </a:cubicBezTo>
                  <a:cubicBezTo>
                    <a:pt x="119" y="484"/>
                    <a:pt x="115" y="481"/>
                    <a:pt x="115" y="479"/>
                  </a:cubicBezTo>
                  <a:cubicBezTo>
                    <a:pt x="115" y="474"/>
                    <a:pt x="126" y="468"/>
                    <a:pt x="125" y="464"/>
                  </a:cubicBezTo>
                  <a:cubicBezTo>
                    <a:pt x="125" y="462"/>
                    <a:pt x="113" y="463"/>
                    <a:pt x="112" y="462"/>
                  </a:cubicBezTo>
                  <a:cubicBezTo>
                    <a:pt x="111" y="460"/>
                    <a:pt x="111" y="456"/>
                    <a:pt x="111" y="454"/>
                  </a:cubicBezTo>
                  <a:cubicBezTo>
                    <a:pt x="112" y="452"/>
                    <a:pt x="114" y="447"/>
                    <a:pt x="114" y="447"/>
                  </a:cubicBezTo>
                  <a:cubicBezTo>
                    <a:pt x="114" y="447"/>
                    <a:pt x="120" y="430"/>
                    <a:pt x="125" y="431"/>
                  </a:cubicBezTo>
                  <a:cubicBezTo>
                    <a:pt x="129" y="431"/>
                    <a:pt x="122" y="445"/>
                    <a:pt x="126" y="444"/>
                  </a:cubicBezTo>
                  <a:cubicBezTo>
                    <a:pt x="127" y="444"/>
                    <a:pt x="127" y="444"/>
                    <a:pt x="127" y="444"/>
                  </a:cubicBezTo>
                  <a:cubicBezTo>
                    <a:pt x="129" y="445"/>
                    <a:pt x="130" y="439"/>
                    <a:pt x="131" y="437"/>
                  </a:cubicBezTo>
                  <a:cubicBezTo>
                    <a:pt x="131" y="435"/>
                    <a:pt x="131" y="430"/>
                    <a:pt x="133" y="429"/>
                  </a:cubicBezTo>
                  <a:cubicBezTo>
                    <a:pt x="133" y="429"/>
                    <a:pt x="135" y="430"/>
                    <a:pt x="135" y="430"/>
                  </a:cubicBezTo>
                  <a:cubicBezTo>
                    <a:pt x="138" y="433"/>
                    <a:pt x="136" y="448"/>
                    <a:pt x="140" y="448"/>
                  </a:cubicBezTo>
                  <a:cubicBezTo>
                    <a:pt x="142" y="448"/>
                    <a:pt x="142" y="442"/>
                    <a:pt x="142" y="440"/>
                  </a:cubicBezTo>
                  <a:cubicBezTo>
                    <a:pt x="142" y="434"/>
                    <a:pt x="146" y="418"/>
                    <a:pt x="140" y="417"/>
                  </a:cubicBezTo>
                  <a:cubicBezTo>
                    <a:pt x="139" y="417"/>
                    <a:pt x="139" y="417"/>
                    <a:pt x="138" y="417"/>
                  </a:cubicBezTo>
                  <a:cubicBezTo>
                    <a:pt x="136" y="416"/>
                    <a:pt x="141" y="411"/>
                    <a:pt x="142" y="410"/>
                  </a:cubicBezTo>
                  <a:cubicBezTo>
                    <a:pt x="142" y="408"/>
                    <a:pt x="143" y="402"/>
                    <a:pt x="145" y="402"/>
                  </a:cubicBezTo>
                  <a:cubicBezTo>
                    <a:pt x="147" y="403"/>
                    <a:pt x="147" y="408"/>
                    <a:pt x="148" y="410"/>
                  </a:cubicBezTo>
                  <a:cubicBezTo>
                    <a:pt x="149" y="417"/>
                    <a:pt x="149" y="435"/>
                    <a:pt x="155" y="435"/>
                  </a:cubicBezTo>
                  <a:cubicBezTo>
                    <a:pt x="157" y="435"/>
                    <a:pt x="159" y="430"/>
                    <a:pt x="158" y="428"/>
                  </a:cubicBezTo>
                  <a:cubicBezTo>
                    <a:pt x="158" y="425"/>
                    <a:pt x="153" y="422"/>
                    <a:pt x="153" y="420"/>
                  </a:cubicBezTo>
                  <a:cubicBezTo>
                    <a:pt x="152" y="417"/>
                    <a:pt x="156" y="412"/>
                    <a:pt x="158" y="410"/>
                  </a:cubicBezTo>
                  <a:cubicBezTo>
                    <a:pt x="158" y="409"/>
                    <a:pt x="157" y="408"/>
                    <a:pt x="158" y="408"/>
                  </a:cubicBezTo>
                  <a:cubicBezTo>
                    <a:pt x="160" y="409"/>
                    <a:pt x="162" y="413"/>
                    <a:pt x="162" y="415"/>
                  </a:cubicBezTo>
                  <a:cubicBezTo>
                    <a:pt x="162" y="417"/>
                    <a:pt x="161" y="421"/>
                    <a:pt x="162" y="423"/>
                  </a:cubicBezTo>
                  <a:cubicBezTo>
                    <a:pt x="163" y="425"/>
                    <a:pt x="169" y="428"/>
                    <a:pt x="171" y="426"/>
                  </a:cubicBezTo>
                  <a:cubicBezTo>
                    <a:pt x="174" y="424"/>
                    <a:pt x="167" y="416"/>
                    <a:pt x="167" y="412"/>
                  </a:cubicBezTo>
                  <a:cubicBezTo>
                    <a:pt x="167" y="410"/>
                    <a:pt x="164" y="406"/>
                    <a:pt x="165" y="404"/>
                  </a:cubicBezTo>
                  <a:cubicBezTo>
                    <a:pt x="165" y="403"/>
                    <a:pt x="166" y="402"/>
                    <a:pt x="166" y="402"/>
                  </a:cubicBezTo>
                  <a:cubicBezTo>
                    <a:pt x="168" y="403"/>
                    <a:pt x="172" y="408"/>
                    <a:pt x="173" y="410"/>
                  </a:cubicBezTo>
                  <a:cubicBezTo>
                    <a:pt x="173" y="412"/>
                    <a:pt x="174" y="416"/>
                    <a:pt x="175" y="418"/>
                  </a:cubicBezTo>
                  <a:cubicBezTo>
                    <a:pt x="176" y="419"/>
                    <a:pt x="179" y="422"/>
                    <a:pt x="181" y="422"/>
                  </a:cubicBezTo>
                  <a:cubicBezTo>
                    <a:pt x="183" y="422"/>
                    <a:pt x="179" y="418"/>
                    <a:pt x="180" y="416"/>
                  </a:cubicBezTo>
                  <a:cubicBezTo>
                    <a:pt x="181" y="414"/>
                    <a:pt x="179" y="408"/>
                    <a:pt x="179" y="408"/>
                  </a:cubicBezTo>
                  <a:cubicBezTo>
                    <a:pt x="179" y="408"/>
                    <a:pt x="180" y="402"/>
                    <a:pt x="182" y="401"/>
                  </a:cubicBezTo>
                  <a:cubicBezTo>
                    <a:pt x="184" y="400"/>
                    <a:pt x="188" y="401"/>
                    <a:pt x="190" y="401"/>
                  </a:cubicBezTo>
                  <a:cubicBezTo>
                    <a:pt x="192" y="402"/>
                    <a:pt x="196" y="405"/>
                    <a:pt x="198" y="404"/>
                  </a:cubicBezTo>
                  <a:cubicBezTo>
                    <a:pt x="200" y="403"/>
                    <a:pt x="195" y="398"/>
                    <a:pt x="196" y="396"/>
                  </a:cubicBezTo>
                  <a:cubicBezTo>
                    <a:pt x="197" y="394"/>
                    <a:pt x="201" y="390"/>
                    <a:pt x="202" y="387"/>
                  </a:cubicBezTo>
                  <a:cubicBezTo>
                    <a:pt x="202" y="385"/>
                    <a:pt x="198" y="380"/>
                    <a:pt x="198" y="380"/>
                  </a:cubicBezTo>
                  <a:cubicBezTo>
                    <a:pt x="198" y="380"/>
                    <a:pt x="199" y="374"/>
                    <a:pt x="199" y="372"/>
                  </a:cubicBezTo>
                  <a:cubicBezTo>
                    <a:pt x="200" y="370"/>
                    <a:pt x="199" y="366"/>
                    <a:pt x="199" y="364"/>
                  </a:cubicBezTo>
                  <a:cubicBezTo>
                    <a:pt x="199" y="362"/>
                    <a:pt x="201" y="359"/>
                    <a:pt x="201" y="357"/>
                  </a:cubicBezTo>
                  <a:cubicBezTo>
                    <a:pt x="201" y="355"/>
                    <a:pt x="202" y="351"/>
                    <a:pt x="202" y="349"/>
                  </a:cubicBezTo>
                  <a:cubicBezTo>
                    <a:pt x="201" y="347"/>
                    <a:pt x="191" y="344"/>
                    <a:pt x="191" y="342"/>
                  </a:cubicBezTo>
                  <a:cubicBezTo>
                    <a:pt x="192" y="339"/>
                    <a:pt x="201" y="338"/>
                    <a:pt x="202" y="335"/>
                  </a:cubicBezTo>
                  <a:cubicBezTo>
                    <a:pt x="204" y="333"/>
                    <a:pt x="197" y="324"/>
                    <a:pt x="200" y="323"/>
                  </a:cubicBezTo>
                  <a:cubicBezTo>
                    <a:pt x="202" y="322"/>
                    <a:pt x="211" y="328"/>
                    <a:pt x="212" y="330"/>
                  </a:cubicBezTo>
                  <a:cubicBezTo>
                    <a:pt x="212" y="332"/>
                    <a:pt x="209" y="336"/>
                    <a:pt x="210" y="338"/>
                  </a:cubicBezTo>
                  <a:cubicBezTo>
                    <a:pt x="212" y="339"/>
                    <a:pt x="216" y="335"/>
                    <a:pt x="218" y="336"/>
                  </a:cubicBezTo>
                  <a:cubicBezTo>
                    <a:pt x="219" y="337"/>
                    <a:pt x="217" y="342"/>
                    <a:pt x="217" y="344"/>
                  </a:cubicBezTo>
                  <a:cubicBezTo>
                    <a:pt x="216" y="346"/>
                    <a:pt x="212" y="348"/>
                    <a:pt x="213" y="349"/>
                  </a:cubicBezTo>
                  <a:cubicBezTo>
                    <a:pt x="215" y="353"/>
                    <a:pt x="225" y="348"/>
                    <a:pt x="228" y="349"/>
                  </a:cubicBezTo>
                  <a:cubicBezTo>
                    <a:pt x="231" y="350"/>
                    <a:pt x="237" y="356"/>
                    <a:pt x="239" y="353"/>
                  </a:cubicBezTo>
                  <a:cubicBezTo>
                    <a:pt x="241" y="352"/>
                    <a:pt x="236" y="348"/>
                    <a:pt x="235" y="346"/>
                  </a:cubicBezTo>
                  <a:cubicBezTo>
                    <a:pt x="234" y="344"/>
                    <a:pt x="233" y="338"/>
                    <a:pt x="233" y="338"/>
                  </a:cubicBezTo>
                  <a:cubicBezTo>
                    <a:pt x="233" y="338"/>
                    <a:pt x="235" y="332"/>
                    <a:pt x="236" y="330"/>
                  </a:cubicBezTo>
                  <a:cubicBezTo>
                    <a:pt x="236" y="329"/>
                    <a:pt x="233" y="324"/>
                    <a:pt x="235" y="323"/>
                  </a:cubicBezTo>
                  <a:cubicBezTo>
                    <a:pt x="237" y="322"/>
                    <a:pt x="239" y="330"/>
                    <a:pt x="241" y="330"/>
                  </a:cubicBezTo>
                  <a:cubicBezTo>
                    <a:pt x="244" y="331"/>
                    <a:pt x="248" y="326"/>
                    <a:pt x="249" y="324"/>
                  </a:cubicBezTo>
                  <a:cubicBezTo>
                    <a:pt x="249" y="322"/>
                    <a:pt x="246" y="318"/>
                    <a:pt x="247" y="317"/>
                  </a:cubicBezTo>
                  <a:cubicBezTo>
                    <a:pt x="251" y="313"/>
                    <a:pt x="267" y="322"/>
                    <a:pt x="267" y="322"/>
                  </a:cubicBezTo>
                  <a:cubicBezTo>
                    <a:pt x="267" y="322"/>
                    <a:pt x="269" y="330"/>
                    <a:pt x="272" y="330"/>
                  </a:cubicBezTo>
                  <a:cubicBezTo>
                    <a:pt x="274" y="329"/>
                    <a:pt x="274" y="324"/>
                    <a:pt x="274" y="322"/>
                  </a:cubicBezTo>
                  <a:cubicBezTo>
                    <a:pt x="274" y="321"/>
                    <a:pt x="271" y="317"/>
                    <a:pt x="272" y="315"/>
                  </a:cubicBezTo>
                  <a:cubicBezTo>
                    <a:pt x="272" y="314"/>
                    <a:pt x="275" y="311"/>
                    <a:pt x="276" y="312"/>
                  </a:cubicBezTo>
                  <a:cubicBezTo>
                    <a:pt x="278" y="312"/>
                    <a:pt x="279" y="319"/>
                    <a:pt x="281" y="319"/>
                  </a:cubicBezTo>
                  <a:cubicBezTo>
                    <a:pt x="281" y="319"/>
                    <a:pt x="283" y="319"/>
                    <a:pt x="284" y="319"/>
                  </a:cubicBezTo>
                  <a:cubicBezTo>
                    <a:pt x="285" y="318"/>
                    <a:pt x="285" y="313"/>
                    <a:pt x="285" y="311"/>
                  </a:cubicBezTo>
                  <a:cubicBezTo>
                    <a:pt x="285" y="309"/>
                    <a:pt x="281" y="306"/>
                    <a:pt x="281" y="304"/>
                  </a:cubicBezTo>
                  <a:cubicBezTo>
                    <a:pt x="280" y="301"/>
                    <a:pt x="283" y="295"/>
                    <a:pt x="285" y="295"/>
                  </a:cubicBezTo>
                  <a:cubicBezTo>
                    <a:pt x="288" y="295"/>
                    <a:pt x="290" y="302"/>
                    <a:pt x="292" y="303"/>
                  </a:cubicBezTo>
                  <a:cubicBezTo>
                    <a:pt x="293" y="303"/>
                    <a:pt x="295" y="304"/>
                    <a:pt x="295" y="304"/>
                  </a:cubicBezTo>
                  <a:cubicBezTo>
                    <a:pt x="297" y="303"/>
                    <a:pt x="295" y="298"/>
                    <a:pt x="297" y="296"/>
                  </a:cubicBezTo>
                  <a:cubicBezTo>
                    <a:pt x="298" y="295"/>
                    <a:pt x="303" y="298"/>
                    <a:pt x="304" y="296"/>
                  </a:cubicBezTo>
                  <a:cubicBezTo>
                    <a:pt x="305" y="295"/>
                    <a:pt x="303" y="291"/>
                    <a:pt x="304" y="289"/>
                  </a:cubicBezTo>
                  <a:cubicBezTo>
                    <a:pt x="305" y="288"/>
                    <a:pt x="309" y="286"/>
                    <a:pt x="311" y="286"/>
                  </a:cubicBezTo>
                  <a:cubicBezTo>
                    <a:pt x="311" y="286"/>
                    <a:pt x="311" y="286"/>
                    <a:pt x="311" y="286"/>
                  </a:cubicBezTo>
                  <a:cubicBezTo>
                    <a:pt x="312" y="285"/>
                    <a:pt x="310" y="281"/>
                    <a:pt x="311" y="281"/>
                  </a:cubicBezTo>
                  <a:cubicBezTo>
                    <a:pt x="313" y="279"/>
                    <a:pt x="317" y="283"/>
                    <a:pt x="318" y="282"/>
                  </a:cubicBezTo>
                  <a:cubicBezTo>
                    <a:pt x="318" y="282"/>
                    <a:pt x="322" y="277"/>
                    <a:pt x="325" y="276"/>
                  </a:cubicBezTo>
                  <a:cubicBezTo>
                    <a:pt x="327" y="275"/>
                    <a:pt x="331" y="272"/>
                    <a:pt x="332" y="271"/>
                  </a:cubicBezTo>
                  <a:cubicBezTo>
                    <a:pt x="335" y="267"/>
                    <a:pt x="340" y="256"/>
                    <a:pt x="340" y="256"/>
                  </a:cubicBezTo>
                  <a:cubicBezTo>
                    <a:pt x="340" y="256"/>
                    <a:pt x="341" y="251"/>
                    <a:pt x="341" y="249"/>
                  </a:cubicBezTo>
                  <a:cubicBezTo>
                    <a:pt x="340" y="247"/>
                    <a:pt x="337" y="245"/>
                    <a:pt x="335" y="245"/>
                  </a:cubicBezTo>
                  <a:cubicBezTo>
                    <a:pt x="333" y="246"/>
                    <a:pt x="332" y="252"/>
                    <a:pt x="329" y="252"/>
                  </a:cubicBezTo>
                  <a:cubicBezTo>
                    <a:pt x="327" y="253"/>
                    <a:pt x="322" y="248"/>
                    <a:pt x="322" y="246"/>
                  </a:cubicBezTo>
                  <a:cubicBezTo>
                    <a:pt x="322" y="242"/>
                    <a:pt x="332" y="238"/>
                    <a:pt x="331" y="234"/>
                  </a:cubicBezTo>
                  <a:cubicBezTo>
                    <a:pt x="331" y="229"/>
                    <a:pt x="321" y="223"/>
                    <a:pt x="318" y="219"/>
                  </a:cubicBezTo>
                  <a:cubicBezTo>
                    <a:pt x="318" y="219"/>
                    <a:pt x="317" y="219"/>
                    <a:pt x="317" y="219"/>
                  </a:cubicBezTo>
                  <a:cubicBezTo>
                    <a:pt x="317" y="218"/>
                    <a:pt x="317" y="218"/>
                    <a:pt x="316" y="218"/>
                  </a:cubicBezTo>
                  <a:cubicBezTo>
                    <a:pt x="315" y="217"/>
                    <a:pt x="313" y="217"/>
                    <a:pt x="311" y="216"/>
                  </a:cubicBezTo>
                  <a:cubicBezTo>
                    <a:pt x="310" y="216"/>
                    <a:pt x="307" y="216"/>
                    <a:pt x="305" y="216"/>
                  </a:cubicBezTo>
                  <a:cubicBezTo>
                    <a:pt x="304" y="217"/>
                    <a:pt x="302" y="223"/>
                    <a:pt x="300" y="223"/>
                  </a:cubicBezTo>
                  <a:cubicBezTo>
                    <a:pt x="297" y="223"/>
                    <a:pt x="292" y="216"/>
                    <a:pt x="292" y="216"/>
                  </a:cubicBezTo>
                  <a:cubicBezTo>
                    <a:pt x="292" y="216"/>
                    <a:pt x="288" y="211"/>
                    <a:pt x="287" y="208"/>
                  </a:cubicBezTo>
                  <a:cubicBezTo>
                    <a:pt x="287" y="207"/>
                    <a:pt x="288" y="202"/>
                    <a:pt x="287" y="201"/>
                  </a:cubicBezTo>
                  <a:cubicBezTo>
                    <a:pt x="287" y="198"/>
                    <a:pt x="283" y="195"/>
                    <a:pt x="282" y="193"/>
                  </a:cubicBezTo>
                  <a:cubicBezTo>
                    <a:pt x="281" y="192"/>
                    <a:pt x="280" y="188"/>
                    <a:pt x="280" y="186"/>
                  </a:cubicBezTo>
                  <a:cubicBezTo>
                    <a:pt x="279" y="184"/>
                    <a:pt x="282" y="180"/>
                    <a:pt x="282" y="178"/>
                  </a:cubicBezTo>
                  <a:cubicBezTo>
                    <a:pt x="281" y="177"/>
                    <a:pt x="278" y="175"/>
                    <a:pt x="277" y="175"/>
                  </a:cubicBezTo>
                  <a:cubicBezTo>
                    <a:pt x="275" y="174"/>
                    <a:pt x="271" y="177"/>
                    <a:pt x="269" y="177"/>
                  </a:cubicBezTo>
                  <a:cubicBezTo>
                    <a:pt x="268" y="178"/>
                    <a:pt x="263" y="178"/>
                    <a:pt x="262" y="177"/>
                  </a:cubicBezTo>
                  <a:cubicBezTo>
                    <a:pt x="259" y="177"/>
                    <a:pt x="256" y="173"/>
                    <a:pt x="254" y="172"/>
                  </a:cubicBezTo>
                  <a:cubicBezTo>
                    <a:pt x="252" y="172"/>
                    <a:pt x="248" y="174"/>
                    <a:pt x="246" y="173"/>
                  </a:cubicBezTo>
                  <a:cubicBezTo>
                    <a:pt x="245" y="172"/>
                    <a:pt x="244" y="168"/>
                    <a:pt x="244" y="166"/>
                  </a:cubicBezTo>
                  <a:cubicBezTo>
                    <a:pt x="244" y="164"/>
                    <a:pt x="245" y="161"/>
                    <a:pt x="245" y="159"/>
                  </a:cubicBezTo>
                  <a:cubicBezTo>
                    <a:pt x="244" y="157"/>
                    <a:pt x="241" y="154"/>
                    <a:pt x="241" y="152"/>
                  </a:cubicBezTo>
                  <a:cubicBezTo>
                    <a:pt x="240" y="151"/>
                    <a:pt x="241" y="147"/>
                    <a:pt x="241" y="145"/>
                  </a:cubicBezTo>
                  <a:cubicBezTo>
                    <a:pt x="239" y="138"/>
                    <a:pt x="231" y="120"/>
                    <a:pt x="231" y="120"/>
                  </a:cubicBezTo>
                  <a:cubicBezTo>
                    <a:pt x="199" y="21"/>
                    <a:pt x="199" y="21"/>
                    <a:pt x="199" y="21"/>
                  </a:cubicBezTo>
                  <a:cubicBezTo>
                    <a:pt x="199" y="21"/>
                    <a:pt x="194" y="20"/>
                    <a:pt x="192" y="20"/>
                  </a:cubicBezTo>
                  <a:cubicBezTo>
                    <a:pt x="188" y="18"/>
                    <a:pt x="181" y="11"/>
                    <a:pt x="177" y="9"/>
                  </a:cubicBezTo>
                  <a:cubicBezTo>
                    <a:pt x="174" y="7"/>
                    <a:pt x="166" y="4"/>
                    <a:pt x="162" y="2"/>
                  </a:cubicBezTo>
                  <a:cubicBezTo>
                    <a:pt x="160" y="2"/>
                    <a:pt x="156" y="0"/>
                    <a:pt x="154" y="0"/>
                  </a:cubicBezTo>
                  <a:cubicBezTo>
                    <a:pt x="152" y="0"/>
                    <a:pt x="147" y="2"/>
                    <a:pt x="145" y="4"/>
                  </a:cubicBezTo>
                  <a:cubicBezTo>
                    <a:pt x="143" y="5"/>
                    <a:pt x="141" y="10"/>
                    <a:pt x="140" y="12"/>
                  </a:cubicBezTo>
                  <a:cubicBezTo>
                    <a:pt x="138" y="13"/>
                    <a:pt x="134" y="14"/>
                    <a:pt x="132" y="15"/>
                  </a:cubicBezTo>
                  <a:cubicBezTo>
                    <a:pt x="130" y="17"/>
                    <a:pt x="128" y="22"/>
                    <a:pt x="126" y="23"/>
                  </a:cubicBezTo>
                  <a:cubicBezTo>
                    <a:pt x="124" y="24"/>
                    <a:pt x="120" y="25"/>
                    <a:pt x="119" y="26"/>
                  </a:cubicBezTo>
                  <a:cubicBezTo>
                    <a:pt x="117" y="27"/>
                    <a:pt x="114" y="33"/>
                    <a:pt x="111" y="33"/>
                  </a:cubicBezTo>
                  <a:cubicBezTo>
                    <a:pt x="109" y="34"/>
                    <a:pt x="105" y="32"/>
                    <a:pt x="103" y="31"/>
                  </a:cubicBezTo>
                  <a:cubicBezTo>
                    <a:pt x="100" y="30"/>
                    <a:pt x="96" y="27"/>
                    <a:pt x="94" y="25"/>
                  </a:cubicBezTo>
                  <a:cubicBezTo>
                    <a:pt x="92" y="21"/>
                    <a:pt x="93" y="12"/>
                    <a:pt x="90" y="9"/>
                  </a:cubicBezTo>
                  <a:cubicBezTo>
                    <a:pt x="88" y="8"/>
                    <a:pt x="83" y="9"/>
                    <a:pt x="83" y="9"/>
                  </a:cubicBezTo>
                  <a:cubicBezTo>
                    <a:pt x="75" y="10"/>
                    <a:pt x="75" y="10"/>
                    <a:pt x="75" y="10"/>
                  </a:cubicBezTo>
                  <a:cubicBezTo>
                    <a:pt x="41" y="113"/>
                    <a:pt x="41" y="113"/>
                    <a:pt x="41" y="113"/>
                  </a:cubicBezTo>
                  <a:cubicBezTo>
                    <a:pt x="46" y="144"/>
                    <a:pt x="46" y="144"/>
                    <a:pt x="46" y="144"/>
                  </a:cubicBezTo>
                  <a:cubicBezTo>
                    <a:pt x="46" y="144"/>
                    <a:pt x="40" y="151"/>
                    <a:pt x="39" y="154"/>
                  </a:cubicBezTo>
                  <a:cubicBezTo>
                    <a:pt x="37" y="160"/>
                    <a:pt x="35" y="171"/>
                    <a:pt x="36" y="177"/>
                  </a:cubicBezTo>
                  <a:cubicBezTo>
                    <a:pt x="36" y="179"/>
                    <a:pt x="40" y="182"/>
                    <a:pt x="40" y="184"/>
                  </a:cubicBezTo>
                  <a:cubicBezTo>
                    <a:pt x="41" y="188"/>
                    <a:pt x="39" y="196"/>
                    <a:pt x="40" y="199"/>
                  </a:cubicBezTo>
                  <a:cubicBezTo>
                    <a:pt x="41" y="201"/>
                    <a:pt x="46" y="204"/>
                    <a:pt x="47" y="206"/>
                  </a:cubicBezTo>
                  <a:cubicBezTo>
                    <a:pt x="47" y="211"/>
                    <a:pt x="38" y="218"/>
                    <a:pt x="38" y="222"/>
                  </a:cubicBezTo>
                  <a:cubicBezTo>
                    <a:pt x="38" y="224"/>
                    <a:pt x="42" y="226"/>
                    <a:pt x="42" y="228"/>
                  </a:cubicBezTo>
                  <a:cubicBezTo>
                    <a:pt x="41" y="233"/>
                    <a:pt x="32" y="239"/>
                    <a:pt x="29" y="243"/>
                  </a:cubicBezTo>
                  <a:cubicBezTo>
                    <a:pt x="28" y="245"/>
                    <a:pt x="26" y="248"/>
                    <a:pt x="25" y="250"/>
                  </a:cubicBezTo>
                  <a:cubicBezTo>
                    <a:pt x="24" y="252"/>
                    <a:pt x="24" y="256"/>
                    <a:pt x="24" y="258"/>
                  </a:cubicBezTo>
                  <a:cubicBezTo>
                    <a:pt x="23" y="259"/>
                    <a:pt x="22" y="259"/>
                    <a:pt x="22" y="260"/>
                  </a:cubicBezTo>
                  <a:cubicBezTo>
                    <a:pt x="21" y="264"/>
                    <a:pt x="33" y="272"/>
                    <a:pt x="30" y="275"/>
                  </a:cubicBezTo>
                  <a:cubicBezTo>
                    <a:pt x="29" y="276"/>
                    <a:pt x="25" y="272"/>
                    <a:pt x="23" y="272"/>
                  </a:cubicBezTo>
                  <a:cubicBezTo>
                    <a:pt x="22" y="272"/>
                    <a:pt x="21" y="272"/>
                    <a:pt x="21" y="273"/>
                  </a:cubicBezTo>
                  <a:cubicBezTo>
                    <a:pt x="19" y="274"/>
                    <a:pt x="19" y="278"/>
                    <a:pt x="19" y="280"/>
                  </a:cubicBezTo>
                  <a:cubicBezTo>
                    <a:pt x="19" y="282"/>
                    <a:pt x="21" y="287"/>
                    <a:pt x="21" y="287"/>
                  </a:cubicBezTo>
                  <a:cubicBezTo>
                    <a:pt x="13" y="290"/>
                    <a:pt x="13" y="290"/>
                    <a:pt x="13" y="290"/>
                  </a:cubicBezTo>
                  <a:cubicBezTo>
                    <a:pt x="6" y="286"/>
                    <a:pt x="6" y="286"/>
                    <a:pt x="6" y="286"/>
                  </a:cubicBezTo>
                  <a:cubicBezTo>
                    <a:pt x="0" y="294"/>
                    <a:pt x="0" y="294"/>
                    <a:pt x="0" y="294"/>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7">
              <a:extLst>
                <a:ext uri="{FF2B5EF4-FFF2-40B4-BE49-F238E27FC236}">
                  <a16:creationId xmlns:a16="http://schemas.microsoft.com/office/drawing/2014/main" id="{CBC2773F-CDFB-4AE3-B5DD-74CE932954A4}"/>
                </a:ext>
              </a:extLst>
            </p:cNvPr>
            <p:cNvSpPr>
              <a:spLocks/>
            </p:cNvSpPr>
            <p:nvPr/>
          </p:nvSpPr>
          <p:spPr bwMode="auto">
            <a:xfrm>
              <a:off x="8076821" y="2894421"/>
              <a:ext cx="163738" cy="359819"/>
            </a:xfrm>
            <a:custGeom>
              <a:avLst/>
              <a:gdLst>
                <a:gd name="T0" fmla="*/ 139 w 147"/>
                <a:gd name="T1" fmla="*/ 145 h 323"/>
                <a:gd name="T2" fmla="*/ 139 w 147"/>
                <a:gd name="T3" fmla="*/ 118 h 323"/>
                <a:gd name="T4" fmla="*/ 117 w 147"/>
                <a:gd name="T5" fmla="*/ 104 h 323"/>
                <a:gd name="T6" fmla="*/ 104 w 147"/>
                <a:gd name="T7" fmla="*/ 106 h 323"/>
                <a:gd name="T8" fmla="*/ 110 w 147"/>
                <a:gd name="T9" fmla="*/ 78 h 323"/>
                <a:gd name="T10" fmla="*/ 119 w 147"/>
                <a:gd name="T11" fmla="*/ 62 h 323"/>
                <a:gd name="T12" fmla="*/ 124 w 147"/>
                <a:gd name="T13" fmla="*/ 40 h 323"/>
                <a:gd name="T14" fmla="*/ 44 w 147"/>
                <a:gd name="T15" fmla="*/ 0 h 323"/>
                <a:gd name="T16" fmla="*/ 22 w 147"/>
                <a:gd name="T17" fmla="*/ 12 h 323"/>
                <a:gd name="T18" fmla="*/ 18 w 147"/>
                <a:gd name="T19" fmla="*/ 29 h 323"/>
                <a:gd name="T20" fmla="*/ 0 w 147"/>
                <a:gd name="T21" fmla="*/ 60 h 323"/>
                <a:gd name="T22" fmla="*/ 8 w 147"/>
                <a:gd name="T23" fmla="*/ 70 h 323"/>
                <a:gd name="T24" fmla="*/ 6 w 147"/>
                <a:gd name="T25" fmla="*/ 86 h 323"/>
                <a:gd name="T26" fmla="*/ 12 w 147"/>
                <a:gd name="T27" fmla="*/ 116 h 323"/>
                <a:gd name="T28" fmla="*/ 17 w 147"/>
                <a:gd name="T29" fmla="*/ 128 h 323"/>
                <a:gd name="T30" fmla="*/ 30 w 147"/>
                <a:gd name="T31" fmla="*/ 145 h 323"/>
                <a:gd name="T32" fmla="*/ 43 w 147"/>
                <a:gd name="T33" fmla="*/ 156 h 323"/>
                <a:gd name="T34" fmla="*/ 53 w 147"/>
                <a:gd name="T35" fmla="*/ 167 h 323"/>
                <a:gd name="T36" fmla="*/ 42 w 147"/>
                <a:gd name="T37" fmla="*/ 180 h 323"/>
                <a:gd name="T38" fmla="*/ 34 w 147"/>
                <a:gd name="T39" fmla="*/ 193 h 323"/>
                <a:gd name="T40" fmla="*/ 27 w 147"/>
                <a:gd name="T41" fmla="*/ 206 h 323"/>
                <a:gd name="T42" fmla="*/ 1 w 147"/>
                <a:gd name="T43" fmla="*/ 245 h 323"/>
                <a:gd name="T44" fmla="*/ 6 w 147"/>
                <a:gd name="T45" fmla="*/ 257 h 323"/>
                <a:gd name="T46" fmla="*/ 28 w 147"/>
                <a:gd name="T47" fmla="*/ 278 h 323"/>
                <a:gd name="T48" fmla="*/ 42 w 147"/>
                <a:gd name="T49" fmla="*/ 286 h 323"/>
                <a:gd name="T50" fmla="*/ 63 w 147"/>
                <a:gd name="T51" fmla="*/ 291 h 323"/>
                <a:gd name="T52" fmla="*/ 80 w 147"/>
                <a:gd name="T53" fmla="*/ 297 h 323"/>
                <a:gd name="T54" fmla="*/ 77 w 147"/>
                <a:gd name="T55" fmla="*/ 312 h 323"/>
                <a:gd name="T56" fmla="*/ 90 w 147"/>
                <a:gd name="T57" fmla="*/ 321 h 323"/>
                <a:gd name="T58" fmla="*/ 97 w 147"/>
                <a:gd name="T59" fmla="*/ 305 h 323"/>
                <a:gd name="T60" fmla="*/ 105 w 147"/>
                <a:gd name="T61" fmla="*/ 286 h 323"/>
                <a:gd name="T62" fmla="*/ 110 w 147"/>
                <a:gd name="T63" fmla="*/ 270 h 323"/>
                <a:gd name="T64" fmla="*/ 113 w 147"/>
                <a:gd name="T65" fmla="*/ 259 h 323"/>
                <a:gd name="T66" fmla="*/ 119 w 147"/>
                <a:gd name="T67" fmla="*/ 249 h 323"/>
                <a:gd name="T68" fmla="*/ 120 w 147"/>
                <a:gd name="T69" fmla="*/ 234 h 323"/>
                <a:gd name="T70" fmla="*/ 129 w 147"/>
                <a:gd name="T71" fmla="*/ 224 h 323"/>
                <a:gd name="T72" fmla="*/ 135 w 147"/>
                <a:gd name="T73" fmla="*/ 212 h 323"/>
                <a:gd name="T74" fmla="*/ 131 w 147"/>
                <a:gd name="T75" fmla="*/ 194 h 323"/>
                <a:gd name="T76" fmla="*/ 128 w 147"/>
                <a:gd name="T77" fmla="*/ 173 h 323"/>
                <a:gd name="T78" fmla="*/ 122 w 147"/>
                <a:gd name="T79" fmla="*/ 164 h 323"/>
                <a:gd name="T80" fmla="*/ 127 w 147"/>
                <a:gd name="T81" fmla="*/ 162 h 323"/>
                <a:gd name="T82" fmla="*/ 131 w 147"/>
                <a:gd name="T83" fmla="*/ 171 h 323"/>
                <a:gd name="T84" fmla="*/ 145 w 147"/>
                <a:gd name="T85" fmla="*/ 15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7" h="323">
                  <a:moveTo>
                    <a:pt x="145" y="153"/>
                  </a:moveTo>
                  <a:cubicBezTo>
                    <a:pt x="144" y="151"/>
                    <a:pt x="143" y="150"/>
                    <a:pt x="141" y="148"/>
                  </a:cubicBezTo>
                  <a:cubicBezTo>
                    <a:pt x="140" y="147"/>
                    <a:pt x="139" y="146"/>
                    <a:pt x="139" y="145"/>
                  </a:cubicBezTo>
                  <a:cubicBezTo>
                    <a:pt x="138" y="142"/>
                    <a:pt x="138" y="136"/>
                    <a:pt x="139" y="130"/>
                  </a:cubicBezTo>
                  <a:cubicBezTo>
                    <a:pt x="139" y="126"/>
                    <a:pt x="139" y="122"/>
                    <a:pt x="139" y="120"/>
                  </a:cubicBezTo>
                  <a:cubicBezTo>
                    <a:pt x="139" y="118"/>
                    <a:pt x="139" y="118"/>
                    <a:pt x="139" y="118"/>
                  </a:cubicBezTo>
                  <a:cubicBezTo>
                    <a:pt x="138" y="113"/>
                    <a:pt x="138" y="109"/>
                    <a:pt x="136" y="107"/>
                  </a:cubicBezTo>
                  <a:cubicBezTo>
                    <a:pt x="133" y="105"/>
                    <a:pt x="129" y="104"/>
                    <a:pt x="122" y="104"/>
                  </a:cubicBezTo>
                  <a:cubicBezTo>
                    <a:pt x="120" y="104"/>
                    <a:pt x="118" y="104"/>
                    <a:pt x="117" y="104"/>
                  </a:cubicBezTo>
                  <a:cubicBezTo>
                    <a:pt x="115" y="105"/>
                    <a:pt x="114" y="105"/>
                    <a:pt x="112" y="106"/>
                  </a:cubicBezTo>
                  <a:cubicBezTo>
                    <a:pt x="111" y="106"/>
                    <a:pt x="109" y="107"/>
                    <a:pt x="108" y="107"/>
                  </a:cubicBezTo>
                  <a:cubicBezTo>
                    <a:pt x="107" y="107"/>
                    <a:pt x="105" y="106"/>
                    <a:pt x="104" y="106"/>
                  </a:cubicBezTo>
                  <a:cubicBezTo>
                    <a:pt x="102" y="104"/>
                    <a:pt x="102" y="95"/>
                    <a:pt x="105" y="85"/>
                  </a:cubicBezTo>
                  <a:cubicBezTo>
                    <a:pt x="106" y="81"/>
                    <a:pt x="107" y="78"/>
                    <a:pt x="108" y="77"/>
                  </a:cubicBezTo>
                  <a:cubicBezTo>
                    <a:pt x="108" y="78"/>
                    <a:pt x="109" y="78"/>
                    <a:pt x="110" y="78"/>
                  </a:cubicBezTo>
                  <a:cubicBezTo>
                    <a:pt x="114" y="77"/>
                    <a:pt x="119" y="72"/>
                    <a:pt x="120" y="68"/>
                  </a:cubicBezTo>
                  <a:cubicBezTo>
                    <a:pt x="121" y="66"/>
                    <a:pt x="120" y="65"/>
                    <a:pt x="120" y="63"/>
                  </a:cubicBezTo>
                  <a:cubicBezTo>
                    <a:pt x="120" y="63"/>
                    <a:pt x="119" y="62"/>
                    <a:pt x="119" y="62"/>
                  </a:cubicBezTo>
                  <a:cubicBezTo>
                    <a:pt x="120" y="60"/>
                    <a:pt x="120" y="57"/>
                    <a:pt x="121" y="55"/>
                  </a:cubicBezTo>
                  <a:cubicBezTo>
                    <a:pt x="122" y="53"/>
                    <a:pt x="122" y="51"/>
                    <a:pt x="123" y="50"/>
                  </a:cubicBezTo>
                  <a:cubicBezTo>
                    <a:pt x="123" y="48"/>
                    <a:pt x="124" y="43"/>
                    <a:pt x="124" y="40"/>
                  </a:cubicBezTo>
                  <a:cubicBezTo>
                    <a:pt x="124" y="40"/>
                    <a:pt x="124" y="40"/>
                    <a:pt x="124" y="39"/>
                  </a:cubicBezTo>
                  <a:cubicBezTo>
                    <a:pt x="124" y="35"/>
                    <a:pt x="124" y="32"/>
                    <a:pt x="122" y="30"/>
                  </a:cubicBezTo>
                  <a:cubicBezTo>
                    <a:pt x="109" y="13"/>
                    <a:pt x="68" y="0"/>
                    <a:pt x="44" y="0"/>
                  </a:cubicBezTo>
                  <a:cubicBezTo>
                    <a:pt x="39" y="0"/>
                    <a:pt x="35" y="0"/>
                    <a:pt x="32" y="1"/>
                  </a:cubicBezTo>
                  <a:cubicBezTo>
                    <a:pt x="28" y="2"/>
                    <a:pt x="25" y="7"/>
                    <a:pt x="22" y="12"/>
                  </a:cubicBezTo>
                  <a:cubicBezTo>
                    <a:pt x="22" y="12"/>
                    <a:pt x="22" y="12"/>
                    <a:pt x="22" y="12"/>
                  </a:cubicBezTo>
                  <a:cubicBezTo>
                    <a:pt x="20" y="15"/>
                    <a:pt x="19" y="19"/>
                    <a:pt x="18" y="21"/>
                  </a:cubicBezTo>
                  <a:cubicBezTo>
                    <a:pt x="18" y="23"/>
                    <a:pt x="18" y="24"/>
                    <a:pt x="18" y="26"/>
                  </a:cubicBezTo>
                  <a:cubicBezTo>
                    <a:pt x="18" y="27"/>
                    <a:pt x="18" y="29"/>
                    <a:pt x="18" y="29"/>
                  </a:cubicBezTo>
                  <a:cubicBezTo>
                    <a:pt x="17" y="35"/>
                    <a:pt x="12" y="46"/>
                    <a:pt x="9" y="50"/>
                  </a:cubicBezTo>
                  <a:cubicBezTo>
                    <a:pt x="8" y="51"/>
                    <a:pt x="7" y="52"/>
                    <a:pt x="6" y="53"/>
                  </a:cubicBezTo>
                  <a:cubicBezTo>
                    <a:pt x="3" y="55"/>
                    <a:pt x="1" y="57"/>
                    <a:pt x="0" y="60"/>
                  </a:cubicBezTo>
                  <a:cubicBezTo>
                    <a:pt x="0" y="63"/>
                    <a:pt x="3" y="67"/>
                    <a:pt x="4" y="68"/>
                  </a:cubicBezTo>
                  <a:cubicBezTo>
                    <a:pt x="5" y="69"/>
                    <a:pt x="6" y="69"/>
                    <a:pt x="7" y="70"/>
                  </a:cubicBezTo>
                  <a:cubicBezTo>
                    <a:pt x="7" y="70"/>
                    <a:pt x="7" y="70"/>
                    <a:pt x="8" y="70"/>
                  </a:cubicBezTo>
                  <a:cubicBezTo>
                    <a:pt x="9" y="71"/>
                    <a:pt x="11" y="75"/>
                    <a:pt x="11" y="76"/>
                  </a:cubicBezTo>
                  <a:cubicBezTo>
                    <a:pt x="11" y="78"/>
                    <a:pt x="10" y="81"/>
                    <a:pt x="9" y="83"/>
                  </a:cubicBezTo>
                  <a:cubicBezTo>
                    <a:pt x="8" y="84"/>
                    <a:pt x="7" y="85"/>
                    <a:pt x="6" y="86"/>
                  </a:cubicBezTo>
                  <a:cubicBezTo>
                    <a:pt x="4" y="88"/>
                    <a:pt x="3" y="90"/>
                    <a:pt x="2" y="92"/>
                  </a:cubicBezTo>
                  <a:cubicBezTo>
                    <a:pt x="1" y="96"/>
                    <a:pt x="3" y="104"/>
                    <a:pt x="5" y="107"/>
                  </a:cubicBezTo>
                  <a:cubicBezTo>
                    <a:pt x="6" y="110"/>
                    <a:pt x="9" y="114"/>
                    <a:pt x="12" y="116"/>
                  </a:cubicBezTo>
                  <a:cubicBezTo>
                    <a:pt x="11" y="117"/>
                    <a:pt x="9" y="120"/>
                    <a:pt x="11" y="122"/>
                  </a:cubicBezTo>
                  <a:cubicBezTo>
                    <a:pt x="11" y="123"/>
                    <a:pt x="12" y="124"/>
                    <a:pt x="14" y="125"/>
                  </a:cubicBezTo>
                  <a:cubicBezTo>
                    <a:pt x="15" y="126"/>
                    <a:pt x="17" y="127"/>
                    <a:pt x="17" y="128"/>
                  </a:cubicBezTo>
                  <a:cubicBezTo>
                    <a:pt x="19" y="131"/>
                    <a:pt x="24" y="134"/>
                    <a:pt x="27" y="136"/>
                  </a:cubicBezTo>
                  <a:cubicBezTo>
                    <a:pt x="27" y="137"/>
                    <a:pt x="27" y="138"/>
                    <a:pt x="28" y="139"/>
                  </a:cubicBezTo>
                  <a:cubicBezTo>
                    <a:pt x="28" y="142"/>
                    <a:pt x="29" y="144"/>
                    <a:pt x="30" y="145"/>
                  </a:cubicBezTo>
                  <a:cubicBezTo>
                    <a:pt x="31" y="145"/>
                    <a:pt x="33" y="147"/>
                    <a:pt x="34" y="148"/>
                  </a:cubicBezTo>
                  <a:cubicBezTo>
                    <a:pt x="35" y="150"/>
                    <a:pt x="36" y="151"/>
                    <a:pt x="37" y="151"/>
                  </a:cubicBezTo>
                  <a:cubicBezTo>
                    <a:pt x="38" y="153"/>
                    <a:pt x="41" y="155"/>
                    <a:pt x="43" y="156"/>
                  </a:cubicBezTo>
                  <a:cubicBezTo>
                    <a:pt x="47" y="158"/>
                    <a:pt x="50" y="160"/>
                    <a:pt x="51" y="163"/>
                  </a:cubicBezTo>
                  <a:cubicBezTo>
                    <a:pt x="51" y="165"/>
                    <a:pt x="53" y="166"/>
                    <a:pt x="55" y="166"/>
                  </a:cubicBezTo>
                  <a:cubicBezTo>
                    <a:pt x="54" y="166"/>
                    <a:pt x="54" y="167"/>
                    <a:pt x="53" y="167"/>
                  </a:cubicBezTo>
                  <a:cubicBezTo>
                    <a:pt x="52" y="169"/>
                    <a:pt x="50" y="170"/>
                    <a:pt x="49" y="172"/>
                  </a:cubicBezTo>
                  <a:cubicBezTo>
                    <a:pt x="48" y="173"/>
                    <a:pt x="47" y="174"/>
                    <a:pt x="46" y="176"/>
                  </a:cubicBezTo>
                  <a:cubicBezTo>
                    <a:pt x="45" y="178"/>
                    <a:pt x="43" y="180"/>
                    <a:pt x="42" y="180"/>
                  </a:cubicBezTo>
                  <a:cubicBezTo>
                    <a:pt x="42" y="181"/>
                    <a:pt x="42" y="181"/>
                    <a:pt x="41" y="181"/>
                  </a:cubicBezTo>
                  <a:cubicBezTo>
                    <a:pt x="40" y="182"/>
                    <a:pt x="40" y="182"/>
                    <a:pt x="39" y="183"/>
                  </a:cubicBezTo>
                  <a:cubicBezTo>
                    <a:pt x="37" y="185"/>
                    <a:pt x="35" y="190"/>
                    <a:pt x="34" y="193"/>
                  </a:cubicBezTo>
                  <a:cubicBezTo>
                    <a:pt x="34" y="194"/>
                    <a:pt x="34" y="195"/>
                    <a:pt x="34" y="196"/>
                  </a:cubicBezTo>
                  <a:cubicBezTo>
                    <a:pt x="34" y="198"/>
                    <a:pt x="34" y="200"/>
                    <a:pt x="33" y="200"/>
                  </a:cubicBezTo>
                  <a:cubicBezTo>
                    <a:pt x="33" y="202"/>
                    <a:pt x="29" y="204"/>
                    <a:pt x="27" y="206"/>
                  </a:cubicBezTo>
                  <a:cubicBezTo>
                    <a:pt x="11" y="214"/>
                    <a:pt x="8" y="220"/>
                    <a:pt x="4" y="239"/>
                  </a:cubicBezTo>
                  <a:cubicBezTo>
                    <a:pt x="4" y="239"/>
                    <a:pt x="3" y="240"/>
                    <a:pt x="3" y="241"/>
                  </a:cubicBezTo>
                  <a:cubicBezTo>
                    <a:pt x="2" y="242"/>
                    <a:pt x="1" y="244"/>
                    <a:pt x="1" y="245"/>
                  </a:cubicBezTo>
                  <a:cubicBezTo>
                    <a:pt x="1" y="246"/>
                    <a:pt x="0" y="247"/>
                    <a:pt x="0" y="248"/>
                  </a:cubicBezTo>
                  <a:cubicBezTo>
                    <a:pt x="1" y="251"/>
                    <a:pt x="3" y="254"/>
                    <a:pt x="6" y="257"/>
                  </a:cubicBezTo>
                  <a:cubicBezTo>
                    <a:pt x="6" y="257"/>
                    <a:pt x="6" y="257"/>
                    <a:pt x="6" y="257"/>
                  </a:cubicBezTo>
                  <a:cubicBezTo>
                    <a:pt x="5" y="258"/>
                    <a:pt x="4" y="260"/>
                    <a:pt x="4" y="261"/>
                  </a:cubicBezTo>
                  <a:cubicBezTo>
                    <a:pt x="6" y="268"/>
                    <a:pt x="18" y="275"/>
                    <a:pt x="22" y="277"/>
                  </a:cubicBezTo>
                  <a:cubicBezTo>
                    <a:pt x="23" y="277"/>
                    <a:pt x="26" y="278"/>
                    <a:pt x="28" y="278"/>
                  </a:cubicBezTo>
                  <a:cubicBezTo>
                    <a:pt x="29" y="279"/>
                    <a:pt x="30" y="279"/>
                    <a:pt x="31" y="279"/>
                  </a:cubicBezTo>
                  <a:cubicBezTo>
                    <a:pt x="33" y="280"/>
                    <a:pt x="37" y="282"/>
                    <a:pt x="39" y="283"/>
                  </a:cubicBezTo>
                  <a:cubicBezTo>
                    <a:pt x="40" y="284"/>
                    <a:pt x="41" y="285"/>
                    <a:pt x="42" y="286"/>
                  </a:cubicBezTo>
                  <a:cubicBezTo>
                    <a:pt x="46" y="290"/>
                    <a:pt x="50" y="294"/>
                    <a:pt x="55" y="295"/>
                  </a:cubicBezTo>
                  <a:cubicBezTo>
                    <a:pt x="57" y="295"/>
                    <a:pt x="59" y="293"/>
                    <a:pt x="61" y="292"/>
                  </a:cubicBezTo>
                  <a:cubicBezTo>
                    <a:pt x="62" y="292"/>
                    <a:pt x="63" y="291"/>
                    <a:pt x="63" y="291"/>
                  </a:cubicBezTo>
                  <a:cubicBezTo>
                    <a:pt x="66" y="290"/>
                    <a:pt x="70" y="289"/>
                    <a:pt x="73" y="289"/>
                  </a:cubicBezTo>
                  <a:cubicBezTo>
                    <a:pt x="77" y="289"/>
                    <a:pt x="78" y="290"/>
                    <a:pt x="78" y="290"/>
                  </a:cubicBezTo>
                  <a:cubicBezTo>
                    <a:pt x="79" y="291"/>
                    <a:pt x="80" y="294"/>
                    <a:pt x="80" y="297"/>
                  </a:cubicBezTo>
                  <a:cubicBezTo>
                    <a:pt x="81" y="299"/>
                    <a:pt x="80" y="302"/>
                    <a:pt x="79" y="304"/>
                  </a:cubicBezTo>
                  <a:cubicBezTo>
                    <a:pt x="78" y="307"/>
                    <a:pt x="77" y="309"/>
                    <a:pt x="77" y="311"/>
                  </a:cubicBezTo>
                  <a:cubicBezTo>
                    <a:pt x="77" y="312"/>
                    <a:pt x="77" y="312"/>
                    <a:pt x="77" y="312"/>
                  </a:cubicBezTo>
                  <a:cubicBezTo>
                    <a:pt x="77" y="316"/>
                    <a:pt x="77" y="320"/>
                    <a:pt x="79" y="322"/>
                  </a:cubicBezTo>
                  <a:cubicBezTo>
                    <a:pt x="80" y="323"/>
                    <a:pt x="81" y="323"/>
                    <a:pt x="83" y="323"/>
                  </a:cubicBezTo>
                  <a:cubicBezTo>
                    <a:pt x="85" y="323"/>
                    <a:pt x="88" y="322"/>
                    <a:pt x="90" y="321"/>
                  </a:cubicBezTo>
                  <a:cubicBezTo>
                    <a:pt x="92" y="320"/>
                    <a:pt x="95" y="315"/>
                    <a:pt x="96" y="314"/>
                  </a:cubicBezTo>
                  <a:cubicBezTo>
                    <a:pt x="96" y="312"/>
                    <a:pt x="97" y="311"/>
                    <a:pt x="97" y="309"/>
                  </a:cubicBezTo>
                  <a:cubicBezTo>
                    <a:pt x="97" y="307"/>
                    <a:pt x="97" y="306"/>
                    <a:pt x="97" y="305"/>
                  </a:cubicBezTo>
                  <a:cubicBezTo>
                    <a:pt x="98" y="304"/>
                    <a:pt x="99" y="303"/>
                    <a:pt x="100" y="301"/>
                  </a:cubicBezTo>
                  <a:cubicBezTo>
                    <a:pt x="101" y="300"/>
                    <a:pt x="103" y="298"/>
                    <a:pt x="103" y="296"/>
                  </a:cubicBezTo>
                  <a:cubicBezTo>
                    <a:pt x="104" y="294"/>
                    <a:pt x="105" y="290"/>
                    <a:pt x="105" y="286"/>
                  </a:cubicBezTo>
                  <a:cubicBezTo>
                    <a:pt x="106" y="284"/>
                    <a:pt x="106" y="281"/>
                    <a:pt x="106" y="279"/>
                  </a:cubicBezTo>
                  <a:cubicBezTo>
                    <a:pt x="107" y="279"/>
                    <a:pt x="107" y="278"/>
                    <a:pt x="108" y="277"/>
                  </a:cubicBezTo>
                  <a:cubicBezTo>
                    <a:pt x="110" y="275"/>
                    <a:pt x="111" y="272"/>
                    <a:pt x="110" y="270"/>
                  </a:cubicBezTo>
                  <a:cubicBezTo>
                    <a:pt x="110" y="268"/>
                    <a:pt x="108" y="267"/>
                    <a:pt x="107" y="267"/>
                  </a:cubicBezTo>
                  <a:cubicBezTo>
                    <a:pt x="107" y="267"/>
                    <a:pt x="107" y="266"/>
                    <a:pt x="107" y="266"/>
                  </a:cubicBezTo>
                  <a:cubicBezTo>
                    <a:pt x="108" y="263"/>
                    <a:pt x="111" y="260"/>
                    <a:pt x="113" y="259"/>
                  </a:cubicBezTo>
                  <a:cubicBezTo>
                    <a:pt x="114" y="259"/>
                    <a:pt x="114" y="259"/>
                    <a:pt x="115" y="259"/>
                  </a:cubicBezTo>
                  <a:cubicBezTo>
                    <a:pt x="118" y="259"/>
                    <a:pt x="121" y="259"/>
                    <a:pt x="122" y="257"/>
                  </a:cubicBezTo>
                  <a:cubicBezTo>
                    <a:pt x="123" y="254"/>
                    <a:pt x="121" y="251"/>
                    <a:pt x="119" y="249"/>
                  </a:cubicBezTo>
                  <a:cubicBezTo>
                    <a:pt x="118" y="248"/>
                    <a:pt x="118" y="248"/>
                    <a:pt x="117" y="247"/>
                  </a:cubicBezTo>
                  <a:cubicBezTo>
                    <a:pt x="115" y="243"/>
                    <a:pt x="116" y="240"/>
                    <a:pt x="119" y="235"/>
                  </a:cubicBezTo>
                  <a:cubicBezTo>
                    <a:pt x="119" y="235"/>
                    <a:pt x="120" y="234"/>
                    <a:pt x="120" y="234"/>
                  </a:cubicBezTo>
                  <a:cubicBezTo>
                    <a:pt x="120" y="234"/>
                    <a:pt x="122" y="233"/>
                    <a:pt x="122" y="233"/>
                  </a:cubicBezTo>
                  <a:cubicBezTo>
                    <a:pt x="125" y="233"/>
                    <a:pt x="127" y="232"/>
                    <a:pt x="128" y="231"/>
                  </a:cubicBezTo>
                  <a:cubicBezTo>
                    <a:pt x="129" y="229"/>
                    <a:pt x="129" y="226"/>
                    <a:pt x="129" y="224"/>
                  </a:cubicBezTo>
                  <a:cubicBezTo>
                    <a:pt x="130" y="222"/>
                    <a:pt x="130" y="221"/>
                    <a:pt x="130" y="220"/>
                  </a:cubicBezTo>
                  <a:cubicBezTo>
                    <a:pt x="130" y="219"/>
                    <a:pt x="132" y="216"/>
                    <a:pt x="134" y="214"/>
                  </a:cubicBezTo>
                  <a:cubicBezTo>
                    <a:pt x="134" y="213"/>
                    <a:pt x="135" y="213"/>
                    <a:pt x="135" y="212"/>
                  </a:cubicBezTo>
                  <a:cubicBezTo>
                    <a:pt x="135" y="212"/>
                    <a:pt x="139" y="206"/>
                    <a:pt x="139" y="202"/>
                  </a:cubicBezTo>
                  <a:cubicBezTo>
                    <a:pt x="139" y="200"/>
                    <a:pt x="137" y="198"/>
                    <a:pt x="134" y="196"/>
                  </a:cubicBezTo>
                  <a:cubicBezTo>
                    <a:pt x="133" y="196"/>
                    <a:pt x="132" y="194"/>
                    <a:pt x="131" y="194"/>
                  </a:cubicBezTo>
                  <a:cubicBezTo>
                    <a:pt x="131" y="193"/>
                    <a:pt x="131" y="191"/>
                    <a:pt x="130" y="190"/>
                  </a:cubicBezTo>
                  <a:cubicBezTo>
                    <a:pt x="130" y="189"/>
                    <a:pt x="129" y="187"/>
                    <a:pt x="129" y="186"/>
                  </a:cubicBezTo>
                  <a:cubicBezTo>
                    <a:pt x="130" y="183"/>
                    <a:pt x="128" y="176"/>
                    <a:pt x="128" y="173"/>
                  </a:cubicBezTo>
                  <a:cubicBezTo>
                    <a:pt x="127" y="172"/>
                    <a:pt x="127" y="170"/>
                    <a:pt x="126" y="169"/>
                  </a:cubicBezTo>
                  <a:cubicBezTo>
                    <a:pt x="125" y="168"/>
                    <a:pt x="124" y="166"/>
                    <a:pt x="125" y="166"/>
                  </a:cubicBezTo>
                  <a:cubicBezTo>
                    <a:pt x="122" y="164"/>
                    <a:pt x="122" y="164"/>
                    <a:pt x="122" y="164"/>
                  </a:cubicBezTo>
                  <a:cubicBezTo>
                    <a:pt x="122" y="164"/>
                    <a:pt x="122" y="164"/>
                    <a:pt x="122" y="164"/>
                  </a:cubicBezTo>
                  <a:cubicBezTo>
                    <a:pt x="125" y="165"/>
                    <a:pt x="125" y="165"/>
                    <a:pt x="125" y="165"/>
                  </a:cubicBezTo>
                  <a:cubicBezTo>
                    <a:pt x="126" y="164"/>
                    <a:pt x="126" y="163"/>
                    <a:pt x="127" y="162"/>
                  </a:cubicBezTo>
                  <a:cubicBezTo>
                    <a:pt x="127" y="161"/>
                    <a:pt x="127" y="159"/>
                    <a:pt x="128" y="158"/>
                  </a:cubicBezTo>
                  <a:cubicBezTo>
                    <a:pt x="129" y="159"/>
                    <a:pt x="129" y="161"/>
                    <a:pt x="130" y="163"/>
                  </a:cubicBezTo>
                  <a:cubicBezTo>
                    <a:pt x="131" y="165"/>
                    <a:pt x="131" y="169"/>
                    <a:pt x="131" y="171"/>
                  </a:cubicBezTo>
                  <a:cubicBezTo>
                    <a:pt x="131" y="172"/>
                    <a:pt x="132" y="189"/>
                    <a:pt x="140" y="190"/>
                  </a:cubicBezTo>
                  <a:cubicBezTo>
                    <a:pt x="145" y="190"/>
                    <a:pt x="146" y="180"/>
                    <a:pt x="146" y="179"/>
                  </a:cubicBezTo>
                  <a:cubicBezTo>
                    <a:pt x="147" y="173"/>
                    <a:pt x="147" y="159"/>
                    <a:pt x="145" y="153"/>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8">
              <a:extLst>
                <a:ext uri="{FF2B5EF4-FFF2-40B4-BE49-F238E27FC236}">
                  <a16:creationId xmlns:a16="http://schemas.microsoft.com/office/drawing/2014/main" id="{BD92D355-D850-4796-8B7C-59FBE48FEBAE}"/>
                </a:ext>
              </a:extLst>
            </p:cNvPr>
            <p:cNvSpPr>
              <a:spLocks/>
            </p:cNvSpPr>
            <p:nvPr/>
          </p:nvSpPr>
          <p:spPr bwMode="auto">
            <a:xfrm>
              <a:off x="8069746" y="3140028"/>
              <a:ext cx="115223" cy="187995"/>
            </a:xfrm>
            <a:custGeom>
              <a:avLst/>
              <a:gdLst>
                <a:gd name="T0" fmla="*/ 96 w 104"/>
                <a:gd name="T1" fmla="*/ 136 h 169"/>
                <a:gd name="T2" fmla="*/ 94 w 104"/>
                <a:gd name="T3" fmla="*/ 137 h 169"/>
                <a:gd name="T4" fmla="*/ 85 w 104"/>
                <a:gd name="T5" fmla="*/ 142 h 169"/>
                <a:gd name="T6" fmla="*/ 85 w 104"/>
                <a:gd name="T7" fmla="*/ 142 h 169"/>
                <a:gd name="T8" fmla="*/ 85 w 104"/>
                <a:gd name="T9" fmla="*/ 141 h 169"/>
                <a:gd name="T10" fmla="*/ 87 w 104"/>
                <a:gd name="T11" fmla="*/ 138 h 169"/>
                <a:gd name="T12" fmla="*/ 90 w 104"/>
                <a:gd name="T13" fmla="*/ 133 h 169"/>
                <a:gd name="T14" fmla="*/ 90 w 104"/>
                <a:gd name="T15" fmla="*/ 127 h 169"/>
                <a:gd name="T16" fmla="*/ 91 w 104"/>
                <a:gd name="T17" fmla="*/ 125 h 169"/>
                <a:gd name="T18" fmla="*/ 93 w 104"/>
                <a:gd name="T19" fmla="*/ 119 h 169"/>
                <a:gd name="T20" fmla="*/ 88 w 104"/>
                <a:gd name="T21" fmla="*/ 113 h 169"/>
                <a:gd name="T22" fmla="*/ 83 w 104"/>
                <a:gd name="T23" fmla="*/ 113 h 169"/>
                <a:gd name="T24" fmla="*/ 80 w 104"/>
                <a:gd name="T25" fmla="*/ 113 h 169"/>
                <a:gd name="T26" fmla="*/ 67 w 104"/>
                <a:gd name="T27" fmla="*/ 103 h 169"/>
                <a:gd name="T28" fmla="*/ 66 w 104"/>
                <a:gd name="T29" fmla="*/ 100 h 169"/>
                <a:gd name="T30" fmla="*/ 64 w 104"/>
                <a:gd name="T31" fmla="*/ 95 h 169"/>
                <a:gd name="T32" fmla="*/ 59 w 104"/>
                <a:gd name="T33" fmla="*/ 91 h 169"/>
                <a:gd name="T34" fmla="*/ 56 w 104"/>
                <a:gd name="T35" fmla="*/ 89 h 169"/>
                <a:gd name="T36" fmla="*/ 52 w 104"/>
                <a:gd name="T37" fmla="*/ 78 h 169"/>
                <a:gd name="T38" fmla="*/ 52 w 104"/>
                <a:gd name="T39" fmla="*/ 75 h 169"/>
                <a:gd name="T40" fmla="*/ 51 w 104"/>
                <a:gd name="T41" fmla="*/ 70 h 169"/>
                <a:gd name="T42" fmla="*/ 46 w 104"/>
                <a:gd name="T43" fmla="*/ 62 h 169"/>
                <a:gd name="T44" fmla="*/ 42 w 104"/>
                <a:gd name="T45" fmla="*/ 58 h 169"/>
                <a:gd name="T46" fmla="*/ 39 w 104"/>
                <a:gd name="T47" fmla="*/ 56 h 169"/>
                <a:gd name="T48" fmla="*/ 32 w 104"/>
                <a:gd name="T49" fmla="*/ 49 h 169"/>
                <a:gd name="T50" fmla="*/ 28 w 104"/>
                <a:gd name="T51" fmla="*/ 43 h 169"/>
                <a:gd name="T52" fmla="*/ 29 w 104"/>
                <a:gd name="T53" fmla="*/ 40 h 169"/>
                <a:gd name="T54" fmla="*/ 29 w 104"/>
                <a:gd name="T55" fmla="*/ 36 h 169"/>
                <a:gd name="T56" fmla="*/ 26 w 104"/>
                <a:gd name="T57" fmla="*/ 31 h 169"/>
                <a:gd name="T58" fmla="*/ 23 w 104"/>
                <a:gd name="T59" fmla="*/ 29 h 169"/>
                <a:gd name="T60" fmla="*/ 25 w 104"/>
                <a:gd name="T61" fmla="*/ 27 h 169"/>
                <a:gd name="T62" fmla="*/ 27 w 104"/>
                <a:gd name="T63" fmla="*/ 25 h 169"/>
                <a:gd name="T64" fmla="*/ 30 w 104"/>
                <a:gd name="T65" fmla="*/ 17 h 169"/>
                <a:gd name="T66" fmla="*/ 30 w 104"/>
                <a:gd name="T67" fmla="*/ 16 h 169"/>
                <a:gd name="T68" fmla="*/ 30 w 104"/>
                <a:gd name="T69" fmla="*/ 10 h 169"/>
                <a:gd name="T70" fmla="*/ 31 w 104"/>
                <a:gd name="T71" fmla="*/ 9 h 169"/>
                <a:gd name="T72" fmla="*/ 34 w 104"/>
                <a:gd name="T73" fmla="*/ 5 h 169"/>
                <a:gd name="T74" fmla="*/ 30 w 104"/>
                <a:gd name="T75" fmla="*/ 1 h 169"/>
                <a:gd name="T76" fmla="*/ 23 w 104"/>
                <a:gd name="T77" fmla="*/ 0 h 169"/>
                <a:gd name="T78" fmla="*/ 15 w 104"/>
                <a:gd name="T79" fmla="*/ 1 h 169"/>
                <a:gd name="T80" fmla="*/ 7 w 104"/>
                <a:gd name="T81" fmla="*/ 6 h 169"/>
                <a:gd name="T82" fmla="*/ 2 w 104"/>
                <a:gd name="T83" fmla="*/ 15 h 169"/>
                <a:gd name="T84" fmla="*/ 1 w 104"/>
                <a:gd name="T85" fmla="*/ 18 h 169"/>
                <a:gd name="T86" fmla="*/ 1 w 104"/>
                <a:gd name="T87" fmla="*/ 27 h 169"/>
                <a:gd name="T88" fmla="*/ 24 w 104"/>
                <a:gd name="T89" fmla="*/ 108 h 169"/>
                <a:gd name="T90" fmla="*/ 37 w 104"/>
                <a:gd name="T91" fmla="*/ 159 h 169"/>
                <a:gd name="T92" fmla="*/ 37 w 104"/>
                <a:gd name="T93" fmla="*/ 160 h 169"/>
                <a:gd name="T94" fmla="*/ 41 w 104"/>
                <a:gd name="T95" fmla="*/ 168 h 169"/>
                <a:gd name="T96" fmla="*/ 43 w 104"/>
                <a:gd name="T97" fmla="*/ 169 h 169"/>
                <a:gd name="T98" fmla="*/ 44 w 104"/>
                <a:gd name="T99" fmla="*/ 169 h 169"/>
                <a:gd name="T100" fmla="*/ 97 w 104"/>
                <a:gd name="T101" fmla="*/ 157 h 169"/>
                <a:gd name="T102" fmla="*/ 99 w 104"/>
                <a:gd name="T103" fmla="*/ 156 h 169"/>
                <a:gd name="T104" fmla="*/ 100 w 104"/>
                <a:gd name="T105" fmla="*/ 157 h 169"/>
                <a:gd name="T106" fmla="*/ 103 w 104"/>
                <a:gd name="T107" fmla="*/ 156 h 169"/>
                <a:gd name="T108" fmla="*/ 104 w 104"/>
                <a:gd name="T109" fmla="*/ 154 h 169"/>
                <a:gd name="T110" fmla="*/ 96 w 104"/>
                <a:gd name="T111" fmla="*/ 13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4" h="169">
                  <a:moveTo>
                    <a:pt x="96" y="136"/>
                  </a:moveTo>
                  <a:cubicBezTo>
                    <a:pt x="95" y="136"/>
                    <a:pt x="95" y="136"/>
                    <a:pt x="94" y="137"/>
                  </a:cubicBezTo>
                  <a:cubicBezTo>
                    <a:pt x="89" y="141"/>
                    <a:pt x="86" y="142"/>
                    <a:pt x="85" y="142"/>
                  </a:cubicBezTo>
                  <a:cubicBezTo>
                    <a:pt x="85" y="142"/>
                    <a:pt x="85" y="142"/>
                    <a:pt x="85" y="142"/>
                  </a:cubicBezTo>
                  <a:cubicBezTo>
                    <a:pt x="84" y="141"/>
                    <a:pt x="84" y="141"/>
                    <a:pt x="85" y="141"/>
                  </a:cubicBezTo>
                  <a:cubicBezTo>
                    <a:pt x="85" y="139"/>
                    <a:pt x="86" y="138"/>
                    <a:pt x="87" y="138"/>
                  </a:cubicBezTo>
                  <a:cubicBezTo>
                    <a:pt x="88" y="137"/>
                    <a:pt x="90" y="136"/>
                    <a:pt x="90" y="133"/>
                  </a:cubicBezTo>
                  <a:cubicBezTo>
                    <a:pt x="89" y="132"/>
                    <a:pt x="89" y="128"/>
                    <a:pt x="90" y="127"/>
                  </a:cubicBezTo>
                  <a:cubicBezTo>
                    <a:pt x="90" y="126"/>
                    <a:pt x="90" y="125"/>
                    <a:pt x="91" y="125"/>
                  </a:cubicBezTo>
                  <a:cubicBezTo>
                    <a:pt x="92" y="123"/>
                    <a:pt x="93" y="121"/>
                    <a:pt x="93" y="119"/>
                  </a:cubicBezTo>
                  <a:cubicBezTo>
                    <a:pt x="92" y="117"/>
                    <a:pt x="90" y="114"/>
                    <a:pt x="88" y="113"/>
                  </a:cubicBezTo>
                  <a:cubicBezTo>
                    <a:pt x="87" y="112"/>
                    <a:pt x="85" y="112"/>
                    <a:pt x="83" y="113"/>
                  </a:cubicBezTo>
                  <a:cubicBezTo>
                    <a:pt x="82" y="113"/>
                    <a:pt x="81" y="113"/>
                    <a:pt x="80" y="113"/>
                  </a:cubicBezTo>
                  <a:cubicBezTo>
                    <a:pt x="76" y="112"/>
                    <a:pt x="69" y="106"/>
                    <a:pt x="67" y="103"/>
                  </a:cubicBezTo>
                  <a:cubicBezTo>
                    <a:pt x="67" y="102"/>
                    <a:pt x="66" y="101"/>
                    <a:pt x="66" y="100"/>
                  </a:cubicBezTo>
                  <a:cubicBezTo>
                    <a:pt x="65" y="98"/>
                    <a:pt x="65" y="96"/>
                    <a:pt x="64" y="95"/>
                  </a:cubicBezTo>
                  <a:cubicBezTo>
                    <a:pt x="63" y="94"/>
                    <a:pt x="61" y="93"/>
                    <a:pt x="59" y="91"/>
                  </a:cubicBezTo>
                  <a:cubicBezTo>
                    <a:pt x="58" y="91"/>
                    <a:pt x="57" y="89"/>
                    <a:pt x="56" y="89"/>
                  </a:cubicBezTo>
                  <a:cubicBezTo>
                    <a:pt x="55" y="87"/>
                    <a:pt x="53" y="82"/>
                    <a:pt x="52" y="78"/>
                  </a:cubicBezTo>
                  <a:cubicBezTo>
                    <a:pt x="52" y="77"/>
                    <a:pt x="52" y="76"/>
                    <a:pt x="52" y="75"/>
                  </a:cubicBezTo>
                  <a:cubicBezTo>
                    <a:pt x="52" y="73"/>
                    <a:pt x="52" y="71"/>
                    <a:pt x="51" y="70"/>
                  </a:cubicBezTo>
                  <a:cubicBezTo>
                    <a:pt x="51" y="67"/>
                    <a:pt x="47" y="63"/>
                    <a:pt x="46" y="62"/>
                  </a:cubicBezTo>
                  <a:cubicBezTo>
                    <a:pt x="45" y="61"/>
                    <a:pt x="43" y="60"/>
                    <a:pt x="42" y="58"/>
                  </a:cubicBezTo>
                  <a:cubicBezTo>
                    <a:pt x="40" y="58"/>
                    <a:pt x="39" y="57"/>
                    <a:pt x="39" y="56"/>
                  </a:cubicBezTo>
                  <a:cubicBezTo>
                    <a:pt x="37" y="54"/>
                    <a:pt x="34" y="51"/>
                    <a:pt x="32" y="49"/>
                  </a:cubicBezTo>
                  <a:cubicBezTo>
                    <a:pt x="31" y="48"/>
                    <a:pt x="29" y="44"/>
                    <a:pt x="28" y="43"/>
                  </a:cubicBezTo>
                  <a:cubicBezTo>
                    <a:pt x="28" y="42"/>
                    <a:pt x="29" y="41"/>
                    <a:pt x="29" y="40"/>
                  </a:cubicBezTo>
                  <a:cubicBezTo>
                    <a:pt x="29" y="39"/>
                    <a:pt x="30" y="37"/>
                    <a:pt x="29" y="36"/>
                  </a:cubicBezTo>
                  <a:cubicBezTo>
                    <a:pt x="29" y="34"/>
                    <a:pt x="27" y="33"/>
                    <a:pt x="26" y="31"/>
                  </a:cubicBezTo>
                  <a:cubicBezTo>
                    <a:pt x="25" y="30"/>
                    <a:pt x="24" y="29"/>
                    <a:pt x="23" y="29"/>
                  </a:cubicBezTo>
                  <a:cubicBezTo>
                    <a:pt x="24" y="29"/>
                    <a:pt x="24" y="28"/>
                    <a:pt x="25" y="27"/>
                  </a:cubicBezTo>
                  <a:cubicBezTo>
                    <a:pt x="26" y="27"/>
                    <a:pt x="26" y="26"/>
                    <a:pt x="27" y="25"/>
                  </a:cubicBezTo>
                  <a:cubicBezTo>
                    <a:pt x="28" y="23"/>
                    <a:pt x="30" y="17"/>
                    <a:pt x="30" y="17"/>
                  </a:cubicBezTo>
                  <a:cubicBezTo>
                    <a:pt x="30" y="16"/>
                    <a:pt x="30" y="16"/>
                    <a:pt x="30" y="16"/>
                  </a:cubicBezTo>
                  <a:cubicBezTo>
                    <a:pt x="30" y="14"/>
                    <a:pt x="30" y="11"/>
                    <a:pt x="30" y="10"/>
                  </a:cubicBezTo>
                  <a:cubicBezTo>
                    <a:pt x="30" y="10"/>
                    <a:pt x="31" y="10"/>
                    <a:pt x="31" y="9"/>
                  </a:cubicBezTo>
                  <a:cubicBezTo>
                    <a:pt x="33" y="9"/>
                    <a:pt x="34" y="7"/>
                    <a:pt x="34" y="5"/>
                  </a:cubicBezTo>
                  <a:cubicBezTo>
                    <a:pt x="34" y="3"/>
                    <a:pt x="33" y="2"/>
                    <a:pt x="30" y="1"/>
                  </a:cubicBezTo>
                  <a:cubicBezTo>
                    <a:pt x="28" y="0"/>
                    <a:pt x="25" y="0"/>
                    <a:pt x="23" y="0"/>
                  </a:cubicBezTo>
                  <a:cubicBezTo>
                    <a:pt x="21" y="0"/>
                    <a:pt x="17" y="1"/>
                    <a:pt x="15" y="1"/>
                  </a:cubicBezTo>
                  <a:cubicBezTo>
                    <a:pt x="13" y="2"/>
                    <a:pt x="9" y="4"/>
                    <a:pt x="7" y="6"/>
                  </a:cubicBezTo>
                  <a:cubicBezTo>
                    <a:pt x="5" y="8"/>
                    <a:pt x="3" y="13"/>
                    <a:pt x="2" y="15"/>
                  </a:cubicBezTo>
                  <a:cubicBezTo>
                    <a:pt x="2" y="15"/>
                    <a:pt x="1" y="17"/>
                    <a:pt x="1" y="18"/>
                  </a:cubicBezTo>
                  <a:cubicBezTo>
                    <a:pt x="0" y="22"/>
                    <a:pt x="1" y="26"/>
                    <a:pt x="1" y="27"/>
                  </a:cubicBezTo>
                  <a:cubicBezTo>
                    <a:pt x="24" y="108"/>
                    <a:pt x="24" y="108"/>
                    <a:pt x="24" y="108"/>
                  </a:cubicBezTo>
                  <a:cubicBezTo>
                    <a:pt x="37" y="159"/>
                    <a:pt x="37" y="159"/>
                    <a:pt x="37" y="159"/>
                  </a:cubicBezTo>
                  <a:cubicBezTo>
                    <a:pt x="37" y="160"/>
                    <a:pt x="37" y="160"/>
                    <a:pt x="37" y="160"/>
                  </a:cubicBezTo>
                  <a:cubicBezTo>
                    <a:pt x="41" y="168"/>
                    <a:pt x="41" y="168"/>
                    <a:pt x="41" y="168"/>
                  </a:cubicBezTo>
                  <a:cubicBezTo>
                    <a:pt x="42" y="169"/>
                    <a:pt x="42" y="169"/>
                    <a:pt x="43" y="169"/>
                  </a:cubicBezTo>
                  <a:cubicBezTo>
                    <a:pt x="43" y="169"/>
                    <a:pt x="44" y="169"/>
                    <a:pt x="44" y="169"/>
                  </a:cubicBezTo>
                  <a:cubicBezTo>
                    <a:pt x="97" y="157"/>
                    <a:pt x="97" y="157"/>
                    <a:pt x="97" y="157"/>
                  </a:cubicBezTo>
                  <a:cubicBezTo>
                    <a:pt x="99" y="156"/>
                    <a:pt x="99" y="156"/>
                    <a:pt x="99" y="156"/>
                  </a:cubicBezTo>
                  <a:cubicBezTo>
                    <a:pt x="99" y="156"/>
                    <a:pt x="100" y="157"/>
                    <a:pt x="100" y="157"/>
                  </a:cubicBezTo>
                  <a:cubicBezTo>
                    <a:pt x="101" y="157"/>
                    <a:pt x="102" y="156"/>
                    <a:pt x="103" y="156"/>
                  </a:cubicBezTo>
                  <a:cubicBezTo>
                    <a:pt x="103" y="155"/>
                    <a:pt x="104" y="154"/>
                    <a:pt x="104" y="154"/>
                  </a:cubicBezTo>
                  <a:cubicBezTo>
                    <a:pt x="103" y="152"/>
                    <a:pt x="100" y="136"/>
                    <a:pt x="96" y="136"/>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9">
              <a:extLst>
                <a:ext uri="{FF2B5EF4-FFF2-40B4-BE49-F238E27FC236}">
                  <a16:creationId xmlns:a16="http://schemas.microsoft.com/office/drawing/2014/main" id="{003EAB63-A1BB-48C7-B8D8-19A4A3AD28FF}"/>
                </a:ext>
              </a:extLst>
            </p:cNvPr>
            <p:cNvSpPr>
              <a:spLocks noEditPoints="1"/>
            </p:cNvSpPr>
            <p:nvPr/>
          </p:nvSpPr>
          <p:spPr bwMode="auto">
            <a:xfrm>
              <a:off x="3062607" y="4840070"/>
              <a:ext cx="2027517" cy="1417038"/>
            </a:xfrm>
            <a:custGeom>
              <a:avLst/>
              <a:gdLst>
                <a:gd name="T0" fmla="*/ 938 w 1824"/>
                <a:gd name="T1" fmla="*/ 901 h 1274"/>
                <a:gd name="T2" fmla="*/ 913 w 1824"/>
                <a:gd name="T3" fmla="*/ 1014 h 1274"/>
                <a:gd name="T4" fmla="*/ 965 w 1824"/>
                <a:gd name="T5" fmla="*/ 914 h 1274"/>
                <a:gd name="T6" fmla="*/ 917 w 1824"/>
                <a:gd name="T7" fmla="*/ 953 h 1274"/>
                <a:gd name="T8" fmla="*/ 923 w 1824"/>
                <a:gd name="T9" fmla="*/ 981 h 1274"/>
                <a:gd name="T10" fmla="*/ 509 w 1824"/>
                <a:gd name="T11" fmla="*/ 413 h 1274"/>
                <a:gd name="T12" fmla="*/ 612 w 1824"/>
                <a:gd name="T13" fmla="*/ 481 h 1274"/>
                <a:gd name="T14" fmla="*/ 653 w 1824"/>
                <a:gd name="T15" fmla="*/ 544 h 1274"/>
                <a:gd name="T16" fmla="*/ 552 w 1824"/>
                <a:gd name="T17" fmla="*/ 590 h 1274"/>
                <a:gd name="T18" fmla="*/ 505 w 1824"/>
                <a:gd name="T19" fmla="*/ 674 h 1274"/>
                <a:gd name="T20" fmla="*/ 556 w 1824"/>
                <a:gd name="T21" fmla="*/ 720 h 1274"/>
                <a:gd name="T22" fmla="*/ 524 w 1824"/>
                <a:gd name="T23" fmla="*/ 745 h 1274"/>
                <a:gd name="T24" fmla="*/ 621 w 1824"/>
                <a:gd name="T25" fmla="*/ 738 h 1274"/>
                <a:gd name="T26" fmla="*/ 643 w 1824"/>
                <a:gd name="T27" fmla="*/ 873 h 1274"/>
                <a:gd name="T28" fmla="*/ 748 w 1824"/>
                <a:gd name="T29" fmla="*/ 848 h 1274"/>
                <a:gd name="T30" fmla="*/ 787 w 1824"/>
                <a:gd name="T31" fmla="*/ 882 h 1274"/>
                <a:gd name="T32" fmla="*/ 698 w 1824"/>
                <a:gd name="T33" fmla="*/ 1023 h 1274"/>
                <a:gd name="T34" fmla="*/ 572 w 1824"/>
                <a:gd name="T35" fmla="*/ 1111 h 1274"/>
                <a:gd name="T36" fmla="*/ 624 w 1824"/>
                <a:gd name="T37" fmla="*/ 1102 h 1274"/>
                <a:gd name="T38" fmla="*/ 709 w 1824"/>
                <a:gd name="T39" fmla="*/ 1084 h 1274"/>
                <a:gd name="T40" fmla="*/ 785 w 1824"/>
                <a:gd name="T41" fmla="*/ 1012 h 1274"/>
                <a:gd name="T42" fmla="*/ 871 w 1824"/>
                <a:gd name="T43" fmla="*/ 918 h 1274"/>
                <a:gd name="T44" fmla="*/ 897 w 1824"/>
                <a:gd name="T45" fmla="*/ 830 h 1274"/>
                <a:gd name="T46" fmla="*/ 952 w 1824"/>
                <a:gd name="T47" fmla="*/ 730 h 1274"/>
                <a:gd name="T48" fmla="*/ 1046 w 1824"/>
                <a:gd name="T49" fmla="*/ 690 h 1274"/>
                <a:gd name="T50" fmla="*/ 985 w 1824"/>
                <a:gd name="T51" fmla="*/ 802 h 1274"/>
                <a:gd name="T52" fmla="*/ 1042 w 1824"/>
                <a:gd name="T53" fmla="*/ 773 h 1274"/>
                <a:gd name="T54" fmla="*/ 1078 w 1824"/>
                <a:gd name="T55" fmla="*/ 713 h 1274"/>
                <a:gd name="T56" fmla="*/ 1095 w 1824"/>
                <a:gd name="T57" fmla="*/ 687 h 1274"/>
                <a:gd name="T58" fmla="*/ 1150 w 1824"/>
                <a:gd name="T59" fmla="*/ 693 h 1274"/>
                <a:gd name="T60" fmla="*/ 1244 w 1824"/>
                <a:gd name="T61" fmla="*/ 713 h 1274"/>
                <a:gd name="T62" fmla="*/ 1386 w 1824"/>
                <a:gd name="T63" fmla="*/ 680 h 1274"/>
                <a:gd name="T64" fmla="*/ 1515 w 1824"/>
                <a:gd name="T65" fmla="*/ 761 h 1274"/>
                <a:gd name="T66" fmla="*/ 1528 w 1824"/>
                <a:gd name="T67" fmla="*/ 706 h 1274"/>
                <a:gd name="T68" fmla="*/ 1537 w 1824"/>
                <a:gd name="T69" fmla="*/ 680 h 1274"/>
                <a:gd name="T70" fmla="*/ 1617 w 1824"/>
                <a:gd name="T71" fmla="*/ 738 h 1274"/>
                <a:gd name="T72" fmla="*/ 1670 w 1824"/>
                <a:gd name="T73" fmla="*/ 786 h 1274"/>
                <a:gd name="T74" fmla="*/ 1748 w 1824"/>
                <a:gd name="T75" fmla="*/ 863 h 1274"/>
                <a:gd name="T76" fmla="*/ 1796 w 1824"/>
                <a:gd name="T77" fmla="*/ 881 h 1274"/>
                <a:gd name="T78" fmla="*/ 1734 w 1824"/>
                <a:gd name="T79" fmla="*/ 793 h 1274"/>
                <a:gd name="T80" fmla="*/ 1558 w 1824"/>
                <a:gd name="T81" fmla="*/ 674 h 1274"/>
                <a:gd name="T82" fmla="*/ 1389 w 1824"/>
                <a:gd name="T83" fmla="*/ 668 h 1274"/>
                <a:gd name="T84" fmla="*/ 1072 w 1824"/>
                <a:gd name="T85" fmla="*/ 43 h 1274"/>
                <a:gd name="T86" fmla="*/ 932 w 1824"/>
                <a:gd name="T87" fmla="*/ 43 h 1274"/>
                <a:gd name="T88" fmla="*/ 818 w 1824"/>
                <a:gd name="T89" fmla="*/ 35 h 1274"/>
                <a:gd name="T90" fmla="*/ 721 w 1824"/>
                <a:gd name="T91" fmla="*/ 43 h 1274"/>
                <a:gd name="T92" fmla="*/ 650 w 1824"/>
                <a:gd name="T93" fmla="*/ 81 h 1274"/>
                <a:gd name="T94" fmla="*/ 549 w 1824"/>
                <a:gd name="T95" fmla="*/ 221 h 1274"/>
                <a:gd name="T96" fmla="*/ 673 w 1824"/>
                <a:gd name="T97" fmla="*/ 329 h 1274"/>
                <a:gd name="T98" fmla="*/ 665 w 1824"/>
                <a:gd name="T99" fmla="*/ 354 h 1274"/>
                <a:gd name="T100" fmla="*/ 587 w 1824"/>
                <a:gd name="T101" fmla="*/ 325 h 1274"/>
                <a:gd name="T102" fmla="*/ 665 w 1824"/>
                <a:gd name="T103" fmla="*/ 1101 h 1274"/>
                <a:gd name="T104" fmla="*/ 605 w 1824"/>
                <a:gd name="T105" fmla="*/ 1129 h 1274"/>
                <a:gd name="T106" fmla="*/ 557 w 1824"/>
                <a:gd name="T107" fmla="*/ 1130 h 1274"/>
                <a:gd name="T108" fmla="*/ 449 w 1824"/>
                <a:gd name="T109" fmla="*/ 1183 h 1274"/>
                <a:gd name="T110" fmla="*/ 442 w 1824"/>
                <a:gd name="T111" fmla="*/ 1202 h 1274"/>
                <a:gd name="T112" fmla="*/ 388 w 1824"/>
                <a:gd name="T113" fmla="*/ 520 h 1274"/>
                <a:gd name="T114" fmla="*/ 417 w 1824"/>
                <a:gd name="T115" fmla="*/ 1218 h 1274"/>
                <a:gd name="T116" fmla="*/ 407 w 1824"/>
                <a:gd name="T117" fmla="*/ 1214 h 1274"/>
                <a:gd name="T118" fmla="*/ 368 w 1824"/>
                <a:gd name="T119" fmla="*/ 1208 h 1274"/>
                <a:gd name="T120" fmla="*/ 94 w 1824"/>
                <a:gd name="T121" fmla="*/ 1254 h 1274"/>
                <a:gd name="T122" fmla="*/ 1 w 1824"/>
                <a:gd name="T123" fmla="*/ 1267 h 1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24" h="1274">
                  <a:moveTo>
                    <a:pt x="938" y="901"/>
                  </a:moveTo>
                  <a:cubicBezTo>
                    <a:pt x="938" y="900"/>
                    <a:pt x="939" y="896"/>
                    <a:pt x="940" y="895"/>
                  </a:cubicBezTo>
                  <a:cubicBezTo>
                    <a:pt x="941" y="894"/>
                    <a:pt x="945" y="896"/>
                    <a:pt x="946" y="895"/>
                  </a:cubicBezTo>
                  <a:cubicBezTo>
                    <a:pt x="946" y="893"/>
                    <a:pt x="940" y="892"/>
                    <a:pt x="940" y="890"/>
                  </a:cubicBezTo>
                  <a:cubicBezTo>
                    <a:pt x="940" y="889"/>
                    <a:pt x="944" y="889"/>
                    <a:pt x="946" y="889"/>
                  </a:cubicBezTo>
                  <a:cubicBezTo>
                    <a:pt x="947" y="889"/>
                    <a:pt x="951" y="891"/>
                    <a:pt x="952" y="890"/>
                  </a:cubicBezTo>
                  <a:cubicBezTo>
                    <a:pt x="954" y="888"/>
                    <a:pt x="949" y="880"/>
                    <a:pt x="951" y="878"/>
                  </a:cubicBezTo>
                  <a:cubicBezTo>
                    <a:pt x="952" y="876"/>
                    <a:pt x="955" y="875"/>
                    <a:pt x="957" y="875"/>
                  </a:cubicBezTo>
                  <a:cubicBezTo>
                    <a:pt x="959" y="876"/>
                    <a:pt x="961" y="880"/>
                    <a:pt x="963" y="881"/>
                  </a:cubicBezTo>
                  <a:cubicBezTo>
                    <a:pt x="964" y="881"/>
                    <a:pt x="967" y="880"/>
                    <a:pt x="968" y="880"/>
                  </a:cubicBezTo>
                  <a:cubicBezTo>
                    <a:pt x="970" y="880"/>
                    <a:pt x="973" y="881"/>
                    <a:pt x="974" y="882"/>
                  </a:cubicBezTo>
                  <a:cubicBezTo>
                    <a:pt x="975" y="883"/>
                    <a:pt x="973" y="888"/>
                    <a:pt x="975" y="888"/>
                  </a:cubicBezTo>
                  <a:cubicBezTo>
                    <a:pt x="977" y="889"/>
                    <a:pt x="977" y="881"/>
                    <a:pt x="979" y="882"/>
                  </a:cubicBezTo>
                  <a:cubicBezTo>
                    <a:pt x="981" y="882"/>
                    <a:pt x="980" y="887"/>
                    <a:pt x="980" y="888"/>
                  </a:cubicBezTo>
                  <a:cubicBezTo>
                    <a:pt x="979" y="890"/>
                    <a:pt x="977" y="894"/>
                    <a:pt x="975" y="894"/>
                  </a:cubicBezTo>
                  <a:cubicBezTo>
                    <a:pt x="973" y="895"/>
                    <a:pt x="970" y="891"/>
                    <a:pt x="969" y="892"/>
                  </a:cubicBezTo>
                  <a:cubicBezTo>
                    <a:pt x="967" y="892"/>
                    <a:pt x="967" y="897"/>
                    <a:pt x="966" y="898"/>
                  </a:cubicBezTo>
                  <a:cubicBezTo>
                    <a:pt x="965" y="899"/>
                    <a:pt x="961" y="899"/>
                    <a:pt x="960" y="898"/>
                  </a:cubicBezTo>
                  <a:cubicBezTo>
                    <a:pt x="959" y="898"/>
                    <a:pt x="961" y="893"/>
                    <a:pt x="960" y="893"/>
                  </a:cubicBezTo>
                  <a:cubicBezTo>
                    <a:pt x="958" y="893"/>
                    <a:pt x="959" y="897"/>
                    <a:pt x="959" y="898"/>
                  </a:cubicBezTo>
                  <a:cubicBezTo>
                    <a:pt x="958" y="900"/>
                    <a:pt x="953" y="902"/>
                    <a:pt x="953" y="902"/>
                  </a:cubicBezTo>
                  <a:cubicBezTo>
                    <a:pt x="953" y="902"/>
                    <a:pt x="952" y="908"/>
                    <a:pt x="951" y="908"/>
                  </a:cubicBezTo>
                  <a:cubicBezTo>
                    <a:pt x="949" y="909"/>
                    <a:pt x="946" y="906"/>
                    <a:pt x="944" y="905"/>
                  </a:cubicBezTo>
                  <a:cubicBezTo>
                    <a:pt x="943" y="905"/>
                    <a:pt x="942" y="903"/>
                    <a:pt x="941" y="902"/>
                  </a:cubicBezTo>
                  <a:cubicBezTo>
                    <a:pt x="940" y="902"/>
                    <a:pt x="938" y="902"/>
                    <a:pt x="938" y="901"/>
                  </a:cubicBezTo>
                  <a:close/>
                  <a:moveTo>
                    <a:pt x="964" y="865"/>
                  </a:moveTo>
                  <a:cubicBezTo>
                    <a:pt x="963" y="863"/>
                    <a:pt x="963" y="863"/>
                    <a:pt x="963" y="863"/>
                  </a:cubicBezTo>
                  <a:cubicBezTo>
                    <a:pt x="957" y="867"/>
                    <a:pt x="957" y="867"/>
                    <a:pt x="957" y="867"/>
                  </a:cubicBezTo>
                  <a:cubicBezTo>
                    <a:pt x="956" y="873"/>
                    <a:pt x="956" y="873"/>
                    <a:pt x="956" y="873"/>
                  </a:cubicBezTo>
                  <a:cubicBezTo>
                    <a:pt x="961" y="871"/>
                    <a:pt x="961" y="871"/>
                    <a:pt x="961" y="871"/>
                  </a:cubicBezTo>
                  <a:cubicBezTo>
                    <a:pt x="964" y="865"/>
                    <a:pt x="964" y="865"/>
                    <a:pt x="964" y="865"/>
                  </a:cubicBezTo>
                  <a:close/>
                  <a:moveTo>
                    <a:pt x="955" y="967"/>
                  </a:moveTo>
                  <a:cubicBezTo>
                    <a:pt x="950" y="966"/>
                    <a:pt x="950" y="966"/>
                    <a:pt x="950" y="966"/>
                  </a:cubicBezTo>
                  <a:cubicBezTo>
                    <a:pt x="945" y="966"/>
                    <a:pt x="945" y="966"/>
                    <a:pt x="945" y="966"/>
                  </a:cubicBezTo>
                  <a:cubicBezTo>
                    <a:pt x="939" y="968"/>
                    <a:pt x="939" y="968"/>
                    <a:pt x="939" y="968"/>
                  </a:cubicBezTo>
                  <a:cubicBezTo>
                    <a:pt x="938" y="974"/>
                    <a:pt x="938" y="974"/>
                    <a:pt x="938" y="974"/>
                  </a:cubicBezTo>
                  <a:cubicBezTo>
                    <a:pt x="944" y="977"/>
                    <a:pt x="944" y="977"/>
                    <a:pt x="944" y="977"/>
                  </a:cubicBezTo>
                  <a:cubicBezTo>
                    <a:pt x="949" y="970"/>
                    <a:pt x="949" y="970"/>
                    <a:pt x="949" y="970"/>
                  </a:cubicBezTo>
                  <a:cubicBezTo>
                    <a:pt x="955" y="967"/>
                    <a:pt x="955" y="967"/>
                    <a:pt x="955" y="967"/>
                  </a:cubicBezTo>
                  <a:close/>
                  <a:moveTo>
                    <a:pt x="929" y="912"/>
                  </a:moveTo>
                  <a:cubicBezTo>
                    <a:pt x="929" y="912"/>
                    <a:pt x="927" y="915"/>
                    <a:pt x="927" y="916"/>
                  </a:cubicBezTo>
                  <a:cubicBezTo>
                    <a:pt x="927" y="918"/>
                    <a:pt x="931" y="919"/>
                    <a:pt x="932" y="920"/>
                  </a:cubicBezTo>
                  <a:cubicBezTo>
                    <a:pt x="934" y="921"/>
                    <a:pt x="939" y="922"/>
                    <a:pt x="939" y="922"/>
                  </a:cubicBezTo>
                  <a:cubicBezTo>
                    <a:pt x="939" y="922"/>
                    <a:pt x="936" y="917"/>
                    <a:pt x="935" y="916"/>
                  </a:cubicBezTo>
                  <a:cubicBezTo>
                    <a:pt x="934" y="915"/>
                    <a:pt x="929" y="912"/>
                    <a:pt x="929" y="912"/>
                  </a:cubicBezTo>
                  <a:close/>
                  <a:moveTo>
                    <a:pt x="915" y="1008"/>
                  </a:moveTo>
                  <a:cubicBezTo>
                    <a:pt x="913" y="1008"/>
                    <a:pt x="913" y="1008"/>
                    <a:pt x="913" y="1008"/>
                  </a:cubicBezTo>
                  <a:cubicBezTo>
                    <a:pt x="907" y="1009"/>
                    <a:pt x="907" y="1009"/>
                    <a:pt x="907" y="1009"/>
                  </a:cubicBezTo>
                  <a:cubicBezTo>
                    <a:pt x="906" y="1015"/>
                    <a:pt x="906" y="1015"/>
                    <a:pt x="906" y="1015"/>
                  </a:cubicBezTo>
                  <a:cubicBezTo>
                    <a:pt x="913" y="1014"/>
                    <a:pt x="913" y="1014"/>
                    <a:pt x="913" y="1014"/>
                  </a:cubicBezTo>
                  <a:cubicBezTo>
                    <a:pt x="915" y="1008"/>
                    <a:pt x="915" y="1008"/>
                    <a:pt x="915" y="1008"/>
                  </a:cubicBezTo>
                  <a:close/>
                  <a:moveTo>
                    <a:pt x="902" y="1010"/>
                  </a:moveTo>
                  <a:cubicBezTo>
                    <a:pt x="899" y="1009"/>
                    <a:pt x="899" y="1009"/>
                    <a:pt x="899" y="1009"/>
                  </a:cubicBezTo>
                  <a:cubicBezTo>
                    <a:pt x="893" y="1015"/>
                    <a:pt x="893" y="1015"/>
                    <a:pt x="893" y="1015"/>
                  </a:cubicBezTo>
                  <a:cubicBezTo>
                    <a:pt x="894" y="1020"/>
                    <a:pt x="894" y="1020"/>
                    <a:pt x="894" y="1020"/>
                  </a:cubicBezTo>
                  <a:cubicBezTo>
                    <a:pt x="900" y="1016"/>
                    <a:pt x="900" y="1016"/>
                    <a:pt x="900" y="1016"/>
                  </a:cubicBezTo>
                  <a:cubicBezTo>
                    <a:pt x="902" y="1010"/>
                    <a:pt x="902" y="1010"/>
                    <a:pt x="902" y="1010"/>
                  </a:cubicBezTo>
                  <a:close/>
                  <a:moveTo>
                    <a:pt x="937" y="968"/>
                  </a:moveTo>
                  <a:cubicBezTo>
                    <a:pt x="943" y="963"/>
                    <a:pt x="943" y="963"/>
                    <a:pt x="943" y="963"/>
                  </a:cubicBezTo>
                  <a:cubicBezTo>
                    <a:pt x="949" y="962"/>
                    <a:pt x="949" y="962"/>
                    <a:pt x="949" y="962"/>
                  </a:cubicBezTo>
                  <a:cubicBezTo>
                    <a:pt x="943" y="956"/>
                    <a:pt x="943" y="956"/>
                    <a:pt x="943" y="956"/>
                  </a:cubicBezTo>
                  <a:cubicBezTo>
                    <a:pt x="950" y="954"/>
                    <a:pt x="950" y="954"/>
                    <a:pt x="950" y="954"/>
                  </a:cubicBezTo>
                  <a:cubicBezTo>
                    <a:pt x="950" y="954"/>
                    <a:pt x="954" y="956"/>
                    <a:pt x="956" y="956"/>
                  </a:cubicBezTo>
                  <a:cubicBezTo>
                    <a:pt x="957" y="957"/>
                    <a:pt x="960" y="958"/>
                    <a:pt x="961" y="957"/>
                  </a:cubicBezTo>
                  <a:cubicBezTo>
                    <a:pt x="963" y="956"/>
                    <a:pt x="965" y="953"/>
                    <a:pt x="964" y="951"/>
                  </a:cubicBezTo>
                  <a:cubicBezTo>
                    <a:pt x="964" y="949"/>
                    <a:pt x="960" y="946"/>
                    <a:pt x="959" y="945"/>
                  </a:cubicBezTo>
                  <a:cubicBezTo>
                    <a:pt x="957" y="945"/>
                    <a:pt x="953" y="945"/>
                    <a:pt x="953" y="945"/>
                  </a:cubicBezTo>
                  <a:cubicBezTo>
                    <a:pt x="953" y="945"/>
                    <a:pt x="957" y="941"/>
                    <a:pt x="959" y="941"/>
                  </a:cubicBezTo>
                  <a:cubicBezTo>
                    <a:pt x="960" y="941"/>
                    <a:pt x="963" y="944"/>
                    <a:pt x="964" y="945"/>
                  </a:cubicBezTo>
                  <a:cubicBezTo>
                    <a:pt x="966" y="945"/>
                    <a:pt x="969" y="945"/>
                    <a:pt x="971" y="945"/>
                  </a:cubicBezTo>
                  <a:cubicBezTo>
                    <a:pt x="974" y="943"/>
                    <a:pt x="978" y="933"/>
                    <a:pt x="978" y="933"/>
                  </a:cubicBezTo>
                  <a:cubicBezTo>
                    <a:pt x="978" y="933"/>
                    <a:pt x="973" y="932"/>
                    <a:pt x="972" y="931"/>
                  </a:cubicBezTo>
                  <a:cubicBezTo>
                    <a:pt x="970" y="930"/>
                    <a:pt x="966" y="928"/>
                    <a:pt x="966" y="926"/>
                  </a:cubicBezTo>
                  <a:cubicBezTo>
                    <a:pt x="966" y="924"/>
                    <a:pt x="970" y="922"/>
                    <a:pt x="969" y="920"/>
                  </a:cubicBezTo>
                  <a:cubicBezTo>
                    <a:pt x="969" y="918"/>
                    <a:pt x="967" y="915"/>
                    <a:pt x="965" y="914"/>
                  </a:cubicBezTo>
                  <a:cubicBezTo>
                    <a:pt x="964" y="913"/>
                    <a:pt x="961" y="911"/>
                    <a:pt x="960" y="912"/>
                  </a:cubicBezTo>
                  <a:cubicBezTo>
                    <a:pt x="958" y="912"/>
                    <a:pt x="958" y="917"/>
                    <a:pt x="957" y="918"/>
                  </a:cubicBezTo>
                  <a:cubicBezTo>
                    <a:pt x="956" y="920"/>
                    <a:pt x="952" y="924"/>
                    <a:pt x="952" y="924"/>
                  </a:cubicBezTo>
                  <a:cubicBezTo>
                    <a:pt x="952" y="924"/>
                    <a:pt x="951" y="914"/>
                    <a:pt x="948" y="912"/>
                  </a:cubicBezTo>
                  <a:cubicBezTo>
                    <a:pt x="947" y="912"/>
                    <a:pt x="944" y="913"/>
                    <a:pt x="942" y="913"/>
                  </a:cubicBezTo>
                  <a:cubicBezTo>
                    <a:pt x="941" y="913"/>
                    <a:pt x="938" y="909"/>
                    <a:pt x="937" y="910"/>
                  </a:cubicBezTo>
                  <a:cubicBezTo>
                    <a:pt x="935" y="911"/>
                    <a:pt x="940" y="914"/>
                    <a:pt x="941" y="916"/>
                  </a:cubicBezTo>
                  <a:cubicBezTo>
                    <a:pt x="941" y="917"/>
                    <a:pt x="939" y="922"/>
                    <a:pt x="939" y="922"/>
                  </a:cubicBezTo>
                  <a:cubicBezTo>
                    <a:pt x="940" y="928"/>
                    <a:pt x="940" y="928"/>
                    <a:pt x="940" y="928"/>
                  </a:cubicBezTo>
                  <a:cubicBezTo>
                    <a:pt x="940" y="928"/>
                    <a:pt x="936" y="922"/>
                    <a:pt x="934" y="923"/>
                  </a:cubicBezTo>
                  <a:cubicBezTo>
                    <a:pt x="933" y="924"/>
                    <a:pt x="937" y="928"/>
                    <a:pt x="936" y="929"/>
                  </a:cubicBezTo>
                  <a:cubicBezTo>
                    <a:pt x="935" y="930"/>
                    <a:pt x="931" y="925"/>
                    <a:pt x="930" y="926"/>
                  </a:cubicBezTo>
                  <a:cubicBezTo>
                    <a:pt x="928" y="927"/>
                    <a:pt x="930" y="933"/>
                    <a:pt x="928" y="933"/>
                  </a:cubicBezTo>
                  <a:cubicBezTo>
                    <a:pt x="927" y="933"/>
                    <a:pt x="927" y="928"/>
                    <a:pt x="927" y="926"/>
                  </a:cubicBezTo>
                  <a:cubicBezTo>
                    <a:pt x="926" y="924"/>
                    <a:pt x="924" y="921"/>
                    <a:pt x="923" y="920"/>
                  </a:cubicBezTo>
                  <a:cubicBezTo>
                    <a:pt x="921" y="919"/>
                    <a:pt x="918" y="920"/>
                    <a:pt x="917" y="920"/>
                  </a:cubicBezTo>
                  <a:cubicBezTo>
                    <a:pt x="915" y="921"/>
                    <a:pt x="913" y="924"/>
                    <a:pt x="913" y="926"/>
                  </a:cubicBezTo>
                  <a:cubicBezTo>
                    <a:pt x="913" y="928"/>
                    <a:pt x="914" y="931"/>
                    <a:pt x="915" y="932"/>
                  </a:cubicBezTo>
                  <a:cubicBezTo>
                    <a:pt x="916" y="933"/>
                    <a:pt x="921" y="932"/>
                    <a:pt x="922" y="933"/>
                  </a:cubicBezTo>
                  <a:cubicBezTo>
                    <a:pt x="922" y="935"/>
                    <a:pt x="918" y="937"/>
                    <a:pt x="918" y="939"/>
                  </a:cubicBezTo>
                  <a:cubicBezTo>
                    <a:pt x="918" y="941"/>
                    <a:pt x="925" y="941"/>
                    <a:pt x="924" y="942"/>
                  </a:cubicBezTo>
                  <a:cubicBezTo>
                    <a:pt x="923" y="944"/>
                    <a:pt x="919" y="939"/>
                    <a:pt x="918" y="940"/>
                  </a:cubicBezTo>
                  <a:cubicBezTo>
                    <a:pt x="915" y="942"/>
                    <a:pt x="920" y="953"/>
                    <a:pt x="920" y="953"/>
                  </a:cubicBezTo>
                  <a:cubicBezTo>
                    <a:pt x="923" y="959"/>
                    <a:pt x="923" y="959"/>
                    <a:pt x="923" y="959"/>
                  </a:cubicBezTo>
                  <a:cubicBezTo>
                    <a:pt x="917" y="953"/>
                    <a:pt x="917" y="953"/>
                    <a:pt x="917" y="953"/>
                  </a:cubicBezTo>
                  <a:cubicBezTo>
                    <a:pt x="917" y="953"/>
                    <a:pt x="916" y="948"/>
                    <a:pt x="915" y="947"/>
                  </a:cubicBezTo>
                  <a:cubicBezTo>
                    <a:pt x="914" y="946"/>
                    <a:pt x="910" y="946"/>
                    <a:pt x="909" y="944"/>
                  </a:cubicBezTo>
                  <a:cubicBezTo>
                    <a:pt x="909" y="943"/>
                    <a:pt x="912" y="940"/>
                    <a:pt x="912" y="938"/>
                  </a:cubicBezTo>
                  <a:cubicBezTo>
                    <a:pt x="911" y="937"/>
                    <a:pt x="906" y="937"/>
                    <a:pt x="906" y="937"/>
                  </a:cubicBezTo>
                  <a:cubicBezTo>
                    <a:pt x="900" y="938"/>
                    <a:pt x="900" y="938"/>
                    <a:pt x="900" y="938"/>
                  </a:cubicBezTo>
                  <a:cubicBezTo>
                    <a:pt x="900" y="938"/>
                    <a:pt x="891" y="945"/>
                    <a:pt x="889" y="949"/>
                  </a:cubicBezTo>
                  <a:cubicBezTo>
                    <a:pt x="887" y="951"/>
                    <a:pt x="884" y="957"/>
                    <a:pt x="884" y="960"/>
                  </a:cubicBezTo>
                  <a:cubicBezTo>
                    <a:pt x="885" y="962"/>
                    <a:pt x="889" y="963"/>
                    <a:pt x="890" y="964"/>
                  </a:cubicBezTo>
                  <a:cubicBezTo>
                    <a:pt x="892" y="966"/>
                    <a:pt x="894" y="970"/>
                    <a:pt x="894" y="970"/>
                  </a:cubicBezTo>
                  <a:cubicBezTo>
                    <a:pt x="895" y="976"/>
                    <a:pt x="895" y="976"/>
                    <a:pt x="895" y="976"/>
                  </a:cubicBezTo>
                  <a:cubicBezTo>
                    <a:pt x="895" y="976"/>
                    <a:pt x="895" y="981"/>
                    <a:pt x="895" y="982"/>
                  </a:cubicBezTo>
                  <a:cubicBezTo>
                    <a:pt x="896" y="984"/>
                    <a:pt x="901" y="984"/>
                    <a:pt x="902" y="985"/>
                  </a:cubicBezTo>
                  <a:cubicBezTo>
                    <a:pt x="903" y="986"/>
                    <a:pt x="903" y="991"/>
                    <a:pt x="905" y="991"/>
                  </a:cubicBezTo>
                  <a:cubicBezTo>
                    <a:pt x="907" y="991"/>
                    <a:pt x="909" y="987"/>
                    <a:pt x="909" y="985"/>
                  </a:cubicBezTo>
                  <a:cubicBezTo>
                    <a:pt x="911" y="982"/>
                    <a:pt x="911" y="973"/>
                    <a:pt x="911" y="973"/>
                  </a:cubicBezTo>
                  <a:cubicBezTo>
                    <a:pt x="905" y="974"/>
                    <a:pt x="905" y="974"/>
                    <a:pt x="905" y="974"/>
                  </a:cubicBezTo>
                  <a:cubicBezTo>
                    <a:pt x="905" y="974"/>
                    <a:pt x="900" y="979"/>
                    <a:pt x="899" y="978"/>
                  </a:cubicBezTo>
                  <a:cubicBezTo>
                    <a:pt x="898" y="977"/>
                    <a:pt x="901" y="972"/>
                    <a:pt x="901" y="972"/>
                  </a:cubicBezTo>
                  <a:cubicBezTo>
                    <a:pt x="906" y="971"/>
                    <a:pt x="906" y="971"/>
                    <a:pt x="906" y="971"/>
                  </a:cubicBezTo>
                  <a:cubicBezTo>
                    <a:pt x="912" y="972"/>
                    <a:pt x="912" y="972"/>
                    <a:pt x="912" y="972"/>
                  </a:cubicBezTo>
                  <a:cubicBezTo>
                    <a:pt x="912" y="972"/>
                    <a:pt x="910" y="977"/>
                    <a:pt x="911" y="978"/>
                  </a:cubicBezTo>
                  <a:cubicBezTo>
                    <a:pt x="912" y="979"/>
                    <a:pt x="917" y="975"/>
                    <a:pt x="917" y="975"/>
                  </a:cubicBezTo>
                  <a:cubicBezTo>
                    <a:pt x="922" y="970"/>
                    <a:pt x="922" y="970"/>
                    <a:pt x="922" y="970"/>
                  </a:cubicBezTo>
                  <a:cubicBezTo>
                    <a:pt x="922" y="970"/>
                    <a:pt x="915" y="979"/>
                    <a:pt x="917" y="981"/>
                  </a:cubicBezTo>
                  <a:cubicBezTo>
                    <a:pt x="918" y="982"/>
                    <a:pt x="922" y="979"/>
                    <a:pt x="923" y="981"/>
                  </a:cubicBezTo>
                  <a:cubicBezTo>
                    <a:pt x="925" y="984"/>
                    <a:pt x="915" y="989"/>
                    <a:pt x="913" y="993"/>
                  </a:cubicBezTo>
                  <a:cubicBezTo>
                    <a:pt x="913" y="994"/>
                    <a:pt x="910" y="997"/>
                    <a:pt x="911" y="998"/>
                  </a:cubicBezTo>
                  <a:cubicBezTo>
                    <a:pt x="912" y="1000"/>
                    <a:pt x="916" y="999"/>
                    <a:pt x="917" y="998"/>
                  </a:cubicBezTo>
                  <a:cubicBezTo>
                    <a:pt x="921" y="997"/>
                    <a:pt x="924" y="990"/>
                    <a:pt x="926" y="987"/>
                  </a:cubicBezTo>
                  <a:cubicBezTo>
                    <a:pt x="927" y="985"/>
                    <a:pt x="932" y="983"/>
                    <a:pt x="932" y="981"/>
                  </a:cubicBezTo>
                  <a:cubicBezTo>
                    <a:pt x="932" y="979"/>
                    <a:pt x="926" y="976"/>
                    <a:pt x="926" y="976"/>
                  </a:cubicBezTo>
                  <a:cubicBezTo>
                    <a:pt x="932" y="974"/>
                    <a:pt x="932" y="974"/>
                    <a:pt x="932" y="974"/>
                  </a:cubicBezTo>
                  <a:cubicBezTo>
                    <a:pt x="932" y="968"/>
                    <a:pt x="932" y="968"/>
                    <a:pt x="932" y="968"/>
                  </a:cubicBezTo>
                  <a:cubicBezTo>
                    <a:pt x="937" y="968"/>
                    <a:pt x="937" y="968"/>
                    <a:pt x="937" y="968"/>
                  </a:cubicBezTo>
                  <a:close/>
                  <a:moveTo>
                    <a:pt x="802" y="846"/>
                  </a:moveTo>
                  <a:cubicBezTo>
                    <a:pt x="802" y="845"/>
                    <a:pt x="802" y="845"/>
                    <a:pt x="802" y="845"/>
                  </a:cubicBezTo>
                  <a:cubicBezTo>
                    <a:pt x="805" y="840"/>
                    <a:pt x="805" y="840"/>
                    <a:pt x="805" y="840"/>
                  </a:cubicBezTo>
                  <a:cubicBezTo>
                    <a:pt x="802" y="846"/>
                    <a:pt x="802" y="846"/>
                    <a:pt x="802" y="846"/>
                  </a:cubicBezTo>
                  <a:close/>
                  <a:moveTo>
                    <a:pt x="466" y="378"/>
                  </a:moveTo>
                  <a:cubicBezTo>
                    <a:pt x="463" y="381"/>
                    <a:pt x="463" y="381"/>
                    <a:pt x="463" y="381"/>
                  </a:cubicBezTo>
                  <a:cubicBezTo>
                    <a:pt x="479" y="397"/>
                    <a:pt x="479" y="397"/>
                    <a:pt x="479" y="397"/>
                  </a:cubicBezTo>
                  <a:cubicBezTo>
                    <a:pt x="485" y="400"/>
                    <a:pt x="485" y="400"/>
                    <a:pt x="485" y="400"/>
                  </a:cubicBezTo>
                  <a:cubicBezTo>
                    <a:pt x="491" y="401"/>
                    <a:pt x="491" y="401"/>
                    <a:pt x="491" y="401"/>
                  </a:cubicBezTo>
                  <a:cubicBezTo>
                    <a:pt x="496" y="405"/>
                    <a:pt x="496" y="405"/>
                    <a:pt x="496" y="405"/>
                  </a:cubicBezTo>
                  <a:cubicBezTo>
                    <a:pt x="502" y="406"/>
                    <a:pt x="502" y="406"/>
                    <a:pt x="502" y="406"/>
                  </a:cubicBezTo>
                  <a:cubicBezTo>
                    <a:pt x="495" y="402"/>
                    <a:pt x="495" y="402"/>
                    <a:pt x="495" y="402"/>
                  </a:cubicBezTo>
                  <a:cubicBezTo>
                    <a:pt x="513" y="409"/>
                    <a:pt x="513" y="409"/>
                    <a:pt x="513" y="409"/>
                  </a:cubicBezTo>
                  <a:cubicBezTo>
                    <a:pt x="519" y="415"/>
                    <a:pt x="519" y="415"/>
                    <a:pt x="519" y="415"/>
                  </a:cubicBezTo>
                  <a:cubicBezTo>
                    <a:pt x="514" y="413"/>
                    <a:pt x="514" y="413"/>
                    <a:pt x="514" y="413"/>
                  </a:cubicBezTo>
                  <a:cubicBezTo>
                    <a:pt x="509" y="413"/>
                    <a:pt x="509" y="413"/>
                    <a:pt x="509" y="413"/>
                  </a:cubicBezTo>
                  <a:cubicBezTo>
                    <a:pt x="505" y="419"/>
                    <a:pt x="505" y="419"/>
                    <a:pt x="505" y="419"/>
                  </a:cubicBezTo>
                  <a:cubicBezTo>
                    <a:pt x="499" y="421"/>
                    <a:pt x="499" y="421"/>
                    <a:pt x="499" y="421"/>
                  </a:cubicBezTo>
                  <a:cubicBezTo>
                    <a:pt x="494" y="419"/>
                    <a:pt x="494" y="419"/>
                    <a:pt x="494" y="419"/>
                  </a:cubicBezTo>
                  <a:cubicBezTo>
                    <a:pt x="494" y="413"/>
                    <a:pt x="494" y="413"/>
                    <a:pt x="494" y="413"/>
                  </a:cubicBezTo>
                  <a:cubicBezTo>
                    <a:pt x="493" y="419"/>
                    <a:pt x="493" y="419"/>
                    <a:pt x="493" y="419"/>
                  </a:cubicBezTo>
                  <a:cubicBezTo>
                    <a:pt x="498" y="425"/>
                    <a:pt x="498" y="425"/>
                    <a:pt x="498" y="425"/>
                  </a:cubicBezTo>
                  <a:cubicBezTo>
                    <a:pt x="500" y="431"/>
                    <a:pt x="500" y="431"/>
                    <a:pt x="500" y="431"/>
                  </a:cubicBezTo>
                  <a:cubicBezTo>
                    <a:pt x="505" y="436"/>
                    <a:pt x="505" y="436"/>
                    <a:pt x="505" y="436"/>
                  </a:cubicBezTo>
                  <a:cubicBezTo>
                    <a:pt x="507" y="437"/>
                    <a:pt x="507" y="437"/>
                    <a:pt x="507" y="437"/>
                  </a:cubicBezTo>
                  <a:cubicBezTo>
                    <a:pt x="503" y="449"/>
                    <a:pt x="503" y="449"/>
                    <a:pt x="503" y="449"/>
                  </a:cubicBezTo>
                  <a:cubicBezTo>
                    <a:pt x="506" y="455"/>
                    <a:pt x="506" y="455"/>
                    <a:pt x="506" y="455"/>
                  </a:cubicBezTo>
                  <a:cubicBezTo>
                    <a:pt x="512" y="460"/>
                    <a:pt x="512" y="460"/>
                    <a:pt x="512" y="460"/>
                  </a:cubicBezTo>
                  <a:cubicBezTo>
                    <a:pt x="529" y="465"/>
                    <a:pt x="529" y="465"/>
                    <a:pt x="529" y="465"/>
                  </a:cubicBezTo>
                  <a:cubicBezTo>
                    <a:pt x="541" y="471"/>
                    <a:pt x="541" y="471"/>
                    <a:pt x="541" y="471"/>
                  </a:cubicBezTo>
                  <a:cubicBezTo>
                    <a:pt x="547" y="468"/>
                    <a:pt x="547" y="468"/>
                    <a:pt x="547" y="468"/>
                  </a:cubicBezTo>
                  <a:cubicBezTo>
                    <a:pt x="553" y="469"/>
                    <a:pt x="553" y="469"/>
                    <a:pt x="553" y="469"/>
                  </a:cubicBezTo>
                  <a:cubicBezTo>
                    <a:pt x="565" y="465"/>
                    <a:pt x="565" y="465"/>
                    <a:pt x="565" y="465"/>
                  </a:cubicBezTo>
                  <a:cubicBezTo>
                    <a:pt x="583" y="465"/>
                    <a:pt x="583" y="465"/>
                    <a:pt x="583" y="465"/>
                  </a:cubicBezTo>
                  <a:cubicBezTo>
                    <a:pt x="588" y="466"/>
                    <a:pt x="588" y="466"/>
                    <a:pt x="588" y="466"/>
                  </a:cubicBezTo>
                  <a:cubicBezTo>
                    <a:pt x="600" y="476"/>
                    <a:pt x="600" y="476"/>
                    <a:pt x="600" y="476"/>
                  </a:cubicBezTo>
                  <a:cubicBezTo>
                    <a:pt x="599" y="471"/>
                    <a:pt x="599" y="471"/>
                    <a:pt x="599" y="471"/>
                  </a:cubicBezTo>
                  <a:cubicBezTo>
                    <a:pt x="594" y="464"/>
                    <a:pt x="594" y="464"/>
                    <a:pt x="594" y="464"/>
                  </a:cubicBezTo>
                  <a:cubicBezTo>
                    <a:pt x="600" y="463"/>
                    <a:pt x="600" y="463"/>
                    <a:pt x="600" y="463"/>
                  </a:cubicBezTo>
                  <a:cubicBezTo>
                    <a:pt x="606" y="469"/>
                    <a:pt x="606" y="469"/>
                    <a:pt x="606" y="469"/>
                  </a:cubicBezTo>
                  <a:cubicBezTo>
                    <a:pt x="612" y="481"/>
                    <a:pt x="612" y="481"/>
                    <a:pt x="612" y="481"/>
                  </a:cubicBezTo>
                  <a:cubicBezTo>
                    <a:pt x="618" y="469"/>
                    <a:pt x="618" y="469"/>
                    <a:pt x="618" y="469"/>
                  </a:cubicBezTo>
                  <a:cubicBezTo>
                    <a:pt x="624" y="465"/>
                    <a:pt x="624" y="465"/>
                    <a:pt x="624" y="465"/>
                  </a:cubicBezTo>
                  <a:cubicBezTo>
                    <a:pt x="630" y="460"/>
                    <a:pt x="630" y="460"/>
                    <a:pt x="630" y="460"/>
                  </a:cubicBezTo>
                  <a:cubicBezTo>
                    <a:pt x="636" y="457"/>
                    <a:pt x="636" y="457"/>
                    <a:pt x="636" y="457"/>
                  </a:cubicBezTo>
                  <a:cubicBezTo>
                    <a:pt x="642" y="451"/>
                    <a:pt x="642" y="451"/>
                    <a:pt x="642" y="451"/>
                  </a:cubicBezTo>
                  <a:cubicBezTo>
                    <a:pt x="648" y="455"/>
                    <a:pt x="648" y="455"/>
                    <a:pt x="648" y="455"/>
                  </a:cubicBezTo>
                  <a:cubicBezTo>
                    <a:pt x="654" y="449"/>
                    <a:pt x="654" y="449"/>
                    <a:pt x="654" y="449"/>
                  </a:cubicBezTo>
                  <a:cubicBezTo>
                    <a:pt x="658" y="443"/>
                    <a:pt x="658" y="443"/>
                    <a:pt x="658" y="443"/>
                  </a:cubicBezTo>
                  <a:cubicBezTo>
                    <a:pt x="664" y="443"/>
                    <a:pt x="664" y="443"/>
                    <a:pt x="664" y="443"/>
                  </a:cubicBezTo>
                  <a:cubicBezTo>
                    <a:pt x="660" y="447"/>
                    <a:pt x="660" y="447"/>
                    <a:pt x="660" y="447"/>
                  </a:cubicBezTo>
                  <a:cubicBezTo>
                    <a:pt x="666" y="451"/>
                    <a:pt x="666" y="451"/>
                    <a:pt x="666" y="451"/>
                  </a:cubicBezTo>
                  <a:cubicBezTo>
                    <a:pt x="669" y="458"/>
                    <a:pt x="669" y="458"/>
                    <a:pt x="669" y="458"/>
                  </a:cubicBezTo>
                  <a:cubicBezTo>
                    <a:pt x="669" y="464"/>
                    <a:pt x="669" y="464"/>
                    <a:pt x="669" y="464"/>
                  </a:cubicBezTo>
                  <a:cubicBezTo>
                    <a:pt x="664" y="470"/>
                    <a:pt x="664" y="470"/>
                    <a:pt x="664" y="470"/>
                  </a:cubicBezTo>
                  <a:cubicBezTo>
                    <a:pt x="658" y="473"/>
                    <a:pt x="658" y="473"/>
                    <a:pt x="658" y="473"/>
                  </a:cubicBezTo>
                  <a:cubicBezTo>
                    <a:pt x="652" y="471"/>
                    <a:pt x="652" y="471"/>
                    <a:pt x="652" y="471"/>
                  </a:cubicBezTo>
                  <a:cubicBezTo>
                    <a:pt x="650" y="472"/>
                    <a:pt x="650" y="472"/>
                    <a:pt x="650" y="472"/>
                  </a:cubicBezTo>
                  <a:cubicBezTo>
                    <a:pt x="649" y="478"/>
                    <a:pt x="649" y="478"/>
                    <a:pt x="649" y="478"/>
                  </a:cubicBezTo>
                  <a:cubicBezTo>
                    <a:pt x="655" y="480"/>
                    <a:pt x="655" y="480"/>
                    <a:pt x="655" y="480"/>
                  </a:cubicBezTo>
                  <a:cubicBezTo>
                    <a:pt x="664" y="491"/>
                    <a:pt x="664" y="491"/>
                    <a:pt x="664" y="491"/>
                  </a:cubicBezTo>
                  <a:cubicBezTo>
                    <a:pt x="664" y="504"/>
                    <a:pt x="664" y="504"/>
                    <a:pt x="664" y="504"/>
                  </a:cubicBezTo>
                  <a:cubicBezTo>
                    <a:pt x="669" y="521"/>
                    <a:pt x="669" y="521"/>
                    <a:pt x="669" y="521"/>
                  </a:cubicBezTo>
                  <a:cubicBezTo>
                    <a:pt x="668" y="527"/>
                    <a:pt x="668" y="527"/>
                    <a:pt x="668" y="527"/>
                  </a:cubicBezTo>
                  <a:cubicBezTo>
                    <a:pt x="658" y="539"/>
                    <a:pt x="658" y="539"/>
                    <a:pt x="658" y="539"/>
                  </a:cubicBezTo>
                  <a:cubicBezTo>
                    <a:pt x="653" y="544"/>
                    <a:pt x="653" y="544"/>
                    <a:pt x="653" y="544"/>
                  </a:cubicBezTo>
                  <a:cubicBezTo>
                    <a:pt x="640" y="544"/>
                    <a:pt x="640" y="544"/>
                    <a:pt x="640" y="544"/>
                  </a:cubicBezTo>
                  <a:cubicBezTo>
                    <a:pt x="635" y="545"/>
                    <a:pt x="635" y="545"/>
                    <a:pt x="635" y="545"/>
                  </a:cubicBezTo>
                  <a:cubicBezTo>
                    <a:pt x="629" y="541"/>
                    <a:pt x="629" y="541"/>
                    <a:pt x="629" y="541"/>
                  </a:cubicBezTo>
                  <a:cubicBezTo>
                    <a:pt x="623" y="542"/>
                    <a:pt x="623" y="542"/>
                    <a:pt x="623" y="542"/>
                  </a:cubicBezTo>
                  <a:cubicBezTo>
                    <a:pt x="618" y="547"/>
                    <a:pt x="618" y="547"/>
                    <a:pt x="618" y="547"/>
                  </a:cubicBezTo>
                  <a:cubicBezTo>
                    <a:pt x="610" y="560"/>
                    <a:pt x="610" y="560"/>
                    <a:pt x="610" y="560"/>
                  </a:cubicBezTo>
                  <a:cubicBezTo>
                    <a:pt x="598" y="571"/>
                    <a:pt x="598" y="571"/>
                    <a:pt x="598" y="571"/>
                  </a:cubicBezTo>
                  <a:cubicBezTo>
                    <a:pt x="592" y="572"/>
                    <a:pt x="592" y="572"/>
                    <a:pt x="592" y="572"/>
                  </a:cubicBezTo>
                  <a:cubicBezTo>
                    <a:pt x="586" y="568"/>
                    <a:pt x="586" y="568"/>
                    <a:pt x="586" y="568"/>
                  </a:cubicBezTo>
                  <a:cubicBezTo>
                    <a:pt x="580" y="570"/>
                    <a:pt x="580" y="570"/>
                    <a:pt x="580" y="570"/>
                  </a:cubicBezTo>
                  <a:cubicBezTo>
                    <a:pt x="575" y="575"/>
                    <a:pt x="575" y="575"/>
                    <a:pt x="575" y="575"/>
                  </a:cubicBezTo>
                  <a:cubicBezTo>
                    <a:pt x="580" y="565"/>
                    <a:pt x="580" y="565"/>
                    <a:pt x="580" y="565"/>
                  </a:cubicBezTo>
                  <a:cubicBezTo>
                    <a:pt x="577" y="560"/>
                    <a:pt x="577" y="560"/>
                    <a:pt x="577" y="560"/>
                  </a:cubicBezTo>
                  <a:cubicBezTo>
                    <a:pt x="566" y="556"/>
                    <a:pt x="566" y="556"/>
                    <a:pt x="566" y="556"/>
                  </a:cubicBezTo>
                  <a:cubicBezTo>
                    <a:pt x="560" y="556"/>
                    <a:pt x="560" y="556"/>
                    <a:pt x="560" y="556"/>
                  </a:cubicBezTo>
                  <a:cubicBezTo>
                    <a:pt x="554" y="561"/>
                    <a:pt x="554" y="561"/>
                    <a:pt x="554" y="561"/>
                  </a:cubicBezTo>
                  <a:cubicBezTo>
                    <a:pt x="553" y="567"/>
                    <a:pt x="553" y="567"/>
                    <a:pt x="553" y="567"/>
                  </a:cubicBezTo>
                  <a:cubicBezTo>
                    <a:pt x="558" y="572"/>
                    <a:pt x="558" y="572"/>
                    <a:pt x="558" y="572"/>
                  </a:cubicBezTo>
                  <a:cubicBezTo>
                    <a:pt x="550" y="570"/>
                    <a:pt x="550" y="570"/>
                    <a:pt x="550" y="570"/>
                  </a:cubicBezTo>
                  <a:cubicBezTo>
                    <a:pt x="544" y="574"/>
                    <a:pt x="544" y="574"/>
                    <a:pt x="544" y="574"/>
                  </a:cubicBezTo>
                  <a:cubicBezTo>
                    <a:pt x="542" y="580"/>
                    <a:pt x="542" y="580"/>
                    <a:pt x="542" y="580"/>
                  </a:cubicBezTo>
                  <a:cubicBezTo>
                    <a:pt x="544" y="586"/>
                    <a:pt x="544" y="586"/>
                    <a:pt x="544" y="586"/>
                  </a:cubicBezTo>
                  <a:cubicBezTo>
                    <a:pt x="540" y="590"/>
                    <a:pt x="540" y="590"/>
                    <a:pt x="540" y="590"/>
                  </a:cubicBezTo>
                  <a:cubicBezTo>
                    <a:pt x="546" y="595"/>
                    <a:pt x="546" y="595"/>
                    <a:pt x="546" y="595"/>
                  </a:cubicBezTo>
                  <a:cubicBezTo>
                    <a:pt x="552" y="590"/>
                    <a:pt x="552" y="590"/>
                    <a:pt x="552" y="590"/>
                  </a:cubicBezTo>
                  <a:cubicBezTo>
                    <a:pt x="546" y="598"/>
                    <a:pt x="546" y="598"/>
                    <a:pt x="546" y="598"/>
                  </a:cubicBezTo>
                  <a:cubicBezTo>
                    <a:pt x="540" y="601"/>
                    <a:pt x="540" y="601"/>
                    <a:pt x="540" y="601"/>
                  </a:cubicBezTo>
                  <a:cubicBezTo>
                    <a:pt x="542" y="606"/>
                    <a:pt x="542" y="606"/>
                    <a:pt x="542" y="606"/>
                  </a:cubicBezTo>
                  <a:cubicBezTo>
                    <a:pt x="542" y="607"/>
                    <a:pt x="542" y="607"/>
                    <a:pt x="542" y="607"/>
                  </a:cubicBezTo>
                  <a:cubicBezTo>
                    <a:pt x="547" y="610"/>
                    <a:pt x="547" y="610"/>
                    <a:pt x="547" y="610"/>
                  </a:cubicBezTo>
                  <a:cubicBezTo>
                    <a:pt x="544" y="610"/>
                    <a:pt x="544" y="610"/>
                    <a:pt x="544" y="610"/>
                  </a:cubicBezTo>
                  <a:cubicBezTo>
                    <a:pt x="542" y="607"/>
                    <a:pt x="542" y="607"/>
                    <a:pt x="542" y="607"/>
                  </a:cubicBezTo>
                  <a:cubicBezTo>
                    <a:pt x="542" y="607"/>
                    <a:pt x="542" y="607"/>
                    <a:pt x="542" y="607"/>
                  </a:cubicBezTo>
                  <a:cubicBezTo>
                    <a:pt x="542" y="606"/>
                    <a:pt x="542" y="606"/>
                    <a:pt x="542" y="606"/>
                  </a:cubicBezTo>
                  <a:cubicBezTo>
                    <a:pt x="540" y="604"/>
                    <a:pt x="540" y="604"/>
                    <a:pt x="540" y="604"/>
                  </a:cubicBezTo>
                  <a:cubicBezTo>
                    <a:pt x="534" y="603"/>
                    <a:pt x="534" y="603"/>
                    <a:pt x="534" y="603"/>
                  </a:cubicBezTo>
                  <a:cubicBezTo>
                    <a:pt x="528" y="608"/>
                    <a:pt x="528" y="608"/>
                    <a:pt x="528" y="608"/>
                  </a:cubicBezTo>
                  <a:cubicBezTo>
                    <a:pt x="510" y="631"/>
                    <a:pt x="510" y="631"/>
                    <a:pt x="510" y="631"/>
                  </a:cubicBezTo>
                  <a:cubicBezTo>
                    <a:pt x="508" y="637"/>
                    <a:pt x="508" y="637"/>
                    <a:pt x="508" y="637"/>
                  </a:cubicBezTo>
                  <a:cubicBezTo>
                    <a:pt x="509" y="643"/>
                    <a:pt x="509" y="643"/>
                    <a:pt x="509" y="643"/>
                  </a:cubicBezTo>
                  <a:cubicBezTo>
                    <a:pt x="508" y="649"/>
                    <a:pt x="508" y="649"/>
                    <a:pt x="508" y="649"/>
                  </a:cubicBezTo>
                  <a:cubicBezTo>
                    <a:pt x="496" y="650"/>
                    <a:pt x="496" y="650"/>
                    <a:pt x="496" y="650"/>
                  </a:cubicBezTo>
                  <a:cubicBezTo>
                    <a:pt x="499" y="656"/>
                    <a:pt x="499" y="656"/>
                    <a:pt x="499" y="656"/>
                  </a:cubicBezTo>
                  <a:cubicBezTo>
                    <a:pt x="505" y="660"/>
                    <a:pt x="505" y="660"/>
                    <a:pt x="505" y="660"/>
                  </a:cubicBezTo>
                  <a:cubicBezTo>
                    <a:pt x="498" y="661"/>
                    <a:pt x="498" y="661"/>
                    <a:pt x="498" y="661"/>
                  </a:cubicBezTo>
                  <a:cubicBezTo>
                    <a:pt x="492" y="659"/>
                    <a:pt x="492" y="659"/>
                    <a:pt x="492" y="659"/>
                  </a:cubicBezTo>
                  <a:cubicBezTo>
                    <a:pt x="491" y="665"/>
                    <a:pt x="491" y="665"/>
                    <a:pt x="491" y="665"/>
                  </a:cubicBezTo>
                  <a:cubicBezTo>
                    <a:pt x="493" y="671"/>
                    <a:pt x="493" y="671"/>
                    <a:pt x="493" y="671"/>
                  </a:cubicBezTo>
                  <a:cubicBezTo>
                    <a:pt x="499" y="668"/>
                    <a:pt x="499" y="668"/>
                    <a:pt x="499" y="668"/>
                  </a:cubicBezTo>
                  <a:cubicBezTo>
                    <a:pt x="505" y="674"/>
                    <a:pt x="505" y="674"/>
                    <a:pt x="505" y="674"/>
                  </a:cubicBezTo>
                  <a:cubicBezTo>
                    <a:pt x="499" y="679"/>
                    <a:pt x="499" y="679"/>
                    <a:pt x="499" y="679"/>
                  </a:cubicBezTo>
                  <a:cubicBezTo>
                    <a:pt x="501" y="686"/>
                    <a:pt x="501" y="686"/>
                    <a:pt x="501" y="686"/>
                  </a:cubicBezTo>
                  <a:cubicBezTo>
                    <a:pt x="507" y="690"/>
                    <a:pt x="507" y="690"/>
                    <a:pt x="507" y="690"/>
                  </a:cubicBezTo>
                  <a:cubicBezTo>
                    <a:pt x="507" y="696"/>
                    <a:pt x="507" y="696"/>
                    <a:pt x="507" y="696"/>
                  </a:cubicBezTo>
                  <a:cubicBezTo>
                    <a:pt x="510" y="702"/>
                    <a:pt x="510" y="702"/>
                    <a:pt x="510" y="702"/>
                  </a:cubicBezTo>
                  <a:cubicBezTo>
                    <a:pt x="516" y="698"/>
                    <a:pt x="516" y="698"/>
                    <a:pt x="516" y="698"/>
                  </a:cubicBezTo>
                  <a:cubicBezTo>
                    <a:pt x="516" y="692"/>
                    <a:pt x="516" y="692"/>
                    <a:pt x="516" y="692"/>
                  </a:cubicBezTo>
                  <a:cubicBezTo>
                    <a:pt x="522" y="680"/>
                    <a:pt x="522" y="680"/>
                    <a:pt x="522" y="680"/>
                  </a:cubicBezTo>
                  <a:cubicBezTo>
                    <a:pt x="535" y="672"/>
                    <a:pt x="535" y="672"/>
                    <a:pt x="535" y="672"/>
                  </a:cubicBezTo>
                  <a:cubicBezTo>
                    <a:pt x="538" y="666"/>
                    <a:pt x="538" y="666"/>
                    <a:pt x="538" y="666"/>
                  </a:cubicBezTo>
                  <a:cubicBezTo>
                    <a:pt x="538" y="669"/>
                    <a:pt x="538" y="669"/>
                    <a:pt x="538" y="669"/>
                  </a:cubicBezTo>
                  <a:cubicBezTo>
                    <a:pt x="533" y="675"/>
                    <a:pt x="533" y="675"/>
                    <a:pt x="533" y="675"/>
                  </a:cubicBezTo>
                  <a:cubicBezTo>
                    <a:pt x="521" y="685"/>
                    <a:pt x="521" y="685"/>
                    <a:pt x="521" y="685"/>
                  </a:cubicBezTo>
                  <a:cubicBezTo>
                    <a:pt x="519" y="691"/>
                    <a:pt x="519" y="691"/>
                    <a:pt x="519" y="691"/>
                  </a:cubicBezTo>
                  <a:cubicBezTo>
                    <a:pt x="519" y="697"/>
                    <a:pt x="519" y="697"/>
                    <a:pt x="519" y="697"/>
                  </a:cubicBezTo>
                  <a:cubicBezTo>
                    <a:pt x="525" y="695"/>
                    <a:pt x="525" y="695"/>
                    <a:pt x="525" y="695"/>
                  </a:cubicBezTo>
                  <a:cubicBezTo>
                    <a:pt x="522" y="701"/>
                    <a:pt x="522" y="701"/>
                    <a:pt x="522" y="701"/>
                  </a:cubicBezTo>
                  <a:cubicBezTo>
                    <a:pt x="534" y="702"/>
                    <a:pt x="534" y="702"/>
                    <a:pt x="534" y="702"/>
                  </a:cubicBezTo>
                  <a:cubicBezTo>
                    <a:pt x="528" y="707"/>
                    <a:pt x="528" y="707"/>
                    <a:pt x="528" y="707"/>
                  </a:cubicBezTo>
                  <a:cubicBezTo>
                    <a:pt x="522" y="708"/>
                    <a:pt x="522" y="708"/>
                    <a:pt x="522" y="708"/>
                  </a:cubicBezTo>
                  <a:cubicBezTo>
                    <a:pt x="526" y="715"/>
                    <a:pt x="526" y="715"/>
                    <a:pt x="526" y="715"/>
                  </a:cubicBezTo>
                  <a:cubicBezTo>
                    <a:pt x="532" y="713"/>
                    <a:pt x="532" y="713"/>
                    <a:pt x="532" y="713"/>
                  </a:cubicBezTo>
                  <a:cubicBezTo>
                    <a:pt x="538" y="715"/>
                    <a:pt x="538" y="715"/>
                    <a:pt x="538" y="715"/>
                  </a:cubicBezTo>
                  <a:cubicBezTo>
                    <a:pt x="544" y="720"/>
                    <a:pt x="544" y="720"/>
                    <a:pt x="544" y="720"/>
                  </a:cubicBezTo>
                  <a:cubicBezTo>
                    <a:pt x="556" y="720"/>
                    <a:pt x="556" y="720"/>
                    <a:pt x="556" y="720"/>
                  </a:cubicBezTo>
                  <a:cubicBezTo>
                    <a:pt x="562" y="720"/>
                    <a:pt x="562" y="720"/>
                    <a:pt x="562" y="720"/>
                  </a:cubicBezTo>
                  <a:cubicBezTo>
                    <a:pt x="568" y="715"/>
                    <a:pt x="568" y="715"/>
                    <a:pt x="568" y="715"/>
                  </a:cubicBezTo>
                  <a:cubicBezTo>
                    <a:pt x="572" y="720"/>
                    <a:pt x="572" y="720"/>
                    <a:pt x="572" y="720"/>
                  </a:cubicBezTo>
                  <a:cubicBezTo>
                    <a:pt x="566" y="722"/>
                    <a:pt x="566" y="722"/>
                    <a:pt x="566" y="722"/>
                  </a:cubicBezTo>
                  <a:cubicBezTo>
                    <a:pt x="572" y="724"/>
                    <a:pt x="572" y="724"/>
                    <a:pt x="572" y="724"/>
                  </a:cubicBezTo>
                  <a:cubicBezTo>
                    <a:pt x="577" y="730"/>
                    <a:pt x="577" y="730"/>
                    <a:pt x="577" y="730"/>
                  </a:cubicBezTo>
                  <a:cubicBezTo>
                    <a:pt x="575" y="736"/>
                    <a:pt x="575" y="736"/>
                    <a:pt x="575" y="736"/>
                  </a:cubicBezTo>
                  <a:cubicBezTo>
                    <a:pt x="569" y="740"/>
                    <a:pt x="569" y="740"/>
                    <a:pt x="569" y="740"/>
                  </a:cubicBezTo>
                  <a:cubicBezTo>
                    <a:pt x="564" y="738"/>
                    <a:pt x="564" y="738"/>
                    <a:pt x="564" y="738"/>
                  </a:cubicBezTo>
                  <a:cubicBezTo>
                    <a:pt x="564" y="732"/>
                    <a:pt x="564" y="732"/>
                    <a:pt x="564" y="732"/>
                  </a:cubicBezTo>
                  <a:cubicBezTo>
                    <a:pt x="560" y="726"/>
                    <a:pt x="560" y="726"/>
                    <a:pt x="560" y="726"/>
                  </a:cubicBezTo>
                  <a:cubicBezTo>
                    <a:pt x="555" y="732"/>
                    <a:pt x="555" y="732"/>
                    <a:pt x="555" y="732"/>
                  </a:cubicBezTo>
                  <a:cubicBezTo>
                    <a:pt x="549" y="735"/>
                    <a:pt x="549" y="735"/>
                    <a:pt x="549" y="735"/>
                  </a:cubicBezTo>
                  <a:cubicBezTo>
                    <a:pt x="543" y="740"/>
                    <a:pt x="543" y="740"/>
                    <a:pt x="543" y="740"/>
                  </a:cubicBezTo>
                  <a:cubicBezTo>
                    <a:pt x="551" y="731"/>
                    <a:pt x="551" y="731"/>
                    <a:pt x="551" y="731"/>
                  </a:cubicBezTo>
                  <a:cubicBezTo>
                    <a:pt x="549" y="725"/>
                    <a:pt x="549" y="725"/>
                    <a:pt x="549" y="725"/>
                  </a:cubicBezTo>
                  <a:cubicBezTo>
                    <a:pt x="543" y="722"/>
                    <a:pt x="543" y="722"/>
                    <a:pt x="543" y="722"/>
                  </a:cubicBezTo>
                  <a:cubicBezTo>
                    <a:pt x="537" y="722"/>
                    <a:pt x="537" y="722"/>
                    <a:pt x="537" y="722"/>
                  </a:cubicBezTo>
                  <a:cubicBezTo>
                    <a:pt x="536" y="716"/>
                    <a:pt x="536" y="716"/>
                    <a:pt x="536" y="716"/>
                  </a:cubicBezTo>
                  <a:cubicBezTo>
                    <a:pt x="531" y="720"/>
                    <a:pt x="531" y="720"/>
                    <a:pt x="531" y="720"/>
                  </a:cubicBezTo>
                  <a:cubicBezTo>
                    <a:pt x="525" y="726"/>
                    <a:pt x="525" y="726"/>
                    <a:pt x="525" y="726"/>
                  </a:cubicBezTo>
                  <a:cubicBezTo>
                    <a:pt x="522" y="731"/>
                    <a:pt x="522" y="731"/>
                    <a:pt x="522" y="731"/>
                  </a:cubicBezTo>
                  <a:cubicBezTo>
                    <a:pt x="516" y="735"/>
                    <a:pt x="516" y="735"/>
                    <a:pt x="516" y="735"/>
                  </a:cubicBezTo>
                  <a:cubicBezTo>
                    <a:pt x="512" y="741"/>
                    <a:pt x="512" y="741"/>
                    <a:pt x="512" y="741"/>
                  </a:cubicBezTo>
                  <a:cubicBezTo>
                    <a:pt x="524" y="745"/>
                    <a:pt x="524" y="745"/>
                    <a:pt x="524" y="745"/>
                  </a:cubicBezTo>
                  <a:cubicBezTo>
                    <a:pt x="521" y="750"/>
                    <a:pt x="521" y="750"/>
                    <a:pt x="521" y="750"/>
                  </a:cubicBezTo>
                  <a:cubicBezTo>
                    <a:pt x="526" y="756"/>
                    <a:pt x="526" y="756"/>
                    <a:pt x="526" y="756"/>
                  </a:cubicBezTo>
                  <a:cubicBezTo>
                    <a:pt x="532" y="759"/>
                    <a:pt x="532" y="759"/>
                    <a:pt x="532" y="759"/>
                  </a:cubicBezTo>
                  <a:cubicBezTo>
                    <a:pt x="535" y="756"/>
                    <a:pt x="535" y="756"/>
                    <a:pt x="535" y="756"/>
                  </a:cubicBezTo>
                  <a:cubicBezTo>
                    <a:pt x="535" y="761"/>
                    <a:pt x="535" y="761"/>
                    <a:pt x="535" y="761"/>
                  </a:cubicBezTo>
                  <a:cubicBezTo>
                    <a:pt x="540" y="767"/>
                    <a:pt x="540" y="767"/>
                    <a:pt x="540" y="767"/>
                  </a:cubicBezTo>
                  <a:cubicBezTo>
                    <a:pt x="541" y="769"/>
                    <a:pt x="541" y="769"/>
                    <a:pt x="541" y="769"/>
                  </a:cubicBezTo>
                  <a:cubicBezTo>
                    <a:pt x="546" y="776"/>
                    <a:pt x="546" y="776"/>
                    <a:pt x="546" y="776"/>
                  </a:cubicBezTo>
                  <a:cubicBezTo>
                    <a:pt x="552" y="780"/>
                    <a:pt x="552" y="780"/>
                    <a:pt x="552" y="780"/>
                  </a:cubicBezTo>
                  <a:cubicBezTo>
                    <a:pt x="549" y="785"/>
                    <a:pt x="549" y="785"/>
                    <a:pt x="549" y="785"/>
                  </a:cubicBezTo>
                  <a:cubicBezTo>
                    <a:pt x="551" y="791"/>
                    <a:pt x="551" y="791"/>
                    <a:pt x="551" y="791"/>
                  </a:cubicBezTo>
                  <a:cubicBezTo>
                    <a:pt x="564" y="794"/>
                    <a:pt x="564" y="794"/>
                    <a:pt x="564" y="794"/>
                  </a:cubicBezTo>
                  <a:cubicBezTo>
                    <a:pt x="575" y="794"/>
                    <a:pt x="575" y="794"/>
                    <a:pt x="575" y="794"/>
                  </a:cubicBezTo>
                  <a:cubicBezTo>
                    <a:pt x="587" y="791"/>
                    <a:pt x="587" y="791"/>
                    <a:pt x="587" y="791"/>
                  </a:cubicBezTo>
                  <a:cubicBezTo>
                    <a:pt x="592" y="787"/>
                    <a:pt x="592" y="787"/>
                    <a:pt x="592" y="787"/>
                  </a:cubicBezTo>
                  <a:cubicBezTo>
                    <a:pt x="598" y="782"/>
                    <a:pt x="598" y="782"/>
                    <a:pt x="598" y="782"/>
                  </a:cubicBezTo>
                  <a:cubicBezTo>
                    <a:pt x="601" y="783"/>
                    <a:pt x="601" y="783"/>
                    <a:pt x="601" y="783"/>
                  </a:cubicBezTo>
                  <a:cubicBezTo>
                    <a:pt x="606" y="782"/>
                    <a:pt x="606" y="782"/>
                    <a:pt x="606" y="782"/>
                  </a:cubicBezTo>
                  <a:cubicBezTo>
                    <a:pt x="608" y="781"/>
                    <a:pt x="608" y="781"/>
                    <a:pt x="608" y="781"/>
                  </a:cubicBezTo>
                  <a:cubicBezTo>
                    <a:pt x="609" y="768"/>
                    <a:pt x="609" y="768"/>
                    <a:pt x="609" y="768"/>
                  </a:cubicBezTo>
                  <a:cubicBezTo>
                    <a:pt x="602" y="765"/>
                    <a:pt x="602" y="765"/>
                    <a:pt x="602" y="765"/>
                  </a:cubicBezTo>
                  <a:cubicBezTo>
                    <a:pt x="605" y="760"/>
                    <a:pt x="605" y="760"/>
                    <a:pt x="605" y="760"/>
                  </a:cubicBezTo>
                  <a:cubicBezTo>
                    <a:pt x="611" y="756"/>
                    <a:pt x="611" y="756"/>
                    <a:pt x="611" y="756"/>
                  </a:cubicBezTo>
                  <a:cubicBezTo>
                    <a:pt x="616" y="744"/>
                    <a:pt x="616" y="744"/>
                    <a:pt x="616" y="744"/>
                  </a:cubicBezTo>
                  <a:cubicBezTo>
                    <a:pt x="621" y="738"/>
                    <a:pt x="621" y="738"/>
                    <a:pt x="621" y="738"/>
                  </a:cubicBezTo>
                  <a:cubicBezTo>
                    <a:pt x="620" y="732"/>
                    <a:pt x="620" y="732"/>
                    <a:pt x="620" y="732"/>
                  </a:cubicBezTo>
                  <a:cubicBezTo>
                    <a:pt x="624" y="737"/>
                    <a:pt x="624" y="737"/>
                    <a:pt x="624" y="737"/>
                  </a:cubicBezTo>
                  <a:cubicBezTo>
                    <a:pt x="629" y="735"/>
                    <a:pt x="629" y="735"/>
                    <a:pt x="629" y="735"/>
                  </a:cubicBezTo>
                  <a:cubicBezTo>
                    <a:pt x="626" y="739"/>
                    <a:pt x="626" y="739"/>
                    <a:pt x="626" y="739"/>
                  </a:cubicBezTo>
                  <a:cubicBezTo>
                    <a:pt x="620" y="741"/>
                    <a:pt x="620" y="741"/>
                    <a:pt x="620" y="741"/>
                  </a:cubicBezTo>
                  <a:cubicBezTo>
                    <a:pt x="618" y="747"/>
                    <a:pt x="618" y="747"/>
                    <a:pt x="618" y="747"/>
                  </a:cubicBezTo>
                  <a:cubicBezTo>
                    <a:pt x="612" y="759"/>
                    <a:pt x="612" y="759"/>
                    <a:pt x="612" y="759"/>
                  </a:cubicBezTo>
                  <a:cubicBezTo>
                    <a:pt x="611" y="765"/>
                    <a:pt x="611" y="765"/>
                    <a:pt x="611" y="765"/>
                  </a:cubicBezTo>
                  <a:cubicBezTo>
                    <a:pt x="617" y="771"/>
                    <a:pt x="617" y="771"/>
                    <a:pt x="617" y="771"/>
                  </a:cubicBezTo>
                  <a:cubicBezTo>
                    <a:pt x="616" y="777"/>
                    <a:pt x="616" y="777"/>
                    <a:pt x="616" y="777"/>
                  </a:cubicBezTo>
                  <a:cubicBezTo>
                    <a:pt x="617" y="783"/>
                    <a:pt x="617" y="783"/>
                    <a:pt x="617" y="783"/>
                  </a:cubicBezTo>
                  <a:cubicBezTo>
                    <a:pt x="621" y="786"/>
                    <a:pt x="621" y="786"/>
                    <a:pt x="621" y="786"/>
                  </a:cubicBezTo>
                  <a:cubicBezTo>
                    <a:pt x="621" y="793"/>
                    <a:pt x="621" y="793"/>
                    <a:pt x="621" y="793"/>
                  </a:cubicBezTo>
                  <a:cubicBezTo>
                    <a:pt x="632" y="816"/>
                    <a:pt x="632" y="816"/>
                    <a:pt x="632" y="816"/>
                  </a:cubicBezTo>
                  <a:cubicBezTo>
                    <a:pt x="621" y="834"/>
                    <a:pt x="621" y="834"/>
                    <a:pt x="621" y="834"/>
                  </a:cubicBezTo>
                  <a:cubicBezTo>
                    <a:pt x="622" y="838"/>
                    <a:pt x="622" y="838"/>
                    <a:pt x="622" y="838"/>
                  </a:cubicBezTo>
                  <a:cubicBezTo>
                    <a:pt x="634" y="849"/>
                    <a:pt x="634" y="849"/>
                    <a:pt x="634" y="849"/>
                  </a:cubicBezTo>
                  <a:cubicBezTo>
                    <a:pt x="628" y="852"/>
                    <a:pt x="628" y="852"/>
                    <a:pt x="628" y="852"/>
                  </a:cubicBezTo>
                  <a:cubicBezTo>
                    <a:pt x="630" y="864"/>
                    <a:pt x="630" y="864"/>
                    <a:pt x="630" y="864"/>
                  </a:cubicBezTo>
                  <a:cubicBezTo>
                    <a:pt x="628" y="870"/>
                    <a:pt x="628" y="870"/>
                    <a:pt x="628" y="870"/>
                  </a:cubicBezTo>
                  <a:cubicBezTo>
                    <a:pt x="625" y="876"/>
                    <a:pt x="625" y="876"/>
                    <a:pt x="625" y="876"/>
                  </a:cubicBezTo>
                  <a:cubicBezTo>
                    <a:pt x="620" y="878"/>
                    <a:pt x="620" y="878"/>
                    <a:pt x="620" y="878"/>
                  </a:cubicBezTo>
                  <a:cubicBezTo>
                    <a:pt x="625" y="878"/>
                    <a:pt x="625" y="878"/>
                    <a:pt x="625" y="878"/>
                  </a:cubicBezTo>
                  <a:cubicBezTo>
                    <a:pt x="632" y="882"/>
                    <a:pt x="632" y="882"/>
                    <a:pt x="632" y="882"/>
                  </a:cubicBezTo>
                  <a:cubicBezTo>
                    <a:pt x="643" y="873"/>
                    <a:pt x="643" y="873"/>
                    <a:pt x="643" y="873"/>
                  </a:cubicBezTo>
                  <a:cubicBezTo>
                    <a:pt x="647" y="867"/>
                    <a:pt x="647" y="867"/>
                    <a:pt x="647" y="867"/>
                  </a:cubicBezTo>
                  <a:cubicBezTo>
                    <a:pt x="653" y="865"/>
                    <a:pt x="653" y="865"/>
                    <a:pt x="653" y="865"/>
                  </a:cubicBezTo>
                  <a:cubicBezTo>
                    <a:pt x="659" y="861"/>
                    <a:pt x="659" y="861"/>
                    <a:pt x="659" y="861"/>
                  </a:cubicBezTo>
                  <a:cubicBezTo>
                    <a:pt x="665" y="860"/>
                    <a:pt x="665" y="860"/>
                    <a:pt x="665" y="860"/>
                  </a:cubicBezTo>
                  <a:cubicBezTo>
                    <a:pt x="677" y="850"/>
                    <a:pt x="677" y="850"/>
                    <a:pt x="677" y="850"/>
                  </a:cubicBezTo>
                  <a:cubicBezTo>
                    <a:pt x="683" y="853"/>
                    <a:pt x="683" y="853"/>
                    <a:pt x="683" y="853"/>
                  </a:cubicBezTo>
                  <a:cubicBezTo>
                    <a:pt x="686" y="859"/>
                    <a:pt x="686" y="859"/>
                    <a:pt x="686" y="859"/>
                  </a:cubicBezTo>
                  <a:cubicBezTo>
                    <a:pt x="693" y="861"/>
                    <a:pt x="693" y="861"/>
                    <a:pt x="693" y="861"/>
                  </a:cubicBezTo>
                  <a:cubicBezTo>
                    <a:pt x="694" y="867"/>
                    <a:pt x="694" y="867"/>
                    <a:pt x="694" y="867"/>
                  </a:cubicBezTo>
                  <a:cubicBezTo>
                    <a:pt x="700" y="864"/>
                    <a:pt x="700" y="864"/>
                    <a:pt x="700" y="864"/>
                  </a:cubicBezTo>
                  <a:cubicBezTo>
                    <a:pt x="706" y="858"/>
                    <a:pt x="706" y="858"/>
                    <a:pt x="706" y="858"/>
                  </a:cubicBezTo>
                  <a:cubicBezTo>
                    <a:pt x="706" y="864"/>
                    <a:pt x="706" y="864"/>
                    <a:pt x="706" y="864"/>
                  </a:cubicBezTo>
                  <a:cubicBezTo>
                    <a:pt x="713" y="868"/>
                    <a:pt x="713" y="868"/>
                    <a:pt x="713" y="868"/>
                  </a:cubicBezTo>
                  <a:cubicBezTo>
                    <a:pt x="727" y="892"/>
                    <a:pt x="727" y="892"/>
                    <a:pt x="727" y="892"/>
                  </a:cubicBezTo>
                  <a:cubicBezTo>
                    <a:pt x="728" y="893"/>
                    <a:pt x="728" y="893"/>
                    <a:pt x="728" y="893"/>
                  </a:cubicBezTo>
                  <a:cubicBezTo>
                    <a:pt x="735" y="893"/>
                    <a:pt x="735" y="893"/>
                    <a:pt x="735" y="893"/>
                  </a:cubicBezTo>
                  <a:cubicBezTo>
                    <a:pt x="738" y="887"/>
                    <a:pt x="738" y="887"/>
                    <a:pt x="738" y="887"/>
                  </a:cubicBezTo>
                  <a:cubicBezTo>
                    <a:pt x="735" y="882"/>
                    <a:pt x="735" y="882"/>
                    <a:pt x="735" y="882"/>
                  </a:cubicBezTo>
                  <a:cubicBezTo>
                    <a:pt x="732" y="873"/>
                    <a:pt x="732" y="873"/>
                    <a:pt x="732" y="873"/>
                  </a:cubicBezTo>
                  <a:cubicBezTo>
                    <a:pt x="735" y="867"/>
                    <a:pt x="735" y="867"/>
                    <a:pt x="735" y="867"/>
                  </a:cubicBezTo>
                  <a:cubicBezTo>
                    <a:pt x="735" y="855"/>
                    <a:pt x="735" y="855"/>
                    <a:pt x="735" y="855"/>
                  </a:cubicBezTo>
                  <a:cubicBezTo>
                    <a:pt x="741" y="858"/>
                    <a:pt x="741" y="858"/>
                    <a:pt x="741" y="858"/>
                  </a:cubicBezTo>
                  <a:cubicBezTo>
                    <a:pt x="746" y="846"/>
                    <a:pt x="746" y="846"/>
                    <a:pt x="746" y="846"/>
                  </a:cubicBezTo>
                  <a:cubicBezTo>
                    <a:pt x="743" y="841"/>
                    <a:pt x="743" y="841"/>
                    <a:pt x="743" y="841"/>
                  </a:cubicBezTo>
                  <a:cubicBezTo>
                    <a:pt x="748" y="848"/>
                    <a:pt x="748" y="848"/>
                    <a:pt x="748" y="848"/>
                  </a:cubicBezTo>
                  <a:cubicBezTo>
                    <a:pt x="760" y="852"/>
                    <a:pt x="760" y="852"/>
                    <a:pt x="760" y="852"/>
                  </a:cubicBezTo>
                  <a:cubicBezTo>
                    <a:pt x="763" y="859"/>
                    <a:pt x="763" y="859"/>
                    <a:pt x="763" y="859"/>
                  </a:cubicBezTo>
                  <a:cubicBezTo>
                    <a:pt x="760" y="858"/>
                    <a:pt x="760" y="858"/>
                    <a:pt x="760" y="858"/>
                  </a:cubicBezTo>
                  <a:cubicBezTo>
                    <a:pt x="758" y="852"/>
                    <a:pt x="758" y="852"/>
                    <a:pt x="758" y="852"/>
                  </a:cubicBezTo>
                  <a:cubicBezTo>
                    <a:pt x="752" y="850"/>
                    <a:pt x="752" y="850"/>
                    <a:pt x="752" y="850"/>
                  </a:cubicBezTo>
                  <a:cubicBezTo>
                    <a:pt x="746" y="855"/>
                    <a:pt x="746" y="855"/>
                    <a:pt x="746" y="855"/>
                  </a:cubicBezTo>
                  <a:cubicBezTo>
                    <a:pt x="744" y="867"/>
                    <a:pt x="744" y="867"/>
                    <a:pt x="744" y="867"/>
                  </a:cubicBezTo>
                  <a:cubicBezTo>
                    <a:pt x="750" y="870"/>
                    <a:pt x="750" y="870"/>
                    <a:pt x="750" y="870"/>
                  </a:cubicBezTo>
                  <a:cubicBezTo>
                    <a:pt x="751" y="876"/>
                    <a:pt x="751" y="876"/>
                    <a:pt x="751" y="876"/>
                  </a:cubicBezTo>
                  <a:cubicBezTo>
                    <a:pt x="754" y="878"/>
                    <a:pt x="754" y="878"/>
                    <a:pt x="754" y="878"/>
                  </a:cubicBezTo>
                  <a:cubicBezTo>
                    <a:pt x="760" y="878"/>
                    <a:pt x="760" y="878"/>
                    <a:pt x="760" y="878"/>
                  </a:cubicBezTo>
                  <a:cubicBezTo>
                    <a:pt x="772" y="871"/>
                    <a:pt x="772" y="871"/>
                    <a:pt x="772" y="871"/>
                  </a:cubicBezTo>
                  <a:cubicBezTo>
                    <a:pt x="790" y="862"/>
                    <a:pt x="790" y="862"/>
                    <a:pt x="790" y="862"/>
                  </a:cubicBezTo>
                  <a:cubicBezTo>
                    <a:pt x="796" y="857"/>
                    <a:pt x="796" y="857"/>
                    <a:pt x="796" y="857"/>
                  </a:cubicBezTo>
                  <a:cubicBezTo>
                    <a:pt x="800" y="852"/>
                    <a:pt x="800" y="852"/>
                    <a:pt x="800" y="852"/>
                  </a:cubicBezTo>
                  <a:cubicBezTo>
                    <a:pt x="802" y="846"/>
                    <a:pt x="802" y="846"/>
                    <a:pt x="802" y="846"/>
                  </a:cubicBezTo>
                  <a:cubicBezTo>
                    <a:pt x="802" y="845"/>
                    <a:pt x="802" y="845"/>
                    <a:pt x="802" y="845"/>
                  </a:cubicBezTo>
                  <a:cubicBezTo>
                    <a:pt x="805" y="840"/>
                    <a:pt x="805" y="840"/>
                    <a:pt x="805" y="840"/>
                  </a:cubicBezTo>
                  <a:cubicBezTo>
                    <a:pt x="802" y="846"/>
                    <a:pt x="802" y="846"/>
                    <a:pt x="802" y="846"/>
                  </a:cubicBezTo>
                  <a:cubicBezTo>
                    <a:pt x="803" y="850"/>
                    <a:pt x="803" y="850"/>
                    <a:pt x="803" y="850"/>
                  </a:cubicBezTo>
                  <a:cubicBezTo>
                    <a:pt x="798" y="856"/>
                    <a:pt x="798" y="856"/>
                    <a:pt x="798" y="856"/>
                  </a:cubicBezTo>
                  <a:cubicBezTo>
                    <a:pt x="798" y="863"/>
                    <a:pt x="798" y="863"/>
                    <a:pt x="798" y="863"/>
                  </a:cubicBezTo>
                  <a:cubicBezTo>
                    <a:pt x="801" y="868"/>
                    <a:pt x="801" y="868"/>
                    <a:pt x="801" y="868"/>
                  </a:cubicBezTo>
                  <a:cubicBezTo>
                    <a:pt x="791" y="876"/>
                    <a:pt x="791" y="876"/>
                    <a:pt x="791" y="876"/>
                  </a:cubicBezTo>
                  <a:cubicBezTo>
                    <a:pt x="787" y="882"/>
                    <a:pt x="787" y="882"/>
                    <a:pt x="787" y="882"/>
                  </a:cubicBezTo>
                  <a:cubicBezTo>
                    <a:pt x="782" y="887"/>
                    <a:pt x="782" y="887"/>
                    <a:pt x="782" y="887"/>
                  </a:cubicBezTo>
                  <a:cubicBezTo>
                    <a:pt x="780" y="894"/>
                    <a:pt x="780" y="894"/>
                    <a:pt x="780" y="894"/>
                  </a:cubicBezTo>
                  <a:cubicBezTo>
                    <a:pt x="780" y="900"/>
                    <a:pt x="780" y="900"/>
                    <a:pt x="780" y="900"/>
                  </a:cubicBezTo>
                  <a:cubicBezTo>
                    <a:pt x="783" y="905"/>
                    <a:pt x="783" y="905"/>
                    <a:pt x="783" y="905"/>
                  </a:cubicBezTo>
                  <a:cubicBezTo>
                    <a:pt x="789" y="905"/>
                    <a:pt x="789" y="905"/>
                    <a:pt x="789" y="905"/>
                  </a:cubicBezTo>
                  <a:cubicBezTo>
                    <a:pt x="795" y="908"/>
                    <a:pt x="795" y="908"/>
                    <a:pt x="795" y="908"/>
                  </a:cubicBezTo>
                  <a:cubicBezTo>
                    <a:pt x="791" y="907"/>
                    <a:pt x="791" y="907"/>
                    <a:pt x="791" y="907"/>
                  </a:cubicBezTo>
                  <a:cubicBezTo>
                    <a:pt x="784" y="908"/>
                    <a:pt x="784" y="908"/>
                    <a:pt x="784" y="908"/>
                  </a:cubicBezTo>
                  <a:cubicBezTo>
                    <a:pt x="779" y="914"/>
                    <a:pt x="779" y="914"/>
                    <a:pt x="779" y="914"/>
                  </a:cubicBezTo>
                  <a:cubicBezTo>
                    <a:pt x="778" y="931"/>
                    <a:pt x="778" y="931"/>
                    <a:pt x="778" y="931"/>
                  </a:cubicBezTo>
                  <a:cubicBezTo>
                    <a:pt x="776" y="944"/>
                    <a:pt x="776" y="944"/>
                    <a:pt x="776" y="944"/>
                  </a:cubicBezTo>
                  <a:cubicBezTo>
                    <a:pt x="780" y="949"/>
                    <a:pt x="780" y="949"/>
                    <a:pt x="780" y="949"/>
                  </a:cubicBezTo>
                  <a:cubicBezTo>
                    <a:pt x="782" y="956"/>
                    <a:pt x="782" y="956"/>
                    <a:pt x="782" y="956"/>
                  </a:cubicBezTo>
                  <a:cubicBezTo>
                    <a:pt x="788" y="951"/>
                    <a:pt x="788" y="951"/>
                    <a:pt x="788" y="951"/>
                  </a:cubicBezTo>
                  <a:cubicBezTo>
                    <a:pt x="784" y="957"/>
                    <a:pt x="784" y="957"/>
                    <a:pt x="784" y="957"/>
                  </a:cubicBezTo>
                  <a:cubicBezTo>
                    <a:pt x="778" y="957"/>
                    <a:pt x="778" y="957"/>
                    <a:pt x="778" y="957"/>
                  </a:cubicBezTo>
                  <a:cubicBezTo>
                    <a:pt x="777" y="951"/>
                    <a:pt x="777" y="951"/>
                    <a:pt x="777" y="951"/>
                  </a:cubicBezTo>
                  <a:cubicBezTo>
                    <a:pt x="771" y="954"/>
                    <a:pt x="771" y="954"/>
                    <a:pt x="771" y="954"/>
                  </a:cubicBezTo>
                  <a:cubicBezTo>
                    <a:pt x="760" y="965"/>
                    <a:pt x="738" y="981"/>
                    <a:pt x="741" y="1000"/>
                  </a:cubicBezTo>
                  <a:cubicBezTo>
                    <a:pt x="738" y="1005"/>
                    <a:pt x="738" y="1005"/>
                    <a:pt x="738" y="1005"/>
                  </a:cubicBezTo>
                  <a:cubicBezTo>
                    <a:pt x="731" y="1001"/>
                    <a:pt x="731" y="1001"/>
                    <a:pt x="731" y="1001"/>
                  </a:cubicBezTo>
                  <a:cubicBezTo>
                    <a:pt x="725" y="1006"/>
                    <a:pt x="725" y="1006"/>
                    <a:pt x="725" y="1006"/>
                  </a:cubicBezTo>
                  <a:cubicBezTo>
                    <a:pt x="722" y="1012"/>
                    <a:pt x="722" y="1012"/>
                    <a:pt x="722" y="1012"/>
                  </a:cubicBezTo>
                  <a:cubicBezTo>
                    <a:pt x="710" y="1016"/>
                    <a:pt x="710" y="1016"/>
                    <a:pt x="710" y="1016"/>
                  </a:cubicBezTo>
                  <a:cubicBezTo>
                    <a:pt x="698" y="1023"/>
                    <a:pt x="698" y="1023"/>
                    <a:pt x="698" y="1023"/>
                  </a:cubicBezTo>
                  <a:cubicBezTo>
                    <a:pt x="693" y="1029"/>
                    <a:pt x="693" y="1029"/>
                    <a:pt x="693" y="1029"/>
                  </a:cubicBezTo>
                  <a:cubicBezTo>
                    <a:pt x="689" y="1031"/>
                    <a:pt x="689" y="1031"/>
                    <a:pt x="689" y="1031"/>
                  </a:cubicBezTo>
                  <a:cubicBezTo>
                    <a:pt x="677" y="1042"/>
                    <a:pt x="677" y="1042"/>
                    <a:pt x="677" y="1042"/>
                  </a:cubicBezTo>
                  <a:cubicBezTo>
                    <a:pt x="675" y="1048"/>
                    <a:pt x="675" y="1048"/>
                    <a:pt x="675" y="1048"/>
                  </a:cubicBezTo>
                  <a:cubicBezTo>
                    <a:pt x="672" y="1060"/>
                    <a:pt x="672" y="1060"/>
                    <a:pt x="672" y="1060"/>
                  </a:cubicBezTo>
                  <a:cubicBezTo>
                    <a:pt x="675" y="1066"/>
                    <a:pt x="675" y="1066"/>
                    <a:pt x="675" y="1066"/>
                  </a:cubicBezTo>
                  <a:cubicBezTo>
                    <a:pt x="681" y="1069"/>
                    <a:pt x="681" y="1069"/>
                    <a:pt x="681" y="1069"/>
                  </a:cubicBezTo>
                  <a:cubicBezTo>
                    <a:pt x="681" y="1075"/>
                    <a:pt x="681" y="1075"/>
                    <a:pt x="681" y="1075"/>
                  </a:cubicBezTo>
                  <a:cubicBezTo>
                    <a:pt x="675" y="1074"/>
                    <a:pt x="675" y="1074"/>
                    <a:pt x="675" y="1074"/>
                  </a:cubicBezTo>
                  <a:cubicBezTo>
                    <a:pt x="669" y="1069"/>
                    <a:pt x="669" y="1069"/>
                    <a:pt x="669" y="1069"/>
                  </a:cubicBezTo>
                  <a:cubicBezTo>
                    <a:pt x="662" y="1071"/>
                    <a:pt x="662" y="1071"/>
                    <a:pt x="662" y="1071"/>
                  </a:cubicBezTo>
                  <a:cubicBezTo>
                    <a:pt x="664" y="1077"/>
                    <a:pt x="664" y="1077"/>
                    <a:pt x="664" y="1077"/>
                  </a:cubicBezTo>
                  <a:cubicBezTo>
                    <a:pt x="658" y="1074"/>
                    <a:pt x="658" y="1074"/>
                    <a:pt x="658" y="1074"/>
                  </a:cubicBezTo>
                  <a:cubicBezTo>
                    <a:pt x="653" y="1068"/>
                    <a:pt x="653" y="1068"/>
                    <a:pt x="653" y="1068"/>
                  </a:cubicBezTo>
                  <a:cubicBezTo>
                    <a:pt x="654" y="1062"/>
                    <a:pt x="654" y="1062"/>
                    <a:pt x="654" y="1062"/>
                  </a:cubicBezTo>
                  <a:cubicBezTo>
                    <a:pt x="649" y="1063"/>
                    <a:pt x="649" y="1063"/>
                    <a:pt x="649" y="1063"/>
                  </a:cubicBezTo>
                  <a:cubicBezTo>
                    <a:pt x="643" y="1060"/>
                    <a:pt x="643" y="1060"/>
                    <a:pt x="643" y="1060"/>
                  </a:cubicBezTo>
                  <a:cubicBezTo>
                    <a:pt x="625" y="1066"/>
                    <a:pt x="625" y="1066"/>
                    <a:pt x="625" y="1066"/>
                  </a:cubicBezTo>
                  <a:cubicBezTo>
                    <a:pt x="606" y="1079"/>
                    <a:pt x="606" y="1079"/>
                    <a:pt x="606" y="1079"/>
                  </a:cubicBezTo>
                  <a:cubicBezTo>
                    <a:pt x="597" y="1091"/>
                    <a:pt x="597" y="1091"/>
                    <a:pt x="597" y="1091"/>
                  </a:cubicBezTo>
                  <a:cubicBezTo>
                    <a:pt x="595" y="1097"/>
                    <a:pt x="595" y="1097"/>
                    <a:pt x="595" y="1097"/>
                  </a:cubicBezTo>
                  <a:cubicBezTo>
                    <a:pt x="591" y="1103"/>
                    <a:pt x="591" y="1103"/>
                    <a:pt x="591" y="1103"/>
                  </a:cubicBezTo>
                  <a:cubicBezTo>
                    <a:pt x="579" y="1107"/>
                    <a:pt x="579" y="1107"/>
                    <a:pt x="579" y="1107"/>
                  </a:cubicBezTo>
                  <a:cubicBezTo>
                    <a:pt x="578" y="1114"/>
                    <a:pt x="578" y="1114"/>
                    <a:pt x="578" y="1114"/>
                  </a:cubicBezTo>
                  <a:cubicBezTo>
                    <a:pt x="572" y="1111"/>
                    <a:pt x="572" y="1111"/>
                    <a:pt x="572" y="1111"/>
                  </a:cubicBezTo>
                  <a:cubicBezTo>
                    <a:pt x="566" y="1114"/>
                    <a:pt x="566" y="1114"/>
                    <a:pt x="566" y="1114"/>
                  </a:cubicBezTo>
                  <a:cubicBezTo>
                    <a:pt x="562" y="1120"/>
                    <a:pt x="562" y="1120"/>
                    <a:pt x="562" y="1120"/>
                  </a:cubicBezTo>
                  <a:cubicBezTo>
                    <a:pt x="564" y="1126"/>
                    <a:pt x="564" y="1126"/>
                    <a:pt x="564" y="1126"/>
                  </a:cubicBezTo>
                  <a:cubicBezTo>
                    <a:pt x="561" y="1132"/>
                    <a:pt x="561" y="1132"/>
                    <a:pt x="561" y="1132"/>
                  </a:cubicBezTo>
                  <a:cubicBezTo>
                    <a:pt x="561" y="1138"/>
                    <a:pt x="561" y="1138"/>
                    <a:pt x="561" y="1138"/>
                  </a:cubicBezTo>
                  <a:cubicBezTo>
                    <a:pt x="567" y="1134"/>
                    <a:pt x="567" y="1134"/>
                    <a:pt x="567" y="1134"/>
                  </a:cubicBezTo>
                  <a:cubicBezTo>
                    <a:pt x="572" y="1128"/>
                    <a:pt x="572" y="1128"/>
                    <a:pt x="572" y="1128"/>
                  </a:cubicBezTo>
                  <a:cubicBezTo>
                    <a:pt x="566" y="1123"/>
                    <a:pt x="566" y="1123"/>
                    <a:pt x="566" y="1123"/>
                  </a:cubicBezTo>
                  <a:cubicBezTo>
                    <a:pt x="567" y="1118"/>
                    <a:pt x="567" y="1118"/>
                    <a:pt x="567" y="1118"/>
                  </a:cubicBezTo>
                  <a:cubicBezTo>
                    <a:pt x="573" y="1119"/>
                    <a:pt x="573" y="1119"/>
                    <a:pt x="573" y="1119"/>
                  </a:cubicBezTo>
                  <a:cubicBezTo>
                    <a:pt x="577" y="1125"/>
                    <a:pt x="577" y="1125"/>
                    <a:pt x="577" y="1125"/>
                  </a:cubicBezTo>
                  <a:cubicBezTo>
                    <a:pt x="579" y="1130"/>
                    <a:pt x="579" y="1130"/>
                    <a:pt x="579" y="1130"/>
                  </a:cubicBezTo>
                  <a:cubicBezTo>
                    <a:pt x="591" y="1127"/>
                    <a:pt x="591" y="1127"/>
                    <a:pt x="591" y="1127"/>
                  </a:cubicBezTo>
                  <a:cubicBezTo>
                    <a:pt x="588" y="1121"/>
                    <a:pt x="588" y="1121"/>
                    <a:pt x="588" y="1121"/>
                  </a:cubicBezTo>
                  <a:cubicBezTo>
                    <a:pt x="590" y="1115"/>
                    <a:pt x="590" y="1115"/>
                    <a:pt x="590" y="1115"/>
                  </a:cubicBezTo>
                  <a:cubicBezTo>
                    <a:pt x="587" y="1109"/>
                    <a:pt x="587" y="1109"/>
                    <a:pt x="587" y="1109"/>
                  </a:cubicBezTo>
                  <a:cubicBezTo>
                    <a:pt x="592" y="1106"/>
                    <a:pt x="592" y="1106"/>
                    <a:pt x="592" y="1106"/>
                  </a:cubicBezTo>
                  <a:cubicBezTo>
                    <a:pt x="595" y="1118"/>
                    <a:pt x="595" y="1118"/>
                    <a:pt x="595" y="1118"/>
                  </a:cubicBezTo>
                  <a:cubicBezTo>
                    <a:pt x="597" y="1124"/>
                    <a:pt x="597" y="1124"/>
                    <a:pt x="597" y="1124"/>
                  </a:cubicBezTo>
                  <a:cubicBezTo>
                    <a:pt x="603" y="1126"/>
                    <a:pt x="603" y="1126"/>
                    <a:pt x="603" y="1126"/>
                  </a:cubicBezTo>
                  <a:cubicBezTo>
                    <a:pt x="609" y="1120"/>
                    <a:pt x="609" y="1120"/>
                    <a:pt x="609" y="1120"/>
                  </a:cubicBezTo>
                  <a:cubicBezTo>
                    <a:pt x="615" y="1116"/>
                    <a:pt x="615" y="1116"/>
                    <a:pt x="615" y="1116"/>
                  </a:cubicBezTo>
                  <a:cubicBezTo>
                    <a:pt x="614" y="1111"/>
                    <a:pt x="614" y="1111"/>
                    <a:pt x="614" y="1111"/>
                  </a:cubicBezTo>
                  <a:cubicBezTo>
                    <a:pt x="620" y="1108"/>
                    <a:pt x="620" y="1108"/>
                    <a:pt x="620" y="1108"/>
                  </a:cubicBezTo>
                  <a:cubicBezTo>
                    <a:pt x="624" y="1102"/>
                    <a:pt x="624" y="1102"/>
                    <a:pt x="624" y="1102"/>
                  </a:cubicBezTo>
                  <a:cubicBezTo>
                    <a:pt x="627" y="1090"/>
                    <a:pt x="627" y="1090"/>
                    <a:pt x="627" y="1090"/>
                  </a:cubicBezTo>
                  <a:cubicBezTo>
                    <a:pt x="633" y="1085"/>
                    <a:pt x="633" y="1085"/>
                    <a:pt x="633" y="1085"/>
                  </a:cubicBezTo>
                  <a:cubicBezTo>
                    <a:pt x="639" y="1085"/>
                    <a:pt x="639" y="1085"/>
                    <a:pt x="639" y="1085"/>
                  </a:cubicBezTo>
                  <a:cubicBezTo>
                    <a:pt x="643" y="1092"/>
                    <a:pt x="643" y="1092"/>
                    <a:pt x="643" y="1092"/>
                  </a:cubicBezTo>
                  <a:cubicBezTo>
                    <a:pt x="637" y="1090"/>
                    <a:pt x="637" y="1090"/>
                    <a:pt x="637" y="1090"/>
                  </a:cubicBezTo>
                  <a:cubicBezTo>
                    <a:pt x="635" y="1097"/>
                    <a:pt x="635" y="1097"/>
                    <a:pt x="635" y="1097"/>
                  </a:cubicBezTo>
                  <a:cubicBezTo>
                    <a:pt x="637" y="1103"/>
                    <a:pt x="637" y="1103"/>
                    <a:pt x="637" y="1103"/>
                  </a:cubicBezTo>
                  <a:cubicBezTo>
                    <a:pt x="643" y="1104"/>
                    <a:pt x="643" y="1104"/>
                    <a:pt x="643" y="1104"/>
                  </a:cubicBezTo>
                  <a:cubicBezTo>
                    <a:pt x="649" y="1101"/>
                    <a:pt x="649" y="1101"/>
                    <a:pt x="649" y="1101"/>
                  </a:cubicBezTo>
                  <a:cubicBezTo>
                    <a:pt x="654" y="1095"/>
                    <a:pt x="654" y="1095"/>
                    <a:pt x="654" y="1095"/>
                  </a:cubicBezTo>
                  <a:cubicBezTo>
                    <a:pt x="660" y="1097"/>
                    <a:pt x="660" y="1097"/>
                    <a:pt x="660" y="1097"/>
                  </a:cubicBezTo>
                  <a:cubicBezTo>
                    <a:pt x="666" y="1096"/>
                    <a:pt x="666" y="1096"/>
                    <a:pt x="666" y="1096"/>
                  </a:cubicBezTo>
                  <a:cubicBezTo>
                    <a:pt x="663" y="1090"/>
                    <a:pt x="663" y="1090"/>
                    <a:pt x="663" y="1090"/>
                  </a:cubicBezTo>
                  <a:cubicBezTo>
                    <a:pt x="669" y="1089"/>
                    <a:pt x="669" y="1089"/>
                    <a:pt x="669" y="1089"/>
                  </a:cubicBezTo>
                  <a:cubicBezTo>
                    <a:pt x="672" y="1096"/>
                    <a:pt x="672" y="1096"/>
                    <a:pt x="672" y="1096"/>
                  </a:cubicBezTo>
                  <a:cubicBezTo>
                    <a:pt x="678" y="1084"/>
                    <a:pt x="678" y="1084"/>
                    <a:pt x="678" y="1084"/>
                  </a:cubicBezTo>
                  <a:cubicBezTo>
                    <a:pt x="684" y="1084"/>
                    <a:pt x="684" y="1084"/>
                    <a:pt x="684" y="1084"/>
                  </a:cubicBezTo>
                  <a:cubicBezTo>
                    <a:pt x="690" y="1081"/>
                    <a:pt x="690" y="1081"/>
                    <a:pt x="690" y="1081"/>
                  </a:cubicBezTo>
                  <a:cubicBezTo>
                    <a:pt x="693" y="1074"/>
                    <a:pt x="693" y="1074"/>
                    <a:pt x="693" y="1074"/>
                  </a:cubicBezTo>
                  <a:cubicBezTo>
                    <a:pt x="700" y="1070"/>
                    <a:pt x="700" y="1070"/>
                    <a:pt x="700" y="1070"/>
                  </a:cubicBezTo>
                  <a:cubicBezTo>
                    <a:pt x="706" y="1071"/>
                    <a:pt x="706" y="1071"/>
                    <a:pt x="706" y="1071"/>
                  </a:cubicBezTo>
                  <a:cubicBezTo>
                    <a:pt x="705" y="1078"/>
                    <a:pt x="705" y="1078"/>
                    <a:pt x="705" y="1078"/>
                  </a:cubicBezTo>
                  <a:cubicBezTo>
                    <a:pt x="705" y="1084"/>
                    <a:pt x="705" y="1084"/>
                    <a:pt x="705" y="1084"/>
                  </a:cubicBezTo>
                  <a:cubicBezTo>
                    <a:pt x="703" y="1089"/>
                    <a:pt x="703" y="1089"/>
                    <a:pt x="703" y="1089"/>
                  </a:cubicBezTo>
                  <a:cubicBezTo>
                    <a:pt x="709" y="1084"/>
                    <a:pt x="709" y="1084"/>
                    <a:pt x="709" y="1084"/>
                  </a:cubicBezTo>
                  <a:cubicBezTo>
                    <a:pt x="713" y="1071"/>
                    <a:pt x="713" y="1071"/>
                    <a:pt x="713" y="1071"/>
                  </a:cubicBezTo>
                  <a:cubicBezTo>
                    <a:pt x="724" y="1066"/>
                    <a:pt x="724" y="1066"/>
                    <a:pt x="724" y="1066"/>
                  </a:cubicBezTo>
                  <a:cubicBezTo>
                    <a:pt x="730" y="1067"/>
                    <a:pt x="730" y="1067"/>
                    <a:pt x="730" y="1067"/>
                  </a:cubicBezTo>
                  <a:cubicBezTo>
                    <a:pt x="735" y="1061"/>
                    <a:pt x="735" y="1061"/>
                    <a:pt x="735" y="1061"/>
                  </a:cubicBezTo>
                  <a:cubicBezTo>
                    <a:pt x="741" y="1057"/>
                    <a:pt x="741" y="1057"/>
                    <a:pt x="741" y="1057"/>
                  </a:cubicBezTo>
                  <a:cubicBezTo>
                    <a:pt x="743" y="1051"/>
                    <a:pt x="743" y="1051"/>
                    <a:pt x="743" y="1051"/>
                  </a:cubicBezTo>
                  <a:cubicBezTo>
                    <a:pt x="749" y="1048"/>
                    <a:pt x="749" y="1048"/>
                    <a:pt x="749" y="1048"/>
                  </a:cubicBezTo>
                  <a:cubicBezTo>
                    <a:pt x="747" y="1054"/>
                    <a:pt x="747" y="1054"/>
                    <a:pt x="747" y="1054"/>
                  </a:cubicBezTo>
                  <a:cubicBezTo>
                    <a:pt x="749" y="1060"/>
                    <a:pt x="749" y="1060"/>
                    <a:pt x="749" y="1060"/>
                  </a:cubicBezTo>
                  <a:cubicBezTo>
                    <a:pt x="753" y="1059"/>
                    <a:pt x="753" y="1059"/>
                    <a:pt x="753" y="1059"/>
                  </a:cubicBezTo>
                  <a:cubicBezTo>
                    <a:pt x="753" y="1046"/>
                    <a:pt x="753" y="1046"/>
                    <a:pt x="753" y="1046"/>
                  </a:cubicBezTo>
                  <a:cubicBezTo>
                    <a:pt x="759" y="1045"/>
                    <a:pt x="759" y="1045"/>
                    <a:pt x="759" y="1045"/>
                  </a:cubicBezTo>
                  <a:cubicBezTo>
                    <a:pt x="753" y="1044"/>
                    <a:pt x="753" y="1044"/>
                    <a:pt x="753" y="1044"/>
                  </a:cubicBezTo>
                  <a:cubicBezTo>
                    <a:pt x="757" y="1038"/>
                    <a:pt x="757" y="1038"/>
                    <a:pt x="757" y="1038"/>
                  </a:cubicBezTo>
                  <a:cubicBezTo>
                    <a:pt x="751" y="1036"/>
                    <a:pt x="751" y="1036"/>
                    <a:pt x="751" y="1036"/>
                  </a:cubicBezTo>
                  <a:cubicBezTo>
                    <a:pt x="745" y="1038"/>
                    <a:pt x="745" y="1038"/>
                    <a:pt x="745" y="1038"/>
                  </a:cubicBezTo>
                  <a:cubicBezTo>
                    <a:pt x="754" y="1026"/>
                    <a:pt x="754" y="1026"/>
                    <a:pt x="754" y="1026"/>
                  </a:cubicBezTo>
                  <a:cubicBezTo>
                    <a:pt x="761" y="1027"/>
                    <a:pt x="761" y="1027"/>
                    <a:pt x="761" y="1027"/>
                  </a:cubicBezTo>
                  <a:cubicBezTo>
                    <a:pt x="767" y="1024"/>
                    <a:pt x="767" y="1024"/>
                    <a:pt x="767" y="1024"/>
                  </a:cubicBezTo>
                  <a:cubicBezTo>
                    <a:pt x="772" y="1026"/>
                    <a:pt x="772" y="1026"/>
                    <a:pt x="772" y="1026"/>
                  </a:cubicBezTo>
                  <a:cubicBezTo>
                    <a:pt x="773" y="1020"/>
                    <a:pt x="773" y="1020"/>
                    <a:pt x="773" y="1020"/>
                  </a:cubicBezTo>
                  <a:cubicBezTo>
                    <a:pt x="768" y="1017"/>
                    <a:pt x="768" y="1017"/>
                    <a:pt x="768" y="1017"/>
                  </a:cubicBezTo>
                  <a:cubicBezTo>
                    <a:pt x="773" y="1012"/>
                    <a:pt x="773" y="1012"/>
                    <a:pt x="773" y="1012"/>
                  </a:cubicBezTo>
                  <a:cubicBezTo>
                    <a:pt x="779" y="1016"/>
                    <a:pt x="779" y="1016"/>
                    <a:pt x="779" y="1016"/>
                  </a:cubicBezTo>
                  <a:cubicBezTo>
                    <a:pt x="785" y="1012"/>
                    <a:pt x="785" y="1012"/>
                    <a:pt x="785" y="1012"/>
                  </a:cubicBezTo>
                  <a:cubicBezTo>
                    <a:pt x="788" y="1006"/>
                    <a:pt x="788" y="1006"/>
                    <a:pt x="788" y="1006"/>
                  </a:cubicBezTo>
                  <a:cubicBezTo>
                    <a:pt x="787" y="1000"/>
                    <a:pt x="787" y="1000"/>
                    <a:pt x="787" y="1000"/>
                  </a:cubicBezTo>
                  <a:cubicBezTo>
                    <a:pt x="793" y="1001"/>
                    <a:pt x="793" y="1001"/>
                    <a:pt x="793" y="1001"/>
                  </a:cubicBezTo>
                  <a:cubicBezTo>
                    <a:pt x="799" y="1001"/>
                    <a:pt x="799" y="1001"/>
                    <a:pt x="799" y="1001"/>
                  </a:cubicBezTo>
                  <a:cubicBezTo>
                    <a:pt x="798" y="999"/>
                    <a:pt x="798" y="999"/>
                    <a:pt x="798" y="999"/>
                  </a:cubicBezTo>
                  <a:cubicBezTo>
                    <a:pt x="804" y="996"/>
                    <a:pt x="804" y="996"/>
                    <a:pt x="804" y="996"/>
                  </a:cubicBezTo>
                  <a:cubicBezTo>
                    <a:pt x="806" y="990"/>
                    <a:pt x="806" y="990"/>
                    <a:pt x="806" y="990"/>
                  </a:cubicBezTo>
                  <a:cubicBezTo>
                    <a:pt x="812" y="994"/>
                    <a:pt x="812" y="994"/>
                    <a:pt x="812" y="994"/>
                  </a:cubicBezTo>
                  <a:cubicBezTo>
                    <a:pt x="827" y="978"/>
                    <a:pt x="827" y="978"/>
                    <a:pt x="827" y="978"/>
                  </a:cubicBezTo>
                  <a:cubicBezTo>
                    <a:pt x="827" y="978"/>
                    <a:pt x="824" y="973"/>
                    <a:pt x="824" y="971"/>
                  </a:cubicBezTo>
                  <a:cubicBezTo>
                    <a:pt x="824" y="970"/>
                    <a:pt x="827" y="967"/>
                    <a:pt x="827" y="966"/>
                  </a:cubicBezTo>
                  <a:cubicBezTo>
                    <a:pt x="826" y="964"/>
                    <a:pt x="821" y="966"/>
                    <a:pt x="821" y="965"/>
                  </a:cubicBezTo>
                  <a:cubicBezTo>
                    <a:pt x="820" y="961"/>
                    <a:pt x="829" y="955"/>
                    <a:pt x="832" y="954"/>
                  </a:cubicBezTo>
                  <a:cubicBezTo>
                    <a:pt x="834" y="954"/>
                    <a:pt x="837" y="957"/>
                    <a:pt x="838" y="956"/>
                  </a:cubicBezTo>
                  <a:cubicBezTo>
                    <a:pt x="839" y="955"/>
                    <a:pt x="836" y="951"/>
                    <a:pt x="836" y="950"/>
                  </a:cubicBezTo>
                  <a:cubicBezTo>
                    <a:pt x="837" y="949"/>
                    <a:pt x="841" y="948"/>
                    <a:pt x="842" y="948"/>
                  </a:cubicBezTo>
                  <a:cubicBezTo>
                    <a:pt x="844" y="948"/>
                    <a:pt x="848" y="949"/>
                    <a:pt x="849" y="948"/>
                  </a:cubicBezTo>
                  <a:cubicBezTo>
                    <a:pt x="850" y="947"/>
                    <a:pt x="848" y="944"/>
                    <a:pt x="848" y="943"/>
                  </a:cubicBezTo>
                  <a:cubicBezTo>
                    <a:pt x="849" y="941"/>
                    <a:pt x="852" y="937"/>
                    <a:pt x="852" y="937"/>
                  </a:cubicBezTo>
                  <a:cubicBezTo>
                    <a:pt x="852" y="931"/>
                    <a:pt x="852" y="931"/>
                    <a:pt x="852" y="931"/>
                  </a:cubicBezTo>
                  <a:cubicBezTo>
                    <a:pt x="858" y="934"/>
                    <a:pt x="858" y="934"/>
                    <a:pt x="858" y="934"/>
                  </a:cubicBezTo>
                  <a:cubicBezTo>
                    <a:pt x="864" y="933"/>
                    <a:pt x="864" y="933"/>
                    <a:pt x="864" y="933"/>
                  </a:cubicBezTo>
                  <a:cubicBezTo>
                    <a:pt x="864" y="933"/>
                    <a:pt x="863" y="929"/>
                    <a:pt x="864" y="927"/>
                  </a:cubicBezTo>
                  <a:cubicBezTo>
                    <a:pt x="865" y="926"/>
                    <a:pt x="868" y="926"/>
                    <a:pt x="869" y="924"/>
                  </a:cubicBezTo>
                  <a:cubicBezTo>
                    <a:pt x="870" y="923"/>
                    <a:pt x="870" y="920"/>
                    <a:pt x="871" y="918"/>
                  </a:cubicBezTo>
                  <a:cubicBezTo>
                    <a:pt x="872" y="916"/>
                    <a:pt x="875" y="914"/>
                    <a:pt x="877" y="913"/>
                  </a:cubicBezTo>
                  <a:cubicBezTo>
                    <a:pt x="878" y="912"/>
                    <a:pt x="881" y="911"/>
                    <a:pt x="883" y="911"/>
                  </a:cubicBezTo>
                  <a:cubicBezTo>
                    <a:pt x="884" y="910"/>
                    <a:pt x="887" y="913"/>
                    <a:pt x="889" y="912"/>
                  </a:cubicBezTo>
                  <a:cubicBezTo>
                    <a:pt x="890" y="911"/>
                    <a:pt x="887" y="907"/>
                    <a:pt x="888" y="906"/>
                  </a:cubicBezTo>
                  <a:cubicBezTo>
                    <a:pt x="889" y="905"/>
                    <a:pt x="893" y="906"/>
                    <a:pt x="894" y="905"/>
                  </a:cubicBezTo>
                  <a:cubicBezTo>
                    <a:pt x="896" y="905"/>
                    <a:pt x="899" y="904"/>
                    <a:pt x="900" y="902"/>
                  </a:cubicBezTo>
                  <a:cubicBezTo>
                    <a:pt x="901" y="901"/>
                    <a:pt x="902" y="898"/>
                    <a:pt x="902" y="897"/>
                  </a:cubicBezTo>
                  <a:cubicBezTo>
                    <a:pt x="902" y="895"/>
                    <a:pt x="902" y="892"/>
                    <a:pt x="901" y="891"/>
                  </a:cubicBezTo>
                  <a:cubicBezTo>
                    <a:pt x="899" y="890"/>
                    <a:pt x="896" y="895"/>
                    <a:pt x="895" y="893"/>
                  </a:cubicBezTo>
                  <a:cubicBezTo>
                    <a:pt x="894" y="892"/>
                    <a:pt x="899" y="889"/>
                    <a:pt x="901" y="888"/>
                  </a:cubicBezTo>
                  <a:cubicBezTo>
                    <a:pt x="902" y="887"/>
                    <a:pt x="906" y="887"/>
                    <a:pt x="906" y="885"/>
                  </a:cubicBezTo>
                  <a:cubicBezTo>
                    <a:pt x="907" y="883"/>
                    <a:pt x="902" y="881"/>
                    <a:pt x="902" y="879"/>
                  </a:cubicBezTo>
                  <a:cubicBezTo>
                    <a:pt x="903" y="878"/>
                    <a:pt x="907" y="877"/>
                    <a:pt x="908" y="875"/>
                  </a:cubicBezTo>
                  <a:cubicBezTo>
                    <a:pt x="909" y="874"/>
                    <a:pt x="909" y="871"/>
                    <a:pt x="911" y="870"/>
                  </a:cubicBezTo>
                  <a:cubicBezTo>
                    <a:pt x="912" y="868"/>
                    <a:pt x="915" y="869"/>
                    <a:pt x="917" y="868"/>
                  </a:cubicBezTo>
                  <a:cubicBezTo>
                    <a:pt x="919" y="867"/>
                    <a:pt x="921" y="864"/>
                    <a:pt x="922" y="863"/>
                  </a:cubicBezTo>
                  <a:cubicBezTo>
                    <a:pt x="924" y="860"/>
                    <a:pt x="930" y="854"/>
                    <a:pt x="930" y="850"/>
                  </a:cubicBezTo>
                  <a:cubicBezTo>
                    <a:pt x="929" y="849"/>
                    <a:pt x="927" y="846"/>
                    <a:pt x="925" y="845"/>
                  </a:cubicBezTo>
                  <a:cubicBezTo>
                    <a:pt x="924" y="844"/>
                    <a:pt x="921" y="844"/>
                    <a:pt x="919" y="843"/>
                  </a:cubicBezTo>
                  <a:cubicBezTo>
                    <a:pt x="918" y="842"/>
                    <a:pt x="915" y="838"/>
                    <a:pt x="913" y="838"/>
                  </a:cubicBezTo>
                  <a:cubicBezTo>
                    <a:pt x="912" y="837"/>
                    <a:pt x="909" y="839"/>
                    <a:pt x="907" y="839"/>
                  </a:cubicBezTo>
                  <a:cubicBezTo>
                    <a:pt x="906" y="839"/>
                    <a:pt x="901" y="838"/>
                    <a:pt x="901" y="838"/>
                  </a:cubicBezTo>
                  <a:cubicBezTo>
                    <a:pt x="895" y="840"/>
                    <a:pt x="895" y="840"/>
                    <a:pt x="895" y="840"/>
                  </a:cubicBezTo>
                  <a:cubicBezTo>
                    <a:pt x="894" y="836"/>
                    <a:pt x="894" y="836"/>
                    <a:pt x="894" y="836"/>
                  </a:cubicBezTo>
                  <a:cubicBezTo>
                    <a:pt x="894" y="836"/>
                    <a:pt x="897" y="832"/>
                    <a:pt x="897" y="830"/>
                  </a:cubicBezTo>
                  <a:cubicBezTo>
                    <a:pt x="898" y="829"/>
                    <a:pt x="897" y="825"/>
                    <a:pt x="897" y="824"/>
                  </a:cubicBezTo>
                  <a:cubicBezTo>
                    <a:pt x="897" y="822"/>
                    <a:pt x="897" y="819"/>
                    <a:pt x="898" y="818"/>
                  </a:cubicBezTo>
                  <a:cubicBezTo>
                    <a:pt x="900" y="815"/>
                    <a:pt x="908" y="814"/>
                    <a:pt x="909" y="811"/>
                  </a:cubicBezTo>
                  <a:cubicBezTo>
                    <a:pt x="910" y="810"/>
                    <a:pt x="908" y="806"/>
                    <a:pt x="908" y="805"/>
                  </a:cubicBezTo>
                  <a:cubicBezTo>
                    <a:pt x="908" y="803"/>
                    <a:pt x="908" y="800"/>
                    <a:pt x="909" y="799"/>
                  </a:cubicBezTo>
                  <a:cubicBezTo>
                    <a:pt x="910" y="798"/>
                    <a:pt x="914" y="799"/>
                    <a:pt x="915" y="798"/>
                  </a:cubicBezTo>
                  <a:cubicBezTo>
                    <a:pt x="917" y="797"/>
                    <a:pt x="918" y="792"/>
                    <a:pt x="920" y="792"/>
                  </a:cubicBezTo>
                  <a:cubicBezTo>
                    <a:pt x="922" y="792"/>
                    <a:pt x="920" y="798"/>
                    <a:pt x="922" y="798"/>
                  </a:cubicBezTo>
                  <a:cubicBezTo>
                    <a:pt x="923" y="799"/>
                    <a:pt x="927" y="795"/>
                    <a:pt x="927" y="795"/>
                  </a:cubicBezTo>
                  <a:cubicBezTo>
                    <a:pt x="931" y="789"/>
                    <a:pt x="931" y="789"/>
                    <a:pt x="931" y="789"/>
                  </a:cubicBezTo>
                  <a:cubicBezTo>
                    <a:pt x="931" y="789"/>
                    <a:pt x="930" y="784"/>
                    <a:pt x="929" y="783"/>
                  </a:cubicBezTo>
                  <a:cubicBezTo>
                    <a:pt x="928" y="782"/>
                    <a:pt x="923" y="784"/>
                    <a:pt x="923" y="782"/>
                  </a:cubicBezTo>
                  <a:cubicBezTo>
                    <a:pt x="923" y="781"/>
                    <a:pt x="928" y="780"/>
                    <a:pt x="929" y="780"/>
                  </a:cubicBezTo>
                  <a:cubicBezTo>
                    <a:pt x="930" y="780"/>
                    <a:pt x="933" y="780"/>
                    <a:pt x="935" y="779"/>
                  </a:cubicBezTo>
                  <a:cubicBezTo>
                    <a:pt x="937" y="779"/>
                    <a:pt x="940" y="777"/>
                    <a:pt x="941" y="776"/>
                  </a:cubicBezTo>
                  <a:cubicBezTo>
                    <a:pt x="943" y="773"/>
                    <a:pt x="945" y="767"/>
                    <a:pt x="944" y="764"/>
                  </a:cubicBezTo>
                  <a:cubicBezTo>
                    <a:pt x="943" y="762"/>
                    <a:pt x="940" y="760"/>
                    <a:pt x="938" y="759"/>
                  </a:cubicBezTo>
                  <a:cubicBezTo>
                    <a:pt x="937" y="758"/>
                    <a:pt x="933" y="757"/>
                    <a:pt x="932" y="756"/>
                  </a:cubicBezTo>
                  <a:cubicBezTo>
                    <a:pt x="930" y="755"/>
                    <a:pt x="926" y="753"/>
                    <a:pt x="926" y="751"/>
                  </a:cubicBezTo>
                  <a:cubicBezTo>
                    <a:pt x="927" y="750"/>
                    <a:pt x="930" y="750"/>
                    <a:pt x="932" y="750"/>
                  </a:cubicBezTo>
                  <a:cubicBezTo>
                    <a:pt x="934" y="751"/>
                    <a:pt x="936" y="753"/>
                    <a:pt x="938" y="754"/>
                  </a:cubicBezTo>
                  <a:cubicBezTo>
                    <a:pt x="939" y="754"/>
                    <a:pt x="942" y="755"/>
                    <a:pt x="943" y="754"/>
                  </a:cubicBezTo>
                  <a:cubicBezTo>
                    <a:pt x="947" y="752"/>
                    <a:pt x="953" y="742"/>
                    <a:pt x="953" y="742"/>
                  </a:cubicBezTo>
                  <a:cubicBezTo>
                    <a:pt x="949" y="736"/>
                    <a:pt x="949" y="736"/>
                    <a:pt x="949" y="736"/>
                  </a:cubicBezTo>
                  <a:cubicBezTo>
                    <a:pt x="952" y="730"/>
                    <a:pt x="952" y="730"/>
                    <a:pt x="952" y="730"/>
                  </a:cubicBezTo>
                  <a:cubicBezTo>
                    <a:pt x="961" y="719"/>
                    <a:pt x="961" y="719"/>
                    <a:pt x="961" y="719"/>
                  </a:cubicBezTo>
                  <a:cubicBezTo>
                    <a:pt x="967" y="714"/>
                    <a:pt x="967" y="714"/>
                    <a:pt x="967" y="714"/>
                  </a:cubicBezTo>
                  <a:cubicBezTo>
                    <a:pt x="964" y="708"/>
                    <a:pt x="964" y="708"/>
                    <a:pt x="964" y="708"/>
                  </a:cubicBezTo>
                  <a:cubicBezTo>
                    <a:pt x="968" y="702"/>
                    <a:pt x="968" y="702"/>
                    <a:pt x="968" y="702"/>
                  </a:cubicBezTo>
                  <a:cubicBezTo>
                    <a:pt x="973" y="696"/>
                    <a:pt x="973" y="696"/>
                    <a:pt x="973" y="696"/>
                  </a:cubicBezTo>
                  <a:cubicBezTo>
                    <a:pt x="979" y="694"/>
                    <a:pt x="979" y="694"/>
                    <a:pt x="979" y="694"/>
                  </a:cubicBezTo>
                  <a:cubicBezTo>
                    <a:pt x="985" y="688"/>
                    <a:pt x="985" y="688"/>
                    <a:pt x="985" y="688"/>
                  </a:cubicBezTo>
                  <a:cubicBezTo>
                    <a:pt x="987" y="682"/>
                    <a:pt x="987" y="682"/>
                    <a:pt x="987" y="682"/>
                  </a:cubicBezTo>
                  <a:cubicBezTo>
                    <a:pt x="1000" y="674"/>
                    <a:pt x="1000" y="674"/>
                    <a:pt x="1000" y="674"/>
                  </a:cubicBezTo>
                  <a:cubicBezTo>
                    <a:pt x="1000" y="668"/>
                    <a:pt x="1000" y="668"/>
                    <a:pt x="1000" y="668"/>
                  </a:cubicBezTo>
                  <a:cubicBezTo>
                    <a:pt x="1001" y="668"/>
                    <a:pt x="1001" y="668"/>
                    <a:pt x="1001" y="668"/>
                  </a:cubicBezTo>
                  <a:cubicBezTo>
                    <a:pt x="1002" y="674"/>
                    <a:pt x="1002" y="674"/>
                    <a:pt x="1002" y="674"/>
                  </a:cubicBezTo>
                  <a:cubicBezTo>
                    <a:pt x="1008" y="675"/>
                    <a:pt x="1008" y="675"/>
                    <a:pt x="1008" y="675"/>
                  </a:cubicBezTo>
                  <a:cubicBezTo>
                    <a:pt x="1013" y="674"/>
                    <a:pt x="1013" y="674"/>
                    <a:pt x="1013" y="674"/>
                  </a:cubicBezTo>
                  <a:cubicBezTo>
                    <a:pt x="1019" y="674"/>
                    <a:pt x="1019" y="674"/>
                    <a:pt x="1019" y="674"/>
                  </a:cubicBezTo>
                  <a:cubicBezTo>
                    <a:pt x="1023" y="663"/>
                    <a:pt x="1023" y="663"/>
                    <a:pt x="1023" y="663"/>
                  </a:cubicBezTo>
                  <a:cubicBezTo>
                    <a:pt x="1027" y="657"/>
                    <a:pt x="1027" y="657"/>
                    <a:pt x="1027" y="657"/>
                  </a:cubicBezTo>
                  <a:cubicBezTo>
                    <a:pt x="1033" y="654"/>
                    <a:pt x="1033" y="654"/>
                    <a:pt x="1033" y="654"/>
                  </a:cubicBezTo>
                  <a:cubicBezTo>
                    <a:pt x="1038" y="654"/>
                    <a:pt x="1038" y="654"/>
                    <a:pt x="1038" y="654"/>
                  </a:cubicBezTo>
                  <a:cubicBezTo>
                    <a:pt x="1033" y="659"/>
                    <a:pt x="1033" y="659"/>
                    <a:pt x="1033" y="659"/>
                  </a:cubicBezTo>
                  <a:cubicBezTo>
                    <a:pt x="1023" y="671"/>
                    <a:pt x="1023" y="671"/>
                    <a:pt x="1023" y="671"/>
                  </a:cubicBezTo>
                  <a:cubicBezTo>
                    <a:pt x="1020" y="676"/>
                    <a:pt x="1020" y="676"/>
                    <a:pt x="1020" y="676"/>
                  </a:cubicBezTo>
                  <a:cubicBezTo>
                    <a:pt x="1020" y="681"/>
                    <a:pt x="1020" y="681"/>
                    <a:pt x="1020" y="681"/>
                  </a:cubicBezTo>
                  <a:cubicBezTo>
                    <a:pt x="1034" y="689"/>
                    <a:pt x="1034" y="689"/>
                    <a:pt x="1034" y="689"/>
                  </a:cubicBezTo>
                  <a:cubicBezTo>
                    <a:pt x="1046" y="690"/>
                    <a:pt x="1046" y="690"/>
                    <a:pt x="1046" y="690"/>
                  </a:cubicBezTo>
                  <a:cubicBezTo>
                    <a:pt x="1052" y="694"/>
                    <a:pt x="1052" y="694"/>
                    <a:pt x="1052" y="694"/>
                  </a:cubicBezTo>
                  <a:cubicBezTo>
                    <a:pt x="1034" y="693"/>
                    <a:pt x="1034" y="693"/>
                    <a:pt x="1034" y="693"/>
                  </a:cubicBezTo>
                  <a:cubicBezTo>
                    <a:pt x="1028" y="691"/>
                    <a:pt x="1028" y="691"/>
                    <a:pt x="1028" y="691"/>
                  </a:cubicBezTo>
                  <a:cubicBezTo>
                    <a:pt x="1023" y="695"/>
                    <a:pt x="1023" y="695"/>
                    <a:pt x="1023" y="695"/>
                  </a:cubicBezTo>
                  <a:cubicBezTo>
                    <a:pt x="1018" y="696"/>
                    <a:pt x="1018" y="696"/>
                    <a:pt x="1018" y="696"/>
                  </a:cubicBezTo>
                  <a:cubicBezTo>
                    <a:pt x="1006" y="691"/>
                    <a:pt x="1006" y="691"/>
                    <a:pt x="1006" y="691"/>
                  </a:cubicBezTo>
                  <a:cubicBezTo>
                    <a:pt x="1000" y="696"/>
                    <a:pt x="1000" y="696"/>
                    <a:pt x="1000" y="696"/>
                  </a:cubicBezTo>
                  <a:cubicBezTo>
                    <a:pt x="990" y="708"/>
                    <a:pt x="990" y="708"/>
                    <a:pt x="990" y="708"/>
                  </a:cubicBezTo>
                  <a:cubicBezTo>
                    <a:pt x="978" y="715"/>
                    <a:pt x="978" y="715"/>
                    <a:pt x="978" y="715"/>
                  </a:cubicBezTo>
                  <a:cubicBezTo>
                    <a:pt x="984" y="727"/>
                    <a:pt x="984" y="727"/>
                    <a:pt x="984" y="727"/>
                  </a:cubicBezTo>
                  <a:cubicBezTo>
                    <a:pt x="985" y="739"/>
                    <a:pt x="985" y="739"/>
                    <a:pt x="985" y="739"/>
                  </a:cubicBezTo>
                  <a:cubicBezTo>
                    <a:pt x="982" y="742"/>
                    <a:pt x="982" y="742"/>
                    <a:pt x="982" y="742"/>
                  </a:cubicBezTo>
                  <a:cubicBezTo>
                    <a:pt x="983" y="749"/>
                    <a:pt x="983" y="749"/>
                    <a:pt x="983" y="749"/>
                  </a:cubicBezTo>
                  <a:cubicBezTo>
                    <a:pt x="976" y="761"/>
                    <a:pt x="976" y="761"/>
                    <a:pt x="976" y="761"/>
                  </a:cubicBezTo>
                  <a:cubicBezTo>
                    <a:pt x="974" y="767"/>
                    <a:pt x="974" y="767"/>
                    <a:pt x="974" y="767"/>
                  </a:cubicBezTo>
                  <a:cubicBezTo>
                    <a:pt x="971" y="782"/>
                    <a:pt x="971" y="782"/>
                    <a:pt x="971" y="782"/>
                  </a:cubicBezTo>
                  <a:cubicBezTo>
                    <a:pt x="976" y="789"/>
                    <a:pt x="976" y="789"/>
                    <a:pt x="976" y="789"/>
                  </a:cubicBezTo>
                  <a:cubicBezTo>
                    <a:pt x="982" y="790"/>
                    <a:pt x="982" y="790"/>
                    <a:pt x="982" y="790"/>
                  </a:cubicBezTo>
                  <a:cubicBezTo>
                    <a:pt x="987" y="788"/>
                    <a:pt x="987" y="788"/>
                    <a:pt x="987" y="788"/>
                  </a:cubicBezTo>
                  <a:cubicBezTo>
                    <a:pt x="994" y="782"/>
                    <a:pt x="994" y="782"/>
                    <a:pt x="994" y="782"/>
                  </a:cubicBezTo>
                  <a:cubicBezTo>
                    <a:pt x="1000" y="781"/>
                    <a:pt x="1000" y="781"/>
                    <a:pt x="1000" y="781"/>
                  </a:cubicBezTo>
                  <a:cubicBezTo>
                    <a:pt x="994" y="792"/>
                    <a:pt x="994" y="792"/>
                    <a:pt x="994" y="792"/>
                  </a:cubicBezTo>
                  <a:cubicBezTo>
                    <a:pt x="987" y="797"/>
                    <a:pt x="987" y="797"/>
                    <a:pt x="987" y="797"/>
                  </a:cubicBezTo>
                  <a:cubicBezTo>
                    <a:pt x="991" y="803"/>
                    <a:pt x="991" y="803"/>
                    <a:pt x="991" y="803"/>
                  </a:cubicBezTo>
                  <a:cubicBezTo>
                    <a:pt x="985" y="802"/>
                    <a:pt x="985" y="802"/>
                    <a:pt x="985" y="802"/>
                  </a:cubicBezTo>
                  <a:cubicBezTo>
                    <a:pt x="979" y="804"/>
                    <a:pt x="979" y="804"/>
                    <a:pt x="979" y="804"/>
                  </a:cubicBezTo>
                  <a:cubicBezTo>
                    <a:pt x="973" y="809"/>
                    <a:pt x="973" y="809"/>
                    <a:pt x="973" y="809"/>
                  </a:cubicBezTo>
                  <a:cubicBezTo>
                    <a:pt x="971" y="815"/>
                    <a:pt x="971" y="815"/>
                    <a:pt x="971" y="815"/>
                  </a:cubicBezTo>
                  <a:cubicBezTo>
                    <a:pt x="975" y="820"/>
                    <a:pt x="975" y="820"/>
                    <a:pt x="975" y="820"/>
                  </a:cubicBezTo>
                  <a:cubicBezTo>
                    <a:pt x="980" y="824"/>
                    <a:pt x="980" y="824"/>
                    <a:pt x="980" y="824"/>
                  </a:cubicBezTo>
                  <a:cubicBezTo>
                    <a:pt x="986" y="823"/>
                    <a:pt x="986" y="823"/>
                    <a:pt x="986" y="823"/>
                  </a:cubicBezTo>
                  <a:cubicBezTo>
                    <a:pt x="990" y="816"/>
                    <a:pt x="990" y="816"/>
                    <a:pt x="990" y="816"/>
                  </a:cubicBezTo>
                  <a:cubicBezTo>
                    <a:pt x="996" y="817"/>
                    <a:pt x="996" y="817"/>
                    <a:pt x="996" y="817"/>
                  </a:cubicBezTo>
                  <a:cubicBezTo>
                    <a:pt x="1002" y="817"/>
                    <a:pt x="1002" y="817"/>
                    <a:pt x="1002" y="817"/>
                  </a:cubicBezTo>
                  <a:cubicBezTo>
                    <a:pt x="997" y="811"/>
                    <a:pt x="997" y="811"/>
                    <a:pt x="997" y="811"/>
                  </a:cubicBezTo>
                  <a:cubicBezTo>
                    <a:pt x="1009" y="814"/>
                    <a:pt x="1009" y="814"/>
                    <a:pt x="1009" y="814"/>
                  </a:cubicBezTo>
                  <a:cubicBezTo>
                    <a:pt x="1009" y="808"/>
                    <a:pt x="1009" y="808"/>
                    <a:pt x="1009" y="808"/>
                  </a:cubicBezTo>
                  <a:cubicBezTo>
                    <a:pt x="1017" y="797"/>
                    <a:pt x="1017" y="797"/>
                    <a:pt x="1017" y="797"/>
                  </a:cubicBezTo>
                  <a:cubicBezTo>
                    <a:pt x="1016" y="791"/>
                    <a:pt x="1016" y="791"/>
                    <a:pt x="1016" y="791"/>
                  </a:cubicBezTo>
                  <a:cubicBezTo>
                    <a:pt x="1023" y="793"/>
                    <a:pt x="1023" y="793"/>
                    <a:pt x="1023" y="793"/>
                  </a:cubicBezTo>
                  <a:cubicBezTo>
                    <a:pt x="1027" y="781"/>
                    <a:pt x="1027" y="781"/>
                    <a:pt x="1027" y="781"/>
                  </a:cubicBezTo>
                  <a:cubicBezTo>
                    <a:pt x="1026" y="787"/>
                    <a:pt x="1026" y="787"/>
                    <a:pt x="1026" y="787"/>
                  </a:cubicBezTo>
                  <a:cubicBezTo>
                    <a:pt x="1028" y="793"/>
                    <a:pt x="1028" y="793"/>
                    <a:pt x="1028" y="793"/>
                  </a:cubicBezTo>
                  <a:cubicBezTo>
                    <a:pt x="1030" y="787"/>
                    <a:pt x="1030" y="787"/>
                    <a:pt x="1030" y="787"/>
                  </a:cubicBezTo>
                  <a:cubicBezTo>
                    <a:pt x="1036" y="783"/>
                    <a:pt x="1036" y="783"/>
                    <a:pt x="1036" y="783"/>
                  </a:cubicBezTo>
                  <a:cubicBezTo>
                    <a:pt x="1037" y="781"/>
                    <a:pt x="1037" y="781"/>
                    <a:pt x="1037" y="781"/>
                  </a:cubicBezTo>
                  <a:cubicBezTo>
                    <a:pt x="1034" y="772"/>
                    <a:pt x="1034" y="772"/>
                    <a:pt x="1034" y="772"/>
                  </a:cubicBezTo>
                  <a:cubicBezTo>
                    <a:pt x="1038" y="774"/>
                    <a:pt x="1038" y="774"/>
                    <a:pt x="1038" y="774"/>
                  </a:cubicBezTo>
                  <a:cubicBezTo>
                    <a:pt x="1044" y="779"/>
                    <a:pt x="1044" y="779"/>
                    <a:pt x="1044" y="779"/>
                  </a:cubicBezTo>
                  <a:cubicBezTo>
                    <a:pt x="1042" y="773"/>
                    <a:pt x="1042" y="773"/>
                    <a:pt x="1042" y="773"/>
                  </a:cubicBezTo>
                  <a:cubicBezTo>
                    <a:pt x="1042" y="767"/>
                    <a:pt x="1042" y="767"/>
                    <a:pt x="1042" y="767"/>
                  </a:cubicBezTo>
                  <a:cubicBezTo>
                    <a:pt x="1044" y="761"/>
                    <a:pt x="1044" y="761"/>
                    <a:pt x="1044" y="761"/>
                  </a:cubicBezTo>
                  <a:cubicBezTo>
                    <a:pt x="1045" y="767"/>
                    <a:pt x="1045" y="767"/>
                    <a:pt x="1045" y="767"/>
                  </a:cubicBezTo>
                  <a:cubicBezTo>
                    <a:pt x="1050" y="773"/>
                    <a:pt x="1050" y="773"/>
                    <a:pt x="1050" y="773"/>
                  </a:cubicBezTo>
                  <a:cubicBezTo>
                    <a:pt x="1047" y="767"/>
                    <a:pt x="1047" y="767"/>
                    <a:pt x="1047" y="767"/>
                  </a:cubicBezTo>
                  <a:cubicBezTo>
                    <a:pt x="1049" y="761"/>
                    <a:pt x="1049" y="761"/>
                    <a:pt x="1049" y="761"/>
                  </a:cubicBezTo>
                  <a:cubicBezTo>
                    <a:pt x="1053" y="755"/>
                    <a:pt x="1053" y="755"/>
                    <a:pt x="1053" y="755"/>
                  </a:cubicBezTo>
                  <a:cubicBezTo>
                    <a:pt x="1053" y="749"/>
                    <a:pt x="1053" y="749"/>
                    <a:pt x="1053" y="749"/>
                  </a:cubicBezTo>
                  <a:cubicBezTo>
                    <a:pt x="1059" y="760"/>
                    <a:pt x="1059" y="760"/>
                    <a:pt x="1059" y="760"/>
                  </a:cubicBezTo>
                  <a:cubicBezTo>
                    <a:pt x="1059" y="754"/>
                    <a:pt x="1059" y="754"/>
                    <a:pt x="1059" y="754"/>
                  </a:cubicBezTo>
                  <a:cubicBezTo>
                    <a:pt x="1063" y="753"/>
                    <a:pt x="1063" y="753"/>
                    <a:pt x="1063" y="753"/>
                  </a:cubicBezTo>
                  <a:cubicBezTo>
                    <a:pt x="1079" y="756"/>
                    <a:pt x="1079" y="756"/>
                    <a:pt x="1079" y="756"/>
                  </a:cubicBezTo>
                  <a:cubicBezTo>
                    <a:pt x="1082" y="750"/>
                    <a:pt x="1082" y="750"/>
                    <a:pt x="1082" y="750"/>
                  </a:cubicBezTo>
                  <a:cubicBezTo>
                    <a:pt x="1086" y="749"/>
                    <a:pt x="1086" y="749"/>
                    <a:pt x="1086" y="749"/>
                  </a:cubicBezTo>
                  <a:cubicBezTo>
                    <a:pt x="1086" y="743"/>
                    <a:pt x="1086" y="743"/>
                    <a:pt x="1086" y="743"/>
                  </a:cubicBezTo>
                  <a:cubicBezTo>
                    <a:pt x="1090" y="737"/>
                    <a:pt x="1090" y="737"/>
                    <a:pt x="1090" y="737"/>
                  </a:cubicBezTo>
                  <a:cubicBezTo>
                    <a:pt x="1090" y="731"/>
                    <a:pt x="1090" y="731"/>
                    <a:pt x="1090" y="731"/>
                  </a:cubicBezTo>
                  <a:cubicBezTo>
                    <a:pt x="1083" y="732"/>
                    <a:pt x="1083" y="732"/>
                    <a:pt x="1083" y="732"/>
                  </a:cubicBezTo>
                  <a:cubicBezTo>
                    <a:pt x="1088" y="726"/>
                    <a:pt x="1088" y="726"/>
                    <a:pt x="1088" y="726"/>
                  </a:cubicBezTo>
                  <a:cubicBezTo>
                    <a:pt x="1090" y="720"/>
                    <a:pt x="1090" y="720"/>
                    <a:pt x="1090" y="720"/>
                  </a:cubicBezTo>
                  <a:cubicBezTo>
                    <a:pt x="1096" y="717"/>
                    <a:pt x="1096" y="717"/>
                    <a:pt x="1096" y="717"/>
                  </a:cubicBezTo>
                  <a:cubicBezTo>
                    <a:pt x="1094" y="712"/>
                    <a:pt x="1094" y="712"/>
                    <a:pt x="1094" y="712"/>
                  </a:cubicBezTo>
                  <a:cubicBezTo>
                    <a:pt x="1087" y="709"/>
                    <a:pt x="1087" y="709"/>
                    <a:pt x="1087" y="709"/>
                  </a:cubicBezTo>
                  <a:cubicBezTo>
                    <a:pt x="1085" y="715"/>
                    <a:pt x="1085" y="715"/>
                    <a:pt x="1085" y="715"/>
                  </a:cubicBezTo>
                  <a:cubicBezTo>
                    <a:pt x="1078" y="713"/>
                    <a:pt x="1078" y="713"/>
                    <a:pt x="1078" y="713"/>
                  </a:cubicBezTo>
                  <a:cubicBezTo>
                    <a:pt x="1072" y="716"/>
                    <a:pt x="1072" y="716"/>
                    <a:pt x="1072" y="716"/>
                  </a:cubicBezTo>
                  <a:cubicBezTo>
                    <a:pt x="1077" y="711"/>
                    <a:pt x="1077" y="711"/>
                    <a:pt x="1077" y="711"/>
                  </a:cubicBezTo>
                  <a:cubicBezTo>
                    <a:pt x="1083" y="709"/>
                    <a:pt x="1083" y="709"/>
                    <a:pt x="1083" y="709"/>
                  </a:cubicBezTo>
                  <a:cubicBezTo>
                    <a:pt x="1085" y="704"/>
                    <a:pt x="1085" y="704"/>
                    <a:pt x="1085" y="704"/>
                  </a:cubicBezTo>
                  <a:cubicBezTo>
                    <a:pt x="1081" y="698"/>
                    <a:pt x="1081" y="698"/>
                    <a:pt x="1081" y="698"/>
                  </a:cubicBezTo>
                  <a:cubicBezTo>
                    <a:pt x="1078" y="704"/>
                    <a:pt x="1078" y="704"/>
                    <a:pt x="1078" y="704"/>
                  </a:cubicBezTo>
                  <a:cubicBezTo>
                    <a:pt x="1075" y="698"/>
                    <a:pt x="1075" y="698"/>
                    <a:pt x="1075" y="698"/>
                  </a:cubicBezTo>
                  <a:cubicBezTo>
                    <a:pt x="1069" y="701"/>
                    <a:pt x="1069" y="701"/>
                    <a:pt x="1069" y="701"/>
                  </a:cubicBezTo>
                  <a:cubicBezTo>
                    <a:pt x="1072" y="695"/>
                    <a:pt x="1072" y="695"/>
                    <a:pt x="1072" y="695"/>
                  </a:cubicBezTo>
                  <a:cubicBezTo>
                    <a:pt x="1067" y="698"/>
                    <a:pt x="1067" y="698"/>
                    <a:pt x="1067" y="698"/>
                  </a:cubicBezTo>
                  <a:cubicBezTo>
                    <a:pt x="1079" y="689"/>
                    <a:pt x="1079" y="689"/>
                    <a:pt x="1079" y="689"/>
                  </a:cubicBezTo>
                  <a:cubicBezTo>
                    <a:pt x="1080" y="683"/>
                    <a:pt x="1080" y="683"/>
                    <a:pt x="1080" y="683"/>
                  </a:cubicBezTo>
                  <a:cubicBezTo>
                    <a:pt x="1078" y="677"/>
                    <a:pt x="1078" y="677"/>
                    <a:pt x="1078" y="677"/>
                  </a:cubicBezTo>
                  <a:cubicBezTo>
                    <a:pt x="1073" y="683"/>
                    <a:pt x="1073" y="683"/>
                    <a:pt x="1073" y="683"/>
                  </a:cubicBezTo>
                  <a:cubicBezTo>
                    <a:pt x="1074" y="677"/>
                    <a:pt x="1074" y="677"/>
                    <a:pt x="1074" y="677"/>
                  </a:cubicBezTo>
                  <a:cubicBezTo>
                    <a:pt x="1080" y="673"/>
                    <a:pt x="1080" y="673"/>
                    <a:pt x="1080" y="673"/>
                  </a:cubicBezTo>
                  <a:cubicBezTo>
                    <a:pt x="1086" y="676"/>
                    <a:pt x="1086" y="676"/>
                    <a:pt x="1086" y="676"/>
                  </a:cubicBezTo>
                  <a:cubicBezTo>
                    <a:pt x="1087" y="671"/>
                    <a:pt x="1087" y="671"/>
                    <a:pt x="1087" y="671"/>
                  </a:cubicBezTo>
                  <a:cubicBezTo>
                    <a:pt x="1090" y="665"/>
                    <a:pt x="1090" y="665"/>
                    <a:pt x="1090" y="665"/>
                  </a:cubicBezTo>
                  <a:cubicBezTo>
                    <a:pt x="1093" y="658"/>
                    <a:pt x="1093" y="658"/>
                    <a:pt x="1093" y="658"/>
                  </a:cubicBezTo>
                  <a:cubicBezTo>
                    <a:pt x="1092" y="667"/>
                    <a:pt x="1092" y="667"/>
                    <a:pt x="1092" y="667"/>
                  </a:cubicBezTo>
                  <a:cubicBezTo>
                    <a:pt x="1089" y="673"/>
                    <a:pt x="1089" y="673"/>
                    <a:pt x="1089" y="673"/>
                  </a:cubicBezTo>
                  <a:cubicBezTo>
                    <a:pt x="1088" y="679"/>
                    <a:pt x="1088" y="679"/>
                    <a:pt x="1088" y="679"/>
                  </a:cubicBezTo>
                  <a:cubicBezTo>
                    <a:pt x="1089" y="685"/>
                    <a:pt x="1089" y="685"/>
                    <a:pt x="1089" y="685"/>
                  </a:cubicBezTo>
                  <a:cubicBezTo>
                    <a:pt x="1095" y="687"/>
                    <a:pt x="1095" y="687"/>
                    <a:pt x="1095" y="687"/>
                  </a:cubicBezTo>
                  <a:cubicBezTo>
                    <a:pt x="1097" y="681"/>
                    <a:pt x="1097" y="681"/>
                    <a:pt x="1097" y="681"/>
                  </a:cubicBezTo>
                  <a:cubicBezTo>
                    <a:pt x="1101" y="687"/>
                    <a:pt x="1101" y="687"/>
                    <a:pt x="1101" y="687"/>
                  </a:cubicBezTo>
                  <a:cubicBezTo>
                    <a:pt x="1100" y="675"/>
                    <a:pt x="1100" y="675"/>
                    <a:pt x="1100" y="675"/>
                  </a:cubicBezTo>
                  <a:cubicBezTo>
                    <a:pt x="1101" y="669"/>
                    <a:pt x="1101" y="669"/>
                    <a:pt x="1101" y="669"/>
                  </a:cubicBezTo>
                  <a:cubicBezTo>
                    <a:pt x="1104" y="681"/>
                    <a:pt x="1104" y="681"/>
                    <a:pt x="1104" y="681"/>
                  </a:cubicBezTo>
                  <a:cubicBezTo>
                    <a:pt x="1105" y="675"/>
                    <a:pt x="1105" y="675"/>
                    <a:pt x="1105" y="675"/>
                  </a:cubicBezTo>
                  <a:cubicBezTo>
                    <a:pt x="1111" y="680"/>
                    <a:pt x="1111" y="680"/>
                    <a:pt x="1111" y="680"/>
                  </a:cubicBezTo>
                  <a:cubicBezTo>
                    <a:pt x="1112" y="675"/>
                    <a:pt x="1112" y="675"/>
                    <a:pt x="1112" y="675"/>
                  </a:cubicBezTo>
                  <a:cubicBezTo>
                    <a:pt x="1118" y="675"/>
                    <a:pt x="1118" y="675"/>
                    <a:pt x="1118" y="675"/>
                  </a:cubicBezTo>
                  <a:cubicBezTo>
                    <a:pt x="1124" y="674"/>
                    <a:pt x="1124" y="674"/>
                    <a:pt x="1124" y="674"/>
                  </a:cubicBezTo>
                  <a:cubicBezTo>
                    <a:pt x="1131" y="662"/>
                    <a:pt x="1131" y="662"/>
                    <a:pt x="1131" y="662"/>
                  </a:cubicBezTo>
                  <a:cubicBezTo>
                    <a:pt x="1137" y="660"/>
                    <a:pt x="1137" y="660"/>
                    <a:pt x="1137" y="660"/>
                  </a:cubicBezTo>
                  <a:cubicBezTo>
                    <a:pt x="1142" y="663"/>
                    <a:pt x="1142" y="663"/>
                    <a:pt x="1142" y="663"/>
                  </a:cubicBezTo>
                  <a:cubicBezTo>
                    <a:pt x="1131" y="665"/>
                    <a:pt x="1131" y="665"/>
                    <a:pt x="1131" y="665"/>
                  </a:cubicBezTo>
                  <a:cubicBezTo>
                    <a:pt x="1130" y="671"/>
                    <a:pt x="1130" y="671"/>
                    <a:pt x="1130" y="671"/>
                  </a:cubicBezTo>
                  <a:cubicBezTo>
                    <a:pt x="1130" y="678"/>
                    <a:pt x="1130" y="678"/>
                    <a:pt x="1130" y="678"/>
                  </a:cubicBezTo>
                  <a:cubicBezTo>
                    <a:pt x="1136" y="680"/>
                    <a:pt x="1136" y="680"/>
                    <a:pt x="1136" y="680"/>
                  </a:cubicBezTo>
                  <a:cubicBezTo>
                    <a:pt x="1142" y="682"/>
                    <a:pt x="1142" y="682"/>
                    <a:pt x="1142" y="682"/>
                  </a:cubicBezTo>
                  <a:cubicBezTo>
                    <a:pt x="1145" y="676"/>
                    <a:pt x="1145" y="676"/>
                    <a:pt x="1145" y="676"/>
                  </a:cubicBezTo>
                  <a:cubicBezTo>
                    <a:pt x="1152" y="678"/>
                    <a:pt x="1152" y="678"/>
                    <a:pt x="1152" y="678"/>
                  </a:cubicBezTo>
                  <a:cubicBezTo>
                    <a:pt x="1139" y="686"/>
                    <a:pt x="1139" y="686"/>
                    <a:pt x="1139" y="686"/>
                  </a:cubicBezTo>
                  <a:cubicBezTo>
                    <a:pt x="1136" y="691"/>
                    <a:pt x="1136" y="691"/>
                    <a:pt x="1136" y="691"/>
                  </a:cubicBezTo>
                  <a:cubicBezTo>
                    <a:pt x="1142" y="690"/>
                    <a:pt x="1142" y="690"/>
                    <a:pt x="1142" y="690"/>
                  </a:cubicBezTo>
                  <a:cubicBezTo>
                    <a:pt x="1154" y="680"/>
                    <a:pt x="1154" y="680"/>
                    <a:pt x="1154" y="680"/>
                  </a:cubicBezTo>
                  <a:cubicBezTo>
                    <a:pt x="1150" y="693"/>
                    <a:pt x="1150" y="693"/>
                    <a:pt x="1150" y="693"/>
                  </a:cubicBezTo>
                  <a:cubicBezTo>
                    <a:pt x="1156" y="689"/>
                    <a:pt x="1156" y="689"/>
                    <a:pt x="1156" y="689"/>
                  </a:cubicBezTo>
                  <a:cubicBezTo>
                    <a:pt x="1162" y="691"/>
                    <a:pt x="1162" y="691"/>
                    <a:pt x="1162" y="691"/>
                  </a:cubicBezTo>
                  <a:cubicBezTo>
                    <a:pt x="1168" y="690"/>
                    <a:pt x="1168" y="690"/>
                    <a:pt x="1168" y="690"/>
                  </a:cubicBezTo>
                  <a:cubicBezTo>
                    <a:pt x="1166" y="695"/>
                    <a:pt x="1166" y="695"/>
                    <a:pt x="1166" y="695"/>
                  </a:cubicBezTo>
                  <a:cubicBezTo>
                    <a:pt x="1166" y="701"/>
                    <a:pt x="1166" y="701"/>
                    <a:pt x="1166" y="701"/>
                  </a:cubicBezTo>
                  <a:cubicBezTo>
                    <a:pt x="1172" y="700"/>
                    <a:pt x="1172" y="700"/>
                    <a:pt x="1172" y="700"/>
                  </a:cubicBezTo>
                  <a:cubicBezTo>
                    <a:pt x="1178" y="704"/>
                    <a:pt x="1178" y="704"/>
                    <a:pt x="1178" y="704"/>
                  </a:cubicBezTo>
                  <a:cubicBezTo>
                    <a:pt x="1183" y="705"/>
                    <a:pt x="1183" y="705"/>
                    <a:pt x="1183" y="705"/>
                  </a:cubicBezTo>
                  <a:cubicBezTo>
                    <a:pt x="1189" y="700"/>
                    <a:pt x="1189" y="700"/>
                    <a:pt x="1189" y="700"/>
                  </a:cubicBezTo>
                  <a:cubicBezTo>
                    <a:pt x="1190" y="693"/>
                    <a:pt x="1190" y="693"/>
                    <a:pt x="1190" y="693"/>
                  </a:cubicBezTo>
                  <a:cubicBezTo>
                    <a:pt x="1194" y="687"/>
                    <a:pt x="1194" y="687"/>
                    <a:pt x="1194" y="687"/>
                  </a:cubicBezTo>
                  <a:cubicBezTo>
                    <a:pt x="1197" y="681"/>
                    <a:pt x="1197" y="681"/>
                    <a:pt x="1197" y="681"/>
                  </a:cubicBezTo>
                  <a:cubicBezTo>
                    <a:pt x="1201" y="675"/>
                    <a:pt x="1201" y="675"/>
                    <a:pt x="1201" y="675"/>
                  </a:cubicBezTo>
                  <a:cubicBezTo>
                    <a:pt x="1198" y="682"/>
                    <a:pt x="1198" y="682"/>
                    <a:pt x="1198" y="682"/>
                  </a:cubicBezTo>
                  <a:cubicBezTo>
                    <a:pt x="1197" y="687"/>
                    <a:pt x="1197" y="687"/>
                    <a:pt x="1197" y="687"/>
                  </a:cubicBezTo>
                  <a:cubicBezTo>
                    <a:pt x="1199" y="693"/>
                    <a:pt x="1199" y="693"/>
                    <a:pt x="1199" y="693"/>
                  </a:cubicBezTo>
                  <a:cubicBezTo>
                    <a:pt x="1197" y="699"/>
                    <a:pt x="1197" y="699"/>
                    <a:pt x="1197" y="699"/>
                  </a:cubicBezTo>
                  <a:cubicBezTo>
                    <a:pt x="1201" y="705"/>
                    <a:pt x="1201" y="705"/>
                    <a:pt x="1201" y="705"/>
                  </a:cubicBezTo>
                  <a:cubicBezTo>
                    <a:pt x="1207" y="709"/>
                    <a:pt x="1207" y="709"/>
                    <a:pt x="1207" y="709"/>
                  </a:cubicBezTo>
                  <a:cubicBezTo>
                    <a:pt x="1219" y="708"/>
                    <a:pt x="1219" y="708"/>
                    <a:pt x="1219" y="708"/>
                  </a:cubicBezTo>
                  <a:cubicBezTo>
                    <a:pt x="1225" y="711"/>
                    <a:pt x="1225" y="711"/>
                    <a:pt x="1225" y="711"/>
                  </a:cubicBezTo>
                  <a:cubicBezTo>
                    <a:pt x="1229" y="717"/>
                    <a:pt x="1229" y="717"/>
                    <a:pt x="1229" y="717"/>
                  </a:cubicBezTo>
                  <a:cubicBezTo>
                    <a:pt x="1235" y="718"/>
                    <a:pt x="1235" y="718"/>
                    <a:pt x="1235" y="718"/>
                  </a:cubicBezTo>
                  <a:cubicBezTo>
                    <a:pt x="1238" y="717"/>
                    <a:pt x="1238" y="717"/>
                    <a:pt x="1238" y="717"/>
                  </a:cubicBezTo>
                  <a:cubicBezTo>
                    <a:pt x="1244" y="713"/>
                    <a:pt x="1244" y="713"/>
                    <a:pt x="1244" y="713"/>
                  </a:cubicBezTo>
                  <a:cubicBezTo>
                    <a:pt x="1263" y="706"/>
                    <a:pt x="1263" y="706"/>
                    <a:pt x="1263" y="706"/>
                  </a:cubicBezTo>
                  <a:cubicBezTo>
                    <a:pt x="1274" y="700"/>
                    <a:pt x="1274" y="700"/>
                    <a:pt x="1274" y="700"/>
                  </a:cubicBezTo>
                  <a:cubicBezTo>
                    <a:pt x="1304" y="700"/>
                    <a:pt x="1304" y="700"/>
                    <a:pt x="1304" y="700"/>
                  </a:cubicBezTo>
                  <a:cubicBezTo>
                    <a:pt x="1310" y="701"/>
                    <a:pt x="1310" y="701"/>
                    <a:pt x="1310" y="701"/>
                  </a:cubicBezTo>
                  <a:cubicBezTo>
                    <a:pt x="1318" y="694"/>
                    <a:pt x="1318" y="694"/>
                    <a:pt x="1318" y="694"/>
                  </a:cubicBezTo>
                  <a:cubicBezTo>
                    <a:pt x="1318" y="689"/>
                    <a:pt x="1318" y="689"/>
                    <a:pt x="1318" y="689"/>
                  </a:cubicBezTo>
                  <a:cubicBezTo>
                    <a:pt x="1323" y="694"/>
                    <a:pt x="1323" y="694"/>
                    <a:pt x="1323" y="694"/>
                  </a:cubicBezTo>
                  <a:cubicBezTo>
                    <a:pt x="1324" y="698"/>
                    <a:pt x="1324" y="698"/>
                    <a:pt x="1324" y="698"/>
                  </a:cubicBezTo>
                  <a:cubicBezTo>
                    <a:pt x="1322" y="704"/>
                    <a:pt x="1322" y="704"/>
                    <a:pt x="1322" y="704"/>
                  </a:cubicBezTo>
                  <a:cubicBezTo>
                    <a:pt x="1340" y="707"/>
                    <a:pt x="1340" y="707"/>
                    <a:pt x="1340" y="707"/>
                  </a:cubicBezTo>
                  <a:cubicBezTo>
                    <a:pt x="1358" y="706"/>
                    <a:pt x="1358" y="706"/>
                    <a:pt x="1358" y="706"/>
                  </a:cubicBezTo>
                  <a:cubicBezTo>
                    <a:pt x="1363" y="702"/>
                    <a:pt x="1363" y="702"/>
                    <a:pt x="1363" y="702"/>
                  </a:cubicBezTo>
                  <a:cubicBezTo>
                    <a:pt x="1374" y="689"/>
                    <a:pt x="1374" y="689"/>
                    <a:pt x="1374" y="689"/>
                  </a:cubicBezTo>
                  <a:cubicBezTo>
                    <a:pt x="1378" y="678"/>
                    <a:pt x="1378" y="678"/>
                    <a:pt x="1378" y="678"/>
                  </a:cubicBezTo>
                  <a:cubicBezTo>
                    <a:pt x="1384" y="676"/>
                    <a:pt x="1384" y="676"/>
                    <a:pt x="1384" y="676"/>
                  </a:cubicBezTo>
                  <a:cubicBezTo>
                    <a:pt x="1392" y="682"/>
                    <a:pt x="1392" y="682"/>
                    <a:pt x="1392" y="682"/>
                  </a:cubicBezTo>
                  <a:cubicBezTo>
                    <a:pt x="1397" y="682"/>
                    <a:pt x="1397" y="682"/>
                    <a:pt x="1397" y="682"/>
                  </a:cubicBezTo>
                  <a:cubicBezTo>
                    <a:pt x="1403" y="683"/>
                    <a:pt x="1403" y="683"/>
                    <a:pt x="1403" y="683"/>
                  </a:cubicBezTo>
                  <a:cubicBezTo>
                    <a:pt x="1397" y="683"/>
                    <a:pt x="1397" y="683"/>
                    <a:pt x="1397" y="683"/>
                  </a:cubicBezTo>
                  <a:cubicBezTo>
                    <a:pt x="1391" y="686"/>
                    <a:pt x="1391" y="686"/>
                    <a:pt x="1391" y="686"/>
                  </a:cubicBezTo>
                  <a:cubicBezTo>
                    <a:pt x="1393" y="692"/>
                    <a:pt x="1393" y="692"/>
                    <a:pt x="1393" y="692"/>
                  </a:cubicBezTo>
                  <a:cubicBezTo>
                    <a:pt x="1396" y="698"/>
                    <a:pt x="1396" y="698"/>
                    <a:pt x="1396" y="698"/>
                  </a:cubicBezTo>
                  <a:cubicBezTo>
                    <a:pt x="1392" y="692"/>
                    <a:pt x="1392" y="692"/>
                    <a:pt x="1392" y="692"/>
                  </a:cubicBezTo>
                  <a:cubicBezTo>
                    <a:pt x="1390" y="686"/>
                    <a:pt x="1390" y="686"/>
                    <a:pt x="1390" y="686"/>
                  </a:cubicBezTo>
                  <a:cubicBezTo>
                    <a:pt x="1386" y="680"/>
                    <a:pt x="1386" y="680"/>
                    <a:pt x="1386" y="680"/>
                  </a:cubicBezTo>
                  <a:cubicBezTo>
                    <a:pt x="1379" y="682"/>
                    <a:pt x="1379" y="682"/>
                    <a:pt x="1379" y="682"/>
                  </a:cubicBezTo>
                  <a:cubicBezTo>
                    <a:pt x="1381" y="689"/>
                    <a:pt x="1381" y="689"/>
                    <a:pt x="1381" y="689"/>
                  </a:cubicBezTo>
                  <a:cubicBezTo>
                    <a:pt x="1386" y="694"/>
                    <a:pt x="1386" y="694"/>
                    <a:pt x="1386" y="694"/>
                  </a:cubicBezTo>
                  <a:cubicBezTo>
                    <a:pt x="1386" y="701"/>
                    <a:pt x="1386" y="701"/>
                    <a:pt x="1386" y="701"/>
                  </a:cubicBezTo>
                  <a:cubicBezTo>
                    <a:pt x="1385" y="706"/>
                    <a:pt x="1385" y="706"/>
                    <a:pt x="1385" y="706"/>
                  </a:cubicBezTo>
                  <a:cubicBezTo>
                    <a:pt x="1379" y="711"/>
                    <a:pt x="1379" y="711"/>
                    <a:pt x="1379" y="711"/>
                  </a:cubicBezTo>
                  <a:cubicBezTo>
                    <a:pt x="1391" y="713"/>
                    <a:pt x="1391" y="713"/>
                    <a:pt x="1391" y="713"/>
                  </a:cubicBezTo>
                  <a:cubicBezTo>
                    <a:pt x="1397" y="716"/>
                    <a:pt x="1397" y="716"/>
                    <a:pt x="1397" y="716"/>
                  </a:cubicBezTo>
                  <a:cubicBezTo>
                    <a:pt x="1403" y="716"/>
                    <a:pt x="1403" y="716"/>
                    <a:pt x="1403" y="716"/>
                  </a:cubicBezTo>
                  <a:cubicBezTo>
                    <a:pt x="1409" y="719"/>
                    <a:pt x="1409" y="719"/>
                    <a:pt x="1409" y="719"/>
                  </a:cubicBezTo>
                  <a:cubicBezTo>
                    <a:pt x="1415" y="719"/>
                    <a:pt x="1415" y="719"/>
                    <a:pt x="1415" y="719"/>
                  </a:cubicBezTo>
                  <a:cubicBezTo>
                    <a:pt x="1426" y="723"/>
                    <a:pt x="1426" y="723"/>
                    <a:pt x="1426" y="723"/>
                  </a:cubicBezTo>
                  <a:cubicBezTo>
                    <a:pt x="1433" y="719"/>
                    <a:pt x="1433" y="719"/>
                    <a:pt x="1433" y="719"/>
                  </a:cubicBezTo>
                  <a:cubicBezTo>
                    <a:pt x="1433" y="724"/>
                    <a:pt x="1433" y="724"/>
                    <a:pt x="1433" y="724"/>
                  </a:cubicBezTo>
                  <a:cubicBezTo>
                    <a:pt x="1438" y="724"/>
                    <a:pt x="1438" y="724"/>
                    <a:pt x="1438" y="724"/>
                  </a:cubicBezTo>
                  <a:cubicBezTo>
                    <a:pt x="1445" y="726"/>
                    <a:pt x="1445" y="726"/>
                    <a:pt x="1445" y="726"/>
                  </a:cubicBezTo>
                  <a:cubicBezTo>
                    <a:pt x="1456" y="733"/>
                    <a:pt x="1456" y="733"/>
                    <a:pt x="1456" y="733"/>
                  </a:cubicBezTo>
                  <a:cubicBezTo>
                    <a:pt x="1460" y="739"/>
                    <a:pt x="1460" y="739"/>
                    <a:pt x="1460" y="739"/>
                  </a:cubicBezTo>
                  <a:cubicBezTo>
                    <a:pt x="1473" y="745"/>
                    <a:pt x="1473" y="745"/>
                    <a:pt x="1473" y="745"/>
                  </a:cubicBezTo>
                  <a:cubicBezTo>
                    <a:pt x="1478" y="742"/>
                    <a:pt x="1478" y="742"/>
                    <a:pt x="1478" y="742"/>
                  </a:cubicBezTo>
                  <a:cubicBezTo>
                    <a:pt x="1473" y="748"/>
                    <a:pt x="1473" y="748"/>
                    <a:pt x="1473" y="748"/>
                  </a:cubicBezTo>
                  <a:cubicBezTo>
                    <a:pt x="1491" y="753"/>
                    <a:pt x="1491" y="753"/>
                    <a:pt x="1491" y="753"/>
                  </a:cubicBezTo>
                  <a:cubicBezTo>
                    <a:pt x="1503" y="754"/>
                    <a:pt x="1503" y="754"/>
                    <a:pt x="1503" y="754"/>
                  </a:cubicBezTo>
                  <a:cubicBezTo>
                    <a:pt x="1509" y="757"/>
                    <a:pt x="1509" y="757"/>
                    <a:pt x="1509" y="757"/>
                  </a:cubicBezTo>
                  <a:cubicBezTo>
                    <a:pt x="1515" y="761"/>
                    <a:pt x="1515" y="761"/>
                    <a:pt x="1515" y="761"/>
                  </a:cubicBezTo>
                  <a:cubicBezTo>
                    <a:pt x="1517" y="757"/>
                    <a:pt x="1517" y="757"/>
                    <a:pt x="1517" y="757"/>
                  </a:cubicBezTo>
                  <a:cubicBezTo>
                    <a:pt x="1517" y="750"/>
                    <a:pt x="1517" y="750"/>
                    <a:pt x="1517" y="750"/>
                  </a:cubicBezTo>
                  <a:cubicBezTo>
                    <a:pt x="1515" y="745"/>
                    <a:pt x="1515" y="745"/>
                    <a:pt x="1515" y="745"/>
                  </a:cubicBezTo>
                  <a:cubicBezTo>
                    <a:pt x="1527" y="749"/>
                    <a:pt x="1527" y="749"/>
                    <a:pt x="1527" y="749"/>
                  </a:cubicBezTo>
                  <a:cubicBezTo>
                    <a:pt x="1532" y="743"/>
                    <a:pt x="1532" y="743"/>
                    <a:pt x="1532" y="743"/>
                  </a:cubicBezTo>
                  <a:cubicBezTo>
                    <a:pt x="1529" y="737"/>
                    <a:pt x="1529" y="737"/>
                    <a:pt x="1529" y="737"/>
                  </a:cubicBezTo>
                  <a:cubicBezTo>
                    <a:pt x="1524" y="731"/>
                    <a:pt x="1524" y="731"/>
                    <a:pt x="1524" y="731"/>
                  </a:cubicBezTo>
                  <a:cubicBezTo>
                    <a:pt x="1518" y="728"/>
                    <a:pt x="1518" y="728"/>
                    <a:pt x="1518" y="728"/>
                  </a:cubicBezTo>
                  <a:cubicBezTo>
                    <a:pt x="1512" y="731"/>
                    <a:pt x="1512" y="731"/>
                    <a:pt x="1512" y="731"/>
                  </a:cubicBezTo>
                  <a:cubicBezTo>
                    <a:pt x="1513" y="726"/>
                    <a:pt x="1513" y="726"/>
                    <a:pt x="1513" y="726"/>
                  </a:cubicBezTo>
                  <a:cubicBezTo>
                    <a:pt x="1507" y="726"/>
                    <a:pt x="1507" y="726"/>
                    <a:pt x="1507" y="726"/>
                  </a:cubicBezTo>
                  <a:cubicBezTo>
                    <a:pt x="1504" y="720"/>
                    <a:pt x="1504" y="720"/>
                    <a:pt x="1504" y="720"/>
                  </a:cubicBezTo>
                  <a:cubicBezTo>
                    <a:pt x="1492" y="720"/>
                    <a:pt x="1492" y="720"/>
                    <a:pt x="1492" y="720"/>
                  </a:cubicBezTo>
                  <a:cubicBezTo>
                    <a:pt x="1486" y="723"/>
                    <a:pt x="1486" y="723"/>
                    <a:pt x="1486" y="723"/>
                  </a:cubicBezTo>
                  <a:cubicBezTo>
                    <a:pt x="1490" y="717"/>
                    <a:pt x="1490" y="717"/>
                    <a:pt x="1490" y="717"/>
                  </a:cubicBezTo>
                  <a:cubicBezTo>
                    <a:pt x="1485" y="712"/>
                    <a:pt x="1485" y="712"/>
                    <a:pt x="1485" y="712"/>
                  </a:cubicBezTo>
                  <a:cubicBezTo>
                    <a:pt x="1491" y="715"/>
                    <a:pt x="1491" y="715"/>
                    <a:pt x="1491" y="715"/>
                  </a:cubicBezTo>
                  <a:cubicBezTo>
                    <a:pt x="1497" y="712"/>
                    <a:pt x="1497" y="712"/>
                    <a:pt x="1497" y="712"/>
                  </a:cubicBezTo>
                  <a:cubicBezTo>
                    <a:pt x="1503" y="713"/>
                    <a:pt x="1503" y="713"/>
                    <a:pt x="1503" y="713"/>
                  </a:cubicBezTo>
                  <a:cubicBezTo>
                    <a:pt x="1507" y="719"/>
                    <a:pt x="1507" y="719"/>
                    <a:pt x="1507" y="719"/>
                  </a:cubicBezTo>
                  <a:cubicBezTo>
                    <a:pt x="1513" y="720"/>
                    <a:pt x="1513" y="720"/>
                    <a:pt x="1513" y="720"/>
                  </a:cubicBezTo>
                  <a:cubicBezTo>
                    <a:pt x="1519" y="718"/>
                    <a:pt x="1519" y="718"/>
                    <a:pt x="1519" y="718"/>
                  </a:cubicBezTo>
                  <a:cubicBezTo>
                    <a:pt x="1518" y="712"/>
                    <a:pt x="1518" y="712"/>
                    <a:pt x="1518" y="712"/>
                  </a:cubicBezTo>
                  <a:cubicBezTo>
                    <a:pt x="1515" y="706"/>
                    <a:pt x="1515" y="706"/>
                    <a:pt x="1515" y="706"/>
                  </a:cubicBezTo>
                  <a:cubicBezTo>
                    <a:pt x="1528" y="706"/>
                    <a:pt x="1528" y="706"/>
                    <a:pt x="1528" y="706"/>
                  </a:cubicBezTo>
                  <a:cubicBezTo>
                    <a:pt x="1522" y="712"/>
                    <a:pt x="1522" y="712"/>
                    <a:pt x="1522" y="712"/>
                  </a:cubicBezTo>
                  <a:cubicBezTo>
                    <a:pt x="1524" y="719"/>
                    <a:pt x="1524" y="719"/>
                    <a:pt x="1524" y="719"/>
                  </a:cubicBezTo>
                  <a:cubicBezTo>
                    <a:pt x="1535" y="730"/>
                    <a:pt x="1535" y="730"/>
                    <a:pt x="1535" y="730"/>
                  </a:cubicBezTo>
                  <a:cubicBezTo>
                    <a:pt x="1533" y="737"/>
                    <a:pt x="1533" y="737"/>
                    <a:pt x="1533" y="737"/>
                  </a:cubicBezTo>
                  <a:cubicBezTo>
                    <a:pt x="1539" y="739"/>
                    <a:pt x="1539" y="739"/>
                    <a:pt x="1539" y="739"/>
                  </a:cubicBezTo>
                  <a:cubicBezTo>
                    <a:pt x="1544" y="734"/>
                    <a:pt x="1544" y="734"/>
                    <a:pt x="1544" y="734"/>
                  </a:cubicBezTo>
                  <a:cubicBezTo>
                    <a:pt x="1551" y="732"/>
                    <a:pt x="1551" y="732"/>
                    <a:pt x="1551" y="732"/>
                  </a:cubicBezTo>
                  <a:cubicBezTo>
                    <a:pt x="1555" y="738"/>
                    <a:pt x="1555" y="738"/>
                    <a:pt x="1555" y="738"/>
                  </a:cubicBezTo>
                  <a:cubicBezTo>
                    <a:pt x="1561" y="742"/>
                    <a:pt x="1561" y="742"/>
                    <a:pt x="1561" y="742"/>
                  </a:cubicBezTo>
                  <a:cubicBezTo>
                    <a:pt x="1567" y="739"/>
                    <a:pt x="1567" y="739"/>
                    <a:pt x="1567" y="739"/>
                  </a:cubicBezTo>
                  <a:cubicBezTo>
                    <a:pt x="1566" y="734"/>
                    <a:pt x="1566" y="734"/>
                    <a:pt x="1566" y="734"/>
                  </a:cubicBezTo>
                  <a:cubicBezTo>
                    <a:pt x="1558" y="722"/>
                    <a:pt x="1558" y="722"/>
                    <a:pt x="1558" y="722"/>
                  </a:cubicBezTo>
                  <a:cubicBezTo>
                    <a:pt x="1555" y="716"/>
                    <a:pt x="1555" y="716"/>
                    <a:pt x="1555" y="716"/>
                  </a:cubicBezTo>
                  <a:cubicBezTo>
                    <a:pt x="1557" y="717"/>
                    <a:pt x="1557" y="717"/>
                    <a:pt x="1557" y="717"/>
                  </a:cubicBezTo>
                  <a:cubicBezTo>
                    <a:pt x="1551" y="711"/>
                    <a:pt x="1551" y="711"/>
                    <a:pt x="1551" y="711"/>
                  </a:cubicBezTo>
                  <a:cubicBezTo>
                    <a:pt x="1538" y="694"/>
                    <a:pt x="1538" y="694"/>
                    <a:pt x="1538" y="694"/>
                  </a:cubicBezTo>
                  <a:cubicBezTo>
                    <a:pt x="1534" y="687"/>
                    <a:pt x="1534" y="687"/>
                    <a:pt x="1534" y="687"/>
                  </a:cubicBezTo>
                  <a:cubicBezTo>
                    <a:pt x="1532" y="682"/>
                    <a:pt x="1532" y="682"/>
                    <a:pt x="1532" y="682"/>
                  </a:cubicBezTo>
                  <a:cubicBezTo>
                    <a:pt x="1538" y="686"/>
                    <a:pt x="1538" y="686"/>
                    <a:pt x="1538" y="686"/>
                  </a:cubicBezTo>
                  <a:cubicBezTo>
                    <a:pt x="1532" y="680"/>
                    <a:pt x="1532" y="680"/>
                    <a:pt x="1532" y="680"/>
                  </a:cubicBezTo>
                  <a:cubicBezTo>
                    <a:pt x="1526" y="676"/>
                    <a:pt x="1526" y="676"/>
                    <a:pt x="1526" y="676"/>
                  </a:cubicBezTo>
                  <a:cubicBezTo>
                    <a:pt x="1528" y="676"/>
                    <a:pt x="1528" y="676"/>
                    <a:pt x="1528" y="676"/>
                  </a:cubicBezTo>
                  <a:cubicBezTo>
                    <a:pt x="1528" y="664"/>
                    <a:pt x="1528" y="664"/>
                    <a:pt x="1528" y="664"/>
                  </a:cubicBezTo>
                  <a:cubicBezTo>
                    <a:pt x="1531" y="675"/>
                    <a:pt x="1531" y="675"/>
                    <a:pt x="1531" y="675"/>
                  </a:cubicBezTo>
                  <a:cubicBezTo>
                    <a:pt x="1537" y="680"/>
                    <a:pt x="1537" y="680"/>
                    <a:pt x="1537" y="680"/>
                  </a:cubicBezTo>
                  <a:cubicBezTo>
                    <a:pt x="1546" y="692"/>
                    <a:pt x="1546" y="692"/>
                    <a:pt x="1546" y="692"/>
                  </a:cubicBezTo>
                  <a:cubicBezTo>
                    <a:pt x="1549" y="698"/>
                    <a:pt x="1549" y="698"/>
                    <a:pt x="1549" y="698"/>
                  </a:cubicBezTo>
                  <a:cubicBezTo>
                    <a:pt x="1554" y="704"/>
                    <a:pt x="1554" y="704"/>
                    <a:pt x="1554" y="704"/>
                  </a:cubicBezTo>
                  <a:cubicBezTo>
                    <a:pt x="1559" y="704"/>
                    <a:pt x="1559" y="704"/>
                    <a:pt x="1559" y="704"/>
                  </a:cubicBezTo>
                  <a:cubicBezTo>
                    <a:pt x="1559" y="711"/>
                    <a:pt x="1559" y="711"/>
                    <a:pt x="1559" y="711"/>
                  </a:cubicBezTo>
                  <a:cubicBezTo>
                    <a:pt x="1571" y="720"/>
                    <a:pt x="1571" y="720"/>
                    <a:pt x="1571" y="720"/>
                  </a:cubicBezTo>
                  <a:cubicBezTo>
                    <a:pt x="1576" y="726"/>
                    <a:pt x="1576" y="726"/>
                    <a:pt x="1576" y="726"/>
                  </a:cubicBezTo>
                  <a:cubicBezTo>
                    <a:pt x="1581" y="725"/>
                    <a:pt x="1581" y="725"/>
                    <a:pt x="1581" y="725"/>
                  </a:cubicBezTo>
                  <a:cubicBezTo>
                    <a:pt x="1583" y="726"/>
                    <a:pt x="1583" y="726"/>
                    <a:pt x="1583" y="726"/>
                  </a:cubicBezTo>
                  <a:cubicBezTo>
                    <a:pt x="1584" y="725"/>
                    <a:pt x="1584" y="725"/>
                    <a:pt x="1584" y="725"/>
                  </a:cubicBezTo>
                  <a:cubicBezTo>
                    <a:pt x="1587" y="726"/>
                    <a:pt x="1587" y="726"/>
                    <a:pt x="1587" y="726"/>
                  </a:cubicBezTo>
                  <a:cubicBezTo>
                    <a:pt x="1593" y="728"/>
                    <a:pt x="1593" y="728"/>
                    <a:pt x="1593" y="728"/>
                  </a:cubicBezTo>
                  <a:cubicBezTo>
                    <a:pt x="1599" y="724"/>
                    <a:pt x="1599" y="724"/>
                    <a:pt x="1599" y="724"/>
                  </a:cubicBezTo>
                  <a:cubicBezTo>
                    <a:pt x="1598" y="707"/>
                    <a:pt x="1598" y="707"/>
                    <a:pt x="1598" y="707"/>
                  </a:cubicBezTo>
                  <a:cubicBezTo>
                    <a:pt x="1603" y="704"/>
                    <a:pt x="1603" y="704"/>
                    <a:pt x="1603" y="704"/>
                  </a:cubicBezTo>
                  <a:cubicBezTo>
                    <a:pt x="1599" y="708"/>
                    <a:pt x="1599" y="708"/>
                    <a:pt x="1599" y="708"/>
                  </a:cubicBezTo>
                  <a:cubicBezTo>
                    <a:pt x="1599" y="713"/>
                    <a:pt x="1599" y="713"/>
                    <a:pt x="1599" y="713"/>
                  </a:cubicBezTo>
                  <a:cubicBezTo>
                    <a:pt x="1602" y="719"/>
                    <a:pt x="1602" y="719"/>
                    <a:pt x="1602" y="719"/>
                  </a:cubicBezTo>
                  <a:cubicBezTo>
                    <a:pt x="1602" y="725"/>
                    <a:pt x="1602" y="725"/>
                    <a:pt x="1602" y="725"/>
                  </a:cubicBezTo>
                  <a:cubicBezTo>
                    <a:pt x="1603" y="731"/>
                    <a:pt x="1603" y="731"/>
                    <a:pt x="1603" y="731"/>
                  </a:cubicBezTo>
                  <a:cubicBezTo>
                    <a:pt x="1608" y="737"/>
                    <a:pt x="1608" y="737"/>
                    <a:pt x="1608" y="737"/>
                  </a:cubicBezTo>
                  <a:cubicBezTo>
                    <a:pt x="1614" y="738"/>
                    <a:pt x="1614" y="738"/>
                    <a:pt x="1614" y="738"/>
                  </a:cubicBezTo>
                  <a:cubicBezTo>
                    <a:pt x="1615" y="732"/>
                    <a:pt x="1615" y="732"/>
                    <a:pt x="1615" y="732"/>
                  </a:cubicBezTo>
                  <a:cubicBezTo>
                    <a:pt x="1617" y="726"/>
                    <a:pt x="1617" y="726"/>
                    <a:pt x="1617" y="726"/>
                  </a:cubicBezTo>
                  <a:cubicBezTo>
                    <a:pt x="1617" y="738"/>
                    <a:pt x="1617" y="738"/>
                    <a:pt x="1617" y="738"/>
                  </a:cubicBezTo>
                  <a:cubicBezTo>
                    <a:pt x="1620" y="744"/>
                    <a:pt x="1620" y="744"/>
                    <a:pt x="1620" y="744"/>
                  </a:cubicBezTo>
                  <a:cubicBezTo>
                    <a:pt x="1626" y="744"/>
                    <a:pt x="1626" y="744"/>
                    <a:pt x="1626" y="744"/>
                  </a:cubicBezTo>
                  <a:cubicBezTo>
                    <a:pt x="1627" y="738"/>
                    <a:pt x="1627" y="738"/>
                    <a:pt x="1627" y="738"/>
                  </a:cubicBezTo>
                  <a:cubicBezTo>
                    <a:pt x="1639" y="737"/>
                    <a:pt x="1639" y="737"/>
                    <a:pt x="1639" y="737"/>
                  </a:cubicBezTo>
                  <a:cubicBezTo>
                    <a:pt x="1627" y="739"/>
                    <a:pt x="1627" y="739"/>
                    <a:pt x="1627" y="739"/>
                  </a:cubicBezTo>
                  <a:cubicBezTo>
                    <a:pt x="1629" y="745"/>
                    <a:pt x="1629" y="745"/>
                    <a:pt x="1629" y="745"/>
                  </a:cubicBezTo>
                  <a:cubicBezTo>
                    <a:pt x="1635" y="749"/>
                    <a:pt x="1635" y="749"/>
                    <a:pt x="1635" y="749"/>
                  </a:cubicBezTo>
                  <a:cubicBezTo>
                    <a:pt x="1641" y="752"/>
                    <a:pt x="1641" y="752"/>
                    <a:pt x="1641" y="752"/>
                  </a:cubicBezTo>
                  <a:cubicBezTo>
                    <a:pt x="1647" y="752"/>
                    <a:pt x="1647" y="752"/>
                    <a:pt x="1647" y="752"/>
                  </a:cubicBezTo>
                  <a:cubicBezTo>
                    <a:pt x="1653" y="757"/>
                    <a:pt x="1653" y="757"/>
                    <a:pt x="1653" y="757"/>
                  </a:cubicBezTo>
                  <a:cubicBezTo>
                    <a:pt x="1641" y="754"/>
                    <a:pt x="1641" y="754"/>
                    <a:pt x="1641" y="754"/>
                  </a:cubicBezTo>
                  <a:cubicBezTo>
                    <a:pt x="1630" y="754"/>
                    <a:pt x="1630" y="754"/>
                    <a:pt x="1630" y="754"/>
                  </a:cubicBezTo>
                  <a:cubicBezTo>
                    <a:pt x="1633" y="760"/>
                    <a:pt x="1633" y="760"/>
                    <a:pt x="1633" y="760"/>
                  </a:cubicBezTo>
                  <a:cubicBezTo>
                    <a:pt x="1639" y="761"/>
                    <a:pt x="1639" y="761"/>
                    <a:pt x="1639" y="761"/>
                  </a:cubicBezTo>
                  <a:cubicBezTo>
                    <a:pt x="1641" y="767"/>
                    <a:pt x="1641" y="767"/>
                    <a:pt x="1641" y="767"/>
                  </a:cubicBezTo>
                  <a:cubicBezTo>
                    <a:pt x="1647" y="767"/>
                    <a:pt x="1647" y="767"/>
                    <a:pt x="1647" y="767"/>
                  </a:cubicBezTo>
                  <a:cubicBezTo>
                    <a:pt x="1646" y="773"/>
                    <a:pt x="1646" y="773"/>
                    <a:pt x="1646" y="773"/>
                  </a:cubicBezTo>
                  <a:cubicBezTo>
                    <a:pt x="1658" y="770"/>
                    <a:pt x="1658" y="770"/>
                    <a:pt x="1658" y="770"/>
                  </a:cubicBezTo>
                  <a:cubicBezTo>
                    <a:pt x="1652" y="775"/>
                    <a:pt x="1652" y="775"/>
                    <a:pt x="1652" y="775"/>
                  </a:cubicBezTo>
                  <a:cubicBezTo>
                    <a:pt x="1646" y="779"/>
                    <a:pt x="1646" y="779"/>
                    <a:pt x="1646" y="779"/>
                  </a:cubicBezTo>
                  <a:cubicBezTo>
                    <a:pt x="1647" y="786"/>
                    <a:pt x="1647" y="786"/>
                    <a:pt x="1647" y="786"/>
                  </a:cubicBezTo>
                  <a:cubicBezTo>
                    <a:pt x="1652" y="786"/>
                    <a:pt x="1652" y="786"/>
                    <a:pt x="1652" y="786"/>
                  </a:cubicBezTo>
                  <a:cubicBezTo>
                    <a:pt x="1658" y="782"/>
                    <a:pt x="1658" y="782"/>
                    <a:pt x="1658" y="782"/>
                  </a:cubicBezTo>
                  <a:cubicBezTo>
                    <a:pt x="1665" y="785"/>
                    <a:pt x="1665" y="785"/>
                    <a:pt x="1665" y="785"/>
                  </a:cubicBezTo>
                  <a:cubicBezTo>
                    <a:pt x="1670" y="786"/>
                    <a:pt x="1670" y="786"/>
                    <a:pt x="1670" y="786"/>
                  </a:cubicBezTo>
                  <a:cubicBezTo>
                    <a:pt x="1675" y="781"/>
                    <a:pt x="1675" y="781"/>
                    <a:pt x="1675" y="781"/>
                  </a:cubicBezTo>
                  <a:cubicBezTo>
                    <a:pt x="1678" y="786"/>
                    <a:pt x="1678" y="786"/>
                    <a:pt x="1678" y="786"/>
                  </a:cubicBezTo>
                  <a:cubicBezTo>
                    <a:pt x="1678" y="792"/>
                    <a:pt x="1678" y="792"/>
                    <a:pt x="1678" y="792"/>
                  </a:cubicBezTo>
                  <a:cubicBezTo>
                    <a:pt x="1684" y="796"/>
                    <a:pt x="1684" y="796"/>
                    <a:pt x="1684" y="796"/>
                  </a:cubicBezTo>
                  <a:cubicBezTo>
                    <a:pt x="1691" y="797"/>
                    <a:pt x="1691" y="797"/>
                    <a:pt x="1691" y="797"/>
                  </a:cubicBezTo>
                  <a:cubicBezTo>
                    <a:pt x="1696" y="794"/>
                    <a:pt x="1696" y="794"/>
                    <a:pt x="1696" y="794"/>
                  </a:cubicBezTo>
                  <a:cubicBezTo>
                    <a:pt x="1694" y="800"/>
                    <a:pt x="1694" y="800"/>
                    <a:pt x="1694" y="800"/>
                  </a:cubicBezTo>
                  <a:cubicBezTo>
                    <a:pt x="1698" y="806"/>
                    <a:pt x="1698" y="806"/>
                    <a:pt x="1698" y="806"/>
                  </a:cubicBezTo>
                  <a:cubicBezTo>
                    <a:pt x="1704" y="801"/>
                    <a:pt x="1704" y="801"/>
                    <a:pt x="1704" y="801"/>
                  </a:cubicBezTo>
                  <a:cubicBezTo>
                    <a:pt x="1706" y="809"/>
                    <a:pt x="1706" y="809"/>
                    <a:pt x="1706" y="809"/>
                  </a:cubicBezTo>
                  <a:cubicBezTo>
                    <a:pt x="1712" y="811"/>
                    <a:pt x="1712" y="811"/>
                    <a:pt x="1712" y="811"/>
                  </a:cubicBezTo>
                  <a:cubicBezTo>
                    <a:pt x="1718" y="815"/>
                    <a:pt x="1718" y="815"/>
                    <a:pt x="1718" y="815"/>
                  </a:cubicBezTo>
                  <a:cubicBezTo>
                    <a:pt x="1724" y="815"/>
                    <a:pt x="1724" y="815"/>
                    <a:pt x="1724" y="815"/>
                  </a:cubicBezTo>
                  <a:cubicBezTo>
                    <a:pt x="1730" y="820"/>
                    <a:pt x="1730" y="820"/>
                    <a:pt x="1730" y="820"/>
                  </a:cubicBezTo>
                  <a:cubicBezTo>
                    <a:pt x="1736" y="819"/>
                    <a:pt x="1736" y="819"/>
                    <a:pt x="1736" y="819"/>
                  </a:cubicBezTo>
                  <a:cubicBezTo>
                    <a:pt x="1740" y="819"/>
                    <a:pt x="1740" y="819"/>
                    <a:pt x="1740" y="819"/>
                  </a:cubicBezTo>
                  <a:cubicBezTo>
                    <a:pt x="1734" y="822"/>
                    <a:pt x="1734" y="822"/>
                    <a:pt x="1734" y="822"/>
                  </a:cubicBezTo>
                  <a:cubicBezTo>
                    <a:pt x="1730" y="827"/>
                    <a:pt x="1730" y="827"/>
                    <a:pt x="1730" y="827"/>
                  </a:cubicBezTo>
                  <a:cubicBezTo>
                    <a:pt x="1733" y="833"/>
                    <a:pt x="1733" y="833"/>
                    <a:pt x="1733" y="833"/>
                  </a:cubicBezTo>
                  <a:cubicBezTo>
                    <a:pt x="1735" y="845"/>
                    <a:pt x="1735" y="845"/>
                    <a:pt x="1735" y="845"/>
                  </a:cubicBezTo>
                  <a:cubicBezTo>
                    <a:pt x="1734" y="850"/>
                    <a:pt x="1734" y="850"/>
                    <a:pt x="1734" y="850"/>
                  </a:cubicBezTo>
                  <a:cubicBezTo>
                    <a:pt x="1730" y="857"/>
                    <a:pt x="1730" y="857"/>
                    <a:pt x="1730" y="857"/>
                  </a:cubicBezTo>
                  <a:cubicBezTo>
                    <a:pt x="1736" y="863"/>
                    <a:pt x="1736" y="863"/>
                    <a:pt x="1736" y="863"/>
                  </a:cubicBezTo>
                  <a:cubicBezTo>
                    <a:pt x="1742" y="866"/>
                    <a:pt x="1742" y="866"/>
                    <a:pt x="1742" y="866"/>
                  </a:cubicBezTo>
                  <a:cubicBezTo>
                    <a:pt x="1748" y="863"/>
                    <a:pt x="1748" y="863"/>
                    <a:pt x="1748" y="863"/>
                  </a:cubicBezTo>
                  <a:cubicBezTo>
                    <a:pt x="1742" y="857"/>
                    <a:pt x="1742" y="857"/>
                    <a:pt x="1742" y="857"/>
                  </a:cubicBezTo>
                  <a:cubicBezTo>
                    <a:pt x="1748" y="859"/>
                    <a:pt x="1748" y="859"/>
                    <a:pt x="1748" y="859"/>
                  </a:cubicBezTo>
                  <a:cubicBezTo>
                    <a:pt x="1747" y="848"/>
                    <a:pt x="1747" y="848"/>
                    <a:pt x="1747" y="848"/>
                  </a:cubicBezTo>
                  <a:cubicBezTo>
                    <a:pt x="1742" y="841"/>
                    <a:pt x="1742" y="841"/>
                    <a:pt x="1742" y="841"/>
                  </a:cubicBezTo>
                  <a:cubicBezTo>
                    <a:pt x="1751" y="830"/>
                    <a:pt x="1751" y="830"/>
                    <a:pt x="1751" y="830"/>
                  </a:cubicBezTo>
                  <a:cubicBezTo>
                    <a:pt x="1757" y="827"/>
                    <a:pt x="1757" y="827"/>
                    <a:pt x="1757" y="827"/>
                  </a:cubicBezTo>
                  <a:cubicBezTo>
                    <a:pt x="1763" y="816"/>
                    <a:pt x="1763" y="816"/>
                    <a:pt x="1763" y="816"/>
                  </a:cubicBezTo>
                  <a:cubicBezTo>
                    <a:pt x="1762" y="822"/>
                    <a:pt x="1762" y="822"/>
                    <a:pt x="1762" y="822"/>
                  </a:cubicBezTo>
                  <a:cubicBezTo>
                    <a:pt x="1765" y="827"/>
                    <a:pt x="1765" y="827"/>
                    <a:pt x="1765" y="827"/>
                  </a:cubicBezTo>
                  <a:cubicBezTo>
                    <a:pt x="1777" y="835"/>
                    <a:pt x="1777" y="835"/>
                    <a:pt x="1777" y="835"/>
                  </a:cubicBezTo>
                  <a:cubicBezTo>
                    <a:pt x="1782" y="841"/>
                    <a:pt x="1782" y="841"/>
                    <a:pt x="1782" y="841"/>
                  </a:cubicBezTo>
                  <a:cubicBezTo>
                    <a:pt x="1787" y="853"/>
                    <a:pt x="1787" y="853"/>
                    <a:pt x="1787" y="853"/>
                  </a:cubicBezTo>
                  <a:cubicBezTo>
                    <a:pt x="1791" y="859"/>
                    <a:pt x="1791" y="859"/>
                    <a:pt x="1791" y="859"/>
                  </a:cubicBezTo>
                  <a:cubicBezTo>
                    <a:pt x="1796" y="861"/>
                    <a:pt x="1796" y="861"/>
                    <a:pt x="1796" y="861"/>
                  </a:cubicBezTo>
                  <a:cubicBezTo>
                    <a:pt x="1791" y="863"/>
                    <a:pt x="1791" y="863"/>
                    <a:pt x="1791" y="863"/>
                  </a:cubicBezTo>
                  <a:cubicBezTo>
                    <a:pt x="1789" y="870"/>
                    <a:pt x="1789" y="870"/>
                    <a:pt x="1789" y="870"/>
                  </a:cubicBezTo>
                  <a:cubicBezTo>
                    <a:pt x="1790" y="875"/>
                    <a:pt x="1790" y="875"/>
                    <a:pt x="1790" y="875"/>
                  </a:cubicBezTo>
                  <a:cubicBezTo>
                    <a:pt x="1796" y="876"/>
                    <a:pt x="1796" y="876"/>
                    <a:pt x="1796" y="876"/>
                  </a:cubicBezTo>
                  <a:cubicBezTo>
                    <a:pt x="1802" y="873"/>
                    <a:pt x="1802" y="873"/>
                    <a:pt x="1802" y="873"/>
                  </a:cubicBezTo>
                  <a:cubicBezTo>
                    <a:pt x="1803" y="867"/>
                    <a:pt x="1803" y="867"/>
                    <a:pt x="1803" y="867"/>
                  </a:cubicBezTo>
                  <a:cubicBezTo>
                    <a:pt x="1806" y="855"/>
                    <a:pt x="1806" y="855"/>
                    <a:pt x="1806" y="855"/>
                  </a:cubicBezTo>
                  <a:cubicBezTo>
                    <a:pt x="1804" y="867"/>
                    <a:pt x="1804" y="867"/>
                    <a:pt x="1804" y="867"/>
                  </a:cubicBezTo>
                  <a:cubicBezTo>
                    <a:pt x="1804" y="873"/>
                    <a:pt x="1804" y="873"/>
                    <a:pt x="1804" y="873"/>
                  </a:cubicBezTo>
                  <a:cubicBezTo>
                    <a:pt x="1798" y="875"/>
                    <a:pt x="1798" y="875"/>
                    <a:pt x="1798" y="875"/>
                  </a:cubicBezTo>
                  <a:cubicBezTo>
                    <a:pt x="1796" y="881"/>
                    <a:pt x="1796" y="881"/>
                    <a:pt x="1796" y="881"/>
                  </a:cubicBezTo>
                  <a:cubicBezTo>
                    <a:pt x="1804" y="893"/>
                    <a:pt x="1804" y="893"/>
                    <a:pt x="1804" y="893"/>
                  </a:cubicBezTo>
                  <a:cubicBezTo>
                    <a:pt x="1810" y="892"/>
                    <a:pt x="1810" y="892"/>
                    <a:pt x="1810" y="892"/>
                  </a:cubicBezTo>
                  <a:cubicBezTo>
                    <a:pt x="1806" y="881"/>
                    <a:pt x="1806" y="881"/>
                    <a:pt x="1806" y="881"/>
                  </a:cubicBezTo>
                  <a:cubicBezTo>
                    <a:pt x="1814" y="892"/>
                    <a:pt x="1814" y="892"/>
                    <a:pt x="1814" y="892"/>
                  </a:cubicBezTo>
                  <a:cubicBezTo>
                    <a:pt x="1815" y="890"/>
                    <a:pt x="1815" y="890"/>
                    <a:pt x="1815" y="890"/>
                  </a:cubicBezTo>
                  <a:cubicBezTo>
                    <a:pt x="1819" y="885"/>
                    <a:pt x="1819" y="885"/>
                    <a:pt x="1819" y="885"/>
                  </a:cubicBezTo>
                  <a:cubicBezTo>
                    <a:pt x="1821" y="878"/>
                    <a:pt x="1821" y="878"/>
                    <a:pt x="1821" y="878"/>
                  </a:cubicBezTo>
                  <a:cubicBezTo>
                    <a:pt x="1822" y="872"/>
                    <a:pt x="1822" y="872"/>
                    <a:pt x="1822" y="872"/>
                  </a:cubicBezTo>
                  <a:cubicBezTo>
                    <a:pt x="1822" y="855"/>
                    <a:pt x="1822" y="855"/>
                    <a:pt x="1822" y="855"/>
                  </a:cubicBezTo>
                  <a:cubicBezTo>
                    <a:pt x="1824" y="849"/>
                    <a:pt x="1824" y="849"/>
                    <a:pt x="1824" y="849"/>
                  </a:cubicBezTo>
                  <a:cubicBezTo>
                    <a:pt x="1810" y="834"/>
                    <a:pt x="1810" y="834"/>
                    <a:pt x="1810" y="834"/>
                  </a:cubicBezTo>
                  <a:cubicBezTo>
                    <a:pt x="1808" y="828"/>
                    <a:pt x="1808" y="828"/>
                    <a:pt x="1808" y="828"/>
                  </a:cubicBezTo>
                  <a:cubicBezTo>
                    <a:pt x="1803" y="822"/>
                    <a:pt x="1803" y="822"/>
                    <a:pt x="1803" y="822"/>
                  </a:cubicBezTo>
                  <a:cubicBezTo>
                    <a:pt x="1804" y="816"/>
                    <a:pt x="1804" y="816"/>
                    <a:pt x="1804" y="816"/>
                  </a:cubicBezTo>
                  <a:cubicBezTo>
                    <a:pt x="1804" y="810"/>
                    <a:pt x="1804" y="810"/>
                    <a:pt x="1804" y="810"/>
                  </a:cubicBezTo>
                  <a:cubicBezTo>
                    <a:pt x="1801" y="804"/>
                    <a:pt x="1801" y="804"/>
                    <a:pt x="1801" y="804"/>
                  </a:cubicBezTo>
                  <a:cubicBezTo>
                    <a:pt x="1795" y="798"/>
                    <a:pt x="1795" y="798"/>
                    <a:pt x="1795" y="798"/>
                  </a:cubicBezTo>
                  <a:cubicBezTo>
                    <a:pt x="1789" y="802"/>
                    <a:pt x="1789" y="802"/>
                    <a:pt x="1789" y="802"/>
                  </a:cubicBezTo>
                  <a:cubicBezTo>
                    <a:pt x="1783" y="802"/>
                    <a:pt x="1783" y="802"/>
                    <a:pt x="1783" y="802"/>
                  </a:cubicBezTo>
                  <a:cubicBezTo>
                    <a:pt x="1777" y="797"/>
                    <a:pt x="1777" y="797"/>
                    <a:pt x="1777" y="797"/>
                  </a:cubicBezTo>
                  <a:cubicBezTo>
                    <a:pt x="1770" y="797"/>
                    <a:pt x="1770" y="797"/>
                    <a:pt x="1770" y="797"/>
                  </a:cubicBezTo>
                  <a:cubicBezTo>
                    <a:pt x="1764" y="794"/>
                    <a:pt x="1764" y="794"/>
                    <a:pt x="1764" y="794"/>
                  </a:cubicBezTo>
                  <a:cubicBezTo>
                    <a:pt x="1752" y="796"/>
                    <a:pt x="1752" y="796"/>
                    <a:pt x="1752" y="796"/>
                  </a:cubicBezTo>
                  <a:cubicBezTo>
                    <a:pt x="1746" y="794"/>
                    <a:pt x="1746" y="794"/>
                    <a:pt x="1746" y="794"/>
                  </a:cubicBezTo>
                  <a:cubicBezTo>
                    <a:pt x="1734" y="793"/>
                    <a:pt x="1734" y="793"/>
                    <a:pt x="1734" y="793"/>
                  </a:cubicBezTo>
                  <a:cubicBezTo>
                    <a:pt x="1728" y="793"/>
                    <a:pt x="1728" y="793"/>
                    <a:pt x="1728" y="793"/>
                  </a:cubicBezTo>
                  <a:cubicBezTo>
                    <a:pt x="1722" y="796"/>
                    <a:pt x="1722" y="796"/>
                    <a:pt x="1722" y="796"/>
                  </a:cubicBezTo>
                  <a:cubicBezTo>
                    <a:pt x="1720" y="793"/>
                    <a:pt x="1720" y="793"/>
                    <a:pt x="1720" y="793"/>
                  </a:cubicBezTo>
                  <a:cubicBezTo>
                    <a:pt x="1715" y="787"/>
                    <a:pt x="1715" y="787"/>
                    <a:pt x="1715" y="787"/>
                  </a:cubicBezTo>
                  <a:cubicBezTo>
                    <a:pt x="1709" y="784"/>
                    <a:pt x="1709" y="784"/>
                    <a:pt x="1709" y="784"/>
                  </a:cubicBezTo>
                  <a:cubicBezTo>
                    <a:pt x="1703" y="777"/>
                    <a:pt x="1703" y="777"/>
                    <a:pt x="1703" y="777"/>
                  </a:cubicBezTo>
                  <a:cubicBezTo>
                    <a:pt x="1697" y="772"/>
                    <a:pt x="1697" y="772"/>
                    <a:pt x="1697" y="772"/>
                  </a:cubicBezTo>
                  <a:cubicBezTo>
                    <a:pt x="1691" y="773"/>
                    <a:pt x="1691" y="773"/>
                    <a:pt x="1691" y="773"/>
                  </a:cubicBezTo>
                  <a:cubicBezTo>
                    <a:pt x="1691" y="767"/>
                    <a:pt x="1691" y="767"/>
                    <a:pt x="1691" y="767"/>
                  </a:cubicBezTo>
                  <a:cubicBezTo>
                    <a:pt x="1687" y="761"/>
                    <a:pt x="1687" y="761"/>
                    <a:pt x="1687" y="761"/>
                  </a:cubicBezTo>
                  <a:cubicBezTo>
                    <a:pt x="1681" y="756"/>
                    <a:pt x="1681" y="756"/>
                    <a:pt x="1681" y="756"/>
                  </a:cubicBezTo>
                  <a:cubicBezTo>
                    <a:pt x="1669" y="748"/>
                    <a:pt x="1669" y="748"/>
                    <a:pt x="1669" y="748"/>
                  </a:cubicBezTo>
                  <a:cubicBezTo>
                    <a:pt x="1651" y="733"/>
                    <a:pt x="1651" y="733"/>
                    <a:pt x="1651" y="733"/>
                  </a:cubicBezTo>
                  <a:cubicBezTo>
                    <a:pt x="1640" y="725"/>
                    <a:pt x="1640" y="725"/>
                    <a:pt x="1640" y="725"/>
                  </a:cubicBezTo>
                  <a:cubicBezTo>
                    <a:pt x="1635" y="719"/>
                    <a:pt x="1635" y="719"/>
                    <a:pt x="1635" y="719"/>
                  </a:cubicBezTo>
                  <a:cubicBezTo>
                    <a:pt x="1622" y="712"/>
                    <a:pt x="1622" y="712"/>
                    <a:pt x="1622" y="712"/>
                  </a:cubicBezTo>
                  <a:cubicBezTo>
                    <a:pt x="1618" y="706"/>
                    <a:pt x="1618" y="706"/>
                    <a:pt x="1618" y="706"/>
                  </a:cubicBezTo>
                  <a:cubicBezTo>
                    <a:pt x="1619" y="705"/>
                    <a:pt x="1619" y="705"/>
                    <a:pt x="1619" y="705"/>
                  </a:cubicBezTo>
                  <a:cubicBezTo>
                    <a:pt x="1606" y="698"/>
                    <a:pt x="1606" y="698"/>
                    <a:pt x="1606" y="698"/>
                  </a:cubicBezTo>
                  <a:cubicBezTo>
                    <a:pt x="1599" y="693"/>
                    <a:pt x="1599" y="693"/>
                    <a:pt x="1599" y="693"/>
                  </a:cubicBezTo>
                  <a:cubicBezTo>
                    <a:pt x="1593" y="690"/>
                    <a:pt x="1593" y="690"/>
                    <a:pt x="1593" y="690"/>
                  </a:cubicBezTo>
                  <a:cubicBezTo>
                    <a:pt x="1581" y="689"/>
                    <a:pt x="1581" y="689"/>
                    <a:pt x="1581" y="689"/>
                  </a:cubicBezTo>
                  <a:cubicBezTo>
                    <a:pt x="1576" y="686"/>
                    <a:pt x="1576" y="686"/>
                    <a:pt x="1576" y="686"/>
                  </a:cubicBezTo>
                  <a:cubicBezTo>
                    <a:pt x="1565" y="674"/>
                    <a:pt x="1565" y="674"/>
                    <a:pt x="1565" y="674"/>
                  </a:cubicBezTo>
                  <a:cubicBezTo>
                    <a:pt x="1558" y="674"/>
                    <a:pt x="1558" y="674"/>
                    <a:pt x="1558" y="674"/>
                  </a:cubicBezTo>
                  <a:cubicBezTo>
                    <a:pt x="1552" y="670"/>
                    <a:pt x="1552" y="670"/>
                    <a:pt x="1552" y="670"/>
                  </a:cubicBezTo>
                  <a:cubicBezTo>
                    <a:pt x="1545" y="671"/>
                    <a:pt x="1545" y="671"/>
                    <a:pt x="1545" y="671"/>
                  </a:cubicBezTo>
                  <a:cubicBezTo>
                    <a:pt x="1537" y="658"/>
                    <a:pt x="1537" y="658"/>
                    <a:pt x="1537" y="658"/>
                  </a:cubicBezTo>
                  <a:cubicBezTo>
                    <a:pt x="1534" y="652"/>
                    <a:pt x="1534" y="652"/>
                    <a:pt x="1534" y="652"/>
                  </a:cubicBezTo>
                  <a:cubicBezTo>
                    <a:pt x="1531" y="651"/>
                    <a:pt x="1531" y="651"/>
                    <a:pt x="1531" y="651"/>
                  </a:cubicBezTo>
                  <a:cubicBezTo>
                    <a:pt x="1525" y="647"/>
                    <a:pt x="1525" y="647"/>
                    <a:pt x="1525" y="647"/>
                  </a:cubicBezTo>
                  <a:cubicBezTo>
                    <a:pt x="1519" y="646"/>
                    <a:pt x="1519" y="646"/>
                    <a:pt x="1519" y="646"/>
                  </a:cubicBezTo>
                  <a:cubicBezTo>
                    <a:pt x="1512" y="646"/>
                    <a:pt x="1512" y="646"/>
                    <a:pt x="1512" y="646"/>
                  </a:cubicBezTo>
                  <a:cubicBezTo>
                    <a:pt x="1507" y="653"/>
                    <a:pt x="1507" y="653"/>
                    <a:pt x="1507" y="653"/>
                  </a:cubicBezTo>
                  <a:cubicBezTo>
                    <a:pt x="1502" y="659"/>
                    <a:pt x="1502" y="659"/>
                    <a:pt x="1502" y="659"/>
                  </a:cubicBezTo>
                  <a:cubicBezTo>
                    <a:pt x="1495" y="663"/>
                    <a:pt x="1495" y="663"/>
                    <a:pt x="1495" y="663"/>
                  </a:cubicBezTo>
                  <a:cubicBezTo>
                    <a:pt x="1497" y="669"/>
                    <a:pt x="1497" y="669"/>
                    <a:pt x="1497" y="669"/>
                  </a:cubicBezTo>
                  <a:cubicBezTo>
                    <a:pt x="1493" y="683"/>
                    <a:pt x="1493" y="683"/>
                    <a:pt x="1493" y="683"/>
                  </a:cubicBezTo>
                  <a:cubicBezTo>
                    <a:pt x="1496" y="689"/>
                    <a:pt x="1496" y="689"/>
                    <a:pt x="1496" y="689"/>
                  </a:cubicBezTo>
                  <a:cubicBezTo>
                    <a:pt x="1495" y="695"/>
                    <a:pt x="1495" y="695"/>
                    <a:pt x="1495" y="695"/>
                  </a:cubicBezTo>
                  <a:cubicBezTo>
                    <a:pt x="1489" y="700"/>
                    <a:pt x="1489" y="700"/>
                    <a:pt x="1489" y="700"/>
                  </a:cubicBezTo>
                  <a:cubicBezTo>
                    <a:pt x="1480" y="712"/>
                    <a:pt x="1480" y="712"/>
                    <a:pt x="1480" y="712"/>
                  </a:cubicBezTo>
                  <a:cubicBezTo>
                    <a:pt x="1475" y="719"/>
                    <a:pt x="1475" y="719"/>
                    <a:pt x="1475" y="719"/>
                  </a:cubicBezTo>
                  <a:cubicBezTo>
                    <a:pt x="1473" y="724"/>
                    <a:pt x="1473" y="724"/>
                    <a:pt x="1473" y="724"/>
                  </a:cubicBezTo>
                  <a:cubicBezTo>
                    <a:pt x="1460" y="706"/>
                    <a:pt x="1460" y="706"/>
                    <a:pt x="1460" y="706"/>
                  </a:cubicBezTo>
                  <a:cubicBezTo>
                    <a:pt x="1416" y="683"/>
                    <a:pt x="1416" y="683"/>
                    <a:pt x="1416" y="683"/>
                  </a:cubicBezTo>
                  <a:cubicBezTo>
                    <a:pt x="1411" y="678"/>
                    <a:pt x="1411" y="678"/>
                    <a:pt x="1411" y="678"/>
                  </a:cubicBezTo>
                  <a:cubicBezTo>
                    <a:pt x="1404" y="674"/>
                    <a:pt x="1404" y="674"/>
                    <a:pt x="1404" y="674"/>
                  </a:cubicBezTo>
                  <a:cubicBezTo>
                    <a:pt x="1395" y="672"/>
                    <a:pt x="1395" y="672"/>
                    <a:pt x="1395" y="672"/>
                  </a:cubicBezTo>
                  <a:cubicBezTo>
                    <a:pt x="1389" y="668"/>
                    <a:pt x="1389" y="668"/>
                    <a:pt x="1389" y="668"/>
                  </a:cubicBezTo>
                  <a:cubicBezTo>
                    <a:pt x="1389" y="662"/>
                    <a:pt x="1389" y="662"/>
                    <a:pt x="1389" y="662"/>
                  </a:cubicBezTo>
                  <a:cubicBezTo>
                    <a:pt x="1388" y="654"/>
                    <a:pt x="1388" y="654"/>
                    <a:pt x="1388" y="654"/>
                  </a:cubicBezTo>
                  <a:cubicBezTo>
                    <a:pt x="1382" y="651"/>
                    <a:pt x="1382" y="651"/>
                    <a:pt x="1382" y="651"/>
                  </a:cubicBezTo>
                  <a:cubicBezTo>
                    <a:pt x="1369" y="656"/>
                    <a:pt x="1369" y="656"/>
                    <a:pt x="1369" y="656"/>
                  </a:cubicBezTo>
                  <a:cubicBezTo>
                    <a:pt x="1362" y="668"/>
                    <a:pt x="1362" y="668"/>
                    <a:pt x="1362" y="668"/>
                  </a:cubicBezTo>
                  <a:cubicBezTo>
                    <a:pt x="1360" y="669"/>
                    <a:pt x="1360" y="669"/>
                    <a:pt x="1360" y="669"/>
                  </a:cubicBezTo>
                  <a:cubicBezTo>
                    <a:pt x="1348" y="667"/>
                    <a:pt x="1348" y="667"/>
                    <a:pt x="1348" y="667"/>
                  </a:cubicBezTo>
                  <a:cubicBezTo>
                    <a:pt x="1342" y="672"/>
                    <a:pt x="1342" y="672"/>
                    <a:pt x="1342" y="672"/>
                  </a:cubicBezTo>
                  <a:cubicBezTo>
                    <a:pt x="1329" y="672"/>
                    <a:pt x="1329" y="672"/>
                    <a:pt x="1329" y="672"/>
                  </a:cubicBezTo>
                  <a:cubicBezTo>
                    <a:pt x="1324" y="665"/>
                    <a:pt x="1324" y="665"/>
                    <a:pt x="1324" y="665"/>
                  </a:cubicBezTo>
                  <a:cubicBezTo>
                    <a:pt x="1159" y="105"/>
                    <a:pt x="1159" y="105"/>
                    <a:pt x="1159" y="105"/>
                  </a:cubicBezTo>
                  <a:cubicBezTo>
                    <a:pt x="1145" y="58"/>
                    <a:pt x="1145" y="58"/>
                    <a:pt x="1145" y="58"/>
                  </a:cubicBezTo>
                  <a:cubicBezTo>
                    <a:pt x="1144" y="55"/>
                    <a:pt x="1144" y="55"/>
                    <a:pt x="1144" y="55"/>
                  </a:cubicBezTo>
                  <a:cubicBezTo>
                    <a:pt x="1136" y="56"/>
                    <a:pt x="1136" y="56"/>
                    <a:pt x="1136" y="56"/>
                  </a:cubicBezTo>
                  <a:cubicBezTo>
                    <a:pt x="1133" y="57"/>
                    <a:pt x="1133" y="57"/>
                    <a:pt x="1133" y="57"/>
                  </a:cubicBezTo>
                  <a:cubicBezTo>
                    <a:pt x="1126" y="52"/>
                    <a:pt x="1126" y="52"/>
                    <a:pt x="1126" y="52"/>
                  </a:cubicBezTo>
                  <a:cubicBezTo>
                    <a:pt x="1120" y="51"/>
                    <a:pt x="1120" y="51"/>
                    <a:pt x="1120" y="51"/>
                  </a:cubicBezTo>
                  <a:cubicBezTo>
                    <a:pt x="1119" y="52"/>
                    <a:pt x="1119" y="52"/>
                    <a:pt x="1119" y="52"/>
                  </a:cubicBezTo>
                  <a:cubicBezTo>
                    <a:pt x="1107" y="47"/>
                    <a:pt x="1107" y="47"/>
                    <a:pt x="1107" y="47"/>
                  </a:cubicBezTo>
                  <a:cubicBezTo>
                    <a:pt x="1101" y="43"/>
                    <a:pt x="1101" y="43"/>
                    <a:pt x="1101" y="43"/>
                  </a:cubicBezTo>
                  <a:cubicBezTo>
                    <a:pt x="1096" y="41"/>
                    <a:pt x="1096" y="41"/>
                    <a:pt x="1096" y="41"/>
                  </a:cubicBezTo>
                  <a:cubicBezTo>
                    <a:pt x="1090" y="40"/>
                    <a:pt x="1090" y="40"/>
                    <a:pt x="1090" y="40"/>
                  </a:cubicBezTo>
                  <a:cubicBezTo>
                    <a:pt x="1085" y="44"/>
                    <a:pt x="1085" y="44"/>
                    <a:pt x="1085" y="44"/>
                  </a:cubicBezTo>
                  <a:cubicBezTo>
                    <a:pt x="1078" y="42"/>
                    <a:pt x="1078" y="42"/>
                    <a:pt x="1078" y="42"/>
                  </a:cubicBezTo>
                  <a:cubicBezTo>
                    <a:pt x="1072" y="43"/>
                    <a:pt x="1072" y="43"/>
                    <a:pt x="1072" y="43"/>
                  </a:cubicBezTo>
                  <a:cubicBezTo>
                    <a:pt x="1067" y="46"/>
                    <a:pt x="1067" y="46"/>
                    <a:pt x="1067" y="46"/>
                  </a:cubicBezTo>
                  <a:cubicBezTo>
                    <a:pt x="1067" y="51"/>
                    <a:pt x="1067" y="51"/>
                    <a:pt x="1067" y="51"/>
                  </a:cubicBezTo>
                  <a:cubicBezTo>
                    <a:pt x="1062" y="50"/>
                    <a:pt x="1062" y="50"/>
                    <a:pt x="1062" y="50"/>
                  </a:cubicBezTo>
                  <a:cubicBezTo>
                    <a:pt x="1053" y="57"/>
                    <a:pt x="1053" y="57"/>
                    <a:pt x="1053" y="57"/>
                  </a:cubicBezTo>
                  <a:cubicBezTo>
                    <a:pt x="1047" y="58"/>
                    <a:pt x="1047" y="58"/>
                    <a:pt x="1047" y="58"/>
                  </a:cubicBezTo>
                  <a:cubicBezTo>
                    <a:pt x="1038" y="58"/>
                    <a:pt x="1038" y="58"/>
                    <a:pt x="1038" y="58"/>
                  </a:cubicBezTo>
                  <a:cubicBezTo>
                    <a:pt x="1037" y="57"/>
                    <a:pt x="1037" y="57"/>
                    <a:pt x="1037" y="57"/>
                  </a:cubicBezTo>
                  <a:cubicBezTo>
                    <a:pt x="1031" y="55"/>
                    <a:pt x="1031" y="55"/>
                    <a:pt x="1031" y="55"/>
                  </a:cubicBezTo>
                  <a:cubicBezTo>
                    <a:pt x="1025" y="51"/>
                    <a:pt x="1025" y="51"/>
                    <a:pt x="1025" y="51"/>
                  </a:cubicBezTo>
                  <a:cubicBezTo>
                    <a:pt x="1019" y="52"/>
                    <a:pt x="1019" y="52"/>
                    <a:pt x="1019" y="52"/>
                  </a:cubicBezTo>
                  <a:cubicBezTo>
                    <a:pt x="1013" y="51"/>
                    <a:pt x="1013" y="51"/>
                    <a:pt x="1013" y="51"/>
                  </a:cubicBezTo>
                  <a:cubicBezTo>
                    <a:pt x="1007" y="52"/>
                    <a:pt x="1007" y="52"/>
                    <a:pt x="1007" y="52"/>
                  </a:cubicBezTo>
                  <a:cubicBezTo>
                    <a:pt x="1001" y="53"/>
                    <a:pt x="1001" y="53"/>
                    <a:pt x="1001" y="53"/>
                  </a:cubicBezTo>
                  <a:cubicBezTo>
                    <a:pt x="995" y="56"/>
                    <a:pt x="995" y="56"/>
                    <a:pt x="995" y="56"/>
                  </a:cubicBezTo>
                  <a:cubicBezTo>
                    <a:pt x="983" y="55"/>
                    <a:pt x="983" y="55"/>
                    <a:pt x="983" y="55"/>
                  </a:cubicBezTo>
                  <a:cubicBezTo>
                    <a:pt x="978" y="53"/>
                    <a:pt x="978" y="53"/>
                    <a:pt x="978" y="53"/>
                  </a:cubicBezTo>
                  <a:cubicBezTo>
                    <a:pt x="975" y="50"/>
                    <a:pt x="975" y="50"/>
                    <a:pt x="975" y="50"/>
                  </a:cubicBezTo>
                  <a:cubicBezTo>
                    <a:pt x="970" y="50"/>
                    <a:pt x="970" y="50"/>
                    <a:pt x="970" y="50"/>
                  </a:cubicBezTo>
                  <a:cubicBezTo>
                    <a:pt x="967" y="48"/>
                    <a:pt x="967" y="48"/>
                    <a:pt x="967" y="48"/>
                  </a:cubicBezTo>
                  <a:cubicBezTo>
                    <a:pt x="961" y="52"/>
                    <a:pt x="961" y="52"/>
                    <a:pt x="961" y="52"/>
                  </a:cubicBezTo>
                  <a:cubicBezTo>
                    <a:pt x="956" y="47"/>
                    <a:pt x="956" y="47"/>
                    <a:pt x="956" y="47"/>
                  </a:cubicBezTo>
                  <a:cubicBezTo>
                    <a:pt x="948" y="44"/>
                    <a:pt x="948" y="44"/>
                    <a:pt x="948" y="44"/>
                  </a:cubicBezTo>
                  <a:cubicBezTo>
                    <a:pt x="943" y="43"/>
                    <a:pt x="943" y="43"/>
                    <a:pt x="943" y="43"/>
                  </a:cubicBezTo>
                  <a:cubicBezTo>
                    <a:pt x="938" y="44"/>
                    <a:pt x="938" y="44"/>
                    <a:pt x="938" y="44"/>
                  </a:cubicBezTo>
                  <a:cubicBezTo>
                    <a:pt x="932" y="43"/>
                    <a:pt x="932" y="43"/>
                    <a:pt x="932" y="43"/>
                  </a:cubicBezTo>
                  <a:cubicBezTo>
                    <a:pt x="926" y="44"/>
                    <a:pt x="926" y="44"/>
                    <a:pt x="926" y="44"/>
                  </a:cubicBezTo>
                  <a:cubicBezTo>
                    <a:pt x="922" y="50"/>
                    <a:pt x="922" y="50"/>
                    <a:pt x="922" y="50"/>
                  </a:cubicBezTo>
                  <a:cubicBezTo>
                    <a:pt x="915" y="51"/>
                    <a:pt x="915" y="51"/>
                    <a:pt x="915" y="51"/>
                  </a:cubicBezTo>
                  <a:cubicBezTo>
                    <a:pt x="913" y="49"/>
                    <a:pt x="913" y="49"/>
                    <a:pt x="913" y="49"/>
                  </a:cubicBezTo>
                  <a:cubicBezTo>
                    <a:pt x="907" y="50"/>
                    <a:pt x="907" y="50"/>
                    <a:pt x="907" y="50"/>
                  </a:cubicBezTo>
                  <a:cubicBezTo>
                    <a:pt x="902" y="51"/>
                    <a:pt x="902" y="51"/>
                    <a:pt x="902" y="51"/>
                  </a:cubicBezTo>
                  <a:cubicBezTo>
                    <a:pt x="898" y="54"/>
                    <a:pt x="898" y="54"/>
                    <a:pt x="898" y="54"/>
                  </a:cubicBezTo>
                  <a:cubicBezTo>
                    <a:pt x="897" y="58"/>
                    <a:pt x="897" y="58"/>
                    <a:pt x="897" y="58"/>
                  </a:cubicBezTo>
                  <a:cubicBezTo>
                    <a:pt x="891" y="55"/>
                    <a:pt x="891" y="55"/>
                    <a:pt x="891" y="55"/>
                  </a:cubicBezTo>
                  <a:cubicBezTo>
                    <a:pt x="879" y="53"/>
                    <a:pt x="879" y="53"/>
                    <a:pt x="879" y="53"/>
                  </a:cubicBezTo>
                  <a:cubicBezTo>
                    <a:pt x="882" y="47"/>
                    <a:pt x="882" y="47"/>
                    <a:pt x="882" y="47"/>
                  </a:cubicBezTo>
                  <a:cubicBezTo>
                    <a:pt x="876" y="47"/>
                    <a:pt x="876" y="47"/>
                    <a:pt x="876" y="47"/>
                  </a:cubicBezTo>
                  <a:cubicBezTo>
                    <a:pt x="870" y="49"/>
                    <a:pt x="870" y="49"/>
                    <a:pt x="870" y="49"/>
                  </a:cubicBezTo>
                  <a:cubicBezTo>
                    <a:pt x="864" y="47"/>
                    <a:pt x="864" y="47"/>
                    <a:pt x="864" y="47"/>
                  </a:cubicBezTo>
                  <a:cubicBezTo>
                    <a:pt x="871" y="46"/>
                    <a:pt x="871" y="46"/>
                    <a:pt x="871" y="46"/>
                  </a:cubicBezTo>
                  <a:cubicBezTo>
                    <a:pt x="864" y="40"/>
                    <a:pt x="864" y="40"/>
                    <a:pt x="864" y="40"/>
                  </a:cubicBezTo>
                  <a:cubicBezTo>
                    <a:pt x="868" y="34"/>
                    <a:pt x="868" y="34"/>
                    <a:pt x="868" y="34"/>
                  </a:cubicBezTo>
                  <a:cubicBezTo>
                    <a:pt x="866" y="28"/>
                    <a:pt x="866" y="28"/>
                    <a:pt x="866" y="28"/>
                  </a:cubicBezTo>
                  <a:cubicBezTo>
                    <a:pt x="860" y="30"/>
                    <a:pt x="860" y="30"/>
                    <a:pt x="860" y="30"/>
                  </a:cubicBezTo>
                  <a:cubicBezTo>
                    <a:pt x="854" y="29"/>
                    <a:pt x="854" y="29"/>
                    <a:pt x="854" y="29"/>
                  </a:cubicBezTo>
                  <a:cubicBezTo>
                    <a:pt x="848" y="26"/>
                    <a:pt x="848" y="26"/>
                    <a:pt x="848" y="26"/>
                  </a:cubicBezTo>
                  <a:cubicBezTo>
                    <a:pt x="842" y="29"/>
                    <a:pt x="842" y="29"/>
                    <a:pt x="842" y="29"/>
                  </a:cubicBezTo>
                  <a:cubicBezTo>
                    <a:pt x="836" y="29"/>
                    <a:pt x="836" y="29"/>
                    <a:pt x="836" y="29"/>
                  </a:cubicBezTo>
                  <a:cubicBezTo>
                    <a:pt x="824" y="37"/>
                    <a:pt x="824" y="37"/>
                    <a:pt x="824" y="37"/>
                  </a:cubicBezTo>
                  <a:cubicBezTo>
                    <a:pt x="818" y="35"/>
                    <a:pt x="818" y="35"/>
                    <a:pt x="818" y="35"/>
                  </a:cubicBezTo>
                  <a:cubicBezTo>
                    <a:pt x="812" y="31"/>
                    <a:pt x="812" y="31"/>
                    <a:pt x="812" y="31"/>
                  </a:cubicBezTo>
                  <a:cubicBezTo>
                    <a:pt x="815" y="25"/>
                    <a:pt x="815" y="25"/>
                    <a:pt x="815" y="25"/>
                  </a:cubicBezTo>
                  <a:cubicBezTo>
                    <a:pt x="811" y="20"/>
                    <a:pt x="811" y="20"/>
                    <a:pt x="811" y="20"/>
                  </a:cubicBezTo>
                  <a:cubicBezTo>
                    <a:pt x="805" y="18"/>
                    <a:pt x="805" y="18"/>
                    <a:pt x="805" y="18"/>
                  </a:cubicBezTo>
                  <a:cubicBezTo>
                    <a:pt x="805" y="24"/>
                    <a:pt x="805" y="24"/>
                    <a:pt x="805" y="24"/>
                  </a:cubicBezTo>
                  <a:cubicBezTo>
                    <a:pt x="799" y="19"/>
                    <a:pt x="799" y="19"/>
                    <a:pt x="799" y="19"/>
                  </a:cubicBezTo>
                  <a:cubicBezTo>
                    <a:pt x="797" y="25"/>
                    <a:pt x="797" y="25"/>
                    <a:pt x="797" y="25"/>
                  </a:cubicBezTo>
                  <a:cubicBezTo>
                    <a:pt x="790" y="37"/>
                    <a:pt x="790" y="37"/>
                    <a:pt x="790" y="37"/>
                  </a:cubicBezTo>
                  <a:cubicBezTo>
                    <a:pt x="784" y="37"/>
                    <a:pt x="784" y="37"/>
                    <a:pt x="784" y="37"/>
                  </a:cubicBezTo>
                  <a:cubicBezTo>
                    <a:pt x="780" y="32"/>
                    <a:pt x="780" y="32"/>
                    <a:pt x="780" y="32"/>
                  </a:cubicBezTo>
                  <a:cubicBezTo>
                    <a:pt x="781" y="29"/>
                    <a:pt x="781" y="29"/>
                    <a:pt x="781" y="29"/>
                  </a:cubicBezTo>
                  <a:cubicBezTo>
                    <a:pt x="787" y="27"/>
                    <a:pt x="787" y="27"/>
                    <a:pt x="787" y="27"/>
                  </a:cubicBezTo>
                  <a:cubicBezTo>
                    <a:pt x="791" y="21"/>
                    <a:pt x="791" y="21"/>
                    <a:pt x="791" y="21"/>
                  </a:cubicBezTo>
                  <a:cubicBezTo>
                    <a:pt x="792" y="15"/>
                    <a:pt x="792" y="15"/>
                    <a:pt x="792" y="15"/>
                  </a:cubicBezTo>
                  <a:cubicBezTo>
                    <a:pt x="786" y="12"/>
                    <a:pt x="786" y="12"/>
                    <a:pt x="786" y="12"/>
                  </a:cubicBezTo>
                  <a:cubicBezTo>
                    <a:pt x="780" y="14"/>
                    <a:pt x="780" y="14"/>
                    <a:pt x="780" y="14"/>
                  </a:cubicBezTo>
                  <a:cubicBezTo>
                    <a:pt x="776" y="9"/>
                    <a:pt x="776" y="9"/>
                    <a:pt x="776" y="9"/>
                  </a:cubicBezTo>
                  <a:cubicBezTo>
                    <a:pt x="769" y="6"/>
                    <a:pt x="769" y="6"/>
                    <a:pt x="769" y="6"/>
                  </a:cubicBezTo>
                  <a:cubicBezTo>
                    <a:pt x="772" y="0"/>
                    <a:pt x="772" y="0"/>
                    <a:pt x="772" y="0"/>
                  </a:cubicBezTo>
                  <a:cubicBezTo>
                    <a:pt x="766" y="4"/>
                    <a:pt x="766" y="4"/>
                    <a:pt x="766" y="4"/>
                  </a:cubicBezTo>
                  <a:cubicBezTo>
                    <a:pt x="758" y="16"/>
                    <a:pt x="758" y="16"/>
                    <a:pt x="758" y="16"/>
                  </a:cubicBezTo>
                  <a:cubicBezTo>
                    <a:pt x="756" y="22"/>
                    <a:pt x="756" y="22"/>
                    <a:pt x="756" y="22"/>
                  </a:cubicBezTo>
                  <a:cubicBezTo>
                    <a:pt x="751" y="28"/>
                    <a:pt x="751" y="28"/>
                    <a:pt x="751" y="28"/>
                  </a:cubicBezTo>
                  <a:cubicBezTo>
                    <a:pt x="739" y="39"/>
                    <a:pt x="739" y="39"/>
                    <a:pt x="739" y="39"/>
                  </a:cubicBezTo>
                  <a:cubicBezTo>
                    <a:pt x="721" y="43"/>
                    <a:pt x="721" y="43"/>
                    <a:pt x="721" y="43"/>
                  </a:cubicBezTo>
                  <a:cubicBezTo>
                    <a:pt x="716" y="43"/>
                    <a:pt x="716" y="43"/>
                    <a:pt x="716" y="43"/>
                  </a:cubicBezTo>
                  <a:cubicBezTo>
                    <a:pt x="710" y="49"/>
                    <a:pt x="710" y="49"/>
                    <a:pt x="710" y="49"/>
                  </a:cubicBezTo>
                  <a:cubicBezTo>
                    <a:pt x="707" y="43"/>
                    <a:pt x="707" y="43"/>
                    <a:pt x="707" y="43"/>
                  </a:cubicBezTo>
                  <a:cubicBezTo>
                    <a:pt x="710" y="37"/>
                    <a:pt x="710" y="37"/>
                    <a:pt x="710" y="37"/>
                  </a:cubicBezTo>
                  <a:cubicBezTo>
                    <a:pt x="704" y="40"/>
                    <a:pt x="704" y="40"/>
                    <a:pt x="704" y="40"/>
                  </a:cubicBezTo>
                  <a:cubicBezTo>
                    <a:pt x="693" y="51"/>
                    <a:pt x="693" y="51"/>
                    <a:pt x="693" y="51"/>
                  </a:cubicBezTo>
                  <a:cubicBezTo>
                    <a:pt x="693" y="54"/>
                    <a:pt x="693" y="54"/>
                    <a:pt x="693" y="54"/>
                  </a:cubicBezTo>
                  <a:cubicBezTo>
                    <a:pt x="696" y="59"/>
                    <a:pt x="696" y="59"/>
                    <a:pt x="696" y="59"/>
                  </a:cubicBezTo>
                  <a:cubicBezTo>
                    <a:pt x="702" y="62"/>
                    <a:pt x="702" y="62"/>
                    <a:pt x="702" y="62"/>
                  </a:cubicBezTo>
                  <a:cubicBezTo>
                    <a:pt x="708" y="61"/>
                    <a:pt x="708" y="61"/>
                    <a:pt x="708" y="61"/>
                  </a:cubicBezTo>
                  <a:cubicBezTo>
                    <a:pt x="696" y="66"/>
                    <a:pt x="696" y="66"/>
                    <a:pt x="696" y="66"/>
                  </a:cubicBezTo>
                  <a:cubicBezTo>
                    <a:pt x="695" y="78"/>
                    <a:pt x="695" y="78"/>
                    <a:pt x="695" y="78"/>
                  </a:cubicBezTo>
                  <a:cubicBezTo>
                    <a:pt x="693" y="72"/>
                    <a:pt x="693" y="72"/>
                    <a:pt x="693" y="72"/>
                  </a:cubicBezTo>
                  <a:cubicBezTo>
                    <a:pt x="690" y="73"/>
                    <a:pt x="690" y="73"/>
                    <a:pt x="690" y="73"/>
                  </a:cubicBezTo>
                  <a:cubicBezTo>
                    <a:pt x="693" y="68"/>
                    <a:pt x="693" y="68"/>
                    <a:pt x="693" y="68"/>
                  </a:cubicBezTo>
                  <a:cubicBezTo>
                    <a:pt x="693" y="57"/>
                    <a:pt x="693" y="57"/>
                    <a:pt x="693" y="57"/>
                  </a:cubicBezTo>
                  <a:cubicBezTo>
                    <a:pt x="691" y="57"/>
                    <a:pt x="691" y="57"/>
                    <a:pt x="691" y="57"/>
                  </a:cubicBezTo>
                  <a:cubicBezTo>
                    <a:pt x="686" y="59"/>
                    <a:pt x="686" y="59"/>
                    <a:pt x="686" y="59"/>
                  </a:cubicBezTo>
                  <a:cubicBezTo>
                    <a:pt x="674" y="72"/>
                    <a:pt x="674" y="72"/>
                    <a:pt x="674" y="72"/>
                  </a:cubicBezTo>
                  <a:cubicBezTo>
                    <a:pt x="664" y="78"/>
                    <a:pt x="664" y="78"/>
                    <a:pt x="664" y="78"/>
                  </a:cubicBezTo>
                  <a:cubicBezTo>
                    <a:pt x="662" y="78"/>
                    <a:pt x="662" y="78"/>
                    <a:pt x="662" y="78"/>
                  </a:cubicBezTo>
                  <a:cubicBezTo>
                    <a:pt x="656" y="80"/>
                    <a:pt x="656" y="80"/>
                    <a:pt x="656" y="80"/>
                  </a:cubicBezTo>
                  <a:cubicBezTo>
                    <a:pt x="650" y="83"/>
                    <a:pt x="650" y="83"/>
                    <a:pt x="650" y="83"/>
                  </a:cubicBezTo>
                  <a:cubicBezTo>
                    <a:pt x="645" y="83"/>
                    <a:pt x="645" y="83"/>
                    <a:pt x="645" y="83"/>
                  </a:cubicBezTo>
                  <a:cubicBezTo>
                    <a:pt x="650" y="81"/>
                    <a:pt x="650" y="81"/>
                    <a:pt x="650" y="81"/>
                  </a:cubicBezTo>
                  <a:cubicBezTo>
                    <a:pt x="651" y="77"/>
                    <a:pt x="651" y="77"/>
                    <a:pt x="651" y="77"/>
                  </a:cubicBezTo>
                  <a:cubicBezTo>
                    <a:pt x="645" y="77"/>
                    <a:pt x="645" y="77"/>
                    <a:pt x="645" y="77"/>
                  </a:cubicBezTo>
                  <a:cubicBezTo>
                    <a:pt x="633" y="96"/>
                    <a:pt x="633" y="96"/>
                    <a:pt x="633" y="96"/>
                  </a:cubicBezTo>
                  <a:cubicBezTo>
                    <a:pt x="633" y="97"/>
                    <a:pt x="633" y="97"/>
                    <a:pt x="633" y="97"/>
                  </a:cubicBezTo>
                  <a:cubicBezTo>
                    <a:pt x="623" y="109"/>
                    <a:pt x="623" y="109"/>
                    <a:pt x="623" y="109"/>
                  </a:cubicBezTo>
                  <a:cubicBezTo>
                    <a:pt x="619" y="119"/>
                    <a:pt x="619" y="119"/>
                    <a:pt x="619" y="119"/>
                  </a:cubicBezTo>
                  <a:cubicBezTo>
                    <a:pt x="619" y="120"/>
                    <a:pt x="619" y="120"/>
                    <a:pt x="619" y="120"/>
                  </a:cubicBezTo>
                  <a:cubicBezTo>
                    <a:pt x="616" y="132"/>
                    <a:pt x="616" y="132"/>
                    <a:pt x="616" y="132"/>
                  </a:cubicBezTo>
                  <a:cubicBezTo>
                    <a:pt x="610" y="144"/>
                    <a:pt x="610" y="144"/>
                    <a:pt x="610" y="144"/>
                  </a:cubicBezTo>
                  <a:cubicBezTo>
                    <a:pt x="602" y="155"/>
                    <a:pt x="602" y="155"/>
                    <a:pt x="602" y="155"/>
                  </a:cubicBezTo>
                  <a:cubicBezTo>
                    <a:pt x="596" y="161"/>
                    <a:pt x="596" y="161"/>
                    <a:pt x="596" y="161"/>
                  </a:cubicBezTo>
                  <a:cubicBezTo>
                    <a:pt x="590" y="164"/>
                    <a:pt x="590" y="164"/>
                    <a:pt x="590" y="164"/>
                  </a:cubicBezTo>
                  <a:cubicBezTo>
                    <a:pt x="584" y="166"/>
                    <a:pt x="584" y="166"/>
                    <a:pt x="584" y="166"/>
                  </a:cubicBezTo>
                  <a:cubicBezTo>
                    <a:pt x="555" y="169"/>
                    <a:pt x="555" y="169"/>
                    <a:pt x="555" y="169"/>
                  </a:cubicBezTo>
                  <a:cubicBezTo>
                    <a:pt x="543" y="166"/>
                    <a:pt x="543" y="166"/>
                    <a:pt x="543" y="166"/>
                  </a:cubicBezTo>
                  <a:cubicBezTo>
                    <a:pt x="538" y="170"/>
                    <a:pt x="538" y="170"/>
                    <a:pt x="538" y="170"/>
                  </a:cubicBezTo>
                  <a:cubicBezTo>
                    <a:pt x="535" y="188"/>
                    <a:pt x="535" y="188"/>
                    <a:pt x="535" y="188"/>
                  </a:cubicBezTo>
                  <a:cubicBezTo>
                    <a:pt x="532" y="194"/>
                    <a:pt x="532" y="194"/>
                    <a:pt x="532" y="194"/>
                  </a:cubicBezTo>
                  <a:cubicBezTo>
                    <a:pt x="527" y="199"/>
                    <a:pt x="527" y="199"/>
                    <a:pt x="527" y="199"/>
                  </a:cubicBezTo>
                  <a:cubicBezTo>
                    <a:pt x="524" y="199"/>
                    <a:pt x="524" y="199"/>
                    <a:pt x="524" y="199"/>
                  </a:cubicBezTo>
                  <a:cubicBezTo>
                    <a:pt x="522" y="201"/>
                    <a:pt x="522" y="201"/>
                    <a:pt x="522" y="201"/>
                  </a:cubicBezTo>
                  <a:cubicBezTo>
                    <a:pt x="528" y="203"/>
                    <a:pt x="528" y="203"/>
                    <a:pt x="528" y="203"/>
                  </a:cubicBezTo>
                  <a:cubicBezTo>
                    <a:pt x="533" y="207"/>
                    <a:pt x="533" y="207"/>
                    <a:pt x="533" y="207"/>
                  </a:cubicBezTo>
                  <a:cubicBezTo>
                    <a:pt x="543" y="219"/>
                    <a:pt x="543" y="219"/>
                    <a:pt x="543" y="219"/>
                  </a:cubicBezTo>
                  <a:cubicBezTo>
                    <a:pt x="549" y="221"/>
                    <a:pt x="549" y="221"/>
                    <a:pt x="549" y="221"/>
                  </a:cubicBezTo>
                  <a:cubicBezTo>
                    <a:pt x="554" y="225"/>
                    <a:pt x="554" y="225"/>
                    <a:pt x="554" y="225"/>
                  </a:cubicBezTo>
                  <a:cubicBezTo>
                    <a:pt x="570" y="243"/>
                    <a:pt x="570" y="243"/>
                    <a:pt x="570" y="243"/>
                  </a:cubicBezTo>
                  <a:cubicBezTo>
                    <a:pt x="573" y="245"/>
                    <a:pt x="573" y="245"/>
                    <a:pt x="573" y="245"/>
                  </a:cubicBezTo>
                  <a:cubicBezTo>
                    <a:pt x="578" y="251"/>
                    <a:pt x="578" y="251"/>
                    <a:pt x="578" y="251"/>
                  </a:cubicBezTo>
                  <a:cubicBezTo>
                    <a:pt x="584" y="257"/>
                    <a:pt x="584" y="257"/>
                    <a:pt x="584" y="257"/>
                  </a:cubicBezTo>
                  <a:cubicBezTo>
                    <a:pt x="587" y="262"/>
                    <a:pt x="587" y="262"/>
                    <a:pt x="587" y="262"/>
                  </a:cubicBezTo>
                  <a:cubicBezTo>
                    <a:pt x="591" y="274"/>
                    <a:pt x="591" y="274"/>
                    <a:pt x="591" y="274"/>
                  </a:cubicBezTo>
                  <a:cubicBezTo>
                    <a:pt x="591" y="286"/>
                    <a:pt x="591" y="286"/>
                    <a:pt x="591" y="286"/>
                  </a:cubicBezTo>
                  <a:cubicBezTo>
                    <a:pt x="596" y="292"/>
                    <a:pt x="596" y="292"/>
                    <a:pt x="596" y="292"/>
                  </a:cubicBezTo>
                  <a:cubicBezTo>
                    <a:pt x="608" y="296"/>
                    <a:pt x="608" y="296"/>
                    <a:pt x="608" y="296"/>
                  </a:cubicBezTo>
                  <a:cubicBezTo>
                    <a:pt x="620" y="298"/>
                    <a:pt x="620" y="298"/>
                    <a:pt x="620" y="298"/>
                  </a:cubicBezTo>
                  <a:cubicBezTo>
                    <a:pt x="626" y="296"/>
                    <a:pt x="626" y="296"/>
                    <a:pt x="626" y="296"/>
                  </a:cubicBezTo>
                  <a:cubicBezTo>
                    <a:pt x="627" y="290"/>
                    <a:pt x="627" y="290"/>
                    <a:pt x="627" y="290"/>
                  </a:cubicBezTo>
                  <a:cubicBezTo>
                    <a:pt x="631" y="296"/>
                    <a:pt x="631" y="296"/>
                    <a:pt x="631" y="296"/>
                  </a:cubicBezTo>
                  <a:cubicBezTo>
                    <a:pt x="632" y="300"/>
                    <a:pt x="632" y="300"/>
                    <a:pt x="632" y="300"/>
                  </a:cubicBezTo>
                  <a:cubicBezTo>
                    <a:pt x="638" y="298"/>
                    <a:pt x="638" y="298"/>
                    <a:pt x="638" y="298"/>
                  </a:cubicBezTo>
                  <a:cubicBezTo>
                    <a:pt x="644" y="298"/>
                    <a:pt x="644" y="298"/>
                    <a:pt x="644" y="298"/>
                  </a:cubicBezTo>
                  <a:cubicBezTo>
                    <a:pt x="646" y="304"/>
                    <a:pt x="646" y="304"/>
                    <a:pt x="646" y="304"/>
                  </a:cubicBezTo>
                  <a:cubicBezTo>
                    <a:pt x="642" y="314"/>
                    <a:pt x="642" y="314"/>
                    <a:pt x="642" y="314"/>
                  </a:cubicBezTo>
                  <a:cubicBezTo>
                    <a:pt x="642" y="322"/>
                    <a:pt x="642" y="322"/>
                    <a:pt x="642" y="322"/>
                  </a:cubicBezTo>
                  <a:cubicBezTo>
                    <a:pt x="649" y="331"/>
                    <a:pt x="649" y="331"/>
                    <a:pt x="649" y="331"/>
                  </a:cubicBezTo>
                  <a:cubicBezTo>
                    <a:pt x="656" y="334"/>
                    <a:pt x="656" y="334"/>
                    <a:pt x="656" y="334"/>
                  </a:cubicBezTo>
                  <a:cubicBezTo>
                    <a:pt x="661" y="325"/>
                    <a:pt x="661" y="325"/>
                    <a:pt x="661" y="325"/>
                  </a:cubicBezTo>
                  <a:cubicBezTo>
                    <a:pt x="667" y="324"/>
                    <a:pt x="667" y="324"/>
                    <a:pt x="667" y="324"/>
                  </a:cubicBezTo>
                  <a:cubicBezTo>
                    <a:pt x="673" y="329"/>
                    <a:pt x="673" y="329"/>
                    <a:pt x="673" y="329"/>
                  </a:cubicBezTo>
                  <a:cubicBezTo>
                    <a:pt x="679" y="327"/>
                    <a:pt x="679" y="327"/>
                    <a:pt x="679" y="327"/>
                  </a:cubicBezTo>
                  <a:cubicBezTo>
                    <a:pt x="685" y="331"/>
                    <a:pt x="685" y="331"/>
                    <a:pt x="685" y="331"/>
                  </a:cubicBezTo>
                  <a:cubicBezTo>
                    <a:pt x="686" y="337"/>
                    <a:pt x="686" y="337"/>
                    <a:pt x="686" y="337"/>
                  </a:cubicBezTo>
                  <a:cubicBezTo>
                    <a:pt x="686" y="343"/>
                    <a:pt x="686" y="343"/>
                    <a:pt x="686" y="343"/>
                  </a:cubicBezTo>
                  <a:cubicBezTo>
                    <a:pt x="673" y="344"/>
                    <a:pt x="673" y="344"/>
                    <a:pt x="673" y="344"/>
                  </a:cubicBezTo>
                  <a:cubicBezTo>
                    <a:pt x="667" y="342"/>
                    <a:pt x="667" y="342"/>
                    <a:pt x="667" y="342"/>
                  </a:cubicBezTo>
                  <a:cubicBezTo>
                    <a:pt x="661" y="336"/>
                    <a:pt x="661" y="336"/>
                    <a:pt x="661" y="336"/>
                  </a:cubicBezTo>
                  <a:cubicBezTo>
                    <a:pt x="655" y="337"/>
                    <a:pt x="655" y="337"/>
                    <a:pt x="655" y="337"/>
                  </a:cubicBezTo>
                  <a:cubicBezTo>
                    <a:pt x="649" y="339"/>
                    <a:pt x="649" y="339"/>
                    <a:pt x="649" y="339"/>
                  </a:cubicBezTo>
                  <a:cubicBezTo>
                    <a:pt x="643" y="335"/>
                    <a:pt x="643" y="335"/>
                    <a:pt x="643" y="335"/>
                  </a:cubicBezTo>
                  <a:cubicBezTo>
                    <a:pt x="639" y="329"/>
                    <a:pt x="639" y="329"/>
                    <a:pt x="639" y="329"/>
                  </a:cubicBezTo>
                  <a:cubicBezTo>
                    <a:pt x="636" y="323"/>
                    <a:pt x="636" y="323"/>
                    <a:pt x="636" y="323"/>
                  </a:cubicBezTo>
                  <a:cubicBezTo>
                    <a:pt x="638" y="317"/>
                    <a:pt x="638" y="317"/>
                    <a:pt x="638" y="317"/>
                  </a:cubicBezTo>
                  <a:cubicBezTo>
                    <a:pt x="634" y="312"/>
                    <a:pt x="634" y="312"/>
                    <a:pt x="634" y="312"/>
                  </a:cubicBezTo>
                  <a:cubicBezTo>
                    <a:pt x="627" y="306"/>
                    <a:pt x="627" y="306"/>
                    <a:pt x="627" y="306"/>
                  </a:cubicBezTo>
                  <a:cubicBezTo>
                    <a:pt x="621" y="307"/>
                    <a:pt x="621" y="307"/>
                    <a:pt x="621" y="307"/>
                  </a:cubicBezTo>
                  <a:cubicBezTo>
                    <a:pt x="623" y="313"/>
                    <a:pt x="623" y="313"/>
                    <a:pt x="623" y="313"/>
                  </a:cubicBezTo>
                  <a:cubicBezTo>
                    <a:pt x="635" y="325"/>
                    <a:pt x="635" y="325"/>
                    <a:pt x="635" y="325"/>
                  </a:cubicBezTo>
                  <a:cubicBezTo>
                    <a:pt x="639" y="331"/>
                    <a:pt x="639" y="331"/>
                    <a:pt x="639" y="331"/>
                  </a:cubicBezTo>
                  <a:cubicBezTo>
                    <a:pt x="641" y="336"/>
                    <a:pt x="641" y="336"/>
                    <a:pt x="641" y="336"/>
                  </a:cubicBezTo>
                  <a:cubicBezTo>
                    <a:pt x="640" y="348"/>
                    <a:pt x="640" y="348"/>
                    <a:pt x="640" y="348"/>
                  </a:cubicBezTo>
                  <a:cubicBezTo>
                    <a:pt x="645" y="342"/>
                    <a:pt x="645" y="342"/>
                    <a:pt x="645" y="342"/>
                  </a:cubicBezTo>
                  <a:cubicBezTo>
                    <a:pt x="650" y="342"/>
                    <a:pt x="650" y="342"/>
                    <a:pt x="650" y="342"/>
                  </a:cubicBezTo>
                  <a:cubicBezTo>
                    <a:pt x="662" y="348"/>
                    <a:pt x="662" y="348"/>
                    <a:pt x="662" y="348"/>
                  </a:cubicBezTo>
                  <a:cubicBezTo>
                    <a:pt x="665" y="354"/>
                    <a:pt x="665" y="354"/>
                    <a:pt x="665" y="354"/>
                  </a:cubicBezTo>
                  <a:cubicBezTo>
                    <a:pt x="661" y="360"/>
                    <a:pt x="661" y="360"/>
                    <a:pt x="661" y="360"/>
                  </a:cubicBezTo>
                  <a:cubicBezTo>
                    <a:pt x="660" y="354"/>
                    <a:pt x="660" y="354"/>
                    <a:pt x="660" y="354"/>
                  </a:cubicBezTo>
                  <a:cubicBezTo>
                    <a:pt x="654" y="351"/>
                    <a:pt x="654" y="351"/>
                    <a:pt x="654" y="351"/>
                  </a:cubicBezTo>
                  <a:cubicBezTo>
                    <a:pt x="649" y="353"/>
                    <a:pt x="649" y="353"/>
                    <a:pt x="649" y="353"/>
                  </a:cubicBezTo>
                  <a:cubicBezTo>
                    <a:pt x="647" y="358"/>
                    <a:pt x="647" y="358"/>
                    <a:pt x="647" y="358"/>
                  </a:cubicBezTo>
                  <a:cubicBezTo>
                    <a:pt x="643" y="365"/>
                    <a:pt x="643" y="365"/>
                    <a:pt x="643" y="365"/>
                  </a:cubicBezTo>
                  <a:cubicBezTo>
                    <a:pt x="644" y="365"/>
                    <a:pt x="644" y="365"/>
                    <a:pt x="644" y="365"/>
                  </a:cubicBezTo>
                  <a:cubicBezTo>
                    <a:pt x="639" y="370"/>
                    <a:pt x="639" y="370"/>
                    <a:pt x="639" y="370"/>
                  </a:cubicBezTo>
                  <a:cubicBezTo>
                    <a:pt x="635" y="365"/>
                    <a:pt x="635" y="365"/>
                    <a:pt x="635" y="365"/>
                  </a:cubicBezTo>
                  <a:cubicBezTo>
                    <a:pt x="629" y="366"/>
                    <a:pt x="629" y="366"/>
                    <a:pt x="629" y="366"/>
                  </a:cubicBezTo>
                  <a:cubicBezTo>
                    <a:pt x="623" y="365"/>
                    <a:pt x="623" y="365"/>
                    <a:pt x="623" y="365"/>
                  </a:cubicBezTo>
                  <a:cubicBezTo>
                    <a:pt x="617" y="368"/>
                    <a:pt x="617" y="368"/>
                    <a:pt x="617" y="368"/>
                  </a:cubicBezTo>
                  <a:cubicBezTo>
                    <a:pt x="615" y="361"/>
                    <a:pt x="615" y="361"/>
                    <a:pt x="615" y="361"/>
                  </a:cubicBezTo>
                  <a:cubicBezTo>
                    <a:pt x="603" y="364"/>
                    <a:pt x="603" y="364"/>
                    <a:pt x="603" y="364"/>
                  </a:cubicBezTo>
                  <a:cubicBezTo>
                    <a:pt x="598" y="362"/>
                    <a:pt x="598" y="362"/>
                    <a:pt x="598" y="362"/>
                  </a:cubicBezTo>
                  <a:cubicBezTo>
                    <a:pt x="591" y="363"/>
                    <a:pt x="591" y="363"/>
                    <a:pt x="591" y="363"/>
                  </a:cubicBezTo>
                  <a:cubicBezTo>
                    <a:pt x="586" y="359"/>
                    <a:pt x="586" y="359"/>
                    <a:pt x="586" y="359"/>
                  </a:cubicBezTo>
                  <a:cubicBezTo>
                    <a:pt x="583" y="353"/>
                    <a:pt x="583" y="353"/>
                    <a:pt x="583" y="353"/>
                  </a:cubicBezTo>
                  <a:cubicBezTo>
                    <a:pt x="577" y="353"/>
                    <a:pt x="577" y="353"/>
                    <a:pt x="577" y="353"/>
                  </a:cubicBezTo>
                  <a:cubicBezTo>
                    <a:pt x="584" y="351"/>
                    <a:pt x="584" y="351"/>
                    <a:pt x="584" y="351"/>
                  </a:cubicBezTo>
                  <a:cubicBezTo>
                    <a:pt x="586" y="339"/>
                    <a:pt x="586" y="339"/>
                    <a:pt x="586" y="339"/>
                  </a:cubicBezTo>
                  <a:cubicBezTo>
                    <a:pt x="590" y="333"/>
                    <a:pt x="590" y="333"/>
                    <a:pt x="590" y="333"/>
                  </a:cubicBezTo>
                  <a:cubicBezTo>
                    <a:pt x="587" y="327"/>
                    <a:pt x="587" y="327"/>
                    <a:pt x="587" y="327"/>
                  </a:cubicBezTo>
                  <a:cubicBezTo>
                    <a:pt x="592" y="328"/>
                    <a:pt x="592" y="328"/>
                    <a:pt x="592" y="328"/>
                  </a:cubicBezTo>
                  <a:cubicBezTo>
                    <a:pt x="587" y="325"/>
                    <a:pt x="587" y="325"/>
                    <a:pt x="587" y="325"/>
                  </a:cubicBezTo>
                  <a:cubicBezTo>
                    <a:pt x="575" y="325"/>
                    <a:pt x="575" y="325"/>
                    <a:pt x="575" y="325"/>
                  </a:cubicBezTo>
                  <a:cubicBezTo>
                    <a:pt x="569" y="327"/>
                    <a:pt x="569" y="327"/>
                    <a:pt x="569" y="327"/>
                  </a:cubicBezTo>
                  <a:cubicBezTo>
                    <a:pt x="563" y="329"/>
                    <a:pt x="563" y="329"/>
                    <a:pt x="563" y="329"/>
                  </a:cubicBezTo>
                  <a:cubicBezTo>
                    <a:pt x="557" y="334"/>
                    <a:pt x="557" y="334"/>
                    <a:pt x="557" y="334"/>
                  </a:cubicBezTo>
                  <a:cubicBezTo>
                    <a:pt x="555" y="336"/>
                    <a:pt x="555" y="336"/>
                    <a:pt x="555" y="336"/>
                  </a:cubicBezTo>
                  <a:cubicBezTo>
                    <a:pt x="543" y="336"/>
                    <a:pt x="543" y="336"/>
                    <a:pt x="543" y="336"/>
                  </a:cubicBezTo>
                  <a:cubicBezTo>
                    <a:pt x="538" y="339"/>
                    <a:pt x="538" y="339"/>
                    <a:pt x="538" y="339"/>
                  </a:cubicBezTo>
                  <a:cubicBezTo>
                    <a:pt x="532" y="343"/>
                    <a:pt x="532" y="343"/>
                    <a:pt x="532" y="343"/>
                  </a:cubicBezTo>
                  <a:cubicBezTo>
                    <a:pt x="535" y="350"/>
                    <a:pt x="535" y="350"/>
                    <a:pt x="535" y="350"/>
                  </a:cubicBezTo>
                  <a:cubicBezTo>
                    <a:pt x="536" y="355"/>
                    <a:pt x="536" y="355"/>
                    <a:pt x="536" y="355"/>
                  </a:cubicBezTo>
                  <a:cubicBezTo>
                    <a:pt x="530" y="355"/>
                    <a:pt x="530" y="355"/>
                    <a:pt x="530" y="355"/>
                  </a:cubicBezTo>
                  <a:cubicBezTo>
                    <a:pt x="518" y="350"/>
                    <a:pt x="518" y="350"/>
                    <a:pt x="518" y="350"/>
                  </a:cubicBezTo>
                  <a:cubicBezTo>
                    <a:pt x="500" y="361"/>
                    <a:pt x="500" y="361"/>
                    <a:pt x="500" y="361"/>
                  </a:cubicBezTo>
                  <a:cubicBezTo>
                    <a:pt x="498" y="366"/>
                    <a:pt x="498" y="366"/>
                    <a:pt x="498" y="366"/>
                  </a:cubicBezTo>
                  <a:cubicBezTo>
                    <a:pt x="492" y="369"/>
                    <a:pt x="492" y="369"/>
                    <a:pt x="492" y="369"/>
                  </a:cubicBezTo>
                  <a:cubicBezTo>
                    <a:pt x="486" y="367"/>
                    <a:pt x="486" y="367"/>
                    <a:pt x="486" y="367"/>
                  </a:cubicBezTo>
                  <a:cubicBezTo>
                    <a:pt x="480" y="372"/>
                    <a:pt x="480" y="372"/>
                    <a:pt x="480" y="372"/>
                  </a:cubicBezTo>
                  <a:cubicBezTo>
                    <a:pt x="478" y="377"/>
                    <a:pt x="478" y="377"/>
                    <a:pt x="478" y="377"/>
                  </a:cubicBezTo>
                  <a:cubicBezTo>
                    <a:pt x="472" y="379"/>
                    <a:pt x="472" y="379"/>
                    <a:pt x="472" y="379"/>
                  </a:cubicBezTo>
                  <a:cubicBezTo>
                    <a:pt x="466" y="378"/>
                    <a:pt x="466" y="378"/>
                    <a:pt x="466" y="378"/>
                  </a:cubicBezTo>
                  <a:close/>
                  <a:moveTo>
                    <a:pt x="738" y="1067"/>
                  </a:moveTo>
                  <a:cubicBezTo>
                    <a:pt x="737" y="1066"/>
                    <a:pt x="737" y="1066"/>
                    <a:pt x="737" y="1066"/>
                  </a:cubicBezTo>
                  <a:cubicBezTo>
                    <a:pt x="736" y="1073"/>
                    <a:pt x="736" y="1073"/>
                    <a:pt x="736" y="1073"/>
                  </a:cubicBezTo>
                  <a:cubicBezTo>
                    <a:pt x="738" y="1067"/>
                    <a:pt x="738" y="1067"/>
                    <a:pt x="738" y="1067"/>
                  </a:cubicBezTo>
                  <a:close/>
                  <a:moveTo>
                    <a:pt x="665" y="1101"/>
                  </a:moveTo>
                  <a:cubicBezTo>
                    <a:pt x="661" y="1102"/>
                    <a:pt x="661" y="1102"/>
                    <a:pt x="661" y="1102"/>
                  </a:cubicBezTo>
                  <a:cubicBezTo>
                    <a:pt x="659" y="1108"/>
                    <a:pt x="659" y="1108"/>
                    <a:pt x="659" y="1108"/>
                  </a:cubicBezTo>
                  <a:cubicBezTo>
                    <a:pt x="659" y="1114"/>
                    <a:pt x="659" y="1114"/>
                    <a:pt x="659" y="1114"/>
                  </a:cubicBezTo>
                  <a:cubicBezTo>
                    <a:pt x="661" y="1120"/>
                    <a:pt x="661" y="1120"/>
                    <a:pt x="661" y="1120"/>
                  </a:cubicBezTo>
                  <a:cubicBezTo>
                    <a:pt x="672" y="1114"/>
                    <a:pt x="672" y="1114"/>
                    <a:pt x="672" y="1114"/>
                  </a:cubicBezTo>
                  <a:cubicBezTo>
                    <a:pt x="669" y="1108"/>
                    <a:pt x="669" y="1108"/>
                    <a:pt x="669" y="1108"/>
                  </a:cubicBezTo>
                  <a:cubicBezTo>
                    <a:pt x="671" y="1101"/>
                    <a:pt x="671" y="1101"/>
                    <a:pt x="671" y="1101"/>
                  </a:cubicBezTo>
                  <a:cubicBezTo>
                    <a:pt x="665" y="1107"/>
                    <a:pt x="665" y="1107"/>
                    <a:pt x="665" y="1107"/>
                  </a:cubicBezTo>
                  <a:cubicBezTo>
                    <a:pt x="665" y="1101"/>
                    <a:pt x="665" y="1101"/>
                    <a:pt x="665" y="1101"/>
                  </a:cubicBezTo>
                  <a:close/>
                  <a:moveTo>
                    <a:pt x="653" y="876"/>
                  </a:moveTo>
                  <a:cubicBezTo>
                    <a:pt x="655" y="883"/>
                    <a:pt x="655" y="883"/>
                    <a:pt x="655" y="883"/>
                  </a:cubicBezTo>
                  <a:cubicBezTo>
                    <a:pt x="661" y="879"/>
                    <a:pt x="661" y="879"/>
                    <a:pt x="661" y="879"/>
                  </a:cubicBezTo>
                  <a:cubicBezTo>
                    <a:pt x="664" y="874"/>
                    <a:pt x="664" y="874"/>
                    <a:pt x="664" y="874"/>
                  </a:cubicBezTo>
                  <a:cubicBezTo>
                    <a:pt x="665" y="868"/>
                    <a:pt x="665" y="868"/>
                    <a:pt x="665" y="868"/>
                  </a:cubicBezTo>
                  <a:cubicBezTo>
                    <a:pt x="658" y="871"/>
                    <a:pt x="658" y="871"/>
                    <a:pt x="658" y="871"/>
                  </a:cubicBezTo>
                  <a:cubicBezTo>
                    <a:pt x="653" y="876"/>
                    <a:pt x="653" y="876"/>
                    <a:pt x="653" y="876"/>
                  </a:cubicBezTo>
                  <a:close/>
                  <a:moveTo>
                    <a:pt x="624" y="1117"/>
                  </a:moveTo>
                  <a:cubicBezTo>
                    <a:pt x="622" y="1117"/>
                    <a:pt x="622" y="1117"/>
                    <a:pt x="622" y="1117"/>
                  </a:cubicBezTo>
                  <a:cubicBezTo>
                    <a:pt x="624" y="1123"/>
                    <a:pt x="624" y="1123"/>
                    <a:pt x="624" y="1123"/>
                  </a:cubicBezTo>
                  <a:cubicBezTo>
                    <a:pt x="624" y="1117"/>
                    <a:pt x="624" y="1117"/>
                    <a:pt x="624" y="1117"/>
                  </a:cubicBezTo>
                  <a:close/>
                  <a:moveTo>
                    <a:pt x="605" y="1129"/>
                  </a:moveTo>
                  <a:cubicBezTo>
                    <a:pt x="599" y="1129"/>
                    <a:pt x="599" y="1129"/>
                    <a:pt x="599" y="1129"/>
                  </a:cubicBezTo>
                  <a:cubicBezTo>
                    <a:pt x="598" y="1136"/>
                    <a:pt x="598" y="1136"/>
                    <a:pt x="598" y="1136"/>
                  </a:cubicBezTo>
                  <a:cubicBezTo>
                    <a:pt x="603" y="1135"/>
                    <a:pt x="603" y="1135"/>
                    <a:pt x="603" y="1135"/>
                  </a:cubicBezTo>
                  <a:cubicBezTo>
                    <a:pt x="605" y="1129"/>
                    <a:pt x="605" y="1129"/>
                    <a:pt x="605" y="1129"/>
                  </a:cubicBezTo>
                  <a:close/>
                  <a:moveTo>
                    <a:pt x="583" y="1161"/>
                  </a:moveTo>
                  <a:cubicBezTo>
                    <a:pt x="580" y="1160"/>
                    <a:pt x="580" y="1160"/>
                    <a:pt x="580" y="1160"/>
                  </a:cubicBezTo>
                  <a:cubicBezTo>
                    <a:pt x="582" y="1167"/>
                    <a:pt x="582" y="1167"/>
                    <a:pt x="582" y="1167"/>
                  </a:cubicBezTo>
                  <a:cubicBezTo>
                    <a:pt x="588" y="1170"/>
                    <a:pt x="588" y="1170"/>
                    <a:pt x="588" y="1170"/>
                  </a:cubicBezTo>
                  <a:cubicBezTo>
                    <a:pt x="588" y="1163"/>
                    <a:pt x="588" y="1163"/>
                    <a:pt x="588" y="1163"/>
                  </a:cubicBezTo>
                  <a:cubicBezTo>
                    <a:pt x="583" y="1161"/>
                    <a:pt x="583" y="1161"/>
                    <a:pt x="583" y="1161"/>
                  </a:cubicBezTo>
                  <a:close/>
                  <a:moveTo>
                    <a:pt x="498" y="1148"/>
                  </a:moveTo>
                  <a:cubicBezTo>
                    <a:pt x="496" y="1154"/>
                    <a:pt x="496" y="1154"/>
                    <a:pt x="496" y="1154"/>
                  </a:cubicBezTo>
                  <a:cubicBezTo>
                    <a:pt x="498" y="1160"/>
                    <a:pt x="498" y="1160"/>
                    <a:pt x="498" y="1160"/>
                  </a:cubicBezTo>
                  <a:cubicBezTo>
                    <a:pt x="505" y="1163"/>
                    <a:pt x="505" y="1163"/>
                    <a:pt x="505" y="1163"/>
                  </a:cubicBezTo>
                  <a:cubicBezTo>
                    <a:pt x="510" y="1163"/>
                    <a:pt x="510" y="1163"/>
                    <a:pt x="510" y="1163"/>
                  </a:cubicBezTo>
                  <a:cubicBezTo>
                    <a:pt x="517" y="1161"/>
                    <a:pt x="517" y="1161"/>
                    <a:pt x="517" y="1161"/>
                  </a:cubicBezTo>
                  <a:cubicBezTo>
                    <a:pt x="520" y="1155"/>
                    <a:pt x="520" y="1155"/>
                    <a:pt x="520" y="1155"/>
                  </a:cubicBezTo>
                  <a:cubicBezTo>
                    <a:pt x="526" y="1151"/>
                    <a:pt x="526" y="1151"/>
                    <a:pt x="526" y="1151"/>
                  </a:cubicBezTo>
                  <a:cubicBezTo>
                    <a:pt x="532" y="1149"/>
                    <a:pt x="532" y="1149"/>
                    <a:pt x="532" y="1149"/>
                  </a:cubicBezTo>
                  <a:cubicBezTo>
                    <a:pt x="538" y="1149"/>
                    <a:pt x="538" y="1149"/>
                    <a:pt x="538" y="1149"/>
                  </a:cubicBezTo>
                  <a:cubicBezTo>
                    <a:pt x="550" y="1151"/>
                    <a:pt x="550" y="1151"/>
                    <a:pt x="550" y="1151"/>
                  </a:cubicBezTo>
                  <a:cubicBezTo>
                    <a:pt x="556" y="1148"/>
                    <a:pt x="556" y="1148"/>
                    <a:pt x="556" y="1148"/>
                  </a:cubicBezTo>
                  <a:cubicBezTo>
                    <a:pt x="558" y="1142"/>
                    <a:pt x="558" y="1142"/>
                    <a:pt x="558" y="1142"/>
                  </a:cubicBezTo>
                  <a:cubicBezTo>
                    <a:pt x="564" y="1147"/>
                    <a:pt x="564" y="1147"/>
                    <a:pt x="564" y="1147"/>
                  </a:cubicBezTo>
                  <a:cubicBezTo>
                    <a:pt x="569" y="1149"/>
                    <a:pt x="569" y="1149"/>
                    <a:pt x="569" y="1149"/>
                  </a:cubicBezTo>
                  <a:cubicBezTo>
                    <a:pt x="569" y="1143"/>
                    <a:pt x="569" y="1143"/>
                    <a:pt x="569" y="1143"/>
                  </a:cubicBezTo>
                  <a:cubicBezTo>
                    <a:pt x="563" y="1142"/>
                    <a:pt x="563" y="1142"/>
                    <a:pt x="563" y="1142"/>
                  </a:cubicBezTo>
                  <a:cubicBezTo>
                    <a:pt x="558" y="1136"/>
                    <a:pt x="558" y="1136"/>
                    <a:pt x="558" y="1136"/>
                  </a:cubicBezTo>
                  <a:cubicBezTo>
                    <a:pt x="557" y="1130"/>
                    <a:pt x="557" y="1130"/>
                    <a:pt x="557" y="1130"/>
                  </a:cubicBezTo>
                  <a:cubicBezTo>
                    <a:pt x="554" y="1124"/>
                    <a:pt x="554" y="1124"/>
                    <a:pt x="554" y="1124"/>
                  </a:cubicBezTo>
                  <a:cubicBezTo>
                    <a:pt x="548" y="1121"/>
                    <a:pt x="548" y="1121"/>
                    <a:pt x="548" y="1121"/>
                  </a:cubicBezTo>
                  <a:cubicBezTo>
                    <a:pt x="542" y="1121"/>
                    <a:pt x="542" y="1121"/>
                    <a:pt x="542" y="1121"/>
                  </a:cubicBezTo>
                  <a:cubicBezTo>
                    <a:pt x="531" y="1126"/>
                    <a:pt x="531" y="1126"/>
                    <a:pt x="531" y="1126"/>
                  </a:cubicBezTo>
                  <a:cubicBezTo>
                    <a:pt x="524" y="1130"/>
                    <a:pt x="524" y="1130"/>
                    <a:pt x="524" y="1130"/>
                  </a:cubicBezTo>
                  <a:cubicBezTo>
                    <a:pt x="518" y="1127"/>
                    <a:pt x="518" y="1127"/>
                    <a:pt x="518" y="1127"/>
                  </a:cubicBezTo>
                  <a:cubicBezTo>
                    <a:pt x="513" y="1131"/>
                    <a:pt x="513" y="1131"/>
                    <a:pt x="513" y="1131"/>
                  </a:cubicBezTo>
                  <a:cubicBezTo>
                    <a:pt x="507" y="1142"/>
                    <a:pt x="507" y="1142"/>
                    <a:pt x="507" y="1142"/>
                  </a:cubicBezTo>
                  <a:cubicBezTo>
                    <a:pt x="498" y="1148"/>
                    <a:pt x="498" y="1148"/>
                    <a:pt x="498" y="1148"/>
                  </a:cubicBezTo>
                  <a:close/>
                  <a:moveTo>
                    <a:pt x="479" y="1186"/>
                  </a:moveTo>
                  <a:cubicBezTo>
                    <a:pt x="479" y="1182"/>
                    <a:pt x="479" y="1182"/>
                    <a:pt x="479" y="1182"/>
                  </a:cubicBezTo>
                  <a:cubicBezTo>
                    <a:pt x="473" y="1183"/>
                    <a:pt x="473" y="1183"/>
                    <a:pt x="473" y="1183"/>
                  </a:cubicBezTo>
                  <a:cubicBezTo>
                    <a:pt x="479" y="1186"/>
                    <a:pt x="479" y="1186"/>
                    <a:pt x="479" y="1186"/>
                  </a:cubicBezTo>
                  <a:close/>
                  <a:moveTo>
                    <a:pt x="468" y="1180"/>
                  </a:moveTo>
                  <a:cubicBezTo>
                    <a:pt x="469" y="1179"/>
                    <a:pt x="469" y="1179"/>
                    <a:pt x="469" y="1179"/>
                  </a:cubicBezTo>
                  <a:cubicBezTo>
                    <a:pt x="473" y="1174"/>
                    <a:pt x="473" y="1174"/>
                    <a:pt x="473" y="1174"/>
                  </a:cubicBezTo>
                  <a:cubicBezTo>
                    <a:pt x="467" y="1168"/>
                    <a:pt x="467" y="1168"/>
                    <a:pt x="467" y="1168"/>
                  </a:cubicBezTo>
                  <a:cubicBezTo>
                    <a:pt x="466" y="1174"/>
                    <a:pt x="466" y="1174"/>
                    <a:pt x="466" y="1174"/>
                  </a:cubicBezTo>
                  <a:cubicBezTo>
                    <a:pt x="468" y="1180"/>
                    <a:pt x="468" y="1180"/>
                    <a:pt x="468" y="1180"/>
                  </a:cubicBezTo>
                  <a:close/>
                  <a:moveTo>
                    <a:pt x="455" y="1184"/>
                  </a:moveTo>
                  <a:cubicBezTo>
                    <a:pt x="464" y="1178"/>
                    <a:pt x="464" y="1178"/>
                    <a:pt x="464" y="1178"/>
                  </a:cubicBezTo>
                  <a:cubicBezTo>
                    <a:pt x="458" y="1175"/>
                    <a:pt x="458" y="1175"/>
                    <a:pt x="458" y="1175"/>
                  </a:cubicBezTo>
                  <a:cubicBezTo>
                    <a:pt x="452" y="1171"/>
                    <a:pt x="452" y="1171"/>
                    <a:pt x="452" y="1171"/>
                  </a:cubicBezTo>
                  <a:cubicBezTo>
                    <a:pt x="447" y="1177"/>
                    <a:pt x="447" y="1177"/>
                    <a:pt x="447" y="1177"/>
                  </a:cubicBezTo>
                  <a:cubicBezTo>
                    <a:pt x="449" y="1183"/>
                    <a:pt x="449" y="1183"/>
                    <a:pt x="449" y="1183"/>
                  </a:cubicBezTo>
                  <a:cubicBezTo>
                    <a:pt x="455" y="1184"/>
                    <a:pt x="455" y="1184"/>
                    <a:pt x="455" y="1184"/>
                  </a:cubicBezTo>
                  <a:close/>
                  <a:moveTo>
                    <a:pt x="454" y="771"/>
                  </a:moveTo>
                  <a:cubicBezTo>
                    <a:pt x="454" y="772"/>
                    <a:pt x="454" y="772"/>
                    <a:pt x="454" y="772"/>
                  </a:cubicBezTo>
                  <a:cubicBezTo>
                    <a:pt x="465" y="782"/>
                    <a:pt x="465" y="782"/>
                    <a:pt x="465" y="782"/>
                  </a:cubicBezTo>
                  <a:cubicBezTo>
                    <a:pt x="471" y="783"/>
                    <a:pt x="471" y="783"/>
                    <a:pt x="471" y="783"/>
                  </a:cubicBezTo>
                  <a:cubicBezTo>
                    <a:pt x="483" y="791"/>
                    <a:pt x="483" y="791"/>
                    <a:pt x="483" y="791"/>
                  </a:cubicBezTo>
                  <a:cubicBezTo>
                    <a:pt x="478" y="785"/>
                    <a:pt x="478" y="785"/>
                    <a:pt x="478" y="785"/>
                  </a:cubicBezTo>
                  <a:cubicBezTo>
                    <a:pt x="484" y="785"/>
                    <a:pt x="484" y="785"/>
                    <a:pt x="484" y="785"/>
                  </a:cubicBezTo>
                  <a:cubicBezTo>
                    <a:pt x="496" y="781"/>
                    <a:pt x="496" y="781"/>
                    <a:pt x="496" y="781"/>
                  </a:cubicBezTo>
                  <a:cubicBezTo>
                    <a:pt x="502" y="782"/>
                    <a:pt x="502" y="782"/>
                    <a:pt x="502" y="782"/>
                  </a:cubicBezTo>
                  <a:cubicBezTo>
                    <a:pt x="499" y="773"/>
                    <a:pt x="499" y="773"/>
                    <a:pt x="499" y="773"/>
                  </a:cubicBezTo>
                  <a:cubicBezTo>
                    <a:pt x="500" y="755"/>
                    <a:pt x="500" y="755"/>
                    <a:pt x="500" y="755"/>
                  </a:cubicBezTo>
                  <a:cubicBezTo>
                    <a:pt x="494" y="752"/>
                    <a:pt x="494" y="752"/>
                    <a:pt x="494" y="752"/>
                  </a:cubicBezTo>
                  <a:cubicBezTo>
                    <a:pt x="488" y="752"/>
                    <a:pt x="488" y="752"/>
                    <a:pt x="488" y="752"/>
                  </a:cubicBezTo>
                  <a:cubicBezTo>
                    <a:pt x="482" y="748"/>
                    <a:pt x="482" y="748"/>
                    <a:pt x="482" y="748"/>
                  </a:cubicBezTo>
                  <a:cubicBezTo>
                    <a:pt x="476" y="748"/>
                    <a:pt x="476" y="748"/>
                    <a:pt x="476" y="748"/>
                  </a:cubicBezTo>
                  <a:cubicBezTo>
                    <a:pt x="470" y="752"/>
                    <a:pt x="470" y="752"/>
                    <a:pt x="470" y="752"/>
                  </a:cubicBezTo>
                  <a:cubicBezTo>
                    <a:pt x="464" y="752"/>
                    <a:pt x="464" y="752"/>
                    <a:pt x="464" y="752"/>
                  </a:cubicBezTo>
                  <a:cubicBezTo>
                    <a:pt x="460" y="757"/>
                    <a:pt x="460" y="757"/>
                    <a:pt x="460" y="757"/>
                  </a:cubicBezTo>
                  <a:cubicBezTo>
                    <a:pt x="448" y="755"/>
                    <a:pt x="448" y="755"/>
                    <a:pt x="448" y="755"/>
                  </a:cubicBezTo>
                  <a:cubicBezTo>
                    <a:pt x="442" y="759"/>
                    <a:pt x="442" y="759"/>
                    <a:pt x="442" y="759"/>
                  </a:cubicBezTo>
                  <a:cubicBezTo>
                    <a:pt x="449" y="771"/>
                    <a:pt x="449" y="771"/>
                    <a:pt x="449" y="771"/>
                  </a:cubicBezTo>
                  <a:cubicBezTo>
                    <a:pt x="454" y="771"/>
                    <a:pt x="454" y="771"/>
                    <a:pt x="454" y="771"/>
                  </a:cubicBezTo>
                  <a:close/>
                  <a:moveTo>
                    <a:pt x="440" y="1205"/>
                  </a:moveTo>
                  <a:cubicBezTo>
                    <a:pt x="442" y="1202"/>
                    <a:pt x="442" y="1202"/>
                    <a:pt x="442" y="1202"/>
                  </a:cubicBezTo>
                  <a:cubicBezTo>
                    <a:pt x="443" y="1196"/>
                    <a:pt x="443" y="1196"/>
                    <a:pt x="443" y="1196"/>
                  </a:cubicBezTo>
                  <a:cubicBezTo>
                    <a:pt x="437" y="1199"/>
                    <a:pt x="437" y="1199"/>
                    <a:pt x="437" y="1199"/>
                  </a:cubicBezTo>
                  <a:cubicBezTo>
                    <a:pt x="440" y="1205"/>
                    <a:pt x="440" y="1205"/>
                    <a:pt x="440" y="1205"/>
                  </a:cubicBezTo>
                  <a:close/>
                  <a:moveTo>
                    <a:pt x="360" y="520"/>
                  </a:moveTo>
                  <a:cubicBezTo>
                    <a:pt x="356" y="519"/>
                    <a:pt x="356" y="519"/>
                    <a:pt x="356" y="519"/>
                  </a:cubicBezTo>
                  <a:cubicBezTo>
                    <a:pt x="362" y="518"/>
                    <a:pt x="362" y="518"/>
                    <a:pt x="362" y="518"/>
                  </a:cubicBezTo>
                  <a:cubicBezTo>
                    <a:pt x="374" y="528"/>
                    <a:pt x="374" y="528"/>
                    <a:pt x="374" y="528"/>
                  </a:cubicBezTo>
                  <a:cubicBezTo>
                    <a:pt x="379" y="534"/>
                    <a:pt x="379" y="534"/>
                    <a:pt x="379" y="534"/>
                  </a:cubicBezTo>
                  <a:cubicBezTo>
                    <a:pt x="379" y="540"/>
                    <a:pt x="379" y="540"/>
                    <a:pt x="379" y="540"/>
                  </a:cubicBezTo>
                  <a:cubicBezTo>
                    <a:pt x="385" y="543"/>
                    <a:pt x="385" y="543"/>
                    <a:pt x="385" y="543"/>
                  </a:cubicBezTo>
                  <a:cubicBezTo>
                    <a:pt x="391" y="552"/>
                    <a:pt x="391" y="552"/>
                    <a:pt x="391" y="552"/>
                  </a:cubicBezTo>
                  <a:cubicBezTo>
                    <a:pt x="390" y="546"/>
                    <a:pt x="390" y="546"/>
                    <a:pt x="390" y="546"/>
                  </a:cubicBezTo>
                  <a:cubicBezTo>
                    <a:pt x="393" y="552"/>
                    <a:pt x="393" y="552"/>
                    <a:pt x="393" y="552"/>
                  </a:cubicBezTo>
                  <a:cubicBezTo>
                    <a:pt x="391" y="557"/>
                    <a:pt x="391" y="557"/>
                    <a:pt x="391" y="557"/>
                  </a:cubicBezTo>
                  <a:cubicBezTo>
                    <a:pt x="396" y="555"/>
                    <a:pt x="396" y="555"/>
                    <a:pt x="396" y="555"/>
                  </a:cubicBezTo>
                  <a:cubicBezTo>
                    <a:pt x="400" y="549"/>
                    <a:pt x="400" y="549"/>
                    <a:pt x="400" y="549"/>
                  </a:cubicBezTo>
                  <a:cubicBezTo>
                    <a:pt x="406" y="545"/>
                    <a:pt x="406" y="545"/>
                    <a:pt x="406" y="545"/>
                  </a:cubicBezTo>
                  <a:cubicBezTo>
                    <a:pt x="413" y="545"/>
                    <a:pt x="413" y="545"/>
                    <a:pt x="413" y="545"/>
                  </a:cubicBezTo>
                  <a:cubicBezTo>
                    <a:pt x="418" y="548"/>
                    <a:pt x="418" y="548"/>
                    <a:pt x="418" y="548"/>
                  </a:cubicBezTo>
                  <a:cubicBezTo>
                    <a:pt x="425" y="544"/>
                    <a:pt x="425" y="544"/>
                    <a:pt x="425" y="544"/>
                  </a:cubicBezTo>
                  <a:cubicBezTo>
                    <a:pt x="425" y="538"/>
                    <a:pt x="425" y="538"/>
                    <a:pt x="425" y="538"/>
                  </a:cubicBezTo>
                  <a:cubicBezTo>
                    <a:pt x="419" y="535"/>
                    <a:pt x="419" y="535"/>
                    <a:pt x="419" y="535"/>
                  </a:cubicBezTo>
                  <a:cubicBezTo>
                    <a:pt x="413" y="537"/>
                    <a:pt x="413" y="537"/>
                    <a:pt x="413" y="537"/>
                  </a:cubicBezTo>
                  <a:cubicBezTo>
                    <a:pt x="400" y="527"/>
                    <a:pt x="400" y="527"/>
                    <a:pt x="400" y="527"/>
                  </a:cubicBezTo>
                  <a:cubicBezTo>
                    <a:pt x="388" y="520"/>
                    <a:pt x="388" y="520"/>
                    <a:pt x="388" y="520"/>
                  </a:cubicBezTo>
                  <a:cubicBezTo>
                    <a:pt x="388" y="516"/>
                    <a:pt x="388" y="516"/>
                    <a:pt x="388" y="516"/>
                  </a:cubicBezTo>
                  <a:cubicBezTo>
                    <a:pt x="385" y="510"/>
                    <a:pt x="385" y="510"/>
                    <a:pt x="385" y="510"/>
                  </a:cubicBezTo>
                  <a:cubicBezTo>
                    <a:pt x="380" y="505"/>
                    <a:pt x="380" y="505"/>
                    <a:pt x="380" y="505"/>
                  </a:cubicBezTo>
                  <a:cubicBezTo>
                    <a:pt x="368" y="506"/>
                    <a:pt x="368" y="506"/>
                    <a:pt x="368" y="506"/>
                  </a:cubicBezTo>
                  <a:cubicBezTo>
                    <a:pt x="362" y="510"/>
                    <a:pt x="362" y="510"/>
                    <a:pt x="362" y="510"/>
                  </a:cubicBezTo>
                  <a:cubicBezTo>
                    <a:pt x="357" y="507"/>
                    <a:pt x="357" y="507"/>
                    <a:pt x="357" y="507"/>
                  </a:cubicBezTo>
                  <a:cubicBezTo>
                    <a:pt x="350" y="505"/>
                    <a:pt x="350" y="505"/>
                    <a:pt x="350" y="505"/>
                  </a:cubicBezTo>
                  <a:cubicBezTo>
                    <a:pt x="339" y="497"/>
                    <a:pt x="339" y="497"/>
                    <a:pt x="339" y="497"/>
                  </a:cubicBezTo>
                  <a:cubicBezTo>
                    <a:pt x="333" y="509"/>
                    <a:pt x="333" y="509"/>
                    <a:pt x="333" y="509"/>
                  </a:cubicBezTo>
                  <a:cubicBezTo>
                    <a:pt x="333" y="514"/>
                    <a:pt x="333" y="514"/>
                    <a:pt x="333" y="514"/>
                  </a:cubicBezTo>
                  <a:cubicBezTo>
                    <a:pt x="337" y="521"/>
                    <a:pt x="337" y="521"/>
                    <a:pt x="337" y="521"/>
                  </a:cubicBezTo>
                  <a:cubicBezTo>
                    <a:pt x="343" y="525"/>
                    <a:pt x="343" y="525"/>
                    <a:pt x="343" y="525"/>
                  </a:cubicBezTo>
                  <a:cubicBezTo>
                    <a:pt x="354" y="519"/>
                    <a:pt x="354" y="519"/>
                    <a:pt x="354" y="519"/>
                  </a:cubicBezTo>
                  <a:cubicBezTo>
                    <a:pt x="360" y="520"/>
                    <a:pt x="360" y="520"/>
                    <a:pt x="360" y="520"/>
                  </a:cubicBezTo>
                  <a:cubicBezTo>
                    <a:pt x="366" y="524"/>
                    <a:pt x="366" y="524"/>
                    <a:pt x="366" y="524"/>
                  </a:cubicBezTo>
                  <a:cubicBezTo>
                    <a:pt x="374" y="530"/>
                    <a:pt x="374" y="530"/>
                    <a:pt x="374" y="530"/>
                  </a:cubicBezTo>
                  <a:cubicBezTo>
                    <a:pt x="368" y="525"/>
                    <a:pt x="368" y="525"/>
                    <a:pt x="368" y="525"/>
                  </a:cubicBezTo>
                  <a:cubicBezTo>
                    <a:pt x="366" y="524"/>
                    <a:pt x="366" y="524"/>
                    <a:pt x="366" y="524"/>
                  </a:cubicBezTo>
                  <a:cubicBezTo>
                    <a:pt x="362" y="521"/>
                    <a:pt x="362" y="521"/>
                    <a:pt x="362" y="521"/>
                  </a:cubicBezTo>
                  <a:cubicBezTo>
                    <a:pt x="360" y="520"/>
                    <a:pt x="360" y="520"/>
                    <a:pt x="360" y="520"/>
                  </a:cubicBezTo>
                  <a:close/>
                  <a:moveTo>
                    <a:pt x="378" y="1229"/>
                  </a:moveTo>
                  <a:cubicBezTo>
                    <a:pt x="393" y="1225"/>
                    <a:pt x="393" y="1225"/>
                    <a:pt x="393" y="1225"/>
                  </a:cubicBezTo>
                  <a:cubicBezTo>
                    <a:pt x="405" y="1220"/>
                    <a:pt x="405" y="1220"/>
                    <a:pt x="405" y="1220"/>
                  </a:cubicBezTo>
                  <a:cubicBezTo>
                    <a:pt x="411" y="1218"/>
                    <a:pt x="411" y="1218"/>
                    <a:pt x="411" y="1218"/>
                  </a:cubicBezTo>
                  <a:cubicBezTo>
                    <a:pt x="417" y="1218"/>
                    <a:pt x="417" y="1218"/>
                    <a:pt x="417" y="1218"/>
                  </a:cubicBezTo>
                  <a:cubicBezTo>
                    <a:pt x="416" y="1212"/>
                    <a:pt x="416" y="1212"/>
                    <a:pt x="416" y="1212"/>
                  </a:cubicBezTo>
                  <a:cubicBezTo>
                    <a:pt x="422" y="1216"/>
                    <a:pt x="422" y="1216"/>
                    <a:pt x="422" y="1216"/>
                  </a:cubicBezTo>
                  <a:cubicBezTo>
                    <a:pt x="425" y="1210"/>
                    <a:pt x="425" y="1210"/>
                    <a:pt x="425" y="1210"/>
                  </a:cubicBezTo>
                  <a:cubicBezTo>
                    <a:pt x="431" y="1207"/>
                    <a:pt x="431" y="1207"/>
                    <a:pt x="431" y="1207"/>
                  </a:cubicBezTo>
                  <a:cubicBezTo>
                    <a:pt x="437" y="1207"/>
                    <a:pt x="437" y="1207"/>
                    <a:pt x="437" y="1207"/>
                  </a:cubicBezTo>
                  <a:cubicBezTo>
                    <a:pt x="432" y="1201"/>
                    <a:pt x="432" y="1201"/>
                    <a:pt x="432" y="1201"/>
                  </a:cubicBezTo>
                  <a:cubicBezTo>
                    <a:pt x="427" y="1205"/>
                    <a:pt x="427" y="1205"/>
                    <a:pt x="427" y="1205"/>
                  </a:cubicBezTo>
                  <a:cubicBezTo>
                    <a:pt x="428" y="1199"/>
                    <a:pt x="428" y="1199"/>
                    <a:pt x="428" y="1199"/>
                  </a:cubicBezTo>
                  <a:cubicBezTo>
                    <a:pt x="433" y="1196"/>
                    <a:pt x="433" y="1196"/>
                    <a:pt x="433" y="1196"/>
                  </a:cubicBezTo>
                  <a:cubicBezTo>
                    <a:pt x="439" y="1190"/>
                    <a:pt x="439" y="1190"/>
                    <a:pt x="439" y="1190"/>
                  </a:cubicBezTo>
                  <a:cubicBezTo>
                    <a:pt x="435" y="1185"/>
                    <a:pt x="435" y="1185"/>
                    <a:pt x="435" y="1185"/>
                  </a:cubicBezTo>
                  <a:cubicBezTo>
                    <a:pt x="431" y="1190"/>
                    <a:pt x="431" y="1190"/>
                    <a:pt x="431" y="1190"/>
                  </a:cubicBezTo>
                  <a:cubicBezTo>
                    <a:pt x="425" y="1190"/>
                    <a:pt x="425" y="1190"/>
                    <a:pt x="425" y="1190"/>
                  </a:cubicBezTo>
                  <a:cubicBezTo>
                    <a:pt x="426" y="1184"/>
                    <a:pt x="426" y="1184"/>
                    <a:pt x="426" y="1184"/>
                  </a:cubicBezTo>
                  <a:cubicBezTo>
                    <a:pt x="420" y="1182"/>
                    <a:pt x="420" y="1182"/>
                    <a:pt x="420" y="1182"/>
                  </a:cubicBezTo>
                  <a:cubicBezTo>
                    <a:pt x="414" y="1184"/>
                    <a:pt x="414" y="1184"/>
                    <a:pt x="414" y="1184"/>
                  </a:cubicBezTo>
                  <a:cubicBezTo>
                    <a:pt x="408" y="1186"/>
                    <a:pt x="408" y="1186"/>
                    <a:pt x="408" y="1186"/>
                  </a:cubicBezTo>
                  <a:cubicBezTo>
                    <a:pt x="403" y="1192"/>
                    <a:pt x="403" y="1192"/>
                    <a:pt x="403" y="1192"/>
                  </a:cubicBezTo>
                  <a:cubicBezTo>
                    <a:pt x="407" y="1198"/>
                    <a:pt x="407" y="1198"/>
                    <a:pt x="407" y="1198"/>
                  </a:cubicBezTo>
                  <a:cubicBezTo>
                    <a:pt x="413" y="1199"/>
                    <a:pt x="413" y="1199"/>
                    <a:pt x="413" y="1199"/>
                  </a:cubicBezTo>
                  <a:cubicBezTo>
                    <a:pt x="418" y="1203"/>
                    <a:pt x="418" y="1203"/>
                    <a:pt x="418" y="1203"/>
                  </a:cubicBezTo>
                  <a:cubicBezTo>
                    <a:pt x="407" y="1202"/>
                    <a:pt x="407" y="1202"/>
                    <a:pt x="407" y="1202"/>
                  </a:cubicBezTo>
                  <a:cubicBezTo>
                    <a:pt x="407" y="1208"/>
                    <a:pt x="407" y="1208"/>
                    <a:pt x="407" y="1208"/>
                  </a:cubicBezTo>
                  <a:cubicBezTo>
                    <a:pt x="402" y="1212"/>
                    <a:pt x="402" y="1212"/>
                    <a:pt x="402" y="1212"/>
                  </a:cubicBezTo>
                  <a:cubicBezTo>
                    <a:pt x="407" y="1214"/>
                    <a:pt x="407" y="1214"/>
                    <a:pt x="407" y="1214"/>
                  </a:cubicBezTo>
                  <a:cubicBezTo>
                    <a:pt x="402" y="1215"/>
                    <a:pt x="402" y="1215"/>
                    <a:pt x="402" y="1215"/>
                  </a:cubicBezTo>
                  <a:cubicBezTo>
                    <a:pt x="389" y="1220"/>
                    <a:pt x="389" y="1220"/>
                    <a:pt x="389" y="1220"/>
                  </a:cubicBezTo>
                  <a:cubicBezTo>
                    <a:pt x="384" y="1221"/>
                    <a:pt x="384" y="1221"/>
                    <a:pt x="384" y="1221"/>
                  </a:cubicBezTo>
                  <a:cubicBezTo>
                    <a:pt x="378" y="1221"/>
                    <a:pt x="378" y="1221"/>
                    <a:pt x="378" y="1221"/>
                  </a:cubicBezTo>
                  <a:cubicBezTo>
                    <a:pt x="372" y="1226"/>
                    <a:pt x="372" y="1226"/>
                    <a:pt x="372" y="1226"/>
                  </a:cubicBezTo>
                  <a:cubicBezTo>
                    <a:pt x="378" y="1229"/>
                    <a:pt x="378" y="1229"/>
                    <a:pt x="378" y="1229"/>
                  </a:cubicBezTo>
                  <a:close/>
                  <a:moveTo>
                    <a:pt x="374" y="1212"/>
                  </a:moveTo>
                  <a:cubicBezTo>
                    <a:pt x="372" y="1219"/>
                    <a:pt x="372" y="1219"/>
                    <a:pt x="372" y="1219"/>
                  </a:cubicBezTo>
                  <a:cubicBezTo>
                    <a:pt x="359" y="1226"/>
                    <a:pt x="359" y="1226"/>
                    <a:pt x="359" y="1226"/>
                  </a:cubicBezTo>
                  <a:cubicBezTo>
                    <a:pt x="354" y="1227"/>
                    <a:pt x="354" y="1227"/>
                    <a:pt x="354" y="1227"/>
                  </a:cubicBezTo>
                  <a:cubicBezTo>
                    <a:pt x="349" y="1233"/>
                    <a:pt x="349" y="1233"/>
                    <a:pt x="349" y="1233"/>
                  </a:cubicBezTo>
                  <a:cubicBezTo>
                    <a:pt x="343" y="1239"/>
                    <a:pt x="343" y="1239"/>
                    <a:pt x="343" y="1239"/>
                  </a:cubicBezTo>
                  <a:cubicBezTo>
                    <a:pt x="337" y="1241"/>
                    <a:pt x="337" y="1241"/>
                    <a:pt x="337" y="1241"/>
                  </a:cubicBezTo>
                  <a:cubicBezTo>
                    <a:pt x="332" y="1245"/>
                    <a:pt x="332" y="1245"/>
                    <a:pt x="332" y="1245"/>
                  </a:cubicBezTo>
                  <a:cubicBezTo>
                    <a:pt x="320" y="1249"/>
                    <a:pt x="320" y="1249"/>
                    <a:pt x="320" y="1249"/>
                  </a:cubicBezTo>
                  <a:cubicBezTo>
                    <a:pt x="325" y="1244"/>
                    <a:pt x="325" y="1244"/>
                    <a:pt x="325" y="1244"/>
                  </a:cubicBezTo>
                  <a:cubicBezTo>
                    <a:pt x="330" y="1238"/>
                    <a:pt x="330" y="1238"/>
                    <a:pt x="330" y="1238"/>
                  </a:cubicBezTo>
                  <a:cubicBezTo>
                    <a:pt x="331" y="1232"/>
                    <a:pt x="331" y="1232"/>
                    <a:pt x="331" y="1232"/>
                  </a:cubicBezTo>
                  <a:cubicBezTo>
                    <a:pt x="336" y="1226"/>
                    <a:pt x="336" y="1226"/>
                    <a:pt x="336" y="1226"/>
                  </a:cubicBezTo>
                  <a:cubicBezTo>
                    <a:pt x="348" y="1226"/>
                    <a:pt x="348" y="1226"/>
                    <a:pt x="348" y="1226"/>
                  </a:cubicBezTo>
                  <a:cubicBezTo>
                    <a:pt x="348" y="1220"/>
                    <a:pt x="348" y="1220"/>
                    <a:pt x="348" y="1220"/>
                  </a:cubicBezTo>
                  <a:cubicBezTo>
                    <a:pt x="350" y="1214"/>
                    <a:pt x="350" y="1214"/>
                    <a:pt x="350" y="1214"/>
                  </a:cubicBezTo>
                  <a:cubicBezTo>
                    <a:pt x="355" y="1210"/>
                    <a:pt x="355" y="1210"/>
                    <a:pt x="355" y="1210"/>
                  </a:cubicBezTo>
                  <a:cubicBezTo>
                    <a:pt x="362" y="1207"/>
                    <a:pt x="362" y="1207"/>
                    <a:pt x="362" y="1207"/>
                  </a:cubicBezTo>
                  <a:cubicBezTo>
                    <a:pt x="368" y="1208"/>
                    <a:pt x="368" y="1208"/>
                    <a:pt x="368" y="1208"/>
                  </a:cubicBezTo>
                  <a:cubicBezTo>
                    <a:pt x="373" y="1211"/>
                    <a:pt x="373" y="1211"/>
                    <a:pt x="373" y="1211"/>
                  </a:cubicBezTo>
                  <a:cubicBezTo>
                    <a:pt x="374" y="1212"/>
                    <a:pt x="374" y="1212"/>
                    <a:pt x="374" y="1212"/>
                  </a:cubicBezTo>
                  <a:close/>
                  <a:moveTo>
                    <a:pt x="167" y="1267"/>
                  </a:moveTo>
                  <a:cubicBezTo>
                    <a:pt x="166" y="1261"/>
                    <a:pt x="166" y="1261"/>
                    <a:pt x="166" y="1261"/>
                  </a:cubicBezTo>
                  <a:cubicBezTo>
                    <a:pt x="172" y="1258"/>
                    <a:pt x="172" y="1258"/>
                    <a:pt x="172" y="1258"/>
                  </a:cubicBezTo>
                  <a:cubicBezTo>
                    <a:pt x="178" y="1262"/>
                    <a:pt x="178" y="1262"/>
                    <a:pt x="178" y="1262"/>
                  </a:cubicBezTo>
                  <a:cubicBezTo>
                    <a:pt x="172" y="1266"/>
                    <a:pt x="172" y="1266"/>
                    <a:pt x="172" y="1266"/>
                  </a:cubicBezTo>
                  <a:cubicBezTo>
                    <a:pt x="167" y="1267"/>
                    <a:pt x="167" y="1267"/>
                    <a:pt x="167" y="1267"/>
                  </a:cubicBezTo>
                  <a:close/>
                  <a:moveTo>
                    <a:pt x="124" y="1274"/>
                  </a:moveTo>
                  <a:cubicBezTo>
                    <a:pt x="118" y="1270"/>
                    <a:pt x="118" y="1270"/>
                    <a:pt x="118" y="1270"/>
                  </a:cubicBezTo>
                  <a:cubicBezTo>
                    <a:pt x="112" y="1270"/>
                    <a:pt x="112" y="1270"/>
                    <a:pt x="112" y="1270"/>
                  </a:cubicBezTo>
                  <a:cubicBezTo>
                    <a:pt x="106" y="1266"/>
                    <a:pt x="106" y="1266"/>
                    <a:pt x="106" y="1266"/>
                  </a:cubicBezTo>
                  <a:cubicBezTo>
                    <a:pt x="112" y="1266"/>
                    <a:pt x="112" y="1266"/>
                    <a:pt x="112" y="1266"/>
                  </a:cubicBezTo>
                  <a:cubicBezTo>
                    <a:pt x="118" y="1265"/>
                    <a:pt x="118" y="1265"/>
                    <a:pt x="118" y="1265"/>
                  </a:cubicBezTo>
                  <a:cubicBezTo>
                    <a:pt x="123" y="1265"/>
                    <a:pt x="123" y="1265"/>
                    <a:pt x="123" y="1265"/>
                  </a:cubicBezTo>
                  <a:cubicBezTo>
                    <a:pt x="129" y="1270"/>
                    <a:pt x="129" y="1270"/>
                    <a:pt x="129" y="1270"/>
                  </a:cubicBezTo>
                  <a:cubicBezTo>
                    <a:pt x="135" y="1270"/>
                    <a:pt x="135" y="1270"/>
                    <a:pt x="135" y="1270"/>
                  </a:cubicBezTo>
                  <a:cubicBezTo>
                    <a:pt x="147" y="1274"/>
                    <a:pt x="147" y="1274"/>
                    <a:pt x="147" y="1274"/>
                  </a:cubicBezTo>
                  <a:cubicBezTo>
                    <a:pt x="141" y="1274"/>
                    <a:pt x="141" y="1274"/>
                    <a:pt x="141" y="1274"/>
                  </a:cubicBezTo>
                  <a:cubicBezTo>
                    <a:pt x="136" y="1273"/>
                    <a:pt x="136" y="1273"/>
                    <a:pt x="136" y="1273"/>
                  </a:cubicBezTo>
                  <a:cubicBezTo>
                    <a:pt x="129" y="1274"/>
                    <a:pt x="129" y="1274"/>
                    <a:pt x="129" y="1274"/>
                  </a:cubicBezTo>
                  <a:cubicBezTo>
                    <a:pt x="124" y="1274"/>
                    <a:pt x="124" y="1274"/>
                    <a:pt x="124" y="1274"/>
                  </a:cubicBezTo>
                  <a:close/>
                  <a:moveTo>
                    <a:pt x="82" y="1257"/>
                  </a:moveTo>
                  <a:cubicBezTo>
                    <a:pt x="88" y="1256"/>
                    <a:pt x="88" y="1256"/>
                    <a:pt x="88" y="1256"/>
                  </a:cubicBezTo>
                  <a:cubicBezTo>
                    <a:pt x="94" y="1254"/>
                    <a:pt x="94" y="1254"/>
                    <a:pt x="94" y="1254"/>
                  </a:cubicBezTo>
                  <a:cubicBezTo>
                    <a:pt x="94" y="1248"/>
                    <a:pt x="94" y="1248"/>
                    <a:pt x="94" y="1248"/>
                  </a:cubicBezTo>
                  <a:cubicBezTo>
                    <a:pt x="100" y="1243"/>
                    <a:pt x="100" y="1243"/>
                    <a:pt x="100" y="1243"/>
                  </a:cubicBezTo>
                  <a:cubicBezTo>
                    <a:pt x="106" y="1246"/>
                    <a:pt x="106" y="1246"/>
                    <a:pt x="106" y="1246"/>
                  </a:cubicBezTo>
                  <a:cubicBezTo>
                    <a:pt x="107" y="1252"/>
                    <a:pt x="107" y="1252"/>
                    <a:pt x="107" y="1252"/>
                  </a:cubicBezTo>
                  <a:cubicBezTo>
                    <a:pt x="101" y="1255"/>
                    <a:pt x="101" y="1255"/>
                    <a:pt x="101" y="1255"/>
                  </a:cubicBezTo>
                  <a:cubicBezTo>
                    <a:pt x="101" y="1261"/>
                    <a:pt x="101" y="1261"/>
                    <a:pt x="101" y="1261"/>
                  </a:cubicBezTo>
                  <a:cubicBezTo>
                    <a:pt x="95" y="1263"/>
                    <a:pt x="95" y="1263"/>
                    <a:pt x="95" y="1263"/>
                  </a:cubicBezTo>
                  <a:cubicBezTo>
                    <a:pt x="89" y="1260"/>
                    <a:pt x="89" y="1260"/>
                    <a:pt x="89" y="1260"/>
                  </a:cubicBezTo>
                  <a:cubicBezTo>
                    <a:pt x="83" y="1261"/>
                    <a:pt x="83" y="1261"/>
                    <a:pt x="83" y="1261"/>
                  </a:cubicBezTo>
                  <a:cubicBezTo>
                    <a:pt x="77" y="1264"/>
                    <a:pt x="77" y="1264"/>
                    <a:pt x="77" y="1264"/>
                  </a:cubicBezTo>
                  <a:cubicBezTo>
                    <a:pt x="66" y="1260"/>
                    <a:pt x="66" y="1260"/>
                    <a:pt x="66" y="1260"/>
                  </a:cubicBezTo>
                  <a:cubicBezTo>
                    <a:pt x="59" y="1261"/>
                    <a:pt x="59" y="1261"/>
                    <a:pt x="59" y="1261"/>
                  </a:cubicBezTo>
                  <a:cubicBezTo>
                    <a:pt x="54" y="1259"/>
                    <a:pt x="54" y="1259"/>
                    <a:pt x="54" y="1259"/>
                  </a:cubicBezTo>
                  <a:cubicBezTo>
                    <a:pt x="66" y="1258"/>
                    <a:pt x="66" y="1258"/>
                    <a:pt x="66" y="1258"/>
                  </a:cubicBezTo>
                  <a:cubicBezTo>
                    <a:pt x="82" y="1257"/>
                    <a:pt x="82" y="1257"/>
                    <a:pt x="82" y="1257"/>
                  </a:cubicBezTo>
                  <a:close/>
                  <a:moveTo>
                    <a:pt x="17" y="1254"/>
                  </a:moveTo>
                  <a:cubicBezTo>
                    <a:pt x="13" y="1248"/>
                    <a:pt x="13" y="1248"/>
                    <a:pt x="13" y="1248"/>
                  </a:cubicBezTo>
                  <a:cubicBezTo>
                    <a:pt x="19" y="1244"/>
                    <a:pt x="19" y="1244"/>
                    <a:pt x="19" y="1244"/>
                  </a:cubicBezTo>
                  <a:cubicBezTo>
                    <a:pt x="21" y="1250"/>
                    <a:pt x="21" y="1250"/>
                    <a:pt x="21" y="1250"/>
                  </a:cubicBezTo>
                  <a:cubicBezTo>
                    <a:pt x="17" y="1254"/>
                    <a:pt x="17" y="1254"/>
                    <a:pt x="17" y="1254"/>
                  </a:cubicBezTo>
                  <a:close/>
                  <a:moveTo>
                    <a:pt x="11" y="1266"/>
                  </a:moveTo>
                  <a:cubicBezTo>
                    <a:pt x="10" y="1259"/>
                    <a:pt x="10" y="1259"/>
                    <a:pt x="10" y="1259"/>
                  </a:cubicBezTo>
                  <a:cubicBezTo>
                    <a:pt x="15" y="1262"/>
                    <a:pt x="15" y="1262"/>
                    <a:pt x="15" y="1262"/>
                  </a:cubicBezTo>
                  <a:cubicBezTo>
                    <a:pt x="11" y="1266"/>
                    <a:pt x="11" y="1266"/>
                    <a:pt x="11" y="1266"/>
                  </a:cubicBezTo>
                  <a:close/>
                  <a:moveTo>
                    <a:pt x="1" y="1267"/>
                  </a:moveTo>
                  <a:cubicBezTo>
                    <a:pt x="0" y="1260"/>
                    <a:pt x="0" y="1260"/>
                    <a:pt x="0" y="1260"/>
                  </a:cubicBezTo>
                  <a:cubicBezTo>
                    <a:pt x="6" y="1258"/>
                    <a:pt x="6" y="1258"/>
                    <a:pt x="6" y="1258"/>
                  </a:cubicBezTo>
                  <a:cubicBezTo>
                    <a:pt x="6" y="1264"/>
                    <a:pt x="6" y="1264"/>
                    <a:pt x="6" y="1264"/>
                  </a:cubicBezTo>
                  <a:cubicBezTo>
                    <a:pt x="1" y="1267"/>
                    <a:pt x="1" y="1267"/>
                    <a:pt x="1" y="1267"/>
                  </a:cubicBezTo>
                  <a:close/>
                  <a:moveTo>
                    <a:pt x="802" y="846"/>
                  </a:moveTo>
                  <a:cubicBezTo>
                    <a:pt x="805" y="840"/>
                    <a:pt x="805" y="840"/>
                    <a:pt x="805" y="840"/>
                  </a:cubicBezTo>
                  <a:cubicBezTo>
                    <a:pt x="802" y="845"/>
                    <a:pt x="802" y="845"/>
                    <a:pt x="802" y="845"/>
                  </a:cubicBezTo>
                  <a:cubicBezTo>
                    <a:pt x="802" y="846"/>
                    <a:pt x="802" y="846"/>
                    <a:pt x="802" y="846"/>
                  </a:cubicBezTo>
                  <a:close/>
                  <a:moveTo>
                    <a:pt x="624" y="1117"/>
                  </a:moveTo>
                  <a:cubicBezTo>
                    <a:pt x="622" y="1117"/>
                    <a:pt x="622" y="1117"/>
                    <a:pt x="622" y="1117"/>
                  </a:cubicBezTo>
                  <a:cubicBezTo>
                    <a:pt x="624" y="1123"/>
                    <a:pt x="624" y="1123"/>
                    <a:pt x="624" y="1123"/>
                  </a:cubicBezTo>
                  <a:cubicBezTo>
                    <a:pt x="624" y="1117"/>
                    <a:pt x="624" y="1117"/>
                    <a:pt x="624" y="1117"/>
                  </a:cubicBezTo>
                  <a:close/>
                  <a:moveTo>
                    <a:pt x="440" y="1205"/>
                  </a:moveTo>
                  <a:cubicBezTo>
                    <a:pt x="442" y="1202"/>
                    <a:pt x="442" y="1202"/>
                    <a:pt x="442" y="1202"/>
                  </a:cubicBezTo>
                  <a:cubicBezTo>
                    <a:pt x="443" y="1196"/>
                    <a:pt x="443" y="1196"/>
                    <a:pt x="443" y="1196"/>
                  </a:cubicBezTo>
                  <a:cubicBezTo>
                    <a:pt x="437" y="1199"/>
                    <a:pt x="437" y="1199"/>
                    <a:pt x="437" y="1199"/>
                  </a:cubicBezTo>
                  <a:cubicBezTo>
                    <a:pt x="440" y="1205"/>
                    <a:pt x="440" y="1205"/>
                    <a:pt x="440" y="1205"/>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0">
              <a:extLst>
                <a:ext uri="{FF2B5EF4-FFF2-40B4-BE49-F238E27FC236}">
                  <a16:creationId xmlns:a16="http://schemas.microsoft.com/office/drawing/2014/main" id="{3AD0597D-5128-48C0-973A-22CC230C5DD5}"/>
                </a:ext>
              </a:extLst>
            </p:cNvPr>
            <p:cNvSpPr>
              <a:spLocks/>
            </p:cNvSpPr>
            <p:nvPr/>
          </p:nvSpPr>
          <p:spPr bwMode="auto">
            <a:xfrm>
              <a:off x="8214280" y="2643761"/>
              <a:ext cx="350722" cy="193049"/>
            </a:xfrm>
            <a:custGeom>
              <a:avLst/>
              <a:gdLst>
                <a:gd name="T0" fmla="*/ 300 w 316"/>
                <a:gd name="T1" fmla="*/ 83 h 174"/>
                <a:gd name="T2" fmla="*/ 283 w 316"/>
                <a:gd name="T3" fmla="*/ 75 h 174"/>
                <a:gd name="T4" fmla="*/ 273 w 316"/>
                <a:gd name="T5" fmla="*/ 79 h 174"/>
                <a:gd name="T6" fmla="*/ 284 w 316"/>
                <a:gd name="T7" fmla="*/ 90 h 174"/>
                <a:gd name="T8" fmla="*/ 288 w 316"/>
                <a:gd name="T9" fmla="*/ 98 h 174"/>
                <a:gd name="T10" fmla="*/ 294 w 316"/>
                <a:gd name="T11" fmla="*/ 98 h 174"/>
                <a:gd name="T12" fmla="*/ 296 w 316"/>
                <a:gd name="T13" fmla="*/ 110 h 174"/>
                <a:gd name="T14" fmla="*/ 279 w 316"/>
                <a:gd name="T15" fmla="*/ 120 h 174"/>
                <a:gd name="T16" fmla="*/ 275 w 316"/>
                <a:gd name="T17" fmla="*/ 119 h 174"/>
                <a:gd name="T18" fmla="*/ 268 w 316"/>
                <a:gd name="T19" fmla="*/ 119 h 174"/>
                <a:gd name="T20" fmla="*/ 263 w 316"/>
                <a:gd name="T21" fmla="*/ 112 h 174"/>
                <a:gd name="T22" fmla="*/ 252 w 316"/>
                <a:gd name="T23" fmla="*/ 101 h 174"/>
                <a:gd name="T24" fmla="*/ 249 w 316"/>
                <a:gd name="T25" fmla="*/ 101 h 174"/>
                <a:gd name="T26" fmla="*/ 243 w 316"/>
                <a:gd name="T27" fmla="*/ 96 h 174"/>
                <a:gd name="T28" fmla="*/ 248 w 316"/>
                <a:gd name="T29" fmla="*/ 99 h 174"/>
                <a:gd name="T30" fmla="*/ 246 w 316"/>
                <a:gd name="T31" fmla="*/ 88 h 174"/>
                <a:gd name="T32" fmla="*/ 229 w 316"/>
                <a:gd name="T33" fmla="*/ 72 h 174"/>
                <a:gd name="T34" fmla="*/ 215 w 316"/>
                <a:gd name="T35" fmla="*/ 73 h 174"/>
                <a:gd name="T36" fmla="*/ 206 w 316"/>
                <a:gd name="T37" fmla="*/ 71 h 174"/>
                <a:gd name="T38" fmla="*/ 206 w 316"/>
                <a:gd name="T39" fmla="*/ 69 h 174"/>
                <a:gd name="T40" fmla="*/ 208 w 316"/>
                <a:gd name="T41" fmla="*/ 60 h 174"/>
                <a:gd name="T42" fmla="*/ 209 w 316"/>
                <a:gd name="T43" fmla="*/ 56 h 174"/>
                <a:gd name="T44" fmla="*/ 212 w 316"/>
                <a:gd name="T45" fmla="*/ 48 h 174"/>
                <a:gd name="T46" fmla="*/ 215 w 316"/>
                <a:gd name="T47" fmla="*/ 42 h 174"/>
                <a:gd name="T48" fmla="*/ 229 w 316"/>
                <a:gd name="T49" fmla="*/ 32 h 174"/>
                <a:gd name="T50" fmla="*/ 226 w 316"/>
                <a:gd name="T51" fmla="*/ 19 h 174"/>
                <a:gd name="T52" fmla="*/ 219 w 316"/>
                <a:gd name="T53" fmla="*/ 24 h 174"/>
                <a:gd name="T54" fmla="*/ 210 w 316"/>
                <a:gd name="T55" fmla="*/ 20 h 174"/>
                <a:gd name="T56" fmla="*/ 209 w 316"/>
                <a:gd name="T57" fmla="*/ 12 h 174"/>
                <a:gd name="T58" fmla="*/ 204 w 316"/>
                <a:gd name="T59" fmla="*/ 9 h 174"/>
                <a:gd name="T60" fmla="*/ 204 w 316"/>
                <a:gd name="T61" fmla="*/ 1 h 174"/>
                <a:gd name="T62" fmla="*/ 198 w 316"/>
                <a:gd name="T63" fmla="*/ 0 h 174"/>
                <a:gd name="T64" fmla="*/ 194 w 316"/>
                <a:gd name="T65" fmla="*/ 1 h 174"/>
                <a:gd name="T66" fmla="*/ 183 w 316"/>
                <a:gd name="T67" fmla="*/ 11 h 174"/>
                <a:gd name="T68" fmla="*/ 179 w 316"/>
                <a:gd name="T69" fmla="*/ 14 h 174"/>
                <a:gd name="T70" fmla="*/ 165 w 316"/>
                <a:gd name="T71" fmla="*/ 32 h 174"/>
                <a:gd name="T72" fmla="*/ 4 w 316"/>
                <a:gd name="T73" fmla="*/ 68 h 174"/>
                <a:gd name="T74" fmla="*/ 1 w 316"/>
                <a:gd name="T75" fmla="*/ 79 h 174"/>
                <a:gd name="T76" fmla="*/ 1 w 316"/>
                <a:gd name="T77" fmla="*/ 152 h 174"/>
                <a:gd name="T78" fmla="*/ 6 w 316"/>
                <a:gd name="T79" fmla="*/ 158 h 174"/>
                <a:gd name="T80" fmla="*/ 100 w 316"/>
                <a:gd name="T81" fmla="*/ 137 h 174"/>
                <a:gd name="T82" fmla="*/ 176 w 316"/>
                <a:gd name="T83" fmla="*/ 121 h 174"/>
                <a:gd name="T84" fmla="*/ 182 w 316"/>
                <a:gd name="T85" fmla="*/ 122 h 174"/>
                <a:gd name="T86" fmla="*/ 185 w 316"/>
                <a:gd name="T87" fmla="*/ 129 h 174"/>
                <a:gd name="T88" fmla="*/ 189 w 316"/>
                <a:gd name="T89" fmla="*/ 131 h 174"/>
                <a:gd name="T90" fmla="*/ 189 w 316"/>
                <a:gd name="T91" fmla="*/ 137 h 174"/>
                <a:gd name="T92" fmla="*/ 204 w 316"/>
                <a:gd name="T93" fmla="*/ 147 h 174"/>
                <a:gd name="T94" fmla="*/ 206 w 316"/>
                <a:gd name="T95" fmla="*/ 146 h 174"/>
                <a:gd name="T96" fmla="*/ 209 w 316"/>
                <a:gd name="T97" fmla="*/ 164 h 174"/>
                <a:gd name="T98" fmla="*/ 216 w 316"/>
                <a:gd name="T99" fmla="*/ 174 h 174"/>
                <a:gd name="T100" fmla="*/ 225 w 316"/>
                <a:gd name="T101" fmla="*/ 160 h 174"/>
                <a:gd name="T102" fmla="*/ 233 w 316"/>
                <a:gd name="T103" fmla="*/ 161 h 174"/>
                <a:gd name="T104" fmla="*/ 238 w 316"/>
                <a:gd name="T105" fmla="*/ 148 h 174"/>
                <a:gd name="T106" fmla="*/ 245 w 316"/>
                <a:gd name="T107" fmla="*/ 142 h 174"/>
                <a:gd name="T108" fmla="*/ 248 w 316"/>
                <a:gd name="T109" fmla="*/ 135 h 174"/>
                <a:gd name="T110" fmla="*/ 252 w 316"/>
                <a:gd name="T111" fmla="*/ 132 h 174"/>
                <a:gd name="T112" fmla="*/ 251 w 316"/>
                <a:gd name="T113" fmla="*/ 139 h 174"/>
                <a:gd name="T114" fmla="*/ 265 w 316"/>
                <a:gd name="T115" fmla="*/ 151 h 174"/>
                <a:gd name="T116" fmla="*/ 275 w 316"/>
                <a:gd name="T117" fmla="*/ 144 h 174"/>
                <a:gd name="T118" fmla="*/ 276 w 316"/>
                <a:gd name="T119" fmla="*/ 137 h 174"/>
                <a:gd name="T120" fmla="*/ 295 w 316"/>
                <a:gd name="T121" fmla="*/ 130 h 174"/>
                <a:gd name="T122" fmla="*/ 304 w 316"/>
                <a:gd name="T123" fmla="*/ 125 h 174"/>
                <a:gd name="T124" fmla="*/ 315 w 316"/>
                <a:gd name="T125" fmla="*/ 11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 h="174">
                  <a:moveTo>
                    <a:pt x="311" y="98"/>
                  </a:moveTo>
                  <a:cubicBezTo>
                    <a:pt x="309" y="94"/>
                    <a:pt x="304" y="87"/>
                    <a:pt x="300" y="83"/>
                  </a:cubicBezTo>
                  <a:cubicBezTo>
                    <a:pt x="298" y="82"/>
                    <a:pt x="294" y="78"/>
                    <a:pt x="292" y="77"/>
                  </a:cubicBezTo>
                  <a:cubicBezTo>
                    <a:pt x="290" y="76"/>
                    <a:pt x="286" y="75"/>
                    <a:pt x="283" y="75"/>
                  </a:cubicBezTo>
                  <a:cubicBezTo>
                    <a:pt x="282" y="75"/>
                    <a:pt x="281" y="75"/>
                    <a:pt x="280" y="75"/>
                  </a:cubicBezTo>
                  <a:cubicBezTo>
                    <a:pt x="278" y="75"/>
                    <a:pt x="273" y="75"/>
                    <a:pt x="273" y="79"/>
                  </a:cubicBezTo>
                  <a:cubicBezTo>
                    <a:pt x="273" y="82"/>
                    <a:pt x="275" y="84"/>
                    <a:pt x="277" y="85"/>
                  </a:cubicBezTo>
                  <a:cubicBezTo>
                    <a:pt x="280" y="86"/>
                    <a:pt x="283" y="88"/>
                    <a:pt x="284" y="90"/>
                  </a:cubicBezTo>
                  <a:cubicBezTo>
                    <a:pt x="284" y="90"/>
                    <a:pt x="285" y="91"/>
                    <a:pt x="285" y="92"/>
                  </a:cubicBezTo>
                  <a:cubicBezTo>
                    <a:pt x="285" y="95"/>
                    <a:pt x="286" y="97"/>
                    <a:pt x="288" y="98"/>
                  </a:cubicBezTo>
                  <a:cubicBezTo>
                    <a:pt x="289" y="99"/>
                    <a:pt x="291" y="99"/>
                    <a:pt x="293" y="98"/>
                  </a:cubicBezTo>
                  <a:cubicBezTo>
                    <a:pt x="293" y="98"/>
                    <a:pt x="294" y="98"/>
                    <a:pt x="294" y="98"/>
                  </a:cubicBezTo>
                  <a:cubicBezTo>
                    <a:pt x="295" y="99"/>
                    <a:pt x="296" y="103"/>
                    <a:pt x="297" y="107"/>
                  </a:cubicBezTo>
                  <a:cubicBezTo>
                    <a:pt x="296" y="110"/>
                    <a:pt x="296" y="110"/>
                    <a:pt x="296" y="110"/>
                  </a:cubicBezTo>
                  <a:cubicBezTo>
                    <a:pt x="291" y="115"/>
                    <a:pt x="285" y="121"/>
                    <a:pt x="282" y="121"/>
                  </a:cubicBezTo>
                  <a:cubicBezTo>
                    <a:pt x="282" y="121"/>
                    <a:pt x="280" y="120"/>
                    <a:pt x="279" y="120"/>
                  </a:cubicBezTo>
                  <a:cubicBezTo>
                    <a:pt x="278" y="119"/>
                    <a:pt x="277" y="119"/>
                    <a:pt x="276" y="119"/>
                  </a:cubicBezTo>
                  <a:cubicBezTo>
                    <a:pt x="276" y="119"/>
                    <a:pt x="275" y="119"/>
                    <a:pt x="275" y="119"/>
                  </a:cubicBezTo>
                  <a:cubicBezTo>
                    <a:pt x="274" y="119"/>
                    <a:pt x="273" y="119"/>
                    <a:pt x="271" y="119"/>
                  </a:cubicBezTo>
                  <a:cubicBezTo>
                    <a:pt x="270" y="119"/>
                    <a:pt x="269" y="119"/>
                    <a:pt x="268" y="119"/>
                  </a:cubicBezTo>
                  <a:cubicBezTo>
                    <a:pt x="267" y="119"/>
                    <a:pt x="266" y="118"/>
                    <a:pt x="265" y="118"/>
                  </a:cubicBezTo>
                  <a:cubicBezTo>
                    <a:pt x="264" y="117"/>
                    <a:pt x="264" y="114"/>
                    <a:pt x="263" y="112"/>
                  </a:cubicBezTo>
                  <a:cubicBezTo>
                    <a:pt x="261" y="108"/>
                    <a:pt x="260" y="104"/>
                    <a:pt x="257" y="103"/>
                  </a:cubicBezTo>
                  <a:cubicBezTo>
                    <a:pt x="256" y="101"/>
                    <a:pt x="254" y="101"/>
                    <a:pt x="252" y="101"/>
                  </a:cubicBezTo>
                  <a:cubicBezTo>
                    <a:pt x="251" y="101"/>
                    <a:pt x="250" y="101"/>
                    <a:pt x="249" y="101"/>
                  </a:cubicBezTo>
                  <a:cubicBezTo>
                    <a:pt x="249" y="101"/>
                    <a:pt x="249" y="101"/>
                    <a:pt x="249" y="101"/>
                  </a:cubicBezTo>
                  <a:cubicBezTo>
                    <a:pt x="248" y="100"/>
                    <a:pt x="244" y="99"/>
                    <a:pt x="244" y="98"/>
                  </a:cubicBezTo>
                  <a:cubicBezTo>
                    <a:pt x="243" y="98"/>
                    <a:pt x="243" y="97"/>
                    <a:pt x="243" y="96"/>
                  </a:cubicBezTo>
                  <a:cubicBezTo>
                    <a:pt x="243" y="96"/>
                    <a:pt x="243" y="96"/>
                    <a:pt x="244" y="96"/>
                  </a:cubicBezTo>
                  <a:cubicBezTo>
                    <a:pt x="245" y="98"/>
                    <a:pt x="246" y="99"/>
                    <a:pt x="248" y="99"/>
                  </a:cubicBezTo>
                  <a:cubicBezTo>
                    <a:pt x="249" y="99"/>
                    <a:pt x="250" y="98"/>
                    <a:pt x="251" y="97"/>
                  </a:cubicBezTo>
                  <a:cubicBezTo>
                    <a:pt x="253" y="94"/>
                    <a:pt x="249" y="91"/>
                    <a:pt x="246" y="88"/>
                  </a:cubicBezTo>
                  <a:cubicBezTo>
                    <a:pt x="245" y="88"/>
                    <a:pt x="244" y="87"/>
                    <a:pt x="244" y="86"/>
                  </a:cubicBezTo>
                  <a:cubicBezTo>
                    <a:pt x="240" y="81"/>
                    <a:pt x="233" y="74"/>
                    <a:pt x="229" y="72"/>
                  </a:cubicBezTo>
                  <a:cubicBezTo>
                    <a:pt x="227" y="71"/>
                    <a:pt x="222" y="70"/>
                    <a:pt x="219" y="70"/>
                  </a:cubicBezTo>
                  <a:cubicBezTo>
                    <a:pt x="218" y="71"/>
                    <a:pt x="216" y="72"/>
                    <a:pt x="215" y="73"/>
                  </a:cubicBezTo>
                  <a:cubicBezTo>
                    <a:pt x="214" y="74"/>
                    <a:pt x="212" y="75"/>
                    <a:pt x="212" y="75"/>
                  </a:cubicBezTo>
                  <a:cubicBezTo>
                    <a:pt x="211" y="75"/>
                    <a:pt x="208" y="73"/>
                    <a:pt x="206" y="71"/>
                  </a:cubicBezTo>
                  <a:cubicBezTo>
                    <a:pt x="205" y="70"/>
                    <a:pt x="204" y="69"/>
                    <a:pt x="204" y="68"/>
                  </a:cubicBezTo>
                  <a:cubicBezTo>
                    <a:pt x="204" y="68"/>
                    <a:pt x="205" y="69"/>
                    <a:pt x="206" y="69"/>
                  </a:cubicBezTo>
                  <a:cubicBezTo>
                    <a:pt x="208" y="69"/>
                    <a:pt x="209" y="68"/>
                    <a:pt x="210" y="67"/>
                  </a:cubicBezTo>
                  <a:cubicBezTo>
                    <a:pt x="211" y="65"/>
                    <a:pt x="209" y="62"/>
                    <a:pt x="208" y="60"/>
                  </a:cubicBezTo>
                  <a:cubicBezTo>
                    <a:pt x="207" y="60"/>
                    <a:pt x="207" y="59"/>
                    <a:pt x="206" y="59"/>
                  </a:cubicBezTo>
                  <a:cubicBezTo>
                    <a:pt x="207" y="58"/>
                    <a:pt x="208" y="57"/>
                    <a:pt x="209" y="56"/>
                  </a:cubicBezTo>
                  <a:cubicBezTo>
                    <a:pt x="211" y="55"/>
                    <a:pt x="213" y="53"/>
                    <a:pt x="213" y="51"/>
                  </a:cubicBezTo>
                  <a:cubicBezTo>
                    <a:pt x="213" y="49"/>
                    <a:pt x="212" y="48"/>
                    <a:pt x="212" y="48"/>
                  </a:cubicBezTo>
                  <a:cubicBezTo>
                    <a:pt x="212" y="47"/>
                    <a:pt x="212" y="47"/>
                    <a:pt x="211" y="47"/>
                  </a:cubicBezTo>
                  <a:cubicBezTo>
                    <a:pt x="212" y="46"/>
                    <a:pt x="213" y="44"/>
                    <a:pt x="215" y="42"/>
                  </a:cubicBezTo>
                  <a:cubicBezTo>
                    <a:pt x="216" y="41"/>
                    <a:pt x="218" y="39"/>
                    <a:pt x="221" y="38"/>
                  </a:cubicBezTo>
                  <a:cubicBezTo>
                    <a:pt x="224" y="36"/>
                    <a:pt x="228" y="34"/>
                    <a:pt x="229" y="32"/>
                  </a:cubicBezTo>
                  <a:cubicBezTo>
                    <a:pt x="230" y="30"/>
                    <a:pt x="233" y="24"/>
                    <a:pt x="230" y="21"/>
                  </a:cubicBezTo>
                  <a:cubicBezTo>
                    <a:pt x="229" y="20"/>
                    <a:pt x="228" y="19"/>
                    <a:pt x="226" y="19"/>
                  </a:cubicBezTo>
                  <a:cubicBezTo>
                    <a:pt x="224" y="19"/>
                    <a:pt x="220" y="20"/>
                    <a:pt x="219" y="23"/>
                  </a:cubicBezTo>
                  <a:cubicBezTo>
                    <a:pt x="219" y="24"/>
                    <a:pt x="219" y="24"/>
                    <a:pt x="219" y="24"/>
                  </a:cubicBezTo>
                  <a:cubicBezTo>
                    <a:pt x="218" y="24"/>
                    <a:pt x="216" y="24"/>
                    <a:pt x="216" y="24"/>
                  </a:cubicBezTo>
                  <a:cubicBezTo>
                    <a:pt x="215" y="24"/>
                    <a:pt x="211" y="21"/>
                    <a:pt x="210" y="20"/>
                  </a:cubicBezTo>
                  <a:cubicBezTo>
                    <a:pt x="210" y="19"/>
                    <a:pt x="210" y="18"/>
                    <a:pt x="210" y="17"/>
                  </a:cubicBezTo>
                  <a:cubicBezTo>
                    <a:pt x="210" y="15"/>
                    <a:pt x="210" y="14"/>
                    <a:pt x="209" y="12"/>
                  </a:cubicBezTo>
                  <a:cubicBezTo>
                    <a:pt x="208" y="11"/>
                    <a:pt x="207" y="10"/>
                    <a:pt x="205" y="10"/>
                  </a:cubicBezTo>
                  <a:cubicBezTo>
                    <a:pt x="205" y="10"/>
                    <a:pt x="204" y="9"/>
                    <a:pt x="204" y="9"/>
                  </a:cubicBezTo>
                  <a:cubicBezTo>
                    <a:pt x="204" y="9"/>
                    <a:pt x="204" y="8"/>
                    <a:pt x="204" y="8"/>
                  </a:cubicBezTo>
                  <a:cubicBezTo>
                    <a:pt x="205" y="6"/>
                    <a:pt x="206" y="3"/>
                    <a:pt x="204" y="1"/>
                  </a:cubicBezTo>
                  <a:cubicBezTo>
                    <a:pt x="203" y="0"/>
                    <a:pt x="202" y="0"/>
                    <a:pt x="201" y="0"/>
                  </a:cubicBezTo>
                  <a:cubicBezTo>
                    <a:pt x="200" y="0"/>
                    <a:pt x="199" y="0"/>
                    <a:pt x="198" y="0"/>
                  </a:cubicBezTo>
                  <a:cubicBezTo>
                    <a:pt x="195" y="1"/>
                    <a:pt x="195" y="1"/>
                    <a:pt x="195" y="1"/>
                  </a:cubicBezTo>
                  <a:cubicBezTo>
                    <a:pt x="195" y="1"/>
                    <a:pt x="194" y="1"/>
                    <a:pt x="194" y="1"/>
                  </a:cubicBezTo>
                  <a:cubicBezTo>
                    <a:pt x="193" y="2"/>
                    <a:pt x="187" y="5"/>
                    <a:pt x="185" y="7"/>
                  </a:cubicBezTo>
                  <a:cubicBezTo>
                    <a:pt x="185" y="8"/>
                    <a:pt x="184" y="9"/>
                    <a:pt x="183" y="11"/>
                  </a:cubicBezTo>
                  <a:cubicBezTo>
                    <a:pt x="183" y="12"/>
                    <a:pt x="182" y="13"/>
                    <a:pt x="182" y="14"/>
                  </a:cubicBezTo>
                  <a:cubicBezTo>
                    <a:pt x="181" y="13"/>
                    <a:pt x="180" y="13"/>
                    <a:pt x="179" y="14"/>
                  </a:cubicBezTo>
                  <a:cubicBezTo>
                    <a:pt x="177" y="15"/>
                    <a:pt x="175" y="19"/>
                    <a:pt x="174" y="23"/>
                  </a:cubicBezTo>
                  <a:cubicBezTo>
                    <a:pt x="165" y="32"/>
                    <a:pt x="165" y="32"/>
                    <a:pt x="165" y="32"/>
                  </a:cubicBezTo>
                  <a:cubicBezTo>
                    <a:pt x="70" y="55"/>
                    <a:pt x="70" y="55"/>
                    <a:pt x="70" y="55"/>
                  </a:cubicBezTo>
                  <a:cubicBezTo>
                    <a:pt x="4" y="68"/>
                    <a:pt x="4" y="68"/>
                    <a:pt x="4" y="68"/>
                  </a:cubicBezTo>
                  <a:cubicBezTo>
                    <a:pt x="3" y="68"/>
                    <a:pt x="3" y="69"/>
                    <a:pt x="2" y="70"/>
                  </a:cubicBezTo>
                  <a:cubicBezTo>
                    <a:pt x="1" y="79"/>
                    <a:pt x="1" y="79"/>
                    <a:pt x="1" y="79"/>
                  </a:cubicBezTo>
                  <a:cubicBezTo>
                    <a:pt x="0" y="151"/>
                    <a:pt x="0" y="151"/>
                    <a:pt x="0" y="151"/>
                  </a:cubicBezTo>
                  <a:cubicBezTo>
                    <a:pt x="0" y="151"/>
                    <a:pt x="0" y="152"/>
                    <a:pt x="1" y="152"/>
                  </a:cubicBezTo>
                  <a:cubicBezTo>
                    <a:pt x="4" y="156"/>
                    <a:pt x="4" y="156"/>
                    <a:pt x="4" y="156"/>
                  </a:cubicBezTo>
                  <a:cubicBezTo>
                    <a:pt x="4" y="157"/>
                    <a:pt x="5" y="158"/>
                    <a:pt x="6" y="158"/>
                  </a:cubicBezTo>
                  <a:cubicBezTo>
                    <a:pt x="56" y="147"/>
                    <a:pt x="56" y="147"/>
                    <a:pt x="56" y="147"/>
                  </a:cubicBezTo>
                  <a:cubicBezTo>
                    <a:pt x="71" y="145"/>
                    <a:pt x="86" y="141"/>
                    <a:pt x="100" y="137"/>
                  </a:cubicBezTo>
                  <a:cubicBezTo>
                    <a:pt x="115" y="132"/>
                    <a:pt x="131" y="128"/>
                    <a:pt x="148" y="126"/>
                  </a:cubicBezTo>
                  <a:cubicBezTo>
                    <a:pt x="149" y="126"/>
                    <a:pt x="169" y="120"/>
                    <a:pt x="176" y="121"/>
                  </a:cubicBezTo>
                  <a:cubicBezTo>
                    <a:pt x="177" y="121"/>
                    <a:pt x="177" y="121"/>
                    <a:pt x="178" y="121"/>
                  </a:cubicBezTo>
                  <a:cubicBezTo>
                    <a:pt x="179" y="121"/>
                    <a:pt x="181" y="121"/>
                    <a:pt x="182" y="122"/>
                  </a:cubicBezTo>
                  <a:cubicBezTo>
                    <a:pt x="182" y="122"/>
                    <a:pt x="182" y="124"/>
                    <a:pt x="183" y="125"/>
                  </a:cubicBezTo>
                  <a:cubicBezTo>
                    <a:pt x="183" y="126"/>
                    <a:pt x="184" y="128"/>
                    <a:pt x="185" y="129"/>
                  </a:cubicBezTo>
                  <a:cubicBezTo>
                    <a:pt x="186" y="130"/>
                    <a:pt x="187" y="131"/>
                    <a:pt x="188" y="131"/>
                  </a:cubicBezTo>
                  <a:cubicBezTo>
                    <a:pt x="188" y="131"/>
                    <a:pt x="189" y="131"/>
                    <a:pt x="189" y="131"/>
                  </a:cubicBezTo>
                  <a:cubicBezTo>
                    <a:pt x="189" y="132"/>
                    <a:pt x="189" y="132"/>
                    <a:pt x="189" y="133"/>
                  </a:cubicBezTo>
                  <a:cubicBezTo>
                    <a:pt x="189" y="134"/>
                    <a:pt x="189" y="136"/>
                    <a:pt x="189" y="137"/>
                  </a:cubicBezTo>
                  <a:cubicBezTo>
                    <a:pt x="190" y="139"/>
                    <a:pt x="195" y="142"/>
                    <a:pt x="196" y="143"/>
                  </a:cubicBezTo>
                  <a:cubicBezTo>
                    <a:pt x="197" y="145"/>
                    <a:pt x="201" y="147"/>
                    <a:pt x="204" y="147"/>
                  </a:cubicBezTo>
                  <a:cubicBezTo>
                    <a:pt x="204" y="147"/>
                    <a:pt x="204" y="147"/>
                    <a:pt x="204" y="147"/>
                  </a:cubicBezTo>
                  <a:cubicBezTo>
                    <a:pt x="205" y="147"/>
                    <a:pt x="205" y="147"/>
                    <a:pt x="206" y="146"/>
                  </a:cubicBezTo>
                  <a:cubicBezTo>
                    <a:pt x="206" y="146"/>
                    <a:pt x="206" y="147"/>
                    <a:pt x="206" y="148"/>
                  </a:cubicBezTo>
                  <a:cubicBezTo>
                    <a:pt x="205" y="152"/>
                    <a:pt x="209" y="163"/>
                    <a:pt x="209" y="164"/>
                  </a:cubicBezTo>
                  <a:cubicBezTo>
                    <a:pt x="211" y="171"/>
                    <a:pt x="213" y="174"/>
                    <a:pt x="215" y="174"/>
                  </a:cubicBezTo>
                  <a:cubicBezTo>
                    <a:pt x="215" y="174"/>
                    <a:pt x="215" y="174"/>
                    <a:pt x="216" y="174"/>
                  </a:cubicBezTo>
                  <a:cubicBezTo>
                    <a:pt x="216" y="174"/>
                    <a:pt x="219" y="174"/>
                    <a:pt x="221" y="167"/>
                  </a:cubicBezTo>
                  <a:cubicBezTo>
                    <a:pt x="223" y="164"/>
                    <a:pt x="224" y="161"/>
                    <a:pt x="225" y="160"/>
                  </a:cubicBezTo>
                  <a:cubicBezTo>
                    <a:pt x="225" y="160"/>
                    <a:pt x="226" y="161"/>
                    <a:pt x="227" y="161"/>
                  </a:cubicBezTo>
                  <a:cubicBezTo>
                    <a:pt x="229" y="161"/>
                    <a:pt x="231" y="162"/>
                    <a:pt x="233" y="161"/>
                  </a:cubicBezTo>
                  <a:cubicBezTo>
                    <a:pt x="235" y="159"/>
                    <a:pt x="236" y="156"/>
                    <a:pt x="236" y="152"/>
                  </a:cubicBezTo>
                  <a:cubicBezTo>
                    <a:pt x="237" y="151"/>
                    <a:pt x="237" y="149"/>
                    <a:pt x="238" y="148"/>
                  </a:cubicBezTo>
                  <a:cubicBezTo>
                    <a:pt x="238" y="147"/>
                    <a:pt x="240" y="146"/>
                    <a:pt x="241" y="146"/>
                  </a:cubicBezTo>
                  <a:cubicBezTo>
                    <a:pt x="242" y="144"/>
                    <a:pt x="244" y="143"/>
                    <a:pt x="245" y="142"/>
                  </a:cubicBezTo>
                  <a:cubicBezTo>
                    <a:pt x="246" y="141"/>
                    <a:pt x="246" y="140"/>
                    <a:pt x="247" y="138"/>
                  </a:cubicBezTo>
                  <a:cubicBezTo>
                    <a:pt x="247" y="137"/>
                    <a:pt x="248" y="136"/>
                    <a:pt x="248" y="135"/>
                  </a:cubicBezTo>
                  <a:cubicBezTo>
                    <a:pt x="250" y="133"/>
                    <a:pt x="251" y="132"/>
                    <a:pt x="252" y="132"/>
                  </a:cubicBezTo>
                  <a:cubicBezTo>
                    <a:pt x="252" y="132"/>
                    <a:pt x="252" y="132"/>
                    <a:pt x="252" y="132"/>
                  </a:cubicBezTo>
                  <a:cubicBezTo>
                    <a:pt x="251" y="134"/>
                    <a:pt x="251" y="135"/>
                    <a:pt x="251" y="136"/>
                  </a:cubicBezTo>
                  <a:cubicBezTo>
                    <a:pt x="251" y="137"/>
                    <a:pt x="251" y="138"/>
                    <a:pt x="251" y="139"/>
                  </a:cubicBezTo>
                  <a:cubicBezTo>
                    <a:pt x="252" y="144"/>
                    <a:pt x="252" y="151"/>
                    <a:pt x="256" y="153"/>
                  </a:cubicBezTo>
                  <a:cubicBezTo>
                    <a:pt x="258" y="154"/>
                    <a:pt x="262" y="153"/>
                    <a:pt x="265" y="151"/>
                  </a:cubicBezTo>
                  <a:cubicBezTo>
                    <a:pt x="266" y="150"/>
                    <a:pt x="266" y="150"/>
                    <a:pt x="266" y="150"/>
                  </a:cubicBezTo>
                  <a:cubicBezTo>
                    <a:pt x="269" y="149"/>
                    <a:pt x="273" y="146"/>
                    <a:pt x="275" y="144"/>
                  </a:cubicBezTo>
                  <a:cubicBezTo>
                    <a:pt x="275" y="143"/>
                    <a:pt x="276" y="141"/>
                    <a:pt x="276" y="139"/>
                  </a:cubicBezTo>
                  <a:cubicBezTo>
                    <a:pt x="276" y="139"/>
                    <a:pt x="276" y="138"/>
                    <a:pt x="276" y="137"/>
                  </a:cubicBezTo>
                  <a:cubicBezTo>
                    <a:pt x="277" y="137"/>
                    <a:pt x="279" y="137"/>
                    <a:pt x="281" y="137"/>
                  </a:cubicBezTo>
                  <a:cubicBezTo>
                    <a:pt x="286" y="137"/>
                    <a:pt x="291" y="133"/>
                    <a:pt x="295" y="130"/>
                  </a:cubicBezTo>
                  <a:cubicBezTo>
                    <a:pt x="297" y="128"/>
                    <a:pt x="299" y="127"/>
                    <a:pt x="301" y="126"/>
                  </a:cubicBezTo>
                  <a:cubicBezTo>
                    <a:pt x="302" y="126"/>
                    <a:pt x="303" y="126"/>
                    <a:pt x="304" y="125"/>
                  </a:cubicBezTo>
                  <a:cubicBezTo>
                    <a:pt x="306" y="125"/>
                    <a:pt x="309" y="124"/>
                    <a:pt x="310" y="123"/>
                  </a:cubicBezTo>
                  <a:cubicBezTo>
                    <a:pt x="312" y="121"/>
                    <a:pt x="315" y="116"/>
                    <a:pt x="315" y="114"/>
                  </a:cubicBezTo>
                  <a:cubicBezTo>
                    <a:pt x="316" y="110"/>
                    <a:pt x="314" y="105"/>
                    <a:pt x="311" y="98"/>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1">
              <a:extLst>
                <a:ext uri="{FF2B5EF4-FFF2-40B4-BE49-F238E27FC236}">
                  <a16:creationId xmlns:a16="http://schemas.microsoft.com/office/drawing/2014/main" id="{7A1EE9B2-BE22-43A4-A59C-739EE1C8BB30}"/>
                </a:ext>
              </a:extLst>
            </p:cNvPr>
            <p:cNvSpPr>
              <a:spLocks/>
            </p:cNvSpPr>
            <p:nvPr/>
          </p:nvSpPr>
          <p:spPr bwMode="auto">
            <a:xfrm>
              <a:off x="8374985" y="2769091"/>
              <a:ext cx="60644" cy="103094"/>
            </a:xfrm>
            <a:custGeom>
              <a:avLst/>
              <a:gdLst>
                <a:gd name="T0" fmla="*/ 49 w 55"/>
                <a:gd name="T1" fmla="*/ 34 h 93"/>
                <a:gd name="T2" fmla="*/ 53 w 55"/>
                <a:gd name="T3" fmla="*/ 32 h 93"/>
                <a:gd name="T4" fmla="*/ 55 w 55"/>
                <a:gd name="T5" fmla="*/ 28 h 93"/>
                <a:gd name="T6" fmla="*/ 51 w 55"/>
                <a:gd name="T7" fmla="*/ 23 h 93"/>
                <a:gd name="T8" fmla="*/ 49 w 55"/>
                <a:gd name="T9" fmla="*/ 22 h 93"/>
                <a:gd name="T10" fmla="*/ 49 w 55"/>
                <a:gd name="T11" fmla="*/ 20 h 93"/>
                <a:gd name="T12" fmla="*/ 48 w 55"/>
                <a:gd name="T13" fmla="*/ 15 h 93"/>
                <a:gd name="T14" fmla="*/ 45 w 55"/>
                <a:gd name="T15" fmla="*/ 13 h 93"/>
                <a:gd name="T16" fmla="*/ 43 w 55"/>
                <a:gd name="T17" fmla="*/ 13 h 93"/>
                <a:gd name="T18" fmla="*/ 43 w 55"/>
                <a:gd name="T19" fmla="*/ 10 h 93"/>
                <a:gd name="T20" fmla="*/ 41 w 55"/>
                <a:gd name="T21" fmla="*/ 6 h 93"/>
                <a:gd name="T22" fmla="*/ 33 w 55"/>
                <a:gd name="T23" fmla="*/ 0 h 93"/>
                <a:gd name="T24" fmla="*/ 31 w 55"/>
                <a:gd name="T25" fmla="*/ 0 h 93"/>
                <a:gd name="T26" fmla="*/ 5 w 55"/>
                <a:gd name="T27" fmla="*/ 8 h 93"/>
                <a:gd name="T28" fmla="*/ 5 w 55"/>
                <a:gd name="T29" fmla="*/ 8 h 93"/>
                <a:gd name="T30" fmla="*/ 1 w 55"/>
                <a:gd name="T31" fmla="*/ 10 h 93"/>
                <a:gd name="T32" fmla="*/ 1 w 55"/>
                <a:gd name="T33" fmla="*/ 15 h 93"/>
                <a:gd name="T34" fmla="*/ 17 w 55"/>
                <a:gd name="T35" fmla="*/ 71 h 93"/>
                <a:gd name="T36" fmla="*/ 18 w 55"/>
                <a:gd name="T37" fmla="*/ 78 h 93"/>
                <a:gd name="T38" fmla="*/ 17 w 55"/>
                <a:gd name="T39" fmla="*/ 80 h 93"/>
                <a:gd name="T40" fmla="*/ 16 w 55"/>
                <a:gd name="T41" fmla="*/ 84 h 93"/>
                <a:gd name="T42" fmla="*/ 17 w 55"/>
                <a:gd name="T43" fmla="*/ 87 h 93"/>
                <a:gd name="T44" fmla="*/ 18 w 55"/>
                <a:gd name="T45" fmla="*/ 91 h 93"/>
                <a:gd name="T46" fmla="*/ 19 w 55"/>
                <a:gd name="T47" fmla="*/ 93 h 93"/>
                <a:gd name="T48" fmla="*/ 20 w 55"/>
                <a:gd name="T49" fmla="*/ 93 h 93"/>
                <a:gd name="T50" fmla="*/ 21 w 55"/>
                <a:gd name="T51" fmla="*/ 93 h 93"/>
                <a:gd name="T52" fmla="*/ 28 w 55"/>
                <a:gd name="T53" fmla="*/ 89 h 93"/>
                <a:gd name="T54" fmla="*/ 51 w 55"/>
                <a:gd name="T55" fmla="*/ 74 h 93"/>
                <a:gd name="T56" fmla="*/ 53 w 55"/>
                <a:gd name="T57" fmla="*/ 64 h 93"/>
                <a:gd name="T58" fmla="*/ 51 w 55"/>
                <a:gd name="T59" fmla="*/ 58 h 93"/>
                <a:gd name="T60" fmla="*/ 50 w 55"/>
                <a:gd name="T61" fmla="*/ 54 h 93"/>
                <a:gd name="T62" fmla="*/ 50 w 55"/>
                <a:gd name="T63" fmla="*/ 51 h 93"/>
                <a:gd name="T64" fmla="*/ 49 w 55"/>
                <a:gd name="T65" fmla="*/ 46 h 93"/>
                <a:gd name="T66" fmla="*/ 42 w 55"/>
                <a:gd name="T67" fmla="*/ 42 h 93"/>
                <a:gd name="T68" fmla="*/ 39 w 55"/>
                <a:gd name="T69" fmla="*/ 41 h 93"/>
                <a:gd name="T70" fmla="*/ 40 w 55"/>
                <a:gd name="T71" fmla="*/ 39 h 93"/>
                <a:gd name="T72" fmla="*/ 42 w 55"/>
                <a:gd name="T73" fmla="*/ 35 h 93"/>
                <a:gd name="T74" fmla="*/ 40 w 55"/>
                <a:gd name="T75" fmla="*/ 31 h 93"/>
                <a:gd name="T76" fmla="*/ 43 w 55"/>
                <a:gd name="T77" fmla="*/ 32 h 93"/>
                <a:gd name="T78" fmla="*/ 49 w 55"/>
                <a:gd name="T79" fmla="*/ 3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5" h="93">
                  <a:moveTo>
                    <a:pt x="49" y="34"/>
                  </a:moveTo>
                  <a:cubicBezTo>
                    <a:pt x="51" y="34"/>
                    <a:pt x="53" y="33"/>
                    <a:pt x="53" y="32"/>
                  </a:cubicBezTo>
                  <a:cubicBezTo>
                    <a:pt x="54" y="31"/>
                    <a:pt x="55" y="30"/>
                    <a:pt x="55" y="28"/>
                  </a:cubicBezTo>
                  <a:cubicBezTo>
                    <a:pt x="55" y="26"/>
                    <a:pt x="53" y="24"/>
                    <a:pt x="51" y="23"/>
                  </a:cubicBezTo>
                  <a:cubicBezTo>
                    <a:pt x="50" y="23"/>
                    <a:pt x="49" y="22"/>
                    <a:pt x="49" y="22"/>
                  </a:cubicBezTo>
                  <a:cubicBezTo>
                    <a:pt x="49" y="21"/>
                    <a:pt x="49" y="20"/>
                    <a:pt x="49" y="20"/>
                  </a:cubicBezTo>
                  <a:cubicBezTo>
                    <a:pt x="49" y="18"/>
                    <a:pt x="49" y="17"/>
                    <a:pt x="48" y="15"/>
                  </a:cubicBezTo>
                  <a:cubicBezTo>
                    <a:pt x="47" y="14"/>
                    <a:pt x="46" y="14"/>
                    <a:pt x="45" y="13"/>
                  </a:cubicBezTo>
                  <a:cubicBezTo>
                    <a:pt x="44" y="13"/>
                    <a:pt x="44" y="13"/>
                    <a:pt x="43" y="13"/>
                  </a:cubicBezTo>
                  <a:cubicBezTo>
                    <a:pt x="43" y="13"/>
                    <a:pt x="43" y="11"/>
                    <a:pt x="43" y="10"/>
                  </a:cubicBezTo>
                  <a:cubicBezTo>
                    <a:pt x="42" y="9"/>
                    <a:pt x="42" y="7"/>
                    <a:pt x="41" y="6"/>
                  </a:cubicBezTo>
                  <a:cubicBezTo>
                    <a:pt x="39" y="4"/>
                    <a:pt x="34" y="1"/>
                    <a:pt x="33" y="0"/>
                  </a:cubicBezTo>
                  <a:cubicBezTo>
                    <a:pt x="32" y="0"/>
                    <a:pt x="31" y="0"/>
                    <a:pt x="31" y="0"/>
                  </a:cubicBezTo>
                  <a:cubicBezTo>
                    <a:pt x="5" y="8"/>
                    <a:pt x="5" y="8"/>
                    <a:pt x="5" y="8"/>
                  </a:cubicBezTo>
                  <a:cubicBezTo>
                    <a:pt x="5" y="8"/>
                    <a:pt x="5" y="8"/>
                    <a:pt x="5" y="8"/>
                  </a:cubicBezTo>
                  <a:cubicBezTo>
                    <a:pt x="2" y="8"/>
                    <a:pt x="1" y="9"/>
                    <a:pt x="1" y="10"/>
                  </a:cubicBezTo>
                  <a:cubicBezTo>
                    <a:pt x="0" y="12"/>
                    <a:pt x="1" y="14"/>
                    <a:pt x="1" y="15"/>
                  </a:cubicBezTo>
                  <a:cubicBezTo>
                    <a:pt x="17" y="71"/>
                    <a:pt x="17" y="71"/>
                    <a:pt x="17" y="71"/>
                  </a:cubicBezTo>
                  <a:cubicBezTo>
                    <a:pt x="18" y="74"/>
                    <a:pt x="18" y="77"/>
                    <a:pt x="18" y="78"/>
                  </a:cubicBezTo>
                  <a:cubicBezTo>
                    <a:pt x="18" y="78"/>
                    <a:pt x="18" y="79"/>
                    <a:pt x="17" y="80"/>
                  </a:cubicBezTo>
                  <a:cubicBezTo>
                    <a:pt x="17" y="81"/>
                    <a:pt x="16" y="82"/>
                    <a:pt x="16" y="84"/>
                  </a:cubicBezTo>
                  <a:cubicBezTo>
                    <a:pt x="16" y="85"/>
                    <a:pt x="16" y="86"/>
                    <a:pt x="17" y="87"/>
                  </a:cubicBezTo>
                  <a:cubicBezTo>
                    <a:pt x="18" y="91"/>
                    <a:pt x="18" y="91"/>
                    <a:pt x="18" y="91"/>
                  </a:cubicBezTo>
                  <a:cubicBezTo>
                    <a:pt x="18" y="92"/>
                    <a:pt x="18" y="92"/>
                    <a:pt x="19" y="93"/>
                  </a:cubicBezTo>
                  <a:cubicBezTo>
                    <a:pt x="19" y="93"/>
                    <a:pt x="20" y="93"/>
                    <a:pt x="20" y="93"/>
                  </a:cubicBezTo>
                  <a:cubicBezTo>
                    <a:pt x="20" y="93"/>
                    <a:pt x="21" y="93"/>
                    <a:pt x="21" y="93"/>
                  </a:cubicBezTo>
                  <a:cubicBezTo>
                    <a:pt x="28" y="89"/>
                    <a:pt x="28" y="89"/>
                    <a:pt x="28" y="89"/>
                  </a:cubicBezTo>
                  <a:cubicBezTo>
                    <a:pt x="30" y="88"/>
                    <a:pt x="47" y="80"/>
                    <a:pt x="51" y="74"/>
                  </a:cubicBezTo>
                  <a:cubicBezTo>
                    <a:pt x="53" y="71"/>
                    <a:pt x="53" y="66"/>
                    <a:pt x="53" y="64"/>
                  </a:cubicBezTo>
                  <a:cubicBezTo>
                    <a:pt x="53" y="62"/>
                    <a:pt x="52" y="60"/>
                    <a:pt x="51" y="58"/>
                  </a:cubicBezTo>
                  <a:cubicBezTo>
                    <a:pt x="51" y="56"/>
                    <a:pt x="50" y="55"/>
                    <a:pt x="50" y="54"/>
                  </a:cubicBezTo>
                  <a:cubicBezTo>
                    <a:pt x="50" y="53"/>
                    <a:pt x="50" y="52"/>
                    <a:pt x="50" y="51"/>
                  </a:cubicBezTo>
                  <a:cubicBezTo>
                    <a:pt x="50" y="49"/>
                    <a:pt x="49" y="48"/>
                    <a:pt x="49" y="46"/>
                  </a:cubicBezTo>
                  <a:cubicBezTo>
                    <a:pt x="48" y="44"/>
                    <a:pt x="46" y="43"/>
                    <a:pt x="42" y="42"/>
                  </a:cubicBezTo>
                  <a:cubicBezTo>
                    <a:pt x="41" y="42"/>
                    <a:pt x="40" y="42"/>
                    <a:pt x="39" y="41"/>
                  </a:cubicBezTo>
                  <a:cubicBezTo>
                    <a:pt x="39" y="41"/>
                    <a:pt x="40" y="40"/>
                    <a:pt x="40" y="39"/>
                  </a:cubicBezTo>
                  <a:cubicBezTo>
                    <a:pt x="41" y="38"/>
                    <a:pt x="42" y="37"/>
                    <a:pt x="42" y="35"/>
                  </a:cubicBezTo>
                  <a:cubicBezTo>
                    <a:pt x="42" y="34"/>
                    <a:pt x="41" y="32"/>
                    <a:pt x="40" y="31"/>
                  </a:cubicBezTo>
                  <a:cubicBezTo>
                    <a:pt x="41" y="31"/>
                    <a:pt x="42" y="31"/>
                    <a:pt x="43" y="32"/>
                  </a:cubicBezTo>
                  <a:cubicBezTo>
                    <a:pt x="45" y="33"/>
                    <a:pt x="47" y="34"/>
                    <a:pt x="49" y="34"/>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2">
              <a:extLst>
                <a:ext uri="{FF2B5EF4-FFF2-40B4-BE49-F238E27FC236}">
                  <a16:creationId xmlns:a16="http://schemas.microsoft.com/office/drawing/2014/main" id="{FF38FF2A-79CD-4EF6-8897-806F41B525D7}"/>
                </a:ext>
              </a:extLst>
            </p:cNvPr>
            <p:cNvSpPr>
              <a:spLocks/>
            </p:cNvSpPr>
            <p:nvPr/>
          </p:nvSpPr>
          <p:spPr bwMode="auto">
            <a:xfrm>
              <a:off x="4615083" y="2610407"/>
              <a:ext cx="723680" cy="597339"/>
            </a:xfrm>
            <a:custGeom>
              <a:avLst/>
              <a:gdLst>
                <a:gd name="T0" fmla="*/ 649 w 651"/>
                <a:gd name="T1" fmla="*/ 63 h 537"/>
                <a:gd name="T2" fmla="*/ 538 w 651"/>
                <a:gd name="T3" fmla="*/ 54 h 537"/>
                <a:gd name="T4" fmla="*/ 375 w 651"/>
                <a:gd name="T5" fmla="*/ 38 h 537"/>
                <a:gd name="T6" fmla="*/ 229 w 651"/>
                <a:gd name="T7" fmla="*/ 21 h 537"/>
                <a:gd name="T8" fmla="*/ 78 w 651"/>
                <a:gd name="T9" fmla="*/ 0 h 537"/>
                <a:gd name="T10" fmla="*/ 76 w 651"/>
                <a:gd name="T11" fmla="*/ 1 h 537"/>
                <a:gd name="T12" fmla="*/ 69 w 651"/>
                <a:gd name="T13" fmla="*/ 6 h 537"/>
                <a:gd name="T14" fmla="*/ 68 w 651"/>
                <a:gd name="T15" fmla="*/ 7 h 537"/>
                <a:gd name="T16" fmla="*/ 60 w 651"/>
                <a:gd name="T17" fmla="*/ 59 h 537"/>
                <a:gd name="T18" fmla="*/ 18 w 651"/>
                <a:gd name="T19" fmla="*/ 350 h 537"/>
                <a:gd name="T20" fmla="*/ 0 w 651"/>
                <a:gd name="T21" fmla="*/ 467 h 537"/>
                <a:gd name="T22" fmla="*/ 1 w 651"/>
                <a:gd name="T23" fmla="*/ 469 h 537"/>
                <a:gd name="T24" fmla="*/ 3 w 651"/>
                <a:gd name="T25" fmla="*/ 470 h 537"/>
                <a:gd name="T26" fmla="*/ 177 w 651"/>
                <a:gd name="T27" fmla="*/ 493 h 537"/>
                <a:gd name="T28" fmla="*/ 261 w 651"/>
                <a:gd name="T29" fmla="*/ 503 h 537"/>
                <a:gd name="T30" fmla="*/ 403 w 651"/>
                <a:gd name="T31" fmla="*/ 519 h 537"/>
                <a:gd name="T32" fmla="*/ 479 w 651"/>
                <a:gd name="T33" fmla="*/ 526 h 537"/>
                <a:gd name="T34" fmla="*/ 616 w 651"/>
                <a:gd name="T35" fmla="*/ 537 h 537"/>
                <a:gd name="T36" fmla="*/ 616 w 651"/>
                <a:gd name="T37" fmla="*/ 537 h 537"/>
                <a:gd name="T38" fmla="*/ 618 w 651"/>
                <a:gd name="T39" fmla="*/ 536 h 537"/>
                <a:gd name="T40" fmla="*/ 618 w 651"/>
                <a:gd name="T41" fmla="*/ 534 h 537"/>
                <a:gd name="T42" fmla="*/ 634 w 651"/>
                <a:gd name="T43" fmla="*/ 299 h 537"/>
                <a:gd name="T44" fmla="*/ 651 w 651"/>
                <a:gd name="T45" fmla="*/ 66 h 537"/>
                <a:gd name="T46" fmla="*/ 649 w 651"/>
                <a:gd name="T47" fmla="*/ 63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1" h="537">
                  <a:moveTo>
                    <a:pt x="649" y="63"/>
                  </a:moveTo>
                  <a:cubicBezTo>
                    <a:pt x="538" y="54"/>
                    <a:pt x="538" y="54"/>
                    <a:pt x="538" y="54"/>
                  </a:cubicBezTo>
                  <a:cubicBezTo>
                    <a:pt x="375" y="38"/>
                    <a:pt x="375" y="38"/>
                    <a:pt x="375" y="38"/>
                  </a:cubicBezTo>
                  <a:cubicBezTo>
                    <a:pt x="229" y="21"/>
                    <a:pt x="229" y="21"/>
                    <a:pt x="229" y="21"/>
                  </a:cubicBezTo>
                  <a:cubicBezTo>
                    <a:pt x="78" y="0"/>
                    <a:pt x="78" y="0"/>
                    <a:pt x="78" y="0"/>
                  </a:cubicBezTo>
                  <a:cubicBezTo>
                    <a:pt x="78" y="0"/>
                    <a:pt x="77" y="0"/>
                    <a:pt x="76" y="1"/>
                  </a:cubicBezTo>
                  <a:cubicBezTo>
                    <a:pt x="69" y="6"/>
                    <a:pt x="69" y="6"/>
                    <a:pt x="69" y="6"/>
                  </a:cubicBezTo>
                  <a:cubicBezTo>
                    <a:pt x="69" y="6"/>
                    <a:pt x="68" y="7"/>
                    <a:pt x="68" y="7"/>
                  </a:cubicBezTo>
                  <a:cubicBezTo>
                    <a:pt x="60" y="59"/>
                    <a:pt x="60" y="59"/>
                    <a:pt x="60" y="59"/>
                  </a:cubicBezTo>
                  <a:cubicBezTo>
                    <a:pt x="18" y="350"/>
                    <a:pt x="18" y="350"/>
                    <a:pt x="18" y="350"/>
                  </a:cubicBezTo>
                  <a:cubicBezTo>
                    <a:pt x="0" y="467"/>
                    <a:pt x="0" y="467"/>
                    <a:pt x="0" y="467"/>
                  </a:cubicBezTo>
                  <a:cubicBezTo>
                    <a:pt x="0" y="467"/>
                    <a:pt x="0" y="468"/>
                    <a:pt x="1" y="469"/>
                  </a:cubicBezTo>
                  <a:cubicBezTo>
                    <a:pt x="1" y="469"/>
                    <a:pt x="2" y="469"/>
                    <a:pt x="3" y="470"/>
                  </a:cubicBezTo>
                  <a:cubicBezTo>
                    <a:pt x="177" y="493"/>
                    <a:pt x="177" y="493"/>
                    <a:pt x="177" y="493"/>
                  </a:cubicBezTo>
                  <a:cubicBezTo>
                    <a:pt x="261" y="503"/>
                    <a:pt x="261" y="503"/>
                    <a:pt x="261" y="503"/>
                  </a:cubicBezTo>
                  <a:cubicBezTo>
                    <a:pt x="403" y="519"/>
                    <a:pt x="403" y="519"/>
                    <a:pt x="403" y="519"/>
                  </a:cubicBezTo>
                  <a:cubicBezTo>
                    <a:pt x="479" y="526"/>
                    <a:pt x="479" y="526"/>
                    <a:pt x="479" y="526"/>
                  </a:cubicBezTo>
                  <a:cubicBezTo>
                    <a:pt x="616" y="537"/>
                    <a:pt x="616" y="537"/>
                    <a:pt x="616" y="537"/>
                  </a:cubicBezTo>
                  <a:cubicBezTo>
                    <a:pt x="616" y="537"/>
                    <a:pt x="616" y="537"/>
                    <a:pt x="616" y="537"/>
                  </a:cubicBezTo>
                  <a:cubicBezTo>
                    <a:pt x="617" y="537"/>
                    <a:pt x="617" y="536"/>
                    <a:pt x="618" y="536"/>
                  </a:cubicBezTo>
                  <a:cubicBezTo>
                    <a:pt x="618" y="536"/>
                    <a:pt x="618" y="535"/>
                    <a:pt x="618" y="534"/>
                  </a:cubicBezTo>
                  <a:cubicBezTo>
                    <a:pt x="634" y="299"/>
                    <a:pt x="634" y="299"/>
                    <a:pt x="634" y="299"/>
                  </a:cubicBezTo>
                  <a:cubicBezTo>
                    <a:pt x="651" y="66"/>
                    <a:pt x="651" y="66"/>
                    <a:pt x="651" y="66"/>
                  </a:cubicBezTo>
                  <a:cubicBezTo>
                    <a:pt x="651" y="64"/>
                    <a:pt x="650" y="63"/>
                    <a:pt x="649" y="63"/>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3">
              <a:extLst>
                <a:ext uri="{FF2B5EF4-FFF2-40B4-BE49-F238E27FC236}">
                  <a16:creationId xmlns:a16="http://schemas.microsoft.com/office/drawing/2014/main" id="{46B64EF4-DAEE-47AC-AC8D-5201A13EA96A}"/>
                </a:ext>
              </a:extLst>
            </p:cNvPr>
            <p:cNvSpPr>
              <a:spLocks/>
            </p:cNvSpPr>
            <p:nvPr/>
          </p:nvSpPr>
          <p:spPr bwMode="auto">
            <a:xfrm>
              <a:off x="4744456" y="3153167"/>
              <a:ext cx="750970" cy="590264"/>
            </a:xfrm>
            <a:custGeom>
              <a:avLst/>
              <a:gdLst>
                <a:gd name="T0" fmla="*/ 675 w 676"/>
                <a:gd name="T1" fmla="*/ 58 h 531"/>
                <a:gd name="T2" fmla="*/ 667 w 676"/>
                <a:gd name="T3" fmla="*/ 54 h 531"/>
                <a:gd name="T4" fmla="*/ 666 w 676"/>
                <a:gd name="T5" fmla="*/ 54 h 531"/>
                <a:gd name="T6" fmla="*/ 145 w 676"/>
                <a:gd name="T7" fmla="*/ 10 h 531"/>
                <a:gd name="T8" fmla="*/ 62 w 676"/>
                <a:gd name="T9" fmla="*/ 0 h 531"/>
                <a:gd name="T10" fmla="*/ 59 w 676"/>
                <a:gd name="T11" fmla="*/ 3 h 531"/>
                <a:gd name="T12" fmla="*/ 0 w 676"/>
                <a:gd name="T13" fmla="*/ 467 h 531"/>
                <a:gd name="T14" fmla="*/ 0 w 676"/>
                <a:gd name="T15" fmla="*/ 471 h 531"/>
                <a:gd name="T16" fmla="*/ 0 w 676"/>
                <a:gd name="T17" fmla="*/ 472 h 531"/>
                <a:gd name="T18" fmla="*/ 2 w 676"/>
                <a:gd name="T19" fmla="*/ 473 h 531"/>
                <a:gd name="T20" fmla="*/ 155 w 676"/>
                <a:gd name="T21" fmla="*/ 491 h 531"/>
                <a:gd name="T22" fmla="*/ 291 w 676"/>
                <a:gd name="T23" fmla="*/ 505 h 531"/>
                <a:gd name="T24" fmla="*/ 456 w 676"/>
                <a:gd name="T25" fmla="*/ 519 h 531"/>
                <a:gd name="T26" fmla="*/ 651 w 676"/>
                <a:gd name="T27" fmla="*/ 531 h 531"/>
                <a:gd name="T28" fmla="*/ 651 w 676"/>
                <a:gd name="T29" fmla="*/ 531 h 531"/>
                <a:gd name="T30" fmla="*/ 652 w 676"/>
                <a:gd name="T31" fmla="*/ 530 h 531"/>
                <a:gd name="T32" fmla="*/ 653 w 676"/>
                <a:gd name="T33" fmla="*/ 529 h 531"/>
                <a:gd name="T34" fmla="*/ 670 w 676"/>
                <a:gd name="T35" fmla="*/ 175 h 531"/>
                <a:gd name="T36" fmla="*/ 676 w 676"/>
                <a:gd name="T37" fmla="*/ 61 h 531"/>
                <a:gd name="T38" fmla="*/ 675 w 676"/>
                <a:gd name="T39" fmla="*/ 58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6" h="531">
                  <a:moveTo>
                    <a:pt x="675" y="58"/>
                  </a:moveTo>
                  <a:cubicBezTo>
                    <a:pt x="667" y="54"/>
                    <a:pt x="667" y="54"/>
                    <a:pt x="667" y="54"/>
                  </a:cubicBezTo>
                  <a:cubicBezTo>
                    <a:pt x="667" y="54"/>
                    <a:pt x="666" y="54"/>
                    <a:pt x="666" y="54"/>
                  </a:cubicBezTo>
                  <a:cubicBezTo>
                    <a:pt x="507" y="46"/>
                    <a:pt x="337" y="32"/>
                    <a:pt x="145" y="10"/>
                  </a:cubicBezTo>
                  <a:cubicBezTo>
                    <a:pt x="62" y="0"/>
                    <a:pt x="62" y="0"/>
                    <a:pt x="62" y="0"/>
                  </a:cubicBezTo>
                  <a:cubicBezTo>
                    <a:pt x="60" y="0"/>
                    <a:pt x="59" y="1"/>
                    <a:pt x="59" y="3"/>
                  </a:cubicBezTo>
                  <a:cubicBezTo>
                    <a:pt x="0" y="467"/>
                    <a:pt x="0" y="467"/>
                    <a:pt x="0" y="467"/>
                  </a:cubicBezTo>
                  <a:cubicBezTo>
                    <a:pt x="0" y="471"/>
                    <a:pt x="0" y="471"/>
                    <a:pt x="0" y="471"/>
                  </a:cubicBezTo>
                  <a:cubicBezTo>
                    <a:pt x="0" y="471"/>
                    <a:pt x="0" y="472"/>
                    <a:pt x="0" y="472"/>
                  </a:cubicBezTo>
                  <a:cubicBezTo>
                    <a:pt x="1" y="473"/>
                    <a:pt x="1" y="473"/>
                    <a:pt x="2" y="473"/>
                  </a:cubicBezTo>
                  <a:cubicBezTo>
                    <a:pt x="155" y="491"/>
                    <a:pt x="155" y="491"/>
                    <a:pt x="155" y="491"/>
                  </a:cubicBezTo>
                  <a:cubicBezTo>
                    <a:pt x="291" y="505"/>
                    <a:pt x="291" y="505"/>
                    <a:pt x="291" y="505"/>
                  </a:cubicBezTo>
                  <a:cubicBezTo>
                    <a:pt x="456" y="519"/>
                    <a:pt x="456" y="519"/>
                    <a:pt x="456" y="519"/>
                  </a:cubicBezTo>
                  <a:cubicBezTo>
                    <a:pt x="651" y="531"/>
                    <a:pt x="651" y="531"/>
                    <a:pt x="651" y="531"/>
                  </a:cubicBezTo>
                  <a:cubicBezTo>
                    <a:pt x="651" y="531"/>
                    <a:pt x="651" y="531"/>
                    <a:pt x="651" y="531"/>
                  </a:cubicBezTo>
                  <a:cubicBezTo>
                    <a:pt x="651" y="531"/>
                    <a:pt x="652" y="531"/>
                    <a:pt x="652" y="530"/>
                  </a:cubicBezTo>
                  <a:cubicBezTo>
                    <a:pt x="653" y="530"/>
                    <a:pt x="653" y="529"/>
                    <a:pt x="653" y="529"/>
                  </a:cubicBezTo>
                  <a:cubicBezTo>
                    <a:pt x="670" y="175"/>
                    <a:pt x="670" y="175"/>
                    <a:pt x="670" y="175"/>
                  </a:cubicBezTo>
                  <a:cubicBezTo>
                    <a:pt x="676" y="61"/>
                    <a:pt x="676" y="61"/>
                    <a:pt x="676" y="61"/>
                  </a:cubicBezTo>
                  <a:cubicBezTo>
                    <a:pt x="676" y="60"/>
                    <a:pt x="676" y="59"/>
                    <a:pt x="675" y="58"/>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4">
              <a:extLst>
                <a:ext uri="{FF2B5EF4-FFF2-40B4-BE49-F238E27FC236}">
                  <a16:creationId xmlns:a16="http://schemas.microsoft.com/office/drawing/2014/main" id="{F6D29F56-8926-40A3-95B8-259082C4393F}"/>
                </a:ext>
              </a:extLst>
            </p:cNvPr>
            <p:cNvSpPr>
              <a:spLocks/>
            </p:cNvSpPr>
            <p:nvPr/>
          </p:nvSpPr>
          <p:spPr bwMode="auto">
            <a:xfrm>
              <a:off x="4924365" y="3800032"/>
              <a:ext cx="1445339" cy="1407942"/>
            </a:xfrm>
            <a:custGeom>
              <a:avLst/>
              <a:gdLst>
                <a:gd name="T0" fmla="*/ 975 w 1300"/>
                <a:gd name="T1" fmla="*/ 978 h 1266"/>
                <a:gd name="T2" fmla="*/ 1013 w 1300"/>
                <a:gd name="T3" fmla="*/ 965 h 1266"/>
                <a:gd name="T4" fmla="*/ 988 w 1300"/>
                <a:gd name="T5" fmla="*/ 933 h 1266"/>
                <a:gd name="T6" fmla="*/ 1012 w 1300"/>
                <a:gd name="T7" fmla="*/ 928 h 1266"/>
                <a:gd name="T8" fmla="*/ 1035 w 1300"/>
                <a:gd name="T9" fmla="*/ 956 h 1266"/>
                <a:gd name="T10" fmla="*/ 1065 w 1300"/>
                <a:gd name="T11" fmla="*/ 940 h 1266"/>
                <a:gd name="T12" fmla="*/ 1125 w 1300"/>
                <a:gd name="T13" fmla="*/ 906 h 1266"/>
                <a:gd name="T14" fmla="*/ 1170 w 1300"/>
                <a:gd name="T15" fmla="*/ 850 h 1266"/>
                <a:gd name="T16" fmla="*/ 1155 w 1300"/>
                <a:gd name="T17" fmla="*/ 813 h 1266"/>
                <a:gd name="T18" fmla="*/ 1179 w 1300"/>
                <a:gd name="T19" fmla="*/ 830 h 1266"/>
                <a:gd name="T20" fmla="*/ 1250 w 1300"/>
                <a:gd name="T21" fmla="*/ 816 h 1266"/>
                <a:gd name="T22" fmla="*/ 1284 w 1300"/>
                <a:gd name="T23" fmla="*/ 724 h 1266"/>
                <a:gd name="T24" fmla="*/ 1296 w 1300"/>
                <a:gd name="T25" fmla="*/ 671 h 1266"/>
                <a:gd name="T26" fmla="*/ 1295 w 1300"/>
                <a:gd name="T27" fmla="*/ 635 h 1266"/>
                <a:gd name="T28" fmla="*/ 1267 w 1300"/>
                <a:gd name="T29" fmla="*/ 589 h 1266"/>
                <a:gd name="T30" fmla="*/ 1239 w 1300"/>
                <a:gd name="T31" fmla="*/ 361 h 1266"/>
                <a:gd name="T32" fmla="*/ 1175 w 1300"/>
                <a:gd name="T33" fmla="*/ 346 h 1266"/>
                <a:gd name="T34" fmla="*/ 1117 w 1300"/>
                <a:gd name="T35" fmla="*/ 324 h 1266"/>
                <a:gd name="T36" fmla="*/ 1070 w 1300"/>
                <a:gd name="T37" fmla="*/ 329 h 1266"/>
                <a:gd name="T38" fmla="*/ 1023 w 1300"/>
                <a:gd name="T39" fmla="*/ 340 h 1266"/>
                <a:gd name="T40" fmla="*/ 985 w 1300"/>
                <a:gd name="T41" fmla="*/ 325 h 1266"/>
                <a:gd name="T42" fmla="*/ 954 w 1300"/>
                <a:gd name="T43" fmla="*/ 324 h 1266"/>
                <a:gd name="T44" fmla="*/ 936 w 1300"/>
                <a:gd name="T45" fmla="*/ 327 h 1266"/>
                <a:gd name="T46" fmla="*/ 896 w 1300"/>
                <a:gd name="T47" fmla="*/ 317 h 1266"/>
                <a:gd name="T48" fmla="*/ 860 w 1300"/>
                <a:gd name="T49" fmla="*/ 312 h 1266"/>
                <a:gd name="T50" fmla="*/ 818 w 1300"/>
                <a:gd name="T51" fmla="*/ 301 h 1266"/>
                <a:gd name="T52" fmla="*/ 771 w 1300"/>
                <a:gd name="T53" fmla="*/ 289 h 1266"/>
                <a:gd name="T54" fmla="*/ 742 w 1300"/>
                <a:gd name="T55" fmla="*/ 270 h 1266"/>
                <a:gd name="T56" fmla="*/ 709 w 1300"/>
                <a:gd name="T57" fmla="*/ 260 h 1266"/>
                <a:gd name="T58" fmla="*/ 667 w 1300"/>
                <a:gd name="T59" fmla="*/ 226 h 1266"/>
                <a:gd name="T60" fmla="*/ 394 w 1300"/>
                <a:gd name="T61" fmla="*/ 0 h 1266"/>
                <a:gd name="T62" fmla="*/ 348 w 1300"/>
                <a:gd name="T63" fmla="*/ 528 h 1266"/>
                <a:gd name="T64" fmla="*/ 0 w 1300"/>
                <a:gd name="T65" fmla="*/ 503 h 1266"/>
                <a:gd name="T66" fmla="*/ 31 w 1300"/>
                <a:gd name="T67" fmla="*/ 544 h 1266"/>
                <a:gd name="T68" fmla="*/ 83 w 1300"/>
                <a:gd name="T69" fmla="*/ 606 h 1266"/>
                <a:gd name="T70" fmla="*/ 144 w 1300"/>
                <a:gd name="T71" fmla="*/ 666 h 1266"/>
                <a:gd name="T72" fmla="*/ 167 w 1300"/>
                <a:gd name="T73" fmla="*/ 705 h 1266"/>
                <a:gd name="T74" fmla="*/ 192 w 1300"/>
                <a:gd name="T75" fmla="*/ 795 h 1266"/>
                <a:gd name="T76" fmla="*/ 246 w 1300"/>
                <a:gd name="T77" fmla="*/ 839 h 1266"/>
                <a:gd name="T78" fmla="*/ 307 w 1300"/>
                <a:gd name="T79" fmla="*/ 874 h 1266"/>
                <a:gd name="T80" fmla="*/ 342 w 1300"/>
                <a:gd name="T81" fmla="*/ 860 h 1266"/>
                <a:gd name="T82" fmla="*/ 376 w 1300"/>
                <a:gd name="T83" fmla="*/ 799 h 1266"/>
                <a:gd name="T84" fmla="*/ 414 w 1300"/>
                <a:gd name="T85" fmla="*/ 783 h 1266"/>
                <a:gd name="T86" fmla="*/ 464 w 1300"/>
                <a:gd name="T87" fmla="*/ 792 h 1266"/>
                <a:gd name="T88" fmla="*/ 515 w 1300"/>
                <a:gd name="T89" fmla="*/ 815 h 1266"/>
                <a:gd name="T90" fmla="*/ 543 w 1300"/>
                <a:gd name="T91" fmla="*/ 843 h 1266"/>
                <a:gd name="T92" fmla="*/ 595 w 1300"/>
                <a:gd name="T93" fmla="*/ 925 h 1266"/>
                <a:gd name="T94" fmla="*/ 611 w 1300"/>
                <a:gd name="T95" fmla="*/ 966 h 1266"/>
                <a:gd name="T96" fmla="*/ 649 w 1300"/>
                <a:gd name="T97" fmla="*/ 1014 h 1266"/>
                <a:gd name="T98" fmla="*/ 692 w 1300"/>
                <a:gd name="T99" fmla="*/ 1062 h 1266"/>
                <a:gd name="T100" fmla="*/ 698 w 1300"/>
                <a:gd name="T101" fmla="*/ 1106 h 1266"/>
                <a:gd name="T102" fmla="*/ 722 w 1300"/>
                <a:gd name="T103" fmla="*/ 1166 h 1266"/>
                <a:gd name="T104" fmla="*/ 758 w 1300"/>
                <a:gd name="T105" fmla="*/ 1204 h 1266"/>
                <a:gd name="T106" fmla="*/ 794 w 1300"/>
                <a:gd name="T107" fmla="*/ 1220 h 1266"/>
                <a:gd name="T108" fmla="*/ 877 w 1300"/>
                <a:gd name="T109" fmla="*/ 1243 h 1266"/>
                <a:gd name="T110" fmla="*/ 934 w 1300"/>
                <a:gd name="T111" fmla="*/ 1252 h 1266"/>
                <a:gd name="T112" fmla="*/ 907 w 1300"/>
                <a:gd name="T113" fmla="*/ 1192 h 1266"/>
                <a:gd name="T114" fmla="*/ 894 w 1300"/>
                <a:gd name="T115" fmla="*/ 1137 h 1266"/>
                <a:gd name="T116" fmla="*/ 908 w 1300"/>
                <a:gd name="T117" fmla="*/ 1100 h 1266"/>
                <a:gd name="T118" fmla="*/ 918 w 1300"/>
                <a:gd name="T119" fmla="*/ 1046 h 1266"/>
                <a:gd name="T120" fmla="*/ 949 w 1300"/>
                <a:gd name="T121" fmla="*/ 1017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0" h="1266">
                  <a:moveTo>
                    <a:pt x="950" y="994"/>
                  </a:moveTo>
                  <a:cubicBezTo>
                    <a:pt x="952" y="992"/>
                    <a:pt x="959" y="982"/>
                    <a:pt x="961" y="992"/>
                  </a:cubicBezTo>
                  <a:cubicBezTo>
                    <a:pt x="961" y="994"/>
                    <a:pt x="957" y="998"/>
                    <a:pt x="959" y="1000"/>
                  </a:cubicBezTo>
                  <a:cubicBezTo>
                    <a:pt x="960" y="1001"/>
                    <a:pt x="965" y="997"/>
                    <a:pt x="966" y="996"/>
                  </a:cubicBezTo>
                  <a:cubicBezTo>
                    <a:pt x="969" y="994"/>
                    <a:pt x="974" y="989"/>
                    <a:pt x="975" y="986"/>
                  </a:cubicBezTo>
                  <a:cubicBezTo>
                    <a:pt x="975" y="984"/>
                    <a:pt x="975" y="980"/>
                    <a:pt x="975" y="978"/>
                  </a:cubicBezTo>
                  <a:cubicBezTo>
                    <a:pt x="974" y="976"/>
                    <a:pt x="971" y="973"/>
                    <a:pt x="971" y="971"/>
                  </a:cubicBezTo>
                  <a:cubicBezTo>
                    <a:pt x="971" y="969"/>
                    <a:pt x="975" y="965"/>
                    <a:pt x="975" y="963"/>
                  </a:cubicBezTo>
                  <a:cubicBezTo>
                    <a:pt x="975" y="962"/>
                    <a:pt x="973" y="960"/>
                    <a:pt x="973" y="960"/>
                  </a:cubicBezTo>
                  <a:cubicBezTo>
                    <a:pt x="977" y="958"/>
                    <a:pt x="980" y="972"/>
                    <a:pt x="983" y="974"/>
                  </a:cubicBezTo>
                  <a:cubicBezTo>
                    <a:pt x="985" y="976"/>
                    <a:pt x="989" y="977"/>
                    <a:pt x="991" y="977"/>
                  </a:cubicBezTo>
                  <a:cubicBezTo>
                    <a:pt x="997" y="977"/>
                    <a:pt x="1009" y="970"/>
                    <a:pt x="1013" y="965"/>
                  </a:cubicBezTo>
                  <a:cubicBezTo>
                    <a:pt x="1014" y="964"/>
                    <a:pt x="1015" y="963"/>
                    <a:pt x="1014" y="962"/>
                  </a:cubicBezTo>
                  <a:cubicBezTo>
                    <a:pt x="1014" y="960"/>
                    <a:pt x="1009" y="958"/>
                    <a:pt x="1007" y="958"/>
                  </a:cubicBezTo>
                  <a:cubicBezTo>
                    <a:pt x="1005" y="957"/>
                    <a:pt x="1001" y="962"/>
                    <a:pt x="999" y="960"/>
                  </a:cubicBezTo>
                  <a:cubicBezTo>
                    <a:pt x="998" y="958"/>
                    <a:pt x="1004" y="955"/>
                    <a:pt x="1004" y="953"/>
                  </a:cubicBezTo>
                  <a:cubicBezTo>
                    <a:pt x="1003" y="951"/>
                    <a:pt x="998" y="949"/>
                    <a:pt x="996" y="948"/>
                  </a:cubicBezTo>
                  <a:cubicBezTo>
                    <a:pt x="994" y="944"/>
                    <a:pt x="986" y="936"/>
                    <a:pt x="988" y="933"/>
                  </a:cubicBezTo>
                  <a:cubicBezTo>
                    <a:pt x="990" y="931"/>
                    <a:pt x="995" y="931"/>
                    <a:pt x="996" y="932"/>
                  </a:cubicBezTo>
                  <a:cubicBezTo>
                    <a:pt x="997" y="933"/>
                    <a:pt x="997" y="936"/>
                    <a:pt x="998" y="937"/>
                  </a:cubicBezTo>
                  <a:cubicBezTo>
                    <a:pt x="1000" y="940"/>
                    <a:pt x="1006" y="946"/>
                    <a:pt x="1009" y="946"/>
                  </a:cubicBezTo>
                  <a:cubicBezTo>
                    <a:pt x="1011" y="947"/>
                    <a:pt x="1016" y="945"/>
                    <a:pt x="1017" y="943"/>
                  </a:cubicBezTo>
                  <a:cubicBezTo>
                    <a:pt x="1018" y="940"/>
                    <a:pt x="1009" y="933"/>
                    <a:pt x="1010" y="929"/>
                  </a:cubicBezTo>
                  <a:cubicBezTo>
                    <a:pt x="1010" y="929"/>
                    <a:pt x="1011" y="928"/>
                    <a:pt x="1012" y="928"/>
                  </a:cubicBezTo>
                  <a:cubicBezTo>
                    <a:pt x="1014" y="929"/>
                    <a:pt x="1014" y="935"/>
                    <a:pt x="1016" y="936"/>
                  </a:cubicBezTo>
                  <a:cubicBezTo>
                    <a:pt x="1017" y="938"/>
                    <a:pt x="1021" y="940"/>
                    <a:pt x="1023" y="940"/>
                  </a:cubicBezTo>
                  <a:cubicBezTo>
                    <a:pt x="1025" y="940"/>
                    <a:pt x="1029" y="934"/>
                    <a:pt x="1031" y="935"/>
                  </a:cubicBezTo>
                  <a:cubicBezTo>
                    <a:pt x="1033" y="935"/>
                    <a:pt x="1032" y="941"/>
                    <a:pt x="1034" y="942"/>
                  </a:cubicBezTo>
                  <a:cubicBezTo>
                    <a:pt x="1035" y="943"/>
                    <a:pt x="1039" y="941"/>
                    <a:pt x="1041" y="941"/>
                  </a:cubicBezTo>
                  <a:cubicBezTo>
                    <a:pt x="1048" y="943"/>
                    <a:pt x="1035" y="956"/>
                    <a:pt x="1035" y="956"/>
                  </a:cubicBezTo>
                  <a:cubicBezTo>
                    <a:pt x="1034" y="956"/>
                    <a:pt x="1033" y="957"/>
                    <a:pt x="1034" y="958"/>
                  </a:cubicBezTo>
                  <a:cubicBezTo>
                    <a:pt x="1039" y="962"/>
                    <a:pt x="1051" y="959"/>
                    <a:pt x="1056" y="955"/>
                  </a:cubicBezTo>
                  <a:cubicBezTo>
                    <a:pt x="1060" y="953"/>
                    <a:pt x="1068" y="952"/>
                    <a:pt x="1071" y="950"/>
                  </a:cubicBezTo>
                  <a:cubicBezTo>
                    <a:pt x="1074" y="949"/>
                    <a:pt x="1081" y="936"/>
                    <a:pt x="1080" y="934"/>
                  </a:cubicBezTo>
                  <a:cubicBezTo>
                    <a:pt x="1079" y="932"/>
                    <a:pt x="1074" y="935"/>
                    <a:pt x="1072" y="935"/>
                  </a:cubicBezTo>
                  <a:cubicBezTo>
                    <a:pt x="1070" y="936"/>
                    <a:pt x="1067" y="941"/>
                    <a:pt x="1065" y="940"/>
                  </a:cubicBezTo>
                  <a:cubicBezTo>
                    <a:pt x="1063" y="940"/>
                    <a:pt x="1063" y="935"/>
                    <a:pt x="1063" y="933"/>
                  </a:cubicBezTo>
                  <a:cubicBezTo>
                    <a:pt x="1065" y="930"/>
                    <a:pt x="1075" y="929"/>
                    <a:pt x="1079" y="928"/>
                  </a:cubicBezTo>
                  <a:cubicBezTo>
                    <a:pt x="1082" y="927"/>
                    <a:pt x="1090" y="928"/>
                    <a:pt x="1093" y="927"/>
                  </a:cubicBezTo>
                  <a:cubicBezTo>
                    <a:pt x="1097" y="925"/>
                    <a:pt x="1104" y="919"/>
                    <a:pt x="1107" y="917"/>
                  </a:cubicBezTo>
                  <a:cubicBezTo>
                    <a:pt x="1110" y="915"/>
                    <a:pt x="1118" y="912"/>
                    <a:pt x="1118" y="912"/>
                  </a:cubicBezTo>
                  <a:cubicBezTo>
                    <a:pt x="1125" y="906"/>
                    <a:pt x="1125" y="906"/>
                    <a:pt x="1125" y="906"/>
                  </a:cubicBezTo>
                  <a:cubicBezTo>
                    <a:pt x="1125" y="906"/>
                    <a:pt x="1138" y="897"/>
                    <a:pt x="1140" y="892"/>
                  </a:cubicBezTo>
                  <a:cubicBezTo>
                    <a:pt x="1141" y="889"/>
                    <a:pt x="1140" y="882"/>
                    <a:pt x="1141" y="879"/>
                  </a:cubicBezTo>
                  <a:cubicBezTo>
                    <a:pt x="1143" y="876"/>
                    <a:pt x="1151" y="873"/>
                    <a:pt x="1154" y="870"/>
                  </a:cubicBezTo>
                  <a:cubicBezTo>
                    <a:pt x="1155" y="869"/>
                    <a:pt x="1157" y="865"/>
                    <a:pt x="1159" y="863"/>
                  </a:cubicBezTo>
                  <a:cubicBezTo>
                    <a:pt x="1160" y="862"/>
                    <a:pt x="1165" y="861"/>
                    <a:pt x="1166" y="860"/>
                  </a:cubicBezTo>
                  <a:cubicBezTo>
                    <a:pt x="1168" y="858"/>
                    <a:pt x="1171" y="853"/>
                    <a:pt x="1170" y="850"/>
                  </a:cubicBezTo>
                  <a:cubicBezTo>
                    <a:pt x="1169" y="848"/>
                    <a:pt x="1163" y="849"/>
                    <a:pt x="1162" y="847"/>
                  </a:cubicBezTo>
                  <a:cubicBezTo>
                    <a:pt x="1160" y="845"/>
                    <a:pt x="1163" y="839"/>
                    <a:pt x="1162" y="837"/>
                  </a:cubicBezTo>
                  <a:cubicBezTo>
                    <a:pt x="1161" y="835"/>
                    <a:pt x="1155" y="833"/>
                    <a:pt x="1154" y="831"/>
                  </a:cubicBezTo>
                  <a:cubicBezTo>
                    <a:pt x="1154" y="829"/>
                    <a:pt x="1155" y="825"/>
                    <a:pt x="1155" y="824"/>
                  </a:cubicBezTo>
                  <a:cubicBezTo>
                    <a:pt x="1155" y="821"/>
                    <a:pt x="1151" y="818"/>
                    <a:pt x="1151" y="816"/>
                  </a:cubicBezTo>
                  <a:cubicBezTo>
                    <a:pt x="1152" y="815"/>
                    <a:pt x="1154" y="813"/>
                    <a:pt x="1155" y="813"/>
                  </a:cubicBezTo>
                  <a:cubicBezTo>
                    <a:pt x="1158" y="813"/>
                    <a:pt x="1163" y="820"/>
                    <a:pt x="1166" y="819"/>
                  </a:cubicBezTo>
                  <a:cubicBezTo>
                    <a:pt x="1168" y="819"/>
                    <a:pt x="1169" y="813"/>
                    <a:pt x="1170" y="811"/>
                  </a:cubicBezTo>
                  <a:cubicBezTo>
                    <a:pt x="1172" y="810"/>
                    <a:pt x="1175" y="806"/>
                    <a:pt x="1177" y="806"/>
                  </a:cubicBezTo>
                  <a:cubicBezTo>
                    <a:pt x="1179" y="805"/>
                    <a:pt x="1183" y="806"/>
                    <a:pt x="1185" y="807"/>
                  </a:cubicBezTo>
                  <a:cubicBezTo>
                    <a:pt x="1187" y="809"/>
                    <a:pt x="1185" y="812"/>
                    <a:pt x="1185" y="815"/>
                  </a:cubicBezTo>
                  <a:cubicBezTo>
                    <a:pt x="1184" y="819"/>
                    <a:pt x="1176" y="827"/>
                    <a:pt x="1179" y="830"/>
                  </a:cubicBezTo>
                  <a:cubicBezTo>
                    <a:pt x="1182" y="833"/>
                    <a:pt x="1191" y="829"/>
                    <a:pt x="1195" y="826"/>
                  </a:cubicBezTo>
                  <a:cubicBezTo>
                    <a:pt x="1207" y="817"/>
                    <a:pt x="1201" y="832"/>
                    <a:pt x="1200" y="834"/>
                  </a:cubicBezTo>
                  <a:cubicBezTo>
                    <a:pt x="1196" y="837"/>
                    <a:pt x="1187" y="841"/>
                    <a:pt x="1183" y="845"/>
                  </a:cubicBezTo>
                  <a:cubicBezTo>
                    <a:pt x="1182" y="847"/>
                    <a:pt x="1178" y="851"/>
                    <a:pt x="1179" y="853"/>
                  </a:cubicBezTo>
                  <a:cubicBezTo>
                    <a:pt x="1179" y="854"/>
                    <a:pt x="1181" y="853"/>
                    <a:pt x="1181" y="853"/>
                  </a:cubicBezTo>
                  <a:cubicBezTo>
                    <a:pt x="1205" y="843"/>
                    <a:pt x="1225" y="823"/>
                    <a:pt x="1250" y="816"/>
                  </a:cubicBezTo>
                  <a:cubicBezTo>
                    <a:pt x="1255" y="814"/>
                    <a:pt x="1262" y="819"/>
                    <a:pt x="1265" y="814"/>
                  </a:cubicBezTo>
                  <a:cubicBezTo>
                    <a:pt x="1267" y="809"/>
                    <a:pt x="1261" y="802"/>
                    <a:pt x="1261" y="798"/>
                  </a:cubicBezTo>
                  <a:cubicBezTo>
                    <a:pt x="1261" y="793"/>
                    <a:pt x="1267" y="786"/>
                    <a:pt x="1270" y="783"/>
                  </a:cubicBezTo>
                  <a:cubicBezTo>
                    <a:pt x="1285" y="766"/>
                    <a:pt x="1290" y="767"/>
                    <a:pt x="1283" y="741"/>
                  </a:cubicBezTo>
                  <a:cubicBezTo>
                    <a:pt x="1283" y="741"/>
                    <a:pt x="1279" y="735"/>
                    <a:pt x="1279" y="732"/>
                  </a:cubicBezTo>
                  <a:cubicBezTo>
                    <a:pt x="1279" y="730"/>
                    <a:pt x="1284" y="726"/>
                    <a:pt x="1284" y="724"/>
                  </a:cubicBezTo>
                  <a:cubicBezTo>
                    <a:pt x="1285" y="721"/>
                    <a:pt x="1281" y="713"/>
                    <a:pt x="1282" y="710"/>
                  </a:cubicBezTo>
                  <a:cubicBezTo>
                    <a:pt x="1282" y="708"/>
                    <a:pt x="1284" y="704"/>
                    <a:pt x="1286" y="702"/>
                  </a:cubicBezTo>
                  <a:cubicBezTo>
                    <a:pt x="1287" y="700"/>
                    <a:pt x="1290" y="697"/>
                    <a:pt x="1291" y="695"/>
                  </a:cubicBezTo>
                  <a:cubicBezTo>
                    <a:pt x="1292" y="693"/>
                    <a:pt x="1292" y="688"/>
                    <a:pt x="1293" y="687"/>
                  </a:cubicBezTo>
                  <a:cubicBezTo>
                    <a:pt x="1294" y="685"/>
                    <a:pt x="1297" y="681"/>
                    <a:pt x="1297" y="679"/>
                  </a:cubicBezTo>
                  <a:cubicBezTo>
                    <a:pt x="1298" y="677"/>
                    <a:pt x="1296" y="673"/>
                    <a:pt x="1296" y="671"/>
                  </a:cubicBezTo>
                  <a:cubicBezTo>
                    <a:pt x="1296" y="670"/>
                    <a:pt x="1299" y="666"/>
                    <a:pt x="1299" y="664"/>
                  </a:cubicBezTo>
                  <a:cubicBezTo>
                    <a:pt x="1299" y="662"/>
                    <a:pt x="1296" y="659"/>
                    <a:pt x="1296" y="657"/>
                  </a:cubicBezTo>
                  <a:cubicBezTo>
                    <a:pt x="1296" y="655"/>
                    <a:pt x="1299" y="653"/>
                    <a:pt x="1299" y="651"/>
                  </a:cubicBezTo>
                  <a:cubicBezTo>
                    <a:pt x="1300" y="649"/>
                    <a:pt x="1297" y="645"/>
                    <a:pt x="1297" y="643"/>
                  </a:cubicBezTo>
                  <a:cubicBezTo>
                    <a:pt x="1297" y="642"/>
                    <a:pt x="1299" y="638"/>
                    <a:pt x="1298" y="636"/>
                  </a:cubicBezTo>
                  <a:cubicBezTo>
                    <a:pt x="1297" y="635"/>
                    <a:pt x="1295" y="635"/>
                    <a:pt x="1295" y="635"/>
                  </a:cubicBezTo>
                  <a:cubicBezTo>
                    <a:pt x="1295" y="635"/>
                    <a:pt x="1284" y="625"/>
                    <a:pt x="1283" y="620"/>
                  </a:cubicBezTo>
                  <a:cubicBezTo>
                    <a:pt x="1282" y="618"/>
                    <a:pt x="1283" y="614"/>
                    <a:pt x="1283" y="612"/>
                  </a:cubicBezTo>
                  <a:cubicBezTo>
                    <a:pt x="1282" y="610"/>
                    <a:pt x="1281" y="607"/>
                    <a:pt x="1279" y="605"/>
                  </a:cubicBezTo>
                  <a:cubicBezTo>
                    <a:pt x="1279" y="605"/>
                    <a:pt x="1277" y="604"/>
                    <a:pt x="1276" y="604"/>
                  </a:cubicBezTo>
                  <a:cubicBezTo>
                    <a:pt x="1275" y="602"/>
                    <a:pt x="1274" y="598"/>
                    <a:pt x="1273" y="596"/>
                  </a:cubicBezTo>
                  <a:cubicBezTo>
                    <a:pt x="1271" y="594"/>
                    <a:pt x="1267" y="591"/>
                    <a:pt x="1267" y="589"/>
                  </a:cubicBezTo>
                  <a:cubicBezTo>
                    <a:pt x="1266" y="586"/>
                    <a:pt x="1269" y="580"/>
                    <a:pt x="1268" y="577"/>
                  </a:cubicBezTo>
                  <a:cubicBezTo>
                    <a:pt x="1268" y="573"/>
                    <a:pt x="1263" y="562"/>
                    <a:pt x="1263" y="562"/>
                  </a:cubicBezTo>
                  <a:cubicBezTo>
                    <a:pt x="1257" y="555"/>
                    <a:pt x="1257" y="555"/>
                    <a:pt x="1257" y="555"/>
                  </a:cubicBezTo>
                  <a:cubicBezTo>
                    <a:pt x="1244" y="543"/>
                    <a:pt x="1244" y="543"/>
                    <a:pt x="1244" y="543"/>
                  </a:cubicBezTo>
                  <a:cubicBezTo>
                    <a:pt x="1241" y="424"/>
                    <a:pt x="1241" y="424"/>
                    <a:pt x="1241" y="424"/>
                  </a:cubicBezTo>
                  <a:cubicBezTo>
                    <a:pt x="1239" y="361"/>
                    <a:pt x="1239" y="361"/>
                    <a:pt x="1239" y="361"/>
                  </a:cubicBezTo>
                  <a:cubicBezTo>
                    <a:pt x="1239" y="361"/>
                    <a:pt x="1221" y="355"/>
                    <a:pt x="1215" y="356"/>
                  </a:cubicBezTo>
                  <a:cubicBezTo>
                    <a:pt x="1213" y="357"/>
                    <a:pt x="1209" y="361"/>
                    <a:pt x="1207" y="361"/>
                  </a:cubicBezTo>
                  <a:cubicBezTo>
                    <a:pt x="1205" y="361"/>
                    <a:pt x="1201" y="357"/>
                    <a:pt x="1200" y="356"/>
                  </a:cubicBezTo>
                  <a:cubicBezTo>
                    <a:pt x="1199" y="355"/>
                    <a:pt x="1199" y="353"/>
                    <a:pt x="1199" y="353"/>
                  </a:cubicBezTo>
                  <a:cubicBezTo>
                    <a:pt x="1199" y="352"/>
                    <a:pt x="1197" y="351"/>
                    <a:pt x="1196" y="351"/>
                  </a:cubicBezTo>
                  <a:cubicBezTo>
                    <a:pt x="1191" y="348"/>
                    <a:pt x="1180" y="348"/>
                    <a:pt x="1175" y="346"/>
                  </a:cubicBezTo>
                  <a:cubicBezTo>
                    <a:pt x="1173" y="345"/>
                    <a:pt x="1169" y="342"/>
                    <a:pt x="1167" y="341"/>
                  </a:cubicBezTo>
                  <a:cubicBezTo>
                    <a:pt x="1166" y="340"/>
                    <a:pt x="1162" y="340"/>
                    <a:pt x="1160" y="339"/>
                  </a:cubicBezTo>
                  <a:cubicBezTo>
                    <a:pt x="1156" y="337"/>
                    <a:pt x="1149" y="330"/>
                    <a:pt x="1146" y="327"/>
                  </a:cubicBezTo>
                  <a:cubicBezTo>
                    <a:pt x="1142" y="324"/>
                    <a:pt x="1133" y="318"/>
                    <a:pt x="1128" y="317"/>
                  </a:cubicBezTo>
                  <a:cubicBezTo>
                    <a:pt x="1127" y="316"/>
                    <a:pt x="1123" y="316"/>
                    <a:pt x="1121" y="317"/>
                  </a:cubicBezTo>
                  <a:cubicBezTo>
                    <a:pt x="1119" y="318"/>
                    <a:pt x="1118" y="322"/>
                    <a:pt x="1117" y="324"/>
                  </a:cubicBezTo>
                  <a:cubicBezTo>
                    <a:pt x="1116" y="325"/>
                    <a:pt x="1113" y="326"/>
                    <a:pt x="1112" y="327"/>
                  </a:cubicBezTo>
                  <a:cubicBezTo>
                    <a:pt x="1110" y="327"/>
                    <a:pt x="1106" y="327"/>
                    <a:pt x="1104" y="327"/>
                  </a:cubicBezTo>
                  <a:cubicBezTo>
                    <a:pt x="1103" y="327"/>
                    <a:pt x="1100" y="326"/>
                    <a:pt x="1099" y="325"/>
                  </a:cubicBezTo>
                  <a:cubicBezTo>
                    <a:pt x="1096" y="324"/>
                    <a:pt x="1094" y="319"/>
                    <a:pt x="1091" y="318"/>
                  </a:cubicBezTo>
                  <a:cubicBezTo>
                    <a:pt x="1087" y="317"/>
                    <a:pt x="1080" y="322"/>
                    <a:pt x="1076" y="324"/>
                  </a:cubicBezTo>
                  <a:cubicBezTo>
                    <a:pt x="1075" y="325"/>
                    <a:pt x="1072" y="328"/>
                    <a:pt x="1070" y="329"/>
                  </a:cubicBezTo>
                  <a:cubicBezTo>
                    <a:pt x="1068" y="330"/>
                    <a:pt x="1064" y="329"/>
                    <a:pt x="1062" y="329"/>
                  </a:cubicBezTo>
                  <a:cubicBezTo>
                    <a:pt x="1060" y="328"/>
                    <a:pt x="1057" y="324"/>
                    <a:pt x="1055" y="324"/>
                  </a:cubicBezTo>
                  <a:cubicBezTo>
                    <a:pt x="1053" y="324"/>
                    <a:pt x="1050" y="329"/>
                    <a:pt x="1048" y="330"/>
                  </a:cubicBezTo>
                  <a:cubicBezTo>
                    <a:pt x="1046" y="330"/>
                    <a:pt x="1041" y="329"/>
                    <a:pt x="1040" y="330"/>
                  </a:cubicBezTo>
                  <a:cubicBezTo>
                    <a:pt x="1037" y="332"/>
                    <a:pt x="1034" y="338"/>
                    <a:pt x="1031" y="340"/>
                  </a:cubicBezTo>
                  <a:cubicBezTo>
                    <a:pt x="1029" y="340"/>
                    <a:pt x="1025" y="339"/>
                    <a:pt x="1023" y="340"/>
                  </a:cubicBezTo>
                  <a:cubicBezTo>
                    <a:pt x="1021" y="341"/>
                    <a:pt x="1021" y="347"/>
                    <a:pt x="1019" y="347"/>
                  </a:cubicBezTo>
                  <a:cubicBezTo>
                    <a:pt x="1017" y="347"/>
                    <a:pt x="1014" y="342"/>
                    <a:pt x="1012" y="340"/>
                  </a:cubicBezTo>
                  <a:cubicBezTo>
                    <a:pt x="1010" y="339"/>
                    <a:pt x="1006" y="338"/>
                    <a:pt x="1004" y="338"/>
                  </a:cubicBezTo>
                  <a:cubicBezTo>
                    <a:pt x="1002" y="337"/>
                    <a:pt x="999" y="335"/>
                    <a:pt x="997" y="333"/>
                  </a:cubicBezTo>
                  <a:cubicBezTo>
                    <a:pt x="995" y="332"/>
                    <a:pt x="994" y="327"/>
                    <a:pt x="992" y="325"/>
                  </a:cubicBezTo>
                  <a:cubicBezTo>
                    <a:pt x="991" y="324"/>
                    <a:pt x="987" y="324"/>
                    <a:pt x="985" y="325"/>
                  </a:cubicBezTo>
                  <a:cubicBezTo>
                    <a:pt x="983" y="325"/>
                    <a:pt x="980" y="330"/>
                    <a:pt x="978" y="330"/>
                  </a:cubicBezTo>
                  <a:cubicBezTo>
                    <a:pt x="976" y="331"/>
                    <a:pt x="972" y="329"/>
                    <a:pt x="970" y="327"/>
                  </a:cubicBezTo>
                  <a:cubicBezTo>
                    <a:pt x="968" y="326"/>
                    <a:pt x="966" y="322"/>
                    <a:pt x="964" y="320"/>
                  </a:cubicBezTo>
                  <a:cubicBezTo>
                    <a:pt x="962" y="319"/>
                    <a:pt x="959" y="317"/>
                    <a:pt x="957" y="317"/>
                  </a:cubicBezTo>
                  <a:cubicBezTo>
                    <a:pt x="956" y="317"/>
                    <a:pt x="955" y="318"/>
                    <a:pt x="955" y="319"/>
                  </a:cubicBezTo>
                  <a:cubicBezTo>
                    <a:pt x="954" y="320"/>
                    <a:pt x="955" y="323"/>
                    <a:pt x="954" y="324"/>
                  </a:cubicBezTo>
                  <a:cubicBezTo>
                    <a:pt x="953" y="326"/>
                    <a:pt x="947" y="327"/>
                    <a:pt x="946" y="329"/>
                  </a:cubicBezTo>
                  <a:cubicBezTo>
                    <a:pt x="944" y="332"/>
                    <a:pt x="946" y="341"/>
                    <a:pt x="943" y="343"/>
                  </a:cubicBezTo>
                  <a:cubicBezTo>
                    <a:pt x="942" y="344"/>
                    <a:pt x="939" y="344"/>
                    <a:pt x="938" y="344"/>
                  </a:cubicBezTo>
                  <a:cubicBezTo>
                    <a:pt x="937" y="344"/>
                    <a:pt x="936" y="343"/>
                    <a:pt x="936" y="343"/>
                  </a:cubicBezTo>
                  <a:cubicBezTo>
                    <a:pt x="935" y="341"/>
                    <a:pt x="933" y="337"/>
                    <a:pt x="933" y="335"/>
                  </a:cubicBezTo>
                  <a:cubicBezTo>
                    <a:pt x="933" y="333"/>
                    <a:pt x="937" y="329"/>
                    <a:pt x="936" y="327"/>
                  </a:cubicBezTo>
                  <a:cubicBezTo>
                    <a:pt x="935" y="326"/>
                    <a:pt x="930" y="326"/>
                    <a:pt x="929" y="327"/>
                  </a:cubicBezTo>
                  <a:cubicBezTo>
                    <a:pt x="925" y="327"/>
                    <a:pt x="920" y="332"/>
                    <a:pt x="916" y="332"/>
                  </a:cubicBezTo>
                  <a:cubicBezTo>
                    <a:pt x="915" y="333"/>
                    <a:pt x="911" y="332"/>
                    <a:pt x="909" y="331"/>
                  </a:cubicBezTo>
                  <a:cubicBezTo>
                    <a:pt x="908" y="330"/>
                    <a:pt x="908" y="325"/>
                    <a:pt x="906" y="324"/>
                  </a:cubicBezTo>
                  <a:cubicBezTo>
                    <a:pt x="905" y="323"/>
                    <a:pt x="901" y="325"/>
                    <a:pt x="899" y="324"/>
                  </a:cubicBezTo>
                  <a:cubicBezTo>
                    <a:pt x="897" y="323"/>
                    <a:pt x="898" y="318"/>
                    <a:pt x="896" y="317"/>
                  </a:cubicBezTo>
                  <a:cubicBezTo>
                    <a:pt x="895" y="315"/>
                    <a:pt x="890" y="313"/>
                    <a:pt x="888" y="314"/>
                  </a:cubicBezTo>
                  <a:cubicBezTo>
                    <a:pt x="884" y="315"/>
                    <a:pt x="880" y="323"/>
                    <a:pt x="877" y="325"/>
                  </a:cubicBezTo>
                  <a:cubicBezTo>
                    <a:pt x="875" y="326"/>
                    <a:pt x="871" y="328"/>
                    <a:pt x="869" y="328"/>
                  </a:cubicBezTo>
                  <a:cubicBezTo>
                    <a:pt x="868" y="328"/>
                    <a:pt x="863" y="328"/>
                    <a:pt x="862" y="327"/>
                  </a:cubicBezTo>
                  <a:cubicBezTo>
                    <a:pt x="861" y="325"/>
                    <a:pt x="862" y="319"/>
                    <a:pt x="862" y="317"/>
                  </a:cubicBezTo>
                  <a:cubicBezTo>
                    <a:pt x="861" y="315"/>
                    <a:pt x="861" y="313"/>
                    <a:pt x="860" y="312"/>
                  </a:cubicBezTo>
                  <a:cubicBezTo>
                    <a:pt x="859" y="311"/>
                    <a:pt x="854" y="312"/>
                    <a:pt x="852" y="311"/>
                  </a:cubicBezTo>
                  <a:cubicBezTo>
                    <a:pt x="850" y="310"/>
                    <a:pt x="848" y="306"/>
                    <a:pt x="848" y="304"/>
                  </a:cubicBezTo>
                  <a:cubicBezTo>
                    <a:pt x="847" y="302"/>
                    <a:pt x="850" y="297"/>
                    <a:pt x="849" y="296"/>
                  </a:cubicBezTo>
                  <a:cubicBezTo>
                    <a:pt x="847" y="294"/>
                    <a:pt x="843" y="296"/>
                    <a:pt x="841" y="296"/>
                  </a:cubicBezTo>
                  <a:cubicBezTo>
                    <a:pt x="837" y="296"/>
                    <a:pt x="829" y="294"/>
                    <a:pt x="825" y="295"/>
                  </a:cubicBezTo>
                  <a:cubicBezTo>
                    <a:pt x="823" y="296"/>
                    <a:pt x="820" y="300"/>
                    <a:pt x="818" y="301"/>
                  </a:cubicBezTo>
                  <a:cubicBezTo>
                    <a:pt x="816" y="302"/>
                    <a:pt x="812" y="303"/>
                    <a:pt x="810" y="303"/>
                  </a:cubicBezTo>
                  <a:cubicBezTo>
                    <a:pt x="808" y="302"/>
                    <a:pt x="806" y="299"/>
                    <a:pt x="805" y="298"/>
                  </a:cubicBezTo>
                  <a:cubicBezTo>
                    <a:pt x="804" y="297"/>
                    <a:pt x="802" y="294"/>
                    <a:pt x="801" y="293"/>
                  </a:cubicBezTo>
                  <a:cubicBezTo>
                    <a:pt x="799" y="292"/>
                    <a:pt x="795" y="293"/>
                    <a:pt x="793" y="293"/>
                  </a:cubicBezTo>
                  <a:cubicBezTo>
                    <a:pt x="791" y="293"/>
                    <a:pt x="788" y="294"/>
                    <a:pt x="786" y="294"/>
                  </a:cubicBezTo>
                  <a:cubicBezTo>
                    <a:pt x="782" y="294"/>
                    <a:pt x="774" y="291"/>
                    <a:pt x="771" y="289"/>
                  </a:cubicBezTo>
                  <a:cubicBezTo>
                    <a:pt x="769" y="288"/>
                    <a:pt x="765" y="284"/>
                    <a:pt x="763" y="284"/>
                  </a:cubicBezTo>
                  <a:cubicBezTo>
                    <a:pt x="761" y="284"/>
                    <a:pt x="757" y="286"/>
                    <a:pt x="756" y="286"/>
                  </a:cubicBezTo>
                  <a:cubicBezTo>
                    <a:pt x="755" y="286"/>
                    <a:pt x="753" y="285"/>
                    <a:pt x="752" y="285"/>
                  </a:cubicBezTo>
                  <a:cubicBezTo>
                    <a:pt x="750" y="285"/>
                    <a:pt x="746" y="286"/>
                    <a:pt x="744" y="285"/>
                  </a:cubicBezTo>
                  <a:cubicBezTo>
                    <a:pt x="742" y="284"/>
                    <a:pt x="742" y="279"/>
                    <a:pt x="742" y="277"/>
                  </a:cubicBezTo>
                  <a:cubicBezTo>
                    <a:pt x="742" y="275"/>
                    <a:pt x="742" y="271"/>
                    <a:pt x="742" y="270"/>
                  </a:cubicBezTo>
                  <a:cubicBezTo>
                    <a:pt x="741" y="268"/>
                    <a:pt x="738" y="264"/>
                    <a:pt x="737" y="263"/>
                  </a:cubicBezTo>
                  <a:cubicBezTo>
                    <a:pt x="735" y="261"/>
                    <a:pt x="731" y="260"/>
                    <a:pt x="730" y="259"/>
                  </a:cubicBezTo>
                  <a:cubicBezTo>
                    <a:pt x="729" y="258"/>
                    <a:pt x="729" y="255"/>
                    <a:pt x="727" y="255"/>
                  </a:cubicBezTo>
                  <a:cubicBezTo>
                    <a:pt x="725" y="255"/>
                    <a:pt x="726" y="261"/>
                    <a:pt x="724" y="263"/>
                  </a:cubicBezTo>
                  <a:cubicBezTo>
                    <a:pt x="722" y="264"/>
                    <a:pt x="718" y="263"/>
                    <a:pt x="717" y="263"/>
                  </a:cubicBezTo>
                  <a:cubicBezTo>
                    <a:pt x="714" y="263"/>
                    <a:pt x="711" y="260"/>
                    <a:pt x="709" y="260"/>
                  </a:cubicBezTo>
                  <a:cubicBezTo>
                    <a:pt x="706" y="260"/>
                    <a:pt x="703" y="264"/>
                    <a:pt x="701" y="264"/>
                  </a:cubicBezTo>
                  <a:cubicBezTo>
                    <a:pt x="699" y="264"/>
                    <a:pt x="694" y="260"/>
                    <a:pt x="694" y="260"/>
                  </a:cubicBezTo>
                  <a:cubicBezTo>
                    <a:pt x="681" y="246"/>
                    <a:pt x="681" y="246"/>
                    <a:pt x="681" y="246"/>
                  </a:cubicBezTo>
                  <a:cubicBezTo>
                    <a:pt x="673" y="240"/>
                    <a:pt x="673" y="240"/>
                    <a:pt x="673" y="240"/>
                  </a:cubicBezTo>
                  <a:cubicBezTo>
                    <a:pt x="666" y="239"/>
                    <a:pt x="666" y="239"/>
                    <a:pt x="666" y="239"/>
                  </a:cubicBezTo>
                  <a:cubicBezTo>
                    <a:pt x="667" y="226"/>
                    <a:pt x="667" y="226"/>
                    <a:pt x="667" y="226"/>
                  </a:cubicBezTo>
                  <a:cubicBezTo>
                    <a:pt x="673" y="17"/>
                    <a:pt x="673" y="17"/>
                    <a:pt x="673" y="17"/>
                  </a:cubicBezTo>
                  <a:cubicBezTo>
                    <a:pt x="665" y="13"/>
                    <a:pt x="665" y="13"/>
                    <a:pt x="665" y="13"/>
                  </a:cubicBezTo>
                  <a:cubicBezTo>
                    <a:pt x="657" y="12"/>
                    <a:pt x="657" y="12"/>
                    <a:pt x="657" y="12"/>
                  </a:cubicBezTo>
                  <a:cubicBezTo>
                    <a:pt x="618" y="12"/>
                    <a:pt x="618" y="12"/>
                    <a:pt x="618" y="12"/>
                  </a:cubicBezTo>
                  <a:cubicBezTo>
                    <a:pt x="522" y="7"/>
                    <a:pt x="522" y="7"/>
                    <a:pt x="522" y="7"/>
                  </a:cubicBezTo>
                  <a:cubicBezTo>
                    <a:pt x="394" y="0"/>
                    <a:pt x="394" y="0"/>
                    <a:pt x="394" y="0"/>
                  </a:cubicBezTo>
                  <a:cubicBezTo>
                    <a:pt x="390" y="1"/>
                    <a:pt x="390" y="1"/>
                    <a:pt x="390" y="1"/>
                  </a:cubicBezTo>
                  <a:cubicBezTo>
                    <a:pt x="389" y="9"/>
                    <a:pt x="389" y="9"/>
                    <a:pt x="389" y="9"/>
                  </a:cubicBezTo>
                  <a:cubicBezTo>
                    <a:pt x="372" y="292"/>
                    <a:pt x="372" y="292"/>
                    <a:pt x="372" y="292"/>
                  </a:cubicBezTo>
                  <a:cubicBezTo>
                    <a:pt x="362" y="399"/>
                    <a:pt x="362" y="399"/>
                    <a:pt x="362" y="399"/>
                  </a:cubicBezTo>
                  <a:cubicBezTo>
                    <a:pt x="355" y="521"/>
                    <a:pt x="355" y="521"/>
                    <a:pt x="355" y="521"/>
                  </a:cubicBezTo>
                  <a:cubicBezTo>
                    <a:pt x="348" y="528"/>
                    <a:pt x="348" y="528"/>
                    <a:pt x="348" y="528"/>
                  </a:cubicBezTo>
                  <a:cubicBezTo>
                    <a:pt x="344" y="528"/>
                    <a:pt x="344" y="528"/>
                    <a:pt x="344" y="528"/>
                  </a:cubicBezTo>
                  <a:cubicBezTo>
                    <a:pt x="258" y="522"/>
                    <a:pt x="258" y="522"/>
                    <a:pt x="258" y="522"/>
                  </a:cubicBezTo>
                  <a:cubicBezTo>
                    <a:pt x="172" y="515"/>
                    <a:pt x="172" y="515"/>
                    <a:pt x="172" y="515"/>
                  </a:cubicBezTo>
                  <a:cubicBezTo>
                    <a:pt x="75" y="507"/>
                    <a:pt x="75" y="507"/>
                    <a:pt x="75" y="507"/>
                  </a:cubicBezTo>
                  <a:cubicBezTo>
                    <a:pt x="0" y="499"/>
                    <a:pt x="0" y="499"/>
                    <a:pt x="0" y="499"/>
                  </a:cubicBezTo>
                  <a:cubicBezTo>
                    <a:pt x="0" y="503"/>
                    <a:pt x="0" y="503"/>
                    <a:pt x="0" y="503"/>
                  </a:cubicBezTo>
                  <a:cubicBezTo>
                    <a:pt x="5" y="517"/>
                    <a:pt x="5" y="517"/>
                    <a:pt x="5" y="517"/>
                  </a:cubicBezTo>
                  <a:cubicBezTo>
                    <a:pt x="9" y="523"/>
                    <a:pt x="9" y="523"/>
                    <a:pt x="9" y="523"/>
                  </a:cubicBezTo>
                  <a:cubicBezTo>
                    <a:pt x="9" y="523"/>
                    <a:pt x="13" y="527"/>
                    <a:pt x="16" y="530"/>
                  </a:cubicBezTo>
                  <a:cubicBezTo>
                    <a:pt x="16" y="530"/>
                    <a:pt x="19" y="530"/>
                    <a:pt x="20" y="531"/>
                  </a:cubicBezTo>
                  <a:cubicBezTo>
                    <a:pt x="22" y="532"/>
                    <a:pt x="26" y="535"/>
                    <a:pt x="27" y="537"/>
                  </a:cubicBezTo>
                  <a:cubicBezTo>
                    <a:pt x="28" y="538"/>
                    <a:pt x="31" y="542"/>
                    <a:pt x="31" y="544"/>
                  </a:cubicBezTo>
                  <a:cubicBezTo>
                    <a:pt x="32" y="546"/>
                    <a:pt x="33" y="551"/>
                    <a:pt x="33" y="551"/>
                  </a:cubicBezTo>
                  <a:cubicBezTo>
                    <a:pt x="33" y="551"/>
                    <a:pt x="37" y="562"/>
                    <a:pt x="39" y="565"/>
                  </a:cubicBezTo>
                  <a:cubicBezTo>
                    <a:pt x="41" y="567"/>
                    <a:pt x="45" y="570"/>
                    <a:pt x="47" y="571"/>
                  </a:cubicBezTo>
                  <a:cubicBezTo>
                    <a:pt x="50" y="573"/>
                    <a:pt x="58" y="577"/>
                    <a:pt x="61" y="579"/>
                  </a:cubicBezTo>
                  <a:cubicBezTo>
                    <a:pt x="63" y="581"/>
                    <a:pt x="67" y="584"/>
                    <a:pt x="68" y="586"/>
                  </a:cubicBezTo>
                  <a:cubicBezTo>
                    <a:pt x="72" y="591"/>
                    <a:pt x="79" y="601"/>
                    <a:pt x="83" y="606"/>
                  </a:cubicBezTo>
                  <a:cubicBezTo>
                    <a:pt x="86" y="610"/>
                    <a:pt x="94" y="616"/>
                    <a:pt x="97" y="620"/>
                  </a:cubicBezTo>
                  <a:cubicBezTo>
                    <a:pt x="98" y="622"/>
                    <a:pt x="99" y="626"/>
                    <a:pt x="101" y="628"/>
                  </a:cubicBezTo>
                  <a:cubicBezTo>
                    <a:pt x="103" y="632"/>
                    <a:pt x="110" y="640"/>
                    <a:pt x="114" y="643"/>
                  </a:cubicBezTo>
                  <a:cubicBezTo>
                    <a:pt x="115" y="645"/>
                    <a:pt x="119" y="648"/>
                    <a:pt x="122" y="649"/>
                  </a:cubicBezTo>
                  <a:cubicBezTo>
                    <a:pt x="123" y="650"/>
                    <a:pt x="127" y="651"/>
                    <a:pt x="129" y="652"/>
                  </a:cubicBezTo>
                  <a:cubicBezTo>
                    <a:pt x="133" y="655"/>
                    <a:pt x="140" y="663"/>
                    <a:pt x="144" y="666"/>
                  </a:cubicBezTo>
                  <a:cubicBezTo>
                    <a:pt x="146" y="667"/>
                    <a:pt x="150" y="668"/>
                    <a:pt x="151" y="669"/>
                  </a:cubicBezTo>
                  <a:cubicBezTo>
                    <a:pt x="152" y="671"/>
                    <a:pt x="152" y="675"/>
                    <a:pt x="153" y="676"/>
                  </a:cubicBezTo>
                  <a:cubicBezTo>
                    <a:pt x="154" y="678"/>
                    <a:pt x="157" y="679"/>
                    <a:pt x="158" y="680"/>
                  </a:cubicBezTo>
                  <a:cubicBezTo>
                    <a:pt x="160" y="682"/>
                    <a:pt x="161" y="685"/>
                    <a:pt x="161" y="687"/>
                  </a:cubicBezTo>
                  <a:cubicBezTo>
                    <a:pt x="162" y="691"/>
                    <a:pt x="161" y="699"/>
                    <a:pt x="163" y="702"/>
                  </a:cubicBezTo>
                  <a:cubicBezTo>
                    <a:pt x="164" y="703"/>
                    <a:pt x="166" y="704"/>
                    <a:pt x="167" y="705"/>
                  </a:cubicBezTo>
                  <a:cubicBezTo>
                    <a:pt x="169" y="709"/>
                    <a:pt x="172" y="717"/>
                    <a:pt x="173" y="720"/>
                  </a:cubicBezTo>
                  <a:cubicBezTo>
                    <a:pt x="174" y="722"/>
                    <a:pt x="177" y="726"/>
                    <a:pt x="178" y="728"/>
                  </a:cubicBezTo>
                  <a:cubicBezTo>
                    <a:pt x="178" y="729"/>
                    <a:pt x="178" y="733"/>
                    <a:pt x="178" y="735"/>
                  </a:cubicBezTo>
                  <a:cubicBezTo>
                    <a:pt x="178" y="737"/>
                    <a:pt x="176" y="741"/>
                    <a:pt x="176" y="743"/>
                  </a:cubicBezTo>
                  <a:cubicBezTo>
                    <a:pt x="175" y="746"/>
                    <a:pt x="176" y="754"/>
                    <a:pt x="176" y="757"/>
                  </a:cubicBezTo>
                  <a:cubicBezTo>
                    <a:pt x="179" y="767"/>
                    <a:pt x="192" y="795"/>
                    <a:pt x="192" y="795"/>
                  </a:cubicBezTo>
                  <a:cubicBezTo>
                    <a:pt x="192" y="795"/>
                    <a:pt x="199" y="803"/>
                    <a:pt x="202" y="805"/>
                  </a:cubicBezTo>
                  <a:cubicBezTo>
                    <a:pt x="204" y="806"/>
                    <a:pt x="208" y="807"/>
                    <a:pt x="210" y="808"/>
                  </a:cubicBezTo>
                  <a:cubicBezTo>
                    <a:pt x="211" y="809"/>
                    <a:pt x="215" y="811"/>
                    <a:pt x="217" y="813"/>
                  </a:cubicBezTo>
                  <a:cubicBezTo>
                    <a:pt x="218" y="814"/>
                    <a:pt x="220" y="818"/>
                    <a:pt x="222" y="820"/>
                  </a:cubicBezTo>
                  <a:cubicBezTo>
                    <a:pt x="226" y="824"/>
                    <a:pt x="234" y="833"/>
                    <a:pt x="239" y="836"/>
                  </a:cubicBezTo>
                  <a:cubicBezTo>
                    <a:pt x="241" y="837"/>
                    <a:pt x="244" y="838"/>
                    <a:pt x="246" y="839"/>
                  </a:cubicBezTo>
                  <a:cubicBezTo>
                    <a:pt x="250" y="840"/>
                    <a:pt x="258" y="840"/>
                    <a:pt x="261" y="842"/>
                  </a:cubicBezTo>
                  <a:cubicBezTo>
                    <a:pt x="263" y="844"/>
                    <a:pt x="264" y="849"/>
                    <a:pt x="265" y="850"/>
                  </a:cubicBezTo>
                  <a:cubicBezTo>
                    <a:pt x="269" y="854"/>
                    <a:pt x="281" y="856"/>
                    <a:pt x="285" y="860"/>
                  </a:cubicBezTo>
                  <a:cubicBezTo>
                    <a:pt x="287" y="861"/>
                    <a:pt x="291" y="866"/>
                    <a:pt x="293" y="868"/>
                  </a:cubicBezTo>
                  <a:cubicBezTo>
                    <a:pt x="294" y="869"/>
                    <a:pt x="298" y="873"/>
                    <a:pt x="300" y="873"/>
                  </a:cubicBezTo>
                  <a:cubicBezTo>
                    <a:pt x="301" y="874"/>
                    <a:pt x="306" y="873"/>
                    <a:pt x="307" y="874"/>
                  </a:cubicBezTo>
                  <a:cubicBezTo>
                    <a:pt x="307" y="875"/>
                    <a:pt x="307" y="876"/>
                    <a:pt x="308" y="877"/>
                  </a:cubicBezTo>
                  <a:cubicBezTo>
                    <a:pt x="309" y="878"/>
                    <a:pt x="315" y="878"/>
                    <a:pt x="315" y="878"/>
                  </a:cubicBezTo>
                  <a:cubicBezTo>
                    <a:pt x="315" y="878"/>
                    <a:pt x="325" y="880"/>
                    <a:pt x="327" y="878"/>
                  </a:cubicBezTo>
                  <a:cubicBezTo>
                    <a:pt x="329" y="877"/>
                    <a:pt x="328" y="873"/>
                    <a:pt x="329" y="872"/>
                  </a:cubicBezTo>
                  <a:cubicBezTo>
                    <a:pt x="331" y="870"/>
                    <a:pt x="336" y="869"/>
                    <a:pt x="337" y="867"/>
                  </a:cubicBezTo>
                  <a:cubicBezTo>
                    <a:pt x="339" y="865"/>
                    <a:pt x="340" y="861"/>
                    <a:pt x="342" y="860"/>
                  </a:cubicBezTo>
                  <a:cubicBezTo>
                    <a:pt x="343" y="858"/>
                    <a:pt x="347" y="858"/>
                    <a:pt x="349" y="857"/>
                  </a:cubicBezTo>
                  <a:cubicBezTo>
                    <a:pt x="350" y="855"/>
                    <a:pt x="351" y="851"/>
                    <a:pt x="352" y="850"/>
                  </a:cubicBezTo>
                  <a:cubicBezTo>
                    <a:pt x="352" y="848"/>
                    <a:pt x="352" y="843"/>
                    <a:pt x="353" y="842"/>
                  </a:cubicBezTo>
                  <a:cubicBezTo>
                    <a:pt x="354" y="841"/>
                    <a:pt x="357" y="840"/>
                    <a:pt x="357" y="839"/>
                  </a:cubicBezTo>
                  <a:cubicBezTo>
                    <a:pt x="363" y="832"/>
                    <a:pt x="366" y="816"/>
                    <a:pt x="370" y="808"/>
                  </a:cubicBezTo>
                  <a:cubicBezTo>
                    <a:pt x="371" y="806"/>
                    <a:pt x="374" y="801"/>
                    <a:pt x="376" y="799"/>
                  </a:cubicBezTo>
                  <a:cubicBezTo>
                    <a:pt x="377" y="798"/>
                    <a:pt x="379" y="796"/>
                    <a:pt x="380" y="796"/>
                  </a:cubicBezTo>
                  <a:cubicBezTo>
                    <a:pt x="381" y="795"/>
                    <a:pt x="385" y="795"/>
                    <a:pt x="387" y="795"/>
                  </a:cubicBezTo>
                  <a:cubicBezTo>
                    <a:pt x="389" y="794"/>
                    <a:pt x="393" y="792"/>
                    <a:pt x="395" y="791"/>
                  </a:cubicBezTo>
                  <a:cubicBezTo>
                    <a:pt x="397" y="791"/>
                    <a:pt x="400" y="792"/>
                    <a:pt x="402" y="792"/>
                  </a:cubicBezTo>
                  <a:cubicBezTo>
                    <a:pt x="404" y="792"/>
                    <a:pt x="408" y="791"/>
                    <a:pt x="409" y="790"/>
                  </a:cubicBezTo>
                  <a:cubicBezTo>
                    <a:pt x="411" y="788"/>
                    <a:pt x="412" y="784"/>
                    <a:pt x="414" y="783"/>
                  </a:cubicBezTo>
                  <a:cubicBezTo>
                    <a:pt x="415" y="782"/>
                    <a:pt x="419" y="782"/>
                    <a:pt x="421" y="783"/>
                  </a:cubicBezTo>
                  <a:cubicBezTo>
                    <a:pt x="424" y="783"/>
                    <a:pt x="430" y="788"/>
                    <a:pt x="434" y="790"/>
                  </a:cubicBezTo>
                  <a:cubicBezTo>
                    <a:pt x="436" y="790"/>
                    <a:pt x="439" y="792"/>
                    <a:pt x="441" y="792"/>
                  </a:cubicBezTo>
                  <a:cubicBezTo>
                    <a:pt x="443" y="792"/>
                    <a:pt x="447" y="790"/>
                    <a:pt x="449" y="790"/>
                  </a:cubicBezTo>
                  <a:cubicBezTo>
                    <a:pt x="451" y="790"/>
                    <a:pt x="454" y="792"/>
                    <a:pt x="456" y="792"/>
                  </a:cubicBezTo>
                  <a:cubicBezTo>
                    <a:pt x="458" y="792"/>
                    <a:pt x="462" y="792"/>
                    <a:pt x="464" y="792"/>
                  </a:cubicBezTo>
                  <a:cubicBezTo>
                    <a:pt x="469" y="793"/>
                    <a:pt x="479" y="798"/>
                    <a:pt x="484" y="798"/>
                  </a:cubicBezTo>
                  <a:cubicBezTo>
                    <a:pt x="487" y="797"/>
                    <a:pt x="490" y="793"/>
                    <a:pt x="492" y="793"/>
                  </a:cubicBezTo>
                  <a:cubicBezTo>
                    <a:pt x="494" y="792"/>
                    <a:pt x="498" y="795"/>
                    <a:pt x="499" y="796"/>
                  </a:cubicBezTo>
                  <a:cubicBezTo>
                    <a:pt x="501" y="797"/>
                    <a:pt x="505" y="799"/>
                    <a:pt x="507" y="801"/>
                  </a:cubicBezTo>
                  <a:cubicBezTo>
                    <a:pt x="508" y="803"/>
                    <a:pt x="509" y="807"/>
                    <a:pt x="510" y="808"/>
                  </a:cubicBezTo>
                  <a:cubicBezTo>
                    <a:pt x="511" y="810"/>
                    <a:pt x="514" y="813"/>
                    <a:pt x="515" y="815"/>
                  </a:cubicBezTo>
                  <a:cubicBezTo>
                    <a:pt x="516" y="816"/>
                    <a:pt x="516" y="820"/>
                    <a:pt x="517" y="821"/>
                  </a:cubicBezTo>
                  <a:cubicBezTo>
                    <a:pt x="518" y="822"/>
                    <a:pt x="522" y="819"/>
                    <a:pt x="524" y="819"/>
                  </a:cubicBezTo>
                  <a:cubicBezTo>
                    <a:pt x="526" y="820"/>
                    <a:pt x="527" y="826"/>
                    <a:pt x="527" y="826"/>
                  </a:cubicBezTo>
                  <a:cubicBezTo>
                    <a:pt x="535" y="833"/>
                    <a:pt x="535" y="833"/>
                    <a:pt x="535" y="833"/>
                  </a:cubicBezTo>
                  <a:cubicBezTo>
                    <a:pt x="535" y="833"/>
                    <a:pt x="541" y="835"/>
                    <a:pt x="542" y="837"/>
                  </a:cubicBezTo>
                  <a:cubicBezTo>
                    <a:pt x="543" y="838"/>
                    <a:pt x="542" y="842"/>
                    <a:pt x="543" y="843"/>
                  </a:cubicBezTo>
                  <a:cubicBezTo>
                    <a:pt x="546" y="849"/>
                    <a:pt x="560" y="855"/>
                    <a:pt x="564" y="860"/>
                  </a:cubicBezTo>
                  <a:cubicBezTo>
                    <a:pt x="568" y="863"/>
                    <a:pt x="571" y="871"/>
                    <a:pt x="573" y="875"/>
                  </a:cubicBezTo>
                  <a:cubicBezTo>
                    <a:pt x="574" y="877"/>
                    <a:pt x="578" y="880"/>
                    <a:pt x="579" y="882"/>
                  </a:cubicBezTo>
                  <a:cubicBezTo>
                    <a:pt x="581" y="887"/>
                    <a:pt x="581" y="897"/>
                    <a:pt x="583" y="902"/>
                  </a:cubicBezTo>
                  <a:cubicBezTo>
                    <a:pt x="585" y="906"/>
                    <a:pt x="590" y="913"/>
                    <a:pt x="592" y="917"/>
                  </a:cubicBezTo>
                  <a:cubicBezTo>
                    <a:pt x="593" y="919"/>
                    <a:pt x="594" y="923"/>
                    <a:pt x="595" y="925"/>
                  </a:cubicBezTo>
                  <a:cubicBezTo>
                    <a:pt x="595" y="925"/>
                    <a:pt x="594" y="927"/>
                    <a:pt x="595" y="927"/>
                  </a:cubicBezTo>
                  <a:cubicBezTo>
                    <a:pt x="595" y="929"/>
                    <a:pt x="599" y="932"/>
                    <a:pt x="600" y="934"/>
                  </a:cubicBezTo>
                  <a:cubicBezTo>
                    <a:pt x="601" y="936"/>
                    <a:pt x="602" y="939"/>
                    <a:pt x="603" y="941"/>
                  </a:cubicBezTo>
                  <a:cubicBezTo>
                    <a:pt x="605" y="943"/>
                    <a:pt x="610" y="947"/>
                    <a:pt x="610" y="949"/>
                  </a:cubicBezTo>
                  <a:cubicBezTo>
                    <a:pt x="610" y="950"/>
                    <a:pt x="608" y="951"/>
                    <a:pt x="608" y="951"/>
                  </a:cubicBezTo>
                  <a:cubicBezTo>
                    <a:pt x="607" y="955"/>
                    <a:pt x="610" y="963"/>
                    <a:pt x="611" y="966"/>
                  </a:cubicBezTo>
                  <a:cubicBezTo>
                    <a:pt x="613" y="970"/>
                    <a:pt x="616" y="978"/>
                    <a:pt x="618" y="982"/>
                  </a:cubicBezTo>
                  <a:cubicBezTo>
                    <a:pt x="620" y="984"/>
                    <a:pt x="624" y="987"/>
                    <a:pt x="626" y="988"/>
                  </a:cubicBezTo>
                  <a:cubicBezTo>
                    <a:pt x="628" y="989"/>
                    <a:pt x="632" y="990"/>
                    <a:pt x="634" y="991"/>
                  </a:cubicBezTo>
                  <a:cubicBezTo>
                    <a:pt x="636" y="993"/>
                    <a:pt x="639" y="999"/>
                    <a:pt x="640" y="1002"/>
                  </a:cubicBezTo>
                  <a:cubicBezTo>
                    <a:pt x="641" y="1003"/>
                    <a:pt x="641" y="1007"/>
                    <a:pt x="642" y="1009"/>
                  </a:cubicBezTo>
                  <a:cubicBezTo>
                    <a:pt x="643" y="1011"/>
                    <a:pt x="647" y="1013"/>
                    <a:pt x="649" y="1014"/>
                  </a:cubicBezTo>
                  <a:cubicBezTo>
                    <a:pt x="650" y="1016"/>
                    <a:pt x="654" y="1020"/>
                    <a:pt x="655" y="1022"/>
                  </a:cubicBezTo>
                  <a:cubicBezTo>
                    <a:pt x="655" y="1024"/>
                    <a:pt x="655" y="1027"/>
                    <a:pt x="656" y="1029"/>
                  </a:cubicBezTo>
                  <a:cubicBezTo>
                    <a:pt x="658" y="1035"/>
                    <a:pt x="665" y="1046"/>
                    <a:pt x="670" y="1049"/>
                  </a:cubicBezTo>
                  <a:cubicBezTo>
                    <a:pt x="673" y="1051"/>
                    <a:pt x="680" y="1051"/>
                    <a:pt x="683" y="1053"/>
                  </a:cubicBezTo>
                  <a:cubicBezTo>
                    <a:pt x="685" y="1054"/>
                    <a:pt x="688" y="1057"/>
                    <a:pt x="690" y="1059"/>
                  </a:cubicBezTo>
                  <a:cubicBezTo>
                    <a:pt x="691" y="1060"/>
                    <a:pt x="692" y="1061"/>
                    <a:pt x="692" y="1062"/>
                  </a:cubicBezTo>
                  <a:cubicBezTo>
                    <a:pt x="692" y="1064"/>
                    <a:pt x="691" y="1068"/>
                    <a:pt x="691" y="1070"/>
                  </a:cubicBezTo>
                  <a:cubicBezTo>
                    <a:pt x="692" y="1071"/>
                    <a:pt x="694" y="1075"/>
                    <a:pt x="694" y="1077"/>
                  </a:cubicBezTo>
                  <a:cubicBezTo>
                    <a:pt x="695" y="1079"/>
                    <a:pt x="694" y="1083"/>
                    <a:pt x="694" y="1085"/>
                  </a:cubicBezTo>
                  <a:cubicBezTo>
                    <a:pt x="693" y="1087"/>
                    <a:pt x="689" y="1091"/>
                    <a:pt x="690" y="1093"/>
                  </a:cubicBezTo>
                  <a:cubicBezTo>
                    <a:pt x="691" y="1095"/>
                    <a:pt x="697" y="1096"/>
                    <a:pt x="698" y="1098"/>
                  </a:cubicBezTo>
                  <a:cubicBezTo>
                    <a:pt x="699" y="1100"/>
                    <a:pt x="698" y="1104"/>
                    <a:pt x="698" y="1106"/>
                  </a:cubicBezTo>
                  <a:cubicBezTo>
                    <a:pt x="698" y="1108"/>
                    <a:pt x="696" y="1112"/>
                    <a:pt x="696" y="1114"/>
                  </a:cubicBezTo>
                  <a:cubicBezTo>
                    <a:pt x="696" y="1115"/>
                    <a:pt x="696" y="1119"/>
                    <a:pt x="697" y="1121"/>
                  </a:cubicBezTo>
                  <a:cubicBezTo>
                    <a:pt x="698" y="1123"/>
                    <a:pt x="702" y="1126"/>
                    <a:pt x="703" y="1128"/>
                  </a:cubicBezTo>
                  <a:cubicBezTo>
                    <a:pt x="705" y="1131"/>
                    <a:pt x="711" y="1142"/>
                    <a:pt x="711" y="1142"/>
                  </a:cubicBezTo>
                  <a:cubicBezTo>
                    <a:pt x="717" y="1150"/>
                    <a:pt x="717" y="1150"/>
                    <a:pt x="717" y="1150"/>
                  </a:cubicBezTo>
                  <a:cubicBezTo>
                    <a:pt x="722" y="1166"/>
                    <a:pt x="722" y="1166"/>
                    <a:pt x="722" y="1166"/>
                  </a:cubicBezTo>
                  <a:cubicBezTo>
                    <a:pt x="722" y="1166"/>
                    <a:pt x="723" y="1179"/>
                    <a:pt x="725" y="1182"/>
                  </a:cubicBezTo>
                  <a:cubicBezTo>
                    <a:pt x="726" y="1184"/>
                    <a:pt x="732" y="1187"/>
                    <a:pt x="732" y="1189"/>
                  </a:cubicBezTo>
                  <a:cubicBezTo>
                    <a:pt x="733" y="1191"/>
                    <a:pt x="730" y="1195"/>
                    <a:pt x="731" y="1196"/>
                  </a:cubicBezTo>
                  <a:cubicBezTo>
                    <a:pt x="732" y="1198"/>
                    <a:pt x="734" y="1198"/>
                    <a:pt x="735" y="1199"/>
                  </a:cubicBezTo>
                  <a:cubicBezTo>
                    <a:pt x="739" y="1200"/>
                    <a:pt x="747" y="1199"/>
                    <a:pt x="750" y="1200"/>
                  </a:cubicBezTo>
                  <a:cubicBezTo>
                    <a:pt x="752" y="1201"/>
                    <a:pt x="756" y="1203"/>
                    <a:pt x="758" y="1204"/>
                  </a:cubicBezTo>
                  <a:cubicBezTo>
                    <a:pt x="759" y="1204"/>
                    <a:pt x="761" y="1203"/>
                    <a:pt x="762" y="1203"/>
                  </a:cubicBezTo>
                  <a:cubicBezTo>
                    <a:pt x="764" y="1203"/>
                    <a:pt x="768" y="1206"/>
                    <a:pt x="769" y="1208"/>
                  </a:cubicBezTo>
                  <a:cubicBezTo>
                    <a:pt x="771" y="1210"/>
                    <a:pt x="773" y="1214"/>
                    <a:pt x="774" y="1215"/>
                  </a:cubicBezTo>
                  <a:cubicBezTo>
                    <a:pt x="775" y="1216"/>
                    <a:pt x="777" y="1218"/>
                    <a:pt x="779" y="1218"/>
                  </a:cubicBezTo>
                  <a:cubicBezTo>
                    <a:pt x="781" y="1219"/>
                    <a:pt x="785" y="1216"/>
                    <a:pt x="787" y="1217"/>
                  </a:cubicBezTo>
                  <a:cubicBezTo>
                    <a:pt x="789" y="1217"/>
                    <a:pt x="792" y="1220"/>
                    <a:pt x="794" y="1220"/>
                  </a:cubicBezTo>
                  <a:cubicBezTo>
                    <a:pt x="796" y="1221"/>
                    <a:pt x="800" y="1220"/>
                    <a:pt x="802" y="1221"/>
                  </a:cubicBezTo>
                  <a:cubicBezTo>
                    <a:pt x="806" y="1223"/>
                    <a:pt x="812" y="1232"/>
                    <a:pt x="816" y="1235"/>
                  </a:cubicBezTo>
                  <a:cubicBezTo>
                    <a:pt x="818" y="1236"/>
                    <a:pt x="821" y="1237"/>
                    <a:pt x="823" y="1238"/>
                  </a:cubicBezTo>
                  <a:cubicBezTo>
                    <a:pt x="830" y="1240"/>
                    <a:pt x="845" y="1240"/>
                    <a:pt x="853" y="1240"/>
                  </a:cubicBezTo>
                  <a:cubicBezTo>
                    <a:pt x="857" y="1241"/>
                    <a:pt x="866" y="1239"/>
                    <a:pt x="870" y="1240"/>
                  </a:cubicBezTo>
                  <a:cubicBezTo>
                    <a:pt x="872" y="1240"/>
                    <a:pt x="877" y="1243"/>
                    <a:pt x="877" y="1243"/>
                  </a:cubicBezTo>
                  <a:cubicBezTo>
                    <a:pt x="877" y="1243"/>
                    <a:pt x="883" y="1244"/>
                    <a:pt x="885" y="1245"/>
                  </a:cubicBezTo>
                  <a:cubicBezTo>
                    <a:pt x="885" y="1245"/>
                    <a:pt x="896" y="1255"/>
                    <a:pt x="900" y="1259"/>
                  </a:cubicBezTo>
                  <a:cubicBezTo>
                    <a:pt x="902" y="1261"/>
                    <a:pt x="906" y="1264"/>
                    <a:pt x="908" y="1265"/>
                  </a:cubicBezTo>
                  <a:cubicBezTo>
                    <a:pt x="910" y="1265"/>
                    <a:pt x="914" y="1266"/>
                    <a:pt x="916" y="1264"/>
                  </a:cubicBezTo>
                  <a:cubicBezTo>
                    <a:pt x="917" y="1263"/>
                    <a:pt x="915" y="1258"/>
                    <a:pt x="916" y="1257"/>
                  </a:cubicBezTo>
                  <a:cubicBezTo>
                    <a:pt x="919" y="1253"/>
                    <a:pt x="930" y="1253"/>
                    <a:pt x="934" y="1252"/>
                  </a:cubicBezTo>
                  <a:cubicBezTo>
                    <a:pt x="935" y="1252"/>
                    <a:pt x="937" y="1252"/>
                    <a:pt x="938" y="1251"/>
                  </a:cubicBezTo>
                  <a:cubicBezTo>
                    <a:pt x="939" y="1249"/>
                    <a:pt x="939" y="1243"/>
                    <a:pt x="937" y="1243"/>
                  </a:cubicBezTo>
                  <a:cubicBezTo>
                    <a:pt x="937" y="1243"/>
                    <a:pt x="920" y="1247"/>
                    <a:pt x="926" y="1240"/>
                  </a:cubicBezTo>
                  <a:cubicBezTo>
                    <a:pt x="928" y="1238"/>
                    <a:pt x="922" y="1234"/>
                    <a:pt x="921" y="1233"/>
                  </a:cubicBezTo>
                  <a:cubicBezTo>
                    <a:pt x="920" y="1229"/>
                    <a:pt x="920" y="1221"/>
                    <a:pt x="919" y="1217"/>
                  </a:cubicBezTo>
                  <a:cubicBezTo>
                    <a:pt x="917" y="1211"/>
                    <a:pt x="908" y="1199"/>
                    <a:pt x="907" y="1192"/>
                  </a:cubicBezTo>
                  <a:cubicBezTo>
                    <a:pt x="907" y="1190"/>
                    <a:pt x="908" y="1186"/>
                    <a:pt x="908" y="1184"/>
                  </a:cubicBezTo>
                  <a:cubicBezTo>
                    <a:pt x="907" y="1178"/>
                    <a:pt x="905" y="1164"/>
                    <a:pt x="902" y="1158"/>
                  </a:cubicBezTo>
                  <a:cubicBezTo>
                    <a:pt x="901" y="1156"/>
                    <a:pt x="896" y="1153"/>
                    <a:pt x="895" y="1151"/>
                  </a:cubicBezTo>
                  <a:cubicBezTo>
                    <a:pt x="894" y="1149"/>
                    <a:pt x="893" y="1145"/>
                    <a:pt x="895" y="1144"/>
                  </a:cubicBezTo>
                  <a:cubicBezTo>
                    <a:pt x="896" y="1143"/>
                    <a:pt x="901" y="1148"/>
                    <a:pt x="902" y="1147"/>
                  </a:cubicBezTo>
                  <a:cubicBezTo>
                    <a:pt x="904" y="1144"/>
                    <a:pt x="895" y="1140"/>
                    <a:pt x="894" y="1137"/>
                  </a:cubicBezTo>
                  <a:cubicBezTo>
                    <a:pt x="893" y="1136"/>
                    <a:pt x="893" y="1131"/>
                    <a:pt x="895" y="1130"/>
                  </a:cubicBezTo>
                  <a:cubicBezTo>
                    <a:pt x="896" y="1129"/>
                    <a:pt x="901" y="1131"/>
                    <a:pt x="902" y="1130"/>
                  </a:cubicBezTo>
                  <a:cubicBezTo>
                    <a:pt x="903" y="1129"/>
                    <a:pt x="902" y="1124"/>
                    <a:pt x="903" y="1122"/>
                  </a:cubicBezTo>
                  <a:cubicBezTo>
                    <a:pt x="903" y="1120"/>
                    <a:pt x="906" y="1117"/>
                    <a:pt x="906" y="1115"/>
                  </a:cubicBezTo>
                  <a:cubicBezTo>
                    <a:pt x="907" y="1113"/>
                    <a:pt x="906" y="1109"/>
                    <a:pt x="906" y="1107"/>
                  </a:cubicBezTo>
                  <a:cubicBezTo>
                    <a:pt x="907" y="1105"/>
                    <a:pt x="910" y="1101"/>
                    <a:pt x="908" y="1100"/>
                  </a:cubicBezTo>
                  <a:cubicBezTo>
                    <a:pt x="906" y="1097"/>
                    <a:pt x="898" y="1103"/>
                    <a:pt x="894" y="1103"/>
                  </a:cubicBezTo>
                  <a:cubicBezTo>
                    <a:pt x="873" y="1108"/>
                    <a:pt x="892" y="1094"/>
                    <a:pt x="897" y="1088"/>
                  </a:cubicBezTo>
                  <a:cubicBezTo>
                    <a:pt x="902" y="1083"/>
                    <a:pt x="908" y="1086"/>
                    <a:pt x="908" y="1086"/>
                  </a:cubicBezTo>
                  <a:cubicBezTo>
                    <a:pt x="916" y="1079"/>
                    <a:pt x="924" y="1066"/>
                    <a:pt x="924" y="1056"/>
                  </a:cubicBezTo>
                  <a:cubicBezTo>
                    <a:pt x="924" y="1054"/>
                    <a:pt x="923" y="1050"/>
                    <a:pt x="921" y="1049"/>
                  </a:cubicBezTo>
                  <a:cubicBezTo>
                    <a:pt x="921" y="1048"/>
                    <a:pt x="919" y="1047"/>
                    <a:pt x="918" y="1046"/>
                  </a:cubicBezTo>
                  <a:cubicBezTo>
                    <a:pt x="916" y="1045"/>
                    <a:pt x="914" y="1041"/>
                    <a:pt x="912" y="1039"/>
                  </a:cubicBezTo>
                  <a:cubicBezTo>
                    <a:pt x="909" y="1037"/>
                    <a:pt x="896" y="1039"/>
                    <a:pt x="900" y="1033"/>
                  </a:cubicBezTo>
                  <a:cubicBezTo>
                    <a:pt x="902" y="1031"/>
                    <a:pt x="906" y="1031"/>
                    <a:pt x="908" y="1031"/>
                  </a:cubicBezTo>
                  <a:cubicBezTo>
                    <a:pt x="912" y="1030"/>
                    <a:pt x="921" y="1028"/>
                    <a:pt x="924" y="1029"/>
                  </a:cubicBezTo>
                  <a:cubicBezTo>
                    <a:pt x="927" y="1030"/>
                    <a:pt x="932" y="1038"/>
                    <a:pt x="935" y="1037"/>
                  </a:cubicBezTo>
                  <a:cubicBezTo>
                    <a:pt x="941" y="1037"/>
                    <a:pt x="946" y="1023"/>
                    <a:pt x="949" y="1017"/>
                  </a:cubicBezTo>
                  <a:cubicBezTo>
                    <a:pt x="955" y="1007"/>
                    <a:pt x="943" y="1007"/>
                    <a:pt x="943" y="1007"/>
                  </a:cubicBezTo>
                  <a:cubicBezTo>
                    <a:pt x="942" y="1008"/>
                    <a:pt x="941" y="1014"/>
                    <a:pt x="939" y="1014"/>
                  </a:cubicBezTo>
                  <a:cubicBezTo>
                    <a:pt x="939" y="1014"/>
                    <a:pt x="930" y="1018"/>
                    <a:pt x="934" y="1006"/>
                  </a:cubicBezTo>
                  <a:cubicBezTo>
                    <a:pt x="938" y="995"/>
                    <a:pt x="942" y="1001"/>
                    <a:pt x="950" y="994"/>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5">
              <a:extLst>
                <a:ext uri="{FF2B5EF4-FFF2-40B4-BE49-F238E27FC236}">
                  <a16:creationId xmlns:a16="http://schemas.microsoft.com/office/drawing/2014/main" id="{93E2112E-0D24-443C-91E0-38B2E0D1CD40}"/>
                </a:ext>
              </a:extLst>
            </p:cNvPr>
            <p:cNvSpPr>
              <a:spLocks/>
            </p:cNvSpPr>
            <p:nvPr/>
          </p:nvSpPr>
          <p:spPr bwMode="auto">
            <a:xfrm>
              <a:off x="4651469" y="3672680"/>
              <a:ext cx="717616" cy="751980"/>
            </a:xfrm>
            <a:custGeom>
              <a:avLst/>
              <a:gdLst>
                <a:gd name="T0" fmla="*/ 644 w 646"/>
                <a:gd name="T1" fmla="*/ 52 h 676"/>
                <a:gd name="T2" fmla="*/ 540 w 646"/>
                <a:gd name="T3" fmla="*/ 46 h 676"/>
                <a:gd name="T4" fmla="*/ 376 w 646"/>
                <a:gd name="T5" fmla="*/ 32 h 676"/>
                <a:gd name="T6" fmla="*/ 239 w 646"/>
                <a:gd name="T7" fmla="*/ 18 h 676"/>
                <a:gd name="T8" fmla="*/ 87 w 646"/>
                <a:gd name="T9" fmla="*/ 0 h 676"/>
                <a:gd name="T10" fmla="*/ 84 w 646"/>
                <a:gd name="T11" fmla="*/ 3 h 676"/>
                <a:gd name="T12" fmla="*/ 1 w 646"/>
                <a:gd name="T13" fmla="*/ 660 h 676"/>
                <a:gd name="T14" fmla="*/ 0 w 646"/>
                <a:gd name="T15" fmla="*/ 664 h 676"/>
                <a:gd name="T16" fmla="*/ 1 w 646"/>
                <a:gd name="T17" fmla="*/ 666 h 676"/>
                <a:gd name="T18" fmla="*/ 2 w 646"/>
                <a:gd name="T19" fmla="*/ 667 h 676"/>
                <a:gd name="T20" fmla="*/ 79 w 646"/>
                <a:gd name="T21" fmla="*/ 676 h 676"/>
                <a:gd name="T22" fmla="*/ 79 w 646"/>
                <a:gd name="T23" fmla="*/ 676 h 676"/>
                <a:gd name="T24" fmla="*/ 80 w 646"/>
                <a:gd name="T25" fmla="*/ 676 h 676"/>
                <a:gd name="T26" fmla="*/ 87 w 646"/>
                <a:gd name="T27" fmla="*/ 673 h 676"/>
                <a:gd name="T28" fmla="*/ 89 w 646"/>
                <a:gd name="T29" fmla="*/ 671 h 676"/>
                <a:gd name="T30" fmla="*/ 93 w 646"/>
                <a:gd name="T31" fmla="*/ 633 h 676"/>
                <a:gd name="T32" fmla="*/ 96 w 646"/>
                <a:gd name="T33" fmla="*/ 625 h 676"/>
                <a:gd name="T34" fmla="*/ 254 w 646"/>
                <a:gd name="T35" fmla="*/ 642 h 676"/>
                <a:gd name="T36" fmla="*/ 255 w 646"/>
                <a:gd name="T37" fmla="*/ 642 h 676"/>
                <a:gd name="T38" fmla="*/ 258 w 646"/>
                <a:gd name="T39" fmla="*/ 640 h 676"/>
                <a:gd name="T40" fmla="*/ 258 w 646"/>
                <a:gd name="T41" fmla="*/ 637 h 676"/>
                <a:gd name="T42" fmla="*/ 257 w 646"/>
                <a:gd name="T43" fmla="*/ 635 h 676"/>
                <a:gd name="T44" fmla="*/ 253 w 646"/>
                <a:gd name="T45" fmla="*/ 630 h 676"/>
                <a:gd name="T46" fmla="*/ 249 w 646"/>
                <a:gd name="T47" fmla="*/ 616 h 676"/>
                <a:gd name="T48" fmla="*/ 249 w 646"/>
                <a:gd name="T49" fmla="*/ 616 h 676"/>
                <a:gd name="T50" fmla="*/ 321 w 646"/>
                <a:gd name="T51" fmla="*/ 623 h 676"/>
                <a:gd name="T52" fmla="*/ 504 w 646"/>
                <a:gd name="T53" fmla="*/ 639 h 676"/>
                <a:gd name="T54" fmla="*/ 590 w 646"/>
                <a:gd name="T55" fmla="*/ 644 h 676"/>
                <a:gd name="T56" fmla="*/ 594 w 646"/>
                <a:gd name="T57" fmla="*/ 644 h 676"/>
                <a:gd name="T58" fmla="*/ 596 w 646"/>
                <a:gd name="T59" fmla="*/ 644 h 676"/>
                <a:gd name="T60" fmla="*/ 602 w 646"/>
                <a:gd name="T61" fmla="*/ 636 h 676"/>
                <a:gd name="T62" fmla="*/ 603 w 646"/>
                <a:gd name="T63" fmla="*/ 635 h 676"/>
                <a:gd name="T64" fmla="*/ 611 w 646"/>
                <a:gd name="T65" fmla="*/ 513 h 676"/>
                <a:gd name="T66" fmla="*/ 620 w 646"/>
                <a:gd name="T67" fmla="*/ 406 h 676"/>
                <a:gd name="T68" fmla="*/ 638 w 646"/>
                <a:gd name="T69" fmla="*/ 124 h 676"/>
                <a:gd name="T70" fmla="*/ 638 w 646"/>
                <a:gd name="T71" fmla="*/ 117 h 676"/>
                <a:gd name="T72" fmla="*/ 641 w 646"/>
                <a:gd name="T73" fmla="*/ 116 h 676"/>
                <a:gd name="T74" fmla="*/ 643 w 646"/>
                <a:gd name="T75" fmla="*/ 114 h 676"/>
                <a:gd name="T76" fmla="*/ 646 w 646"/>
                <a:gd name="T77" fmla="*/ 55 h 676"/>
                <a:gd name="T78" fmla="*/ 644 w 646"/>
                <a:gd name="T79" fmla="*/ 5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46" h="676">
                  <a:moveTo>
                    <a:pt x="644" y="52"/>
                  </a:moveTo>
                  <a:cubicBezTo>
                    <a:pt x="540" y="46"/>
                    <a:pt x="540" y="46"/>
                    <a:pt x="540" y="46"/>
                  </a:cubicBezTo>
                  <a:cubicBezTo>
                    <a:pt x="376" y="32"/>
                    <a:pt x="376" y="32"/>
                    <a:pt x="376" y="32"/>
                  </a:cubicBezTo>
                  <a:cubicBezTo>
                    <a:pt x="239" y="18"/>
                    <a:pt x="239" y="18"/>
                    <a:pt x="239" y="18"/>
                  </a:cubicBezTo>
                  <a:cubicBezTo>
                    <a:pt x="87" y="0"/>
                    <a:pt x="87" y="0"/>
                    <a:pt x="87" y="0"/>
                  </a:cubicBezTo>
                  <a:cubicBezTo>
                    <a:pt x="85" y="0"/>
                    <a:pt x="84" y="1"/>
                    <a:pt x="84" y="3"/>
                  </a:cubicBezTo>
                  <a:cubicBezTo>
                    <a:pt x="1" y="660"/>
                    <a:pt x="1" y="660"/>
                    <a:pt x="1" y="660"/>
                  </a:cubicBezTo>
                  <a:cubicBezTo>
                    <a:pt x="0" y="664"/>
                    <a:pt x="0" y="664"/>
                    <a:pt x="0" y="664"/>
                  </a:cubicBezTo>
                  <a:cubicBezTo>
                    <a:pt x="0" y="664"/>
                    <a:pt x="0" y="665"/>
                    <a:pt x="1" y="666"/>
                  </a:cubicBezTo>
                  <a:cubicBezTo>
                    <a:pt x="1" y="666"/>
                    <a:pt x="2" y="667"/>
                    <a:pt x="2" y="667"/>
                  </a:cubicBezTo>
                  <a:cubicBezTo>
                    <a:pt x="79" y="676"/>
                    <a:pt x="79" y="676"/>
                    <a:pt x="79" y="676"/>
                  </a:cubicBezTo>
                  <a:cubicBezTo>
                    <a:pt x="79" y="676"/>
                    <a:pt x="79" y="676"/>
                    <a:pt x="79" y="676"/>
                  </a:cubicBezTo>
                  <a:cubicBezTo>
                    <a:pt x="79" y="676"/>
                    <a:pt x="80" y="676"/>
                    <a:pt x="80" y="676"/>
                  </a:cubicBezTo>
                  <a:cubicBezTo>
                    <a:pt x="87" y="673"/>
                    <a:pt x="87" y="673"/>
                    <a:pt x="87" y="673"/>
                  </a:cubicBezTo>
                  <a:cubicBezTo>
                    <a:pt x="88" y="673"/>
                    <a:pt x="89" y="672"/>
                    <a:pt x="89" y="671"/>
                  </a:cubicBezTo>
                  <a:cubicBezTo>
                    <a:pt x="93" y="633"/>
                    <a:pt x="93" y="633"/>
                    <a:pt x="93" y="633"/>
                  </a:cubicBezTo>
                  <a:cubicBezTo>
                    <a:pt x="96" y="625"/>
                    <a:pt x="96" y="625"/>
                    <a:pt x="96" y="625"/>
                  </a:cubicBezTo>
                  <a:cubicBezTo>
                    <a:pt x="254" y="642"/>
                    <a:pt x="254" y="642"/>
                    <a:pt x="254" y="642"/>
                  </a:cubicBezTo>
                  <a:cubicBezTo>
                    <a:pt x="255" y="642"/>
                    <a:pt x="255" y="642"/>
                    <a:pt x="255" y="642"/>
                  </a:cubicBezTo>
                  <a:cubicBezTo>
                    <a:pt x="256" y="642"/>
                    <a:pt x="258" y="641"/>
                    <a:pt x="258" y="640"/>
                  </a:cubicBezTo>
                  <a:cubicBezTo>
                    <a:pt x="258" y="637"/>
                    <a:pt x="258" y="637"/>
                    <a:pt x="258" y="637"/>
                  </a:cubicBezTo>
                  <a:cubicBezTo>
                    <a:pt x="258" y="636"/>
                    <a:pt x="257" y="636"/>
                    <a:pt x="257" y="635"/>
                  </a:cubicBezTo>
                  <a:cubicBezTo>
                    <a:pt x="253" y="630"/>
                    <a:pt x="253" y="630"/>
                    <a:pt x="253" y="630"/>
                  </a:cubicBezTo>
                  <a:cubicBezTo>
                    <a:pt x="249" y="616"/>
                    <a:pt x="249" y="616"/>
                    <a:pt x="249" y="616"/>
                  </a:cubicBezTo>
                  <a:cubicBezTo>
                    <a:pt x="249" y="616"/>
                    <a:pt x="249" y="616"/>
                    <a:pt x="249" y="616"/>
                  </a:cubicBezTo>
                  <a:cubicBezTo>
                    <a:pt x="321" y="623"/>
                    <a:pt x="321" y="623"/>
                    <a:pt x="321" y="623"/>
                  </a:cubicBezTo>
                  <a:cubicBezTo>
                    <a:pt x="504" y="639"/>
                    <a:pt x="504" y="639"/>
                    <a:pt x="504" y="639"/>
                  </a:cubicBezTo>
                  <a:cubicBezTo>
                    <a:pt x="590" y="644"/>
                    <a:pt x="590" y="644"/>
                    <a:pt x="590" y="644"/>
                  </a:cubicBezTo>
                  <a:cubicBezTo>
                    <a:pt x="594" y="644"/>
                    <a:pt x="594" y="644"/>
                    <a:pt x="594" y="644"/>
                  </a:cubicBezTo>
                  <a:cubicBezTo>
                    <a:pt x="595" y="644"/>
                    <a:pt x="595" y="644"/>
                    <a:pt x="596" y="644"/>
                  </a:cubicBezTo>
                  <a:cubicBezTo>
                    <a:pt x="602" y="636"/>
                    <a:pt x="602" y="636"/>
                    <a:pt x="602" y="636"/>
                  </a:cubicBezTo>
                  <a:cubicBezTo>
                    <a:pt x="603" y="636"/>
                    <a:pt x="603" y="635"/>
                    <a:pt x="603" y="635"/>
                  </a:cubicBezTo>
                  <a:cubicBezTo>
                    <a:pt x="611" y="513"/>
                    <a:pt x="611" y="513"/>
                    <a:pt x="611" y="513"/>
                  </a:cubicBezTo>
                  <a:cubicBezTo>
                    <a:pt x="620" y="406"/>
                    <a:pt x="620" y="406"/>
                    <a:pt x="620" y="406"/>
                  </a:cubicBezTo>
                  <a:cubicBezTo>
                    <a:pt x="638" y="124"/>
                    <a:pt x="638" y="124"/>
                    <a:pt x="638" y="124"/>
                  </a:cubicBezTo>
                  <a:cubicBezTo>
                    <a:pt x="638" y="117"/>
                    <a:pt x="638" y="117"/>
                    <a:pt x="638" y="117"/>
                  </a:cubicBezTo>
                  <a:cubicBezTo>
                    <a:pt x="641" y="116"/>
                    <a:pt x="641" y="116"/>
                    <a:pt x="641" y="116"/>
                  </a:cubicBezTo>
                  <a:cubicBezTo>
                    <a:pt x="642" y="116"/>
                    <a:pt x="643" y="115"/>
                    <a:pt x="643" y="114"/>
                  </a:cubicBezTo>
                  <a:cubicBezTo>
                    <a:pt x="646" y="55"/>
                    <a:pt x="646" y="55"/>
                    <a:pt x="646" y="55"/>
                  </a:cubicBezTo>
                  <a:cubicBezTo>
                    <a:pt x="646" y="54"/>
                    <a:pt x="645" y="52"/>
                    <a:pt x="644" y="5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6">
              <a:extLst>
                <a:ext uri="{FF2B5EF4-FFF2-40B4-BE49-F238E27FC236}">
                  <a16:creationId xmlns:a16="http://schemas.microsoft.com/office/drawing/2014/main" id="{A7488632-9A39-448D-92DE-B322935695A3}"/>
                </a:ext>
              </a:extLst>
            </p:cNvPr>
            <p:cNvSpPr>
              <a:spLocks/>
            </p:cNvSpPr>
            <p:nvPr/>
          </p:nvSpPr>
          <p:spPr bwMode="auto">
            <a:xfrm>
              <a:off x="5297323" y="2938893"/>
              <a:ext cx="855075" cy="424505"/>
            </a:xfrm>
            <a:custGeom>
              <a:avLst/>
              <a:gdLst>
                <a:gd name="T0" fmla="*/ 761 w 770"/>
                <a:gd name="T1" fmla="*/ 370 h 381"/>
                <a:gd name="T2" fmla="*/ 762 w 770"/>
                <a:gd name="T3" fmla="*/ 363 h 381"/>
                <a:gd name="T4" fmla="*/ 756 w 770"/>
                <a:gd name="T5" fmla="*/ 355 h 381"/>
                <a:gd name="T6" fmla="*/ 754 w 770"/>
                <a:gd name="T7" fmla="*/ 347 h 381"/>
                <a:gd name="T8" fmla="*/ 747 w 770"/>
                <a:gd name="T9" fmla="*/ 342 h 381"/>
                <a:gd name="T10" fmla="*/ 738 w 770"/>
                <a:gd name="T11" fmla="*/ 328 h 381"/>
                <a:gd name="T12" fmla="*/ 732 w 770"/>
                <a:gd name="T13" fmla="*/ 317 h 381"/>
                <a:gd name="T14" fmla="*/ 729 w 770"/>
                <a:gd name="T15" fmla="*/ 310 h 381"/>
                <a:gd name="T16" fmla="*/ 727 w 770"/>
                <a:gd name="T17" fmla="*/ 298 h 381"/>
                <a:gd name="T18" fmla="*/ 720 w 770"/>
                <a:gd name="T19" fmla="*/ 294 h 381"/>
                <a:gd name="T20" fmla="*/ 724 w 770"/>
                <a:gd name="T21" fmla="*/ 272 h 381"/>
                <a:gd name="T22" fmla="*/ 719 w 770"/>
                <a:gd name="T23" fmla="*/ 256 h 381"/>
                <a:gd name="T24" fmla="*/ 720 w 770"/>
                <a:gd name="T25" fmla="*/ 245 h 381"/>
                <a:gd name="T26" fmla="*/ 717 w 770"/>
                <a:gd name="T27" fmla="*/ 233 h 381"/>
                <a:gd name="T28" fmla="*/ 716 w 770"/>
                <a:gd name="T29" fmla="*/ 228 h 381"/>
                <a:gd name="T30" fmla="*/ 715 w 770"/>
                <a:gd name="T31" fmla="*/ 217 h 381"/>
                <a:gd name="T32" fmla="*/ 714 w 770"/>
                <a:gd name="T33" fmla="*/ 212 h 381"/>
                <a:gd name="T34" fmla="*/ 709 w 770"/>
                <a:gd name="T35" fmla="*/ 202 h 381"/>
                <a:gd name="T36" fmla="*/ 707 w 770"/>
                <a:gd name="T37" fmla="*/ 200 h 381"/>
                <a:gd name="T38" fmla="*/ 701 w 770"/>
                <a:gd name="T39" fmla="*/ 193 h 381"/>
                <a:gd name="T40" fmla="*/ 700 w 770"/>
                <a:gd name="T41" fmla="*/ 188 h 381"/>
                <a:gd name="T42" fmla="*/ 699 w 770"/>
                <a:gd name="T43" fmla="*/ 178 h 381"/>
                <a:gd name="T44" fmla="*/ 701 w 770"/>
                <a:gd name="T45" fmla="*/ 170 h 381"/>
                <a:gd name="T46" fmla="*/ 696 w 770"/>
                <a:gd name="T47" fmla="*/ 158 h 381"/>
                <a:gd name="T48" fmla="*/ 694 w 770"/>
                <a:gd name="T49" fmla="*/ 152 h 381"/>
                <a:gd name="T50" fmla="*/ 688 w 770"/>
                <a:gd name="T51" fmla="*/ 140 h 381"/>
                <a:gd name="T52" fmla="*/ 684 w 770"/>
                <a:gd name="T53" fmla="*/ 131 h 381"/>
                <a:gd name="T54" fmla="*/ 680 w 770"/>
                <a:gd name="T55" fmla="*/ 122 h 381"/>
                <a:gd name="T56" fmla="*/ 677 w 770"/>
                <a:gd name="T57" fmla="*/ 116 h 381"/>
                <a:gd name="T58" fmla="*/ 675 w 770"/>
                <a:gd name="T59" fmla="*/ 104 h 381"/>
                <a:gd name="T60" fmla="*/ 671 w 770"/>
                <a:gd name="T61" fmla="*/ 97 h 381"/>
                <a:gd name="T62" fmla="*/ 673 w 770"/>
                <a:gd name="T63" fmla="*/ 93 h 381"/>
                <a:gd name="T64" fmla="*/ 663 w 770"/>
                <a:gd name="T65" fmla="*/ 80 h 381"/>
                <a:gd name="T66" fmla="*/ 650 w 770"/>
                <a:gd name="T67" fmla="*/ 72 h 381"/>
                <a:gd name="T68" fmla="*/ 646 w 770"/>
                <a:gd name="T69" fmla="*/ 64 h 381"/>
                <a:gd name="T70" fmla="*/ 630 w 770"/>
                <a:gd name="T71" fmla="*/ 53 h 381"/>
                <a:gd name="T72" fmla="*/ 624 w 770"/>
                <a:gd name="T73" fmla="*/ 54 h 381"/>
                <a:gd name="T74" fmla="*/ 614 w 770"/>
                <a:gd name="T75" fmla="*/ 48 h 381"/>
                <a:gd name="T76" fmla="*/ 607 w 770"/>
                <a:gd name="T77" fmla="*/ 48 h 381"/>
                <a:gd name="T78" fmla="*/ 594 w 770"/>
                <a:gd name="T79" fmla="*/ 37 h 381"/>
                <a:gd name="T80" fmla="*/ 561 w 770"/>
                <a:gd name="T81" fmla="*/ 40 h 381"/>
                <a:gd name="T82" fmla="*/ 544 w 770"/>
                <a:gd name="T83" fmla="*/ 38 h 381"/>
                <a:gd name="T84" fmla="*/ 538 w 770"/>
                <a:gd name="T85" fmla="*/ 46 h 381"/>
                <a:gd name="T86" fmla="*/ 502 w 770"/>
                <a:gd name="T87" fmla="*/ 32 h 381"/>
                <a:gd name="T88" fmla="*/ 491 w 770"/>
                <a:gd name="T89" fmla="*/ 21 h 381"/>
                <a:gd name="T90" fmla="*/ 254 w 770"/>
                <a:gd name="T91" fmla="*/ 15 h 381"/>
                <a:gd name="T92" fmla="*/ 19 w 770"/>
                <a:gd name="T93" fmla="*/ 1 h 381"/>
                <a:gd name="T94" fmla="*/ 16 w 770"/>
                <a:gd name="T95" fmla="*/ 3 h 381"/>
                <a:gd name="T96" fmla="*/ 3 w 770"/>
                <a:gd name="T97" fmla="*/ 241 h 381"/>
                <a:gd name="T98" fmla="*/ 168 w 770"/>
                <a:gd name="T99" fmla="*/ 251 h 381"/>
                <a:gd name="T100" fmla="*/ 168 w 770"/>
                <a:gd name="T101" fmla="*/ 366 h 381"/>
                <a:gd name="T102" fmla="*/ 284 w 770"/>
                <a:gd name="T103" fmla="*/ 375 h 381"/>
                <a:gd name="T104" fmla="*/ 618 w 770"/>
                <a:gd name="T105" fmla="*/ 381 h 381"/>
                <a:gd name="T106" fmla="*/ 767 w 770"/>
                <a:gd name="T107" fmla="*/ 380 h 381"/>
                <a:gd name="T108" fmla="*/ 769 w 770"/>
                <a:gd name="T109" fmla="*/ 375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0" h="381">
                  <a:moveTo>
                    <a:pt x="769" y="375"/>
                  </a:moveTo>
                  <a:cubicBezTo>
                    <a:pt x="765" y="373"/>
                    <a:pt x="762" y="371"/>
                    <a:pt x="761" y="370"/>
                  </a:cubicBezTo>
                  <a:cubicBezTo>
                    <a:pt x="761" y="370"/>
                    <a:pt x="761" y="368"/>
                    <a:pt x="762" y="368"/>
                  </a:cubicBezTo>
                  <a:cubicBezTo>
                    <a:pt x="762" y="366"/>
                    <a:pt x="762" y="364"/>
                    <a:pt x="762" y="363"/>
                  </a:cubicBezTo>
                  <a:cubicBezTo>
                    <a:pt x="761" y="361"/>
                    <a:pt x="760" y="359"/>
                    <a:pt x="758" y="358"/>
                  </a:cubicBezTo>
                  <a:cubicBezTo>
                    <a:pt x="757" y="357"/>
                    <a:pt x="756" y="356"/>
                    <a:pt x="756" y="355"/>
                  </a:cubicBezTo>
                  <a:cubicBezTo>
                    <a:pt x="756" y="355"/>
                    <a:pt x="756" y="354"/>
                    <a:pt x="756" y="353"/>
                  </a:cubicBezTo>
                  <a:cubicBezTo>
                    <a:pt x="755" y="351"/>
                    <a:pt x="755" y="349"/>
                    <a:pt x="754" y="347"/>
                  </a:cubicBezTo>
                  <a:cubicBezTo>
                    <a:pt x="753" y="345"/>
                    <a:pt x="751" y="344"/>
                    <a:pt x="749" y="343"/>
                  </a:cubicBezTo>
                  <a:cubicBezTo>
                    <a:pt x="748" y="343"/>
                    <a:pt x="747" y="342"/>
                    <a:pt x="747" y="342"/>
                  </a:cubicBezTo>
                  <a:cubicBezTo>
                    <a:pt x="745" y="340"/>
                    <a:pt x="742" y="337"/>
                    <a:pt x="741" y="335"/>
                  </a:cubicBezTo>
                  <a:cubicBezTo>
                    <a:pt x="740" y="334"/>
                    <a:pt x="739" y="331"/>
                    <a:pt x="738" y="328"/>
                  </a:cubicBezTo>
                  <a:cubicBezTo>
                    <a:pt x="738" y="325"/>
                    <a:pt x="737" y="322"/>
                    <a:pt x="736" y="321"/>
                  </a:cubicBezTo>
                  <a:cubicBezTo>
                    <a:pt x="735" y="319"/>
                    <a:pt x="734" y="318"/>
                    <a:pt x="732" y="317"/>
                  </a:cubicBezTo>
                  <a:cubicBezTo>
                    <a:pt x="731" y="316"/>
                    <a:pt x="730" y="314"/>
                    <a:pt x="729" y="314"/>
                  </a:cubicBezTo>
                  <a:cubicBezTo>
                    <a:pt x="729" y="313"/>
                    <a:pt x="729" y="311"/>
                    <a:pt x="729" y="310"/>
                  </a:cubicBezTo>
                  <a:cubicBezTo>
                    <a:pt x="730" y="309"/>
                    <a:pt x="730" y="307"/>
                    <a:pt x="730" y="306"/>
                  </a:cubicBezTo>
                  <a:cubicBezTo>
                    <a:pt x="729" y="305"/>
                    <a:pt x="729" y="300"/>
                    <a:pt x="727" y="298"/>
                  </a:cubicBezTo>
                  <a:cubicBezTo>
                    <a:pt x="726" y="297"/>
                    <a:pt x="724" y="296"/>
                    <a:pt x="723" y="295"/>
                  </a:cubicBezTo>
                  <a:cubicBezTo>
                    <a:pt x="722" y="295"/>
                    <a:pt x="720" y="294"/>
                    <a:pt x="720" y="294"/>
                  </a:cubicBezTo>
                  <a:cubicBezTo>
                    <a:pt x="719" y="291"/>
                    <a:pt x="721" y="286"/>
                    <a:pt x="722" y="282"/>
                  </a:cubicBezTo>
                  <a:cubicBezTo>
                    <a:pt x="723" y="278"/>
                    <a:pt x="724" y="275"/>
                    <a:pt x="724" y="272"/>
                  </a:cubicBezTo>
                  <a:cubicBezTo>
                    <a:pt x="724" y="269"/>
                    <a:pt x="722" y="266"/>
                    <a:pt x="721" y="263"/>
                  </a:cubicBezTo>
                  <a:cubicBezTo>
                    <a:pt x="721" y="260"/>
                    <a:pt x="720" y="257"/>
                    <a:pt x="719" y="256"/>
                  </a:cubicBezTo>
                  <a:cubicBezTo>
                    <a:pt x="719" y="254"/>
                    <a:pt x="719" y="249"/>
                    <a:pt x="719" y="247"/>
                  </a:cubicBezTo>
                  <a:cubicBezTo>
                    <a:pt x="719" y="246"/>
                    <a:pt x="720" y="245"/>
                    <a:pt x="720" y="245"/>
                  </a:cubicBezTo>
                  <a:cubicBezTo>
                    <a:pt x="721" y="242"/>
                    <a:pt x="721" y="240"/>
                    <a:pt x="721" y="238"/>
                  </a:cubicBezTo>
                  <a:cubicBezTo>
                    <a:pt x="720" y="236"/>
                    <a:pt x="719" y="235"/>
                    <a:pt x="717" y="233"/>
                  </a:cubicBezTo>
                  <a:cubicBezTo>
                    <a:pt x="717" y="233"/>
                    <a:pt x="715" y="232"/>
                    <a:pt x="715" y="231"/>
                  </a:cubicBezTo>
                  <a:cubicBezTo>
                    <a:pt x="715" y="231"/>
                    <a:pt x="716" y="229"/>
                    <a:pt x="716" y="228"/>
                  </a:cubicBezTo>
                  <a:cubicBezTo>
                    <a:pt x="717" y="226"/>
                    <a:pt x="718" y="224"/>
                    <a:pt x="717" y="222"/>
                  </a:cubicBezTo>
                  <a:cubicBezTo>
                    <a:pt x="717" y="220"/>
                    <a:pt x="716" y="219"/>
                    <a:pt x="715" y="217"/>
                  </a:cubicBezTo>
                  <a:cubicBezTo>
                    <a:pt x="714" y="216"/>
                    <a:pt x="713" y="215"/>
                    <a:pt x="713" y="215"/>
                  </a:cubicBezTo>
                  <a:cubicBezTo>
                    <a:pt x="713" y="214"/>
                    <a:pt x="713" y="213"/>
                    <a:pt x="714" y="212"/>
                  </a:cubicBezTo>
                  <a:cubicBezTo>
                    <a:pt x="714" y="210"/>
                    <a:pt x="715" y="207"/>
                    <a:pt x="714" y="205"/>
                  </a:cubicBezTo>
                  <a:cubicBezTo>
                    <a:pt x="713" y="203"/>
                    <a:pt x="711" y="203"/>
                    <a:pt x="709" y="202"/>
                  </a:cubicBezTo>
                  <a:cubicBezTo>
                    <a:pt x="708" y="202"/>
                    <a:pt x="707" y="202"/>
                    <a:pt x="707" y="202"/>
                  </a:cubicBezTo>
                  <a:cubicBezTo>
                    <a:pt x="707" y="202"/>
                    <a:pt x="707" y="200"/>
                    <a:pt x="707" y="200"/>
                  </a:cubicBezTo>
                  <a:cubicBezTo>
                    <a:pt x="708" y="198"/>
                    <a:pt x="708" y="195"/>
                    <a:pt x="706" y="194"/>
                  </a:cubicBezTo>
                  <a:cubicBezTo>
                    <a:pt x="705" y="193"/>
                    <a:pt x="703" y="193"/>
                    <a:pt x="701" y="193"/>
                  </a:cubicBezTo>
                  <a:cubicBezTo>
                    <a:pt x="701" y="193"/>
                    <a:pt x="701" y="193"/>
                    <a:pt x="701" y="193"/>
                  </a:cubicBezTo>
                  <a:cubicBezTo>
                    <a:pt x="701" y="191"/>
                    <a:pt x="700" y="190"/>
                    <a:pt x="700" y="188"/>
                  </a:cubicBezTo>
                  <a:cubicBezTo>
                    <a:pt x="700" y="187"/>
                    <a:pt x="699" y="186"/>
                    <a:pt x="699" y="185"/>
                  </a:cubicBezTo>
                  <a:cubicBezTo>
                    <a:pt x="699" y="183"/>
                    <a:pt x="699" y="180"/>
                    <a:pt x="699" y="178"/>
                  </a:cubicBezTo>
                  <a:cubicBezTo>
                    <a:pt x="699" y="177"/>
                    <a:pt x="700" y="176"/>
                    <a:pt x="700" y="175"/>
                  </a:cubicBezTo>
                  <a:cubicBezTo>
                    <a:pt x="700" y="173"/>
                    <a:pt x="701" y="172"/>
                    <a:pt x="701" y="170"/>
                  </a:cubicBezTo>
                  <a:cubicBezTo>
                    <a:pt x="701" y="168"/>
                    <a:pt x="700" y="164"/>
                    <a:pt x="699" y="162"/>
                  </a:cubicBezTo>
                  <a:cubicBezTo>
                    <a:pt x="699" y="161"/>
                    <a:pt x="698" y="159"/>
                    <a:pt x="696" y="158"/>
                  </a:cubicBezTo>
                  <a:cubicBezTo>
                    <a:pt x="696" y="157"/>
                    <a:pt x="694" y="155"/>
                    <a:pt x="694" y="155"/>
                  </a:cubicBezTo>
                  <a:cubicBezTo>
                    <a:pt x="694" y="154"/>
                    <a:pt x="694" y="153"/>
                    <a:pt x="694" y="152"/>
                  </a:cubicBezTo>
                  <a:cubicBezTo>
                    <a:pt x="694" y="150"/>
                    <a:pt x="695" y="149"/>
                    <a:pt x="694" y="147"/>
                  </a:cubicBezTo>
                  <a:cubicBezTo>
                    <a:pt x="693" y="145"/>
                    <a:pt x="691" y="142"/>
                    <a:pt x="688" y="140"/>
                  </a:cubicBezTo>
                  <a:cubicBezTo>
                    <a:pt x="687" y="138"/>
                    <a:pt x="684" y="135"/>
                    <a:pt x="684" y="134"/>
                  </a:cubicBezTo>
                  <a:cubicBezTo>
                    <a:pt x="684" y="134"/>
                    <a:pt x="684" y="132"/>
                    <a:pt x="684" y="131"/>
                  </a:cubicBezTo>
                  <a:cubicBezTo>
                    <a:pt x="684" y="130"/>
                    <a:pt x="684" y="128"/>
                    <a:pt x="683" y="127"/>
                  </a:cubicBezTo>
                  <a:cubicBezTo>
                    <a:pt x="683" y="125"/>
                    <a:pt x="681" y="124"/>
                    <a:pt x="680" y="122"/>
                  </a:cubicBezTo>
                  <a:cubicBezTo>
                    <a:pt x="679" y="121"/>
                    <a:pt x="677" y="120"/>
                    <a:pt x="677" y="119"/>
                  </a:cubicBezTo>
                  <a:cubicBezTo>
                    <a:pt x="677" y="119"/>
                    <a:pt x="677" y="117"/>
                    <a:pt x="677" y="116"/>
                  </a:cubicBezTo>
                  <a:cubicBezTo>
                    <a:pt x="677" y="115"/>
                    <a:pt x="678" y="114"/>
                    <a:pt x="678" y="112"/>
                  </a:cubicBezTo>
                  <a:cubicBezTo>
                    <a:pt x="677" y="110"/>
                    <a:pt x="676" y="106"/>
                    <a:pt x="675" y="104"/>
                  </a:cubicBezTo>
                  <a:cubicBezTo>
                    <a:pt x="675" y="104"/>
                    <a:pt x="674" y="102"/>
                    <a:pt x="673" y="101"/>
                  </a:cubicBezTo>
                  <a:cubicBezTo>
                    <a:pt x="672" y="100"/>
                    <a:pt x="671" y="98"/>
                    <a:pt x="671" y="97"/>
                  </a:cubicBezTo>
                  <a:cubicBezTo>
                    <a:pt x="671" y="97"/>
                    <a:pt x="672" y="95"/>
                    <a:pt x="672" y="93"/>
                  </a:cubicBezTo>
                  <a:cubicBezTo>
                    <a:pt x="672" y="93"/>
                    <a:pt x="673" y="93"/>
                    <a:pt x="673" y="93"/>
                  </a:cubicBezTo>
                  <a:cubicBezTo>
                    <a:pt x="673" y="89"/>
                    <a:pt x="673" y="84"/>
                    <a:pt x="671" y="82"/>
                  </a:cubicBezTo>
                  <a:cubicBezTo>
                    <a:pt x="670" y="80"/>
                    <a:pt x="666" y="80"/>
                    <a:pt x="663" y="80"/>
                  </a:cubicBezTo>
                  <a:cubicBezTo>
                    <a:pt x="660" y="79"/>
                    <a:pt x="657" y="78"/>
                    <a:pt x="656" y="78"/>
                  </a:cubicBezTo>
                  <a:cubicBezTo>
                    <a:pt x="654" y="77"/>
                    <a:pt x="651" y="74"/>
                    <a:pt x="650" y="72"/>
                  </a:cubicBezTo>
                  <a:cubicBezTo>
                    <a:pt x="649" y="72"/>
                    <a:pt x="649" y="71"/>
                    <a:pt x="649" y="70"/>
                  </a:cubicBezTo>
                  <a:cubicBezTo>
                    <a:pt x="648" y="67"/>
                    <a:pt x="647" y="65"/>
                    <a:pt x="646" y="64"/>
                  </a:cubicBezTo>
                  <a:cubicBezTo>
                    <a:pt x="644" y="62"/>
                    <a:pt x="640" y="61"/>
                    <a:pt x="638" y="61"/>
                  </a:cubicBezTo>
                  <a:cubicBezTo>
                    <a:pt x="636" y="58"/>
                    <a:pt x="632" y="54"/>
                    <a:pt x="630" y="53"/>
                  </a:cubicBezTo>
                  <a:cubicBezTo>
                    <a:pt x="628" y="53"/>
                    <a:pt x="627" y="53"/>
                    <a:pt x="625" y="54"/>
                  </a:cubicBezTo>
                  <a:cubicBezTo>
                    <a:pt x="624" y="54"/>
                    <a:pt x="624" y="54"/>
                    <a:pt x="624" y="54"/>
                  </a:cubicBezTo>
                  <a:cubicBezTo>
                    <a:pt x="624" y="54"/>
                    <a:pt x="623" y="53"/>
                    <a:pt x="623" y="53"/>
                  </a:cubicBezTo>
                  <a:cubicBezTo>
                    <a:pt x="621" y="50"/>
                    <a:pt x="616" y="49"/>
                    <a:pt x="614" y="48"/>
                  </a:cubicBezTo>
                  <a:cubicBezTo>
                    <a:pt x="613" y="48"/>
                    <a:pt x="611" y="48"/>
                    <a:pt x="610" y="48"/>
                  </a:cubicBezTo>
                  <a:cubicBezTo>
                    <a:pt x="609" y="48"/>
                    <a:pt x="607" y="48"/>
                    <a:pt x="607" y="48"/>
                  </a:cubicBezTo>
                  <a:cubicBezTo>
                    <a:pt x="606" y="47"/>
                    <a:pt x="604" y="45"/>
                    <a:pt x="602" y="43"/>
                  </a:cubicBezTo>
                  <a:cubicBezTo>
                    <a:pt x="600" y="40"/>
                    <a:pt x="597" y="38"/>
                    <a:pt x="594" y="37"/>
                  </a:cubicBezTo>
                  <a:cubicBezTo>
                    <a:pt x="593" y="36"/>
                    <a:pt x="591" y="36"/>
                    <a:pt x="588" y="36"/>
                  </a:cubicBezTo>
                  <a:cubicBezTo>
                    <a:pt x="579" y="36"/>
                    <a:pt x="564" y="39"/>
                    <a:pt x="561" y="40"/>
                  </a:cubicBezTo>
                  <a:cubicBezTo>
                    <a:pt x="558" y="39"/>
                    <a:pt x="552" y="38"/>
                    <a:pt x="548" y="38"/>
                  </a:cubicBezTo>
                  <a:cubicBezTo>
                    <a:pt x="546" y="38"/>
                    <a:pt x="545" y="38"/>
                    <a:pt x="544" y="38"/>
                  </a:cubicBezTo>
                  <a:cubicBezTo>
                    <a:pt x="542" y="39"/>
                    <a:pt x="541" y="41"/>
                    <a:pt x="540" y="43"/>
                  </a:cubicBezTo>
                  <a:cubicBezTo>
                    <a:pt x="539" y="44"/>
                    <a:pt x="538" y="45"/>
                    <a:pt x="538" y="46"/>
                  </a:cubicBezTo>
                  <a:cubicBezTo>
                    <a:pt x="537" y="47"/>
                    <a:pt x="533" y="48"/>
                    <a:pt x="532" y="48"/>
                  </a:cubicBezTo>
                  <a:cubicBezTo>
                    <a:pt x="525" y="48"/>
                    <a:pt x="507" y="36"/>
                    <a:pt x="502" y="32"/>
                  </a:cubicBezTo>
                  <a:cubicBezTo>
                    <a:pt x="492" y="22"/>
                    <a:pt x="492" y="22"/>
                    <a:pt x="492" y="22"/>
                  </a:cubicBezTo>
                  <a:cubicBezTo>
                    <a:pt x="492" y="22"/>
                    <a:pt x="491" y="21"/>
                    <a:pt x="491" y="21"/>
                  </a:cubicBezTo>
                  <a:cubicBezTo>
                    <a:pt x="396" y="20"/>
                    <a:pt x="396" y="20"/>
                    <a:pt x="396" y="20"/>
                  </a:cubicBezTo>
                  <a:cubicBezTo>
                    <a:pt x="254" y="15"/>
                    <a:pt x="254" y="15"/>
                    <a:pt x="254" y="15"/>
                  </a:cubicBezTo>
                  <a:cubicBezTo>
                    <a:pt x="107" y="7"/>
                    <a:pt x="107" y="7"/>
                    <a:pt x="107" y="7"/>
                  </a:cubicBezTo>
                  <a:cubicBezTo>
                    <a:pt x="19" y="1"/>
                    <a:pt x="19" y="1"/>
                    <a:pt x="19" y="1"/>
                  </a:cubicBezTo>
                  <a:cubicBezTo>
                    <a:pt x="18" y="0"/>
                    <a:pt x="18" y="1"/>
                    <a:pt x="17" y="1"/>
                  </a:cubicBezTo>
                  <a:cubicBezTo>
                    <a:pt x="17" y="2"/>
                    <a:pt x="16" y="2"/>
                    <a:pt x="16" y="3"/>
                  </a:cubicBezTo>
                  <a:cubicBezTo>
                    <a:pt x="0" y="238"/>
                    <a:pt x="0" y="238"/>
                    <a:pt x="0" y="238"/>
                  </a:cubicBezTo>
                  <a:cubicBezTo>
                    <a:pt x="0" y="239"/>
                    <a:pt x="1" y="241"/>
                    <a:pt x="3" y="241"/>
                  </a:cubicBezTo>
                  <a:cubicBezTo>
                    <a:pt x="83" y="246"/>
                    <a:pt x="83" y="246"/>
                    <a:pt x="83" y="246"/>
                  </a:cubicBezTo>
                  <a:cubicBezTo>
                    <a:pt x="168" y="251"/>
                    <a:pt x="168" y="251"/>
                    <a:pt x="168" y="251"/>
                  </a:cubicBezTo>
                  <a:cubicBezTo>
                    <a:pt x="174" y="254"/>
                    <a:pt x="174" y="254"/>
                    <a:pt x="174" y="254"/>
                  </a:cubicBezTo>
                  <a:cubicBezTo>
                    <a:pt x="168" y="366"/>
                    <a:pt x="168" y="366"/>
                    <a:pt x="168" y="366"/>
                  </a:cubicBezTo>
                  <a:cubicBezTo>
                    <a:pt x="168" y="368"/>
                    <a:pt x="169" y="369"/>
                    <a:pt x="171" y="369"/>
                  </a:cubicBezTo>
                  <a:cubicBezTo>
                    <a:pt x="284" y="375"/>
                    <a:pt x="284" y="375"/>
                    <a:pt x="284" y="375"/>
                  </a:cubicBezTo>
                  <a:cubicBezTo>
                    <a:pt x="503" y="381"/>
                    <a:pt x="503" y="381"/>
                    <a:pt x="503" y="381"/>
                  </a:cubicBezTo>
                  <a:cubicBezTo>
                    <a:pt x="618" y="381"/>
                    <a:pt x="618" y="381"/>
                    <a:pt x="618" y="381"/>
                  </a:cubicBezTo>
                  <a:cubicBezTo>
                    <a:pt x="618" y="381"/>
                    <a:pt x="618" y="381"/>
                    <a:pt x="618" y="381"/>
                  </a:cubicBezTo>
                  <a:cubicBezTo>
                    <a:pt x="767" y="380"/>
                    <a:pt x="767" y="380"/>
                    <a:pt x="767" y="380"/>
                  </a:cubicBezTo>
                  <a:cubicBezTo>
                    <a:pt x="769" y="380"/>
                    <a:pt x="770" y="379"/>
                    <a:pt x="770" y="378"/>
                  </a:cubicBezTo>
                  <a:cubicBezTo>
                    <a:pt x="770" y="377"/>
                    <a:pt x="770" y="376"/>
                    <a:pt x="769" y="375"/>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7">
              <a:extLst>
                <a:ext uri="{FF2B5EF4-FFF2-40B4-BE49-F238E27FC236}">
                  <a16:creationId xmlns:a16="http://schemas.microsoft.com/office/drawing/2014/main" id="{89B43B27-8285-4ECE-9D9A-D42C10323B62}"/>
                </a:ext>
              </a:extLst>
            </p:cNvPr>
            <p:cNvSpPr>
              <a:spLocks/>
            </p:cNvSpPr>
            <p:nvPr/>
          </p:nvSpPr>
          <p:spPr bwMode="auto">
            <a:xfrm>
              <a:off x="5465104" y="3344194"/>
              <a:ext cx="767141" cy="412376"/>
            </a:xfrm>
            <a:custGeom>
              <a:avLst/>
              <a:gdLst>
                <a:gd name="T0" fmla="*/ 684 w 690"/>
                <a:gd name="T1" fmla="*/ 116 h 371"/>
                <a:gd name="T2" fmla="*/ 683 w 690"/>
                <a:gd name="T3" fmla="*/ 114 h 371"/>
                <a:gd name="T4" fmla="*/ 675 w 690"/>
                <a:gd name="T5" fmla="*/ 108 h 371"/>
                <a:gd name="T6" fmla="*/ 671 w 690"/>
                <a:gd name="T7" fmla="*/ 107 h 371"/>
                <a:gd name="T8" fmla="*/ 668 w 690"/>
                <a:gd name="T9" fmla="*/ 106 h 371"/>
                <a:gd name="T10" fmla="*/ 658 w 690"/>
                <a:gd name="T11" fmla="*/ 93 h 371"/>
                <a:gd name="T12" fmla="*/ 658 w 690"/>
                <a:gd name="T13" fmla="*/ 90 h 371"/>
                <a:gd name="T14" fmla="*/ 658 w 690"/>
                <a:gd name="T15" fmla="*/ 84 h 371"/>
                <a:gd name="T16" fmla="*/ 651 w 690"/>
                <a:gd name="T17" fmla="*/ 80 h 371"/>
                <a:gd name="T18" fmla="*/ 648 w 690"/>
                <a:gd name="T19" fmla="*/ 78 h 371"/>
                <a:gd name="T20" fmla="*/ 642 w 690"/>
                <a:gd name="T21" fmla="*/ 69 h 371"/>
                <a:gd name="T22" fmla="*/ 639 w 690"/>
                <a:gd name="T23" fmla="*/ 63 h 371"/>
                <a:gd name="T24" fmla="*/ 647 w 690"/>
                <a:gd name="T25" fmla="*/ 52 h 371"/>
                <a:gd name="T26" fmla="*/ 649 w 690"/>
                <a:gd name="T27" fmla="*/ 49 h 371"/>
                <a:gd name="T28" fmla="*/ 649 w 690"/>
                <a:gd name="T29" fmla="*/ 46 h 371"/>
                <a:gd name="T30" fmla="*/ 651 w 690"/>
                <a:gd name="T31" fmla="*/ 46 h 371"/>
                <a:gd name="T32" fmla="*/ 657 w 690"/>
                <a:gd name="T33" fmla="*/ 46 h 371"/>
                <a:gd name="T34" fmla="*/ 659 w 690"/>
                <a:gd name="T35" fmla="*/ 42 h 371"/>
                <a:gd name="T36" fmla="*/ 658 w 690"/>
                <a:gd name="T37" fmla="*/ 33 h 371"/>
                <a:gd name="T38" fmla="*/ 652 w 690"/>
                <a:gd name="T39" fmla="*/ 24 h 371"/>
                <a:gd name="T40" fmla="*/ 644 w 690"/>
                <a:gd name="T41" fmla="*/ 22 h 371"/>
                <a:gd name="T42" fmla="*/ 639 w 690"/>
                <a:gd name="T43" fmla="*/ 25 h 371"/>
                <a:gd name="T44" fmla="*/ 637 w 690"/>
                <a:gd name="T45" fmla="*/ 27 h 371"/>
                <a:gd name="T46" fmla="*/ 618 w 690"/>
                <a:gd name="T47" fmla="*/ 12 h 371"/>
                <a:gd name="T48" fmla="*/ 616 w 690"/>
                <a:gd name="T49" fmla="*/ 11 h 371"/>
                <a:gd name="T50" fmla="*/ 616 w 690"/>
                <a:gd name="T51" fmla="*/ 11 h 371"/>
                <a:gd name="T52" fmla="*/ 467 w 690"/>
                <a:gd name="T53" fmla="*/ 12 h 371"/>
                <a:gd name="T54" fmla="*/ 353 w 690"/>
                <a:gd name="T55" fmla="*/ 12 h 371"/>
                <a:gd name="T56" fmla="*/ 133 w 690"/>
                <a:gd name="T57" fmla="*/ 6 h 371"/>
                <a:gd name="T58" fmla="*/ 20 w 690"/>
                <a:gd name="T59" fmla="*/ 0 h 371"/>
                <a:gd name="T60" fmla="*/ 18 w 690"/>
                <a:gd name="T61" fmla="*/ 1 h 371"/>
                <a:gd name="T62" fmla="*/ 17 w 690"/>
                <a:gd name="T63" fmla="*/ 2 h 371"/>
                <a:gd name="T64" fmla="*/ 0 w 690"/>
                <a:gd name="T65" fmla="*/ 353 h 371"/>
                <a:gd name="T66" fmla="*/ 0 w 690"/>
                <a:gd name="T67" fmla="*/ 356 h 371"/>
                <a:gd name="T68" fmla="*/ 1 w 690"/>
                <a:gd name="T69" fmla="*/ 358 h 371"/>
                <a:gd name="T70" fmla="*/ 3 w 690"/>
                <a:gd name="T71" fmla="*/ 359 h 371"/>
                <a:gd name="T72" fmla="*/ 150 w 690"/>
                <a:gd name="T73" fmla="*/ 366 h 371"/>
                <a:gd name="T74" fmla="*/ 360 w 690"/>
                <a:gd name="T75" fmla="*/ 371 h 371"/>
                <a:gd name="T76" fmla="*/ 572 w 690"/>
                <a:gd name="T77" fmla="*/ 371 h 371"/>
                <a:gd name="T78" fmla="*/ 572 w 690"/>
                <a:gd name="T79" fmla="*/ 371 h 371"/>
                <a:gd name="T80" fmla="*/ 687 w 690"/>
                <a:gd name="T81" fmla="*/ 369 h 371"/>
                <a:gd name="T82" fmla="*/ 689 w 690"/>
                <a:gd name="T83" fmla="*/ 368 h 371"/>
                <a:gd name="T84" fmla="*/ 690 w 690"/>
                <a:gd name="T85" fmla="*/ 366 h 371"/>
                <a:gd name="T86" fmla="*/ 684 w 690"/>
                <a:gd name="T87" fmla="*/ 116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0" h="371">
                  <a:moveTo>
                    <a:pt x="684" y="116"/>
                  </a:moveTo>
                  <a:cubicBezTo>
                    <a:pt x="684" y="115"/>
                    <a:pt x="683" y="114"/>
                    <a:pt x="683" y="114"/>
                  </a:cubicBezTo>
                  <a:cubicBezTo>
                    <a:pt x="682" y="113"/>
                    <a:pt x="677" y="109"/>
                    <a:pt x="675" y="108"/>
                  </a:cubicBezTo>
                  <a:cubicBezTo>
                    <a:pt x="674" y="107"/>
                    <a:pt x="672" y="107"/>
                    <a:pt x="671" y="107"/>
                  </a:cubicBezTo>
                  <a:cubicBezTo>
                    <a:pt x="670" y="106"/>
                    <a:pt x="669" y="106"/>
                    <a:pt x="668" y="106"/>
                  </a:cubicBezTo>
                  <a:cubicBezTo>
                    <a:pt x="665" y="103"/>
                    <a:pt x="659" y="96"/>
                    <a:pt x="658" y="93"/>
                  </a:cubicBezTo>
                  <a:cubicBezTo>
                    <a:pt x="658" y="92"/>
                    <a:pt x="658" y="91"/>
                    <a:pt x="658" y="90"/>
                  </a:cubicBezTo>
                  <a:cubicBezTo>
                    <a:pt x="658" y="88"/>
                    <a:pt x="658" y="86"/>
                    <a:pt x="658" y="84"/>
                  </a:cubicBezTo>
                  <a:cubicBezTo>
                    <a:pt x="656" y="82"/>
                    <a:pt x="654" y="81"/>
                    <a:pt x="651" y="80"/>
                  </a:cubicBezTo>
                  <a:cubicBezTo>
                    <a:pt x="650" y="79"/>
                    <a:pt x="649" y="78"/>
                    <a:pt x="648" y="78"/>
                  </a:cubicBezTo>
                  <a:cubicBezTo>
                    <a:pt x="647" y="76"/>
                    <a:pt x="643" y="71"/>
                    <a:pt x="642" y="69"/>
                  </a:cubicBezTo>
                  <a:cubicBezTo>
                    <a:pt x="639" y="63"/>
                    <a:pt x="639" y="63"/>
                    <a:pt x="639" y="63"/>
                  </a:cubicBezTo>
                  <a:cubicBezTo>
                    <a:pt x="641" y="61"/>
                    <a:pt x="646" y="55"/>
                    <a:pt x="647" y="52"/>
                  </a:cubicBezTo>
                  <a:cubicBezTo>
                    <a:pt x="648" y="51"/>
                    <a:pt x="648" y="50"/>
                    <a:pt x="649" y="49"/>
                  </a:cubicBezTo>
                  <a:cubicBezTo>
                    <a:pt x="649" y="48"/>
                    <a:pt x="649" y="46"/>
                    <a:pt x="649" y="46"/>
                  </a:cubicBezTo>
                  <a:cubicBezTo>
                    <a:pt x="650" y="46"/>
                    <a:pt x="651" y="46"/>
                    <a:pt x="651" y="46"/>
                  </a:cubicBezTo>
                  <a:cubicBezTo>
                    <a:pt x="654" y="47"/>
                    <a:pt x="656" y="47"/>
                    <a:pt x="657" y="46"/>
                  </a:cubicBezTo>
                  <a:cubicBezTo>
                    <a:pt x="659" y="45"/>
                    <a:pt x="659" y="43"/>
                    <a:pt x="659" y="42"/>
                  </a:cubicBezTo>
                  <a:cubicBezTo>
                    <a:pt x="660" y="40"/>
                    <a:pt x="659" y="35"/>
                    <a:pt x="658" y="33"/>
                  </a:cubicBezTo>
                  <a:cubicBezTo>
                    <a:pt x="657" y="31"/>
                    <a:pt x="654" y="26"/>
                    <a:pt x="652" y="24"/>
                  </a:cubicBezTo>
                  <a:cubicBezTo>
                    <a:pt x="650" y="23"/>
                    <a:pt x="647" y="21"/>
                    <a:pt x="644" y="22"/>
                  </a:cubicBezTo>
                  <a:cubicBezTo>
                    <a:pt x="642" y="22"/>
                    <a:pt x="641" y="23"/>
                    <a:pt x="639" y="25"/>
                  </a:cubicBezTo>
                  <a:cubicBezTo>
                    <a:pt x="639" y="26"/>
                    <a:pt x="638" y="27"/>
                    <a:pt x="637" y="27"/>
                  </a:cubicBezTo>
                  <a:cubicBezTo>
                    <a:pt x="634" y="27"/>
                    <a:pt x="624" y="18"/>
                    <a:pt x="618" y="12"/>
                  </a:cubicBezTo>
                  <a:cubicBezTo>
                    <a:pt x="618" y="11"/>
                    <a:pt x="617" y="11"/>
                    <a:pt x="616" y="11"/>
                  </a:cubicBezTo>
                  <a:cubicBezTo>
                    <a:pt x="616" y="11"/>
                    <a:pt x="616" y="11"/>
                    <a:pt x="616" y="11"/>
                  </a:cubicBezTo>
                  <a:cubicBezTo>
                    <a:pt x="467" y="12"/>
                    <a:pt x="467" y="12"/>
                    <a:pt x="467" y="12"/>
                  </a:cubicBezTo>
                  <a:cubicBezTo>
                    <a:pt x="353" y="12"/>
                    <a:pt x="353" y="12"/>
                    <a:pt x="353" y="12"/>
                  </a:cubicBezTo>
                  <a:cubicBezTo>
                    <a:pt x="133" y="6"/>
                    <a:pt x="133" y="6"/>
                    <a:pt x="133" y="6"/>
                  </a:cubicBezTo>
                  <a:cubicBezTo>
                    <a:pt x="20" y="0"/>
                    <a:pt x="20" y="0"/>
                    <a:pt x="20" y="0"/>
                  </a:cubicBezTo>
                  <a:cubicBezTo>
                    <a:pt x="19" y="0"/>
                    <a:pt x="19" y="0"/>
                    <a:pt x="18" y="1"/>
                  </a:cubicBezTo>
                  <a:cubicBezTo>
                    <a:pt x="18" y="1"/>
                    <a:pt x="18" y="2"/>
                    <a:pt x="17" y="2"/>
                  </a:cubicBezTo>
                  <a:cubicBezTo>
                    <a:pt x="0" y="353"/>
                    <a:pt x="0" y="353"/>
                    <a:pt x="0" y="353"/>
                  </a:cubicBezTo>
                  <a:cubicBezTo>
                    <a:pt x="0" y="356"/>
                    <a:pt x="0" y="356"/>
                    <a:pt x="0" y="356"/>
                  </a:cubicBezTo>
                  <a:cubicBezTo>
                    <a:pt x="0" y="357"/>
                    <a:pt x="0" y="358"/>
                    <a:pt x="1" y="358"/>
                  </a:cubicBezTo>
                  <a:cubicBezTo>
                    <a:pt x="1" y="359"/>
                    <a:pt x="2" y="359"/>
                    <a:pt x="3" y="359"/>
                  </a:cubicBezTo>
                  <a:cubicBezTo>
                    <a:pt x="150" y="366"/>
                    <a:pt x="150" y="366"/>
                    <a:pt x="150" y="366"/>
                  </a:cubicBezTo>
                  <a:cubicBezTo>
                    <a:pt x="360" y="371"/>
                    <a:pt x="360" y="371"/>
                    <a:pt x="360" y="371"/>
                  </a:cubicBezTo>
                  <a:cubicBezTo>
                    <a:pt x="572" y="371"/>
                    <a:pt x="572" y="371"/>
                    <a:pt x="572" y="371"/>
                  </a:cubicBezTo>
                  <a:cubicBezTo>
                    <a:pt x="572" y="371"/>
                    <a:pt x="572" y="371"/>
                    <a:pt x="572" y="371"/>
                  </a:cubicBezTo>
                  <a:cubicBezTo>
                    <a:pt x="687" y="369"/>
                    <a:pt x="687" y="369"/>
                    <a:pt x="687" y="369"/>
                  </a:cubicBezTo>
                  <a:cubicBezTo>
                    <a:pt x="688" y="368"/>
                    <a:pt x="688" y="368"/>
                    <a:pt x="689" y="368"/>
                  </a:cubicBezTo>
                  <a:cubicBezTo>
                    <a:pt x="689" y="367"/>
                    <a:pt x="690" y="367"/>
                    <a:pt x="690" y="366"/>
                  </a:cubicBezTo>
                  <a:lnTo>
                    <a:pt x="684" y="116"/>
                  </a:ln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8">
              <a:extLst>
                <a:ext uri="{FF2B5EF4-FFF2-40B4-BE49-F238E27FC236}">
                  <a16:creationId xmlns:a16="http://schemas.microsoft.com/office/drawing/2014/main" id="{AC8EEEFF-2FF6-4E4A-B40A-AF2F519AB7C0}"/>
                </a:ext>
              </a:extLst>
            </p:cNvPr>
            <p:cNvSpPr>
              <a:spLocks/>
            </p:cNvSpPr>
            <p:nvPr/>
          </p:nvSpPr>
          <p:spPr bwMode="auto">
            <a:xfrm>
              <a:off x="5359988" y="3731303"/>
              <a:ext cx="897525" cy="460891"/>
            </a:xfrm>
            <a:custGeom>
              <a:avLst/>
              <a:gdLst>
                <a:gd name="T0" fmla="*/ 802 w 807"/>
                <a:gd name="T1" fmla="*/ 175 h 415"/>
                <a:gd name="T2" fmla="*/ 781 w 807"/>
                <a:gd name="T3" fmla="*/ 15 h 415"/>
                <a:gd name="T4" fmla="*/ 245 w 807"/>
                <a:gd name="T5" fmla="*/ 13 h 415"/>
                <a:gd name="T6" fmla="*/ 4 w 807"/>
                <a:gd name="T7" fmla="*/ 1 h 415"/>
                <a:gd name="T8" fmla="*/ 0 w 807"/>
                <a:gd name="T9" fmla="*/ 62 h 415"/>
                <a:gd name="T10" fmla="*/ 130 w 807"/>
                <a:gd name="T11" fmla="*/ 72 h 415"/>
                <a:gd name="T12" fmla="*/ 272 w 807"/>
                <a:gd name="T13" fmla="*/ 77 h 415"/>
                <a:gd name="T14" fmla="*/ 272 w 807"/>
                <a:gd name="T15" fmla="*/ 301 h 415"/>
                <a:gd name="T16" fmla="*/ 288 w 807"/>
                <a:gd name="T17" fmla="*/ 310 h 415"/>
                <a:gd name="T18" fmla="*/ 309 w 807"/>
                <a:gd name="T19" fmla="*/ 328 h 415"/>
                <a:gd name="T20" fmla="*/ 320 w 807"/>
                <a:gd name="T21" fmla="*/ 326 h 415"/>
                <a:gd name="T22" fmla="*/ 333 w 807"/>
                <a:gd name="T23" fmla="*/ 327 h 415"/>
                <a:gd name="T24" fmla="*/ 341 w 807"/>
                <a:gd name="T25" fmla="*/ 325 h 415"/>
                <a:gd name="T26" fmla="*/ 347 w 807"/>
                <a:gd name="T27" fmla="*/ 336 h 415"/>
                <a:gd name="T28" fmla="*/ 350 w 807"/>
                <a:gd name="T29" fmla="*/ 349 h 415"/>
                <a:gd name="T30" fmla="*/ 360 w 807"/>
                <a:gd name="T31" fmla="*/ 350 h 415"/>
                <a:gd name="T32" fmla="*/ 370 w 807"/>
                <a:gd name="T33" fmla="*/ 349 h 415"/>
                <a:gd name="T34" fmla="*/ 394 w 807"/>
                <a:gd name="T35" fmla="*/ 359 h 415"/>
                <a:gd name="T36" fmla="*/ 402 w 807"/>
                <a:gd name="T37" fmla="*/ 357 h 415"/>
                <a:gd name="T38" fmla="*/ 409 w 807"/>
                <a:gd name="T39" fmla="*/ 359 h 415"/>
                <a:gd name="T40" fmla="*/ 418 w 807"/>
                <a:gd name="T41" fmla="*/ 367 h 415"/>
                <a:gd name="T42" fmla="*/ 434 w 807"/>
                <a:gd name="T43" fmla="*/ 359 h 415"/>
                <a:gd name="T44" fmla="*/ 449 w 807"/>
                <a:gd name="T45" fmla="*/ 361 h 415"/>
                <a:gd name="T46" fmla="*/ 453 w 807"/>
                <a:gd name="T47" fmla="*/ 366 h 415"/>
                <a:gd name="T48" fmla="*/ 466 w 807"/>
                <a:gd name="T49" fmla="*/ 376 h 415"/>
                <a:gd name="T50" fmla="*/ 468 w 807"/>
                <a:gd name="T51" fmla="*/ 390 h 415"/>
                <a:gd name="T52" fmla="*/ 491 w 807"/>
                <a:gd name="T53" fmla="*/ 384 h 415"/>
                <a:gd name="T54" fmla="*/ 503 w 807"/>
                <a:gd name="T55" fmla="*/ 383 h 415"/>
                <a:gd name="T56" fmla="*/ 513 w 807"/>
                <a:gd name="T57" fmla="*/ 388 h 415"/>
                <a:gd name="T58" fmla="*/ 523 w 807"/>
                <a:gd name="T59" fmla="*/ 397 h 415"/>
                <a:gd name="T60" fmla="*/ 537 w 807"/>
                <a:gd name="T61" fmla="*/ 391 h 415"/>
                <a:gd name="T62" fmla="*/ 538 w 807"/>
                <a:gd name="T63" fmla="*/ 397 h 415"/>
                <a:gd name="T64" fmla="*/ 547 w 807"/>
                <a:gd name="T65" fmla="*/ 409 h 415"/>
                <a:gd name="T66" fmla="*/ 556 w 807"/>
                <a:gd name="T67" fmla="*/ 392 h 415"/>
                <a:gd name="T68" fmla="*/ 565 w 807"/>
                <a:gd name="T69" fmla="*/ 383 h 415"/>
                <a:gd name="T70" fmla="*/ 565 w 807"/>
                <a:gd name="T71" fmla="*/ 382 h 415"/>
                <a:gd name="T72" fmla="*/ 577 w 807"/>
                <a:gd name="T73" fmla="*/ 391 h 415"/>
                <a:gd name="T74" fmla="*/ 591 w 807"/>
                <a:gd name="T75" fmla="*/ 391 h 415"/>
                <a:gd name="T76" fmla="*/ 599 w 807"/>
                <a:gd name="T77" fmla="*/ 389 h 415"/>
                <a:gd name="T78" fmla="*/ 611 w 807"/>
                <a:gd name="T79" fmla="*/ 402 h 415"/>
                <a:gd name="T80" fmla="*/ 621 w 807"/>
                <a:gd name="T81" fmla="*/ 407 h 415"/>
                <a:gd name="T82" fmla="*/ 632 w 807"/>
                <a:gd name="T83" fmla="*/ 406 h 415"/>
                <a:gd name="T84" fmla="*/ 640 w 807"/>
                <a:gd name="T85" fmla="*/ 404 h 415"/>
                <a:gd name="T86" fmla="*/ 651 w 807"/>
                <a:gd name="T87" fmla="*/ 394 h 415"/>
                <a:gd name="T88" fmla="*/ 661 w 807"/>
                <a:gd name="T89" fmla="*/ 391 h 415"/>
                <a:gd name="T90" fmla="*/ 669 w 807"/>
                <a:gd name="T91" fmla="*/ 393 h 415"/>
                <a:gd name="T92" fmla="*/ 683 w 807"/>
                <a:gd name="T93" fmla="*/ 390 h 415"/>
                <a:gd name="T94" fmla="*/ 698 w 807"/>
                <a:gd name="T95" fmla="*/ 383 h 415"/>
                <a:gd name="T96" fmla="*/ 712 w 807"/>
                <a:gd name="T97" fmla="*/ 391 h 415"/>
                <a:gd name="T98" fmla="*/ 729 w 807"/>
                <a:gd name="T99" fmla="*/ 384 h 415"/>
                <a:gd name="T100" fmla="*/ 736 w 807"/>
                <a:gd name="T101" fmla="*/ 381 h 415"/>
                <a:gd name="T102" fmla="*/ 767 w 807"/>
                <a:gd name="T103" fmla="*/ 403 h 415"/>
                <a:gd name="T104" fmla="*/ 778 w 807"/>
                <a:gd name="T105" fmla="*/ 408 h 415"/>
                <a:gd name="T106" fmla="*/ 804 w 807"/>
                <a:gd name="T107" fmla="*/ 415 h 415"/>
                <a:gd name="T108" fmla="*/ 807 w 807"/>
                <a:gd name="T109" fmla="*/ 412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7" h="415">
                  <a:moveTo>
                    <a:pt x="807" y="412"/>
                  </a:moveTo>
                  <a:cubicBezTo>
                    <a:pt x="805" y="207"/>
                    <a:pt x="805" y="207"/>
                    <a:pt x="805" y="207"/>
                  </a:cubicBezTo>
                  <a:cubicBezTo>
                    <a:pt x="802" y="175"/>
                    <a:pt x="802" y="175"/>
                    <a:pt x="802" y="175"/>
                  </a:cubicBezTo>
                  <a:cubicBezTo>
                    <a:pt x="785" y="76"/>
                    <a:pt x="785" y="76"/>
                    <a:pt x="785" y="76"/>
                  </a:cubicBezTo>
                  <a:cubicBezTo>
                    <a:pt x="784" y="18"/>
                    <a:pt x="784" y="18"/>
                    <a:pt x="784" y="18"/>
                  </a:cubicBezTo>
                  <a:cubicBezTo>
                    <a:pt x="784" y="17"/>
                    <a:pt x="783" y="16"/>
                    <a:pt x="781" y="15"/>
                  </a:cubicBezTo>
                  <a:cubicBezTo>
                    <a:pt x="666" y="18"/>
                    <a:pt x="666" y="18"/>
                    <a:pt x="666" y="18"/>
                  </a:cubicBezTo>
                  <a:cubicBezTo>
                    <a:pt x="454" y="18"/>
                    <a:pt x="454" y="18"/>
                    <a:pt x="454" y="18"/>
                  </a:cubicBezTo>
                  <a:cubicBezTo>
                    <a:pt x="245" y="13"/>
                    <a:pt x="245" y="13"/>
                    <a:pt x="245" y="13"/>
                  </a:cubicBezTo>
                  <a:cubicBezTo>
                    <a:pt x="97" y="6"/>
                    <a:pt x="97" y="6"/>
                    <a:pt x="97" y="6"/>
                  </a:cubicBezTo>
                  <a:cubicBezTo>
                    <a:pt x="6" y="0"/>
                    <a:pt x="6" y="0"/>
                    <a:pt x="6" y="0"/>
                  </a:cubicBezTo>
                  <a:cubicBezTo>
                    <a:pt x="5" y="0"/>
                    <a:pt x="5" y="1"/>
                    <a:pt x="4" y="1"/>
                  </a:cubicBezTo>
                  <a:cubicBezTo>
                    <a:pt x="4" y="1"/>
                    <a:pt x="3" y="2"/>
                    <a:pt x="3" y="3"/>
                  </a:cubicBezTo>
                  <a:cubicBezTo>
                    <a:pt x="0" y="57"/>
                    <a:pt x="0" y="57"/>
                    <a:pt x="0" y="57"/>
                  </a:cubicBezTo>
                  <a:cubicBezTo>
                    <a:pt x="0" y="62"/>
                    <a:pt x="0" y="62"/>
                    <a:pt x="0" y="62"/>
                  </a:cubicBezTo>
                  <a:cubicBezTo>
                    <a:pt x="0" y="63"/>
                    <a:pt x="1" y="64"/>
                    <a:pt x="2" y="64"/>
                  </a:cubicBezTo>
                  <a:cubicBezTo>
                    <a:pt x="2" y="64"/>
                    <a:pt x="4" y="65"/>
                    <a:pt x="5" y="65"/>
                  </a:cubicBezTo>
                  <a:cubicBezTo>
                    <a:pt x="34" y="68"/>
                    <a:pt x="129" y="72"/>
                    <a:pt x="130" y="72"/>
                  </a:cubicBezTo>
                  <a:cubicBezTo>
                    <a:pt x="226" y="76"/>
                    <a:pt x="226" y="76"/>
                    <a:pt x="226" y="76"/>
                  </a:cubicBezTo>
                  <a:cubicBezTo>
                    <a:pt x="264" y="77"/>
                    <a:pt x="264" y="77"/>
                    <a:pt x="264" y="77"/>
                  </a:cubicBezTo>
                  <a:cubicBezTo>
                    <a:pt x="272" y="77"/>
                    <a:pt x="272" y="77"/>
                    <a:pt x="272" y="77"/>
                  </a:cubicBezTo>
                  <a:cubicBezTo>
                    <a:pt x="279" y="81"/>
                    <a:pt x="279" y="81"/>
                    <a:pt x="279" y="81"/>
                  </a:cubicBezTo>
                  <a:cubicBezTo>
                    <a:pt x="272" y="288"/>
                    <a:pt x="272" y="288"/>
                    <a:pt x="272" y="288"/>
                  </a:cubicBezTo>
                  <a:cubicBezTo>
                    <a:pt x="272" y="301"/>
                    <a:pt x="272" y="301"/>
                    <a:pt x="272" y="301"/>
                  </a:cubicBezTo>
                  <a:cubicBezTo>
                    <a:pt x="272" y="303"/>
                    <a:pt x="272" y="304"/>
                    <a:pt x="274" y="304"/>
                  </a:cubicBezTo>
                  <a:cubicBezTo>
                    <a:pt x="276" y="304"/>
                    <a:pt x="279" y="305"/>
                    <a:pt x="280" y="305"/>
                  </a:cubicBezTo>
                  <a:cubicBezTo>
                    <a:pt x="283" y="306"/>
                    <a:pt x="286" y="308"/>
                    <a:pt x="288" y="310"/>
                  </a:cubicBezTo>
                  <a:cubicBezTo>
                    <a:pt x="289" y="311"/>
                    <a:pt x="291" y="313"/>
                    <a:pt x="293" y="316"/>
                  </a:cubicBezTo>
                  <a:cubicBezTo>
                    <a:pt x="296" y="319"/>
                    <a:pt x="298" y="322"/>
                    <a:pt x="301" y="324"/>
                  </a:cubicBezTo>
                  <a:cubicBezTo>
                    <a:pt x="306" y="328"/>
                    <a:pt x="308" y="328"/>
                    <a:pt x="309" y="328"/>
                  </a:cubicBezTo>
                  <a:cubicBezTo>
                    <a:pt x="311" y="328"/>
                    <a:pt x="312" y="327"/>
                    <a:pt x="314" y="326"/>
                  </a:cubicBezTo>
                  <a:cubicBezTo>
                    <a:pt x="315" y="326"/>
                    <a:pt x="316" y="325"/>
                    <a:pt x="317" y="325"/>
                  </a:cubicBezTo>
                  <a:cubicBezTo>
                    <a:pt x="317" y="325"/>
                    <a:pt x="319" y="326"/>
                    <a:pt x="320" y="326"/>
                  </a:cubicBezTo>
                  <a:cubicBezTo>
                    <a:pt x="321" y="327"/>
                    <a:pt x="323" y="328"/>
                    <a:pt x="324" y="328"/>
                  </a:cubicBezTo>
                  <a:cubicBezTo>
                    <a:pt x="325" y="328"/>
                    <a:pt x="326" y="328"/>
                    <a:pt x="327" y="328"/>
                  </a:cubicBezTo>
                  <a:cubicBezTo>
                    <a:pt x="330" y="328"/>
                    <a:pt x="332" y="327"/>
                    <a:pt x="333" y="327"/>
                  </a:cubicBezTo>
                  <a:cubicBezTo>
                    <a:pt x="335" y="326"/>
                    <a:pt x="335" y="324"/>
                    <a:pt x="336" y="322"/>
                  </a:cubicBezTo>
                  <a:cubicBezTo>
                    <a:pt x="336" y="322"/>
                    <a:pt x="336" y="322"/>
                    <a:pt x="336" y="323"/>
                  </a:cubicBezTo>
                  <a:cubicBezTo>
                    <a:pt x="337" y="324"/>
                    <a:pt x="339" y="325"/>
                    <a:pt x="341" y="325"/>
                  </a:cubicBezTo>
                  <a:cubicBezTo>
                    <a:pt x="341" y="326"/>
                    <a:pt x="343" y="326"/>
                    <a:pt x="343" y="326"/>
                  </a:cubicBezTo>
                  <a:cubicBezTo>
                    <a:pt x="345" y="328"/>
                    <a:pt x="347" y="331"/>
                    <a:pt x="347" y="332"/>
                  </a:cubicBezTo>
                  <a:cubicBezTo>
                    <a:pt x="348" y="333"/>
                    <a:pt x="347" y="335"/>
                    <a:pt x="347" y="336"/>
                  </a:cubicBezTo>
                  <a:cubicBezTo>
                    <a:pt x="347" y="337"/>
                    <a:pt x="347" y="338"/>
                    <a:pt x="347" y="339"/>
                  </a:cubicBezTo>
                  <a:cubicBezTo>
                    <a:pt x="347" y="340"/>
                    <a:pt x="347" y="340"/>
                    <a:pt x="347" y="340"/>
                  </a:cubicBezTo>
                  <a:cubicBezTo>
                    <a:pt x="348" y="344"/>
                    <a:pt x="348" y="347"/>
                    <a:pt x="350" y="349"/>
                  </a:cubicBezTo>
                  <a:cubicBezTo>
                    <a:pt x="352" y="350"/>
                    <a:pt x="354" y="350"/>
                    <a:pt x="357" y="350"/>
                  </a:cubicBezTo>
                  <a:cubicBezTo>
                    <a:pt x="358" y="349"/>
                    <a:pt x="358" y="350"/>
                    <a:pt x="359" y="349"/>
                  </a:cubicBezTo>
                  <a:cubicBezTo>
                    <a:pt x="360" y="349"/>
                    <a:pt x="360" y="350"/>
                    <a:pt x="360" y="350"/>
                  </a:cubicBezTo>
                  <a:cubicBezTo>
                    <a:pt x="361" y="350"/>
                    <a:pt x="362" y="351"/>
                    <a:pt x="364" y="351"/>
                  </a:cubicBezTo>
                  <a:cubicBezTo>
                    <a:pt x="365" y="351"/>
                    <a:pt x="366" y="350"/>
                    <a:pt x="368" y="350"/>
                  </a:cubicBezTo>
                  <a:cubicBezTo>
                    <a:pt x="369" y="349"/>
                    <a:pt x="370" y="349"/>
                    <a:pt x="370" y="349"/>
                  </a:cubicBezTo>
                  <a:cubicBezTo>
                    <a:pt x="371" y="349"/>
                    <a:pt x="373" y="350"/>
                    <a:pt x="374" y="351"/>
                  </a:cubicBezTo>
                  <a:cubicBezTo>
                    <a:pt x="375" y="352"/>
                    <a:pt x="376" y="353"/>
                    <a:pt x="378" y="353"/>
                  </a:cubicBezTo>
                  <a:cubicBezTo>
                    <a:pt x="381" y="355"/>
                    <a:pt x="389" y="358"/>
                    <a:pt x="394" y="359"/>
                  </a:cubicBezTo>
                  <a:cubicBezTo>
                    <a:pt x="395" y="359"/>
                    <a:pt x="397" y="358"/>
                    <a:pt x="399" y="358"/>
                  </a:cubicBezTo>
                  <a:cubicBezTo>
                    <a:pt x="400" y="358"/>
                    <a:pt x="401" y="357"/>
                    <a:pt x="401" y="357"/>
                  </a:cubicBezTo>
                  <a:cubicBezTo>
                    <a:pt x="402" y="357"/>
                    <a:pt x="402" y="357"/>
                    <a:pt x="402" y="357"/>
                  </a:cubicBezTo>
                  <a:cubicBezTo>
                    <a:pt x="404" y="357"/>
                    <a:pt x="408" y="357"/>
                    <a:pt x="408" y="357"/>
                  </a:cubicBezTo>
                  <a:cubicBezTo>
                    <a:pt x="408" y="357"/>
                    <a:pt x="408" y="357"/>
                    <a:pt x="408" y="357"/>
                  </a:cubicBezTo>
                  <a:cubicBezTo>
                    <a:pt x="408" y="357"/>
                    <a:pt x="409" y="358"/>
                    <a:pt x="409" y="359"/>
                  </a:cubicBezTo>
                  <a:cubicBezTo>
                    <a:pt x="410" y="360"/>
                    <a:pt x="410" y="361"/>
                    <a:pt x="411" y="362"/>
                  </a:cubicBezTo>
                  <a:cubicBezTo>
                    <a:pt x="411" y="362"/>
                    <a:pt x="411" y="362"/>
                    <a:pt x="411" y="362"/>
                  </a:cubicBezTo>
                  <a:cubicBezTo>
                    <a:pt x="413" y="365"/>
                    <a:pt x="416" y="367"/>
                    <a:pt x="418" y="367"/>
                  </a:cubicBezTo>
                  <a:cubicBezTo>
                    <a:pt x="421" y="368"/>
                    <a:pt x="427" y="365"/>
                    <a:pt x="427" y="365"/>
                  </a:cubicBezTo>
                  <a:cubicBezTo>
                    <a:pt x="429" y="364"/>
                    <a:pt x="430" y="363"/>
                    <a:pt x="431" y="362"/>
                  </a:cubicBezTo>
                  <a:cubicBezTo>
                    <a:pt x="432" y="361"/>
                    <a:pt x="434" y="360"/>
                    <a:pt x="434" y="359"/>
                  </a:cubicBezTo>
                  <a:cubicBezTo>
                    <a:pt x="434" y="359"/>
                    <a:pt x="435" y="359"/>
                    <a:pt x="436" y="359"/>
                  </a:cubicBezTo>
                  <a:cubicBezTo>
                    <a:pt x="440" y="359"/>
                    <a:pt x="448" y="361"/>
                    <a:pt x="448" y="361"/>
                  </a:cubicBezTo>
                  <a:cubicBezTo>
                    <a:pt x="449" y="361"/>
                    <a:pt x="449" y="361"/>
                    <a:pt x="449" y="361"/>
                  </a:cubicBezTo>
                  <a:cubicBezTo>
                    <a:pt x="450" y="361"/>
                    <a:pt x="452" y="360"/>
                    <a:pt x="454" y="360"/>
                  </a:cubicBezTo>
                  <a:cubicBezTo>
                    <a:pt x="454" y="360"/>
                    <a:pt x="454" y="361"/>
                    <a:pt x="454" y="361"/>
                  </a:cubicBezTo>
                  <a:cubicBezTo>
                    <a:pt x="453" y="363"/>
                    <a:pt x="453" y="365"/>
                    <a:pt x="453" y="366"/>
                  </a:cubicBezTo>
                  <a:cubicBezTo>
                    <a:pt x="454" y="369"/>
                    <a:pt x="456" y="373"/>
                    <a:pt x="459" y="375"/>
                  </a:cubicBezTo>
                  <a:cubicBezTo>
                    <a:pt x="460" y="376"/>
                    <a:pt x="462" y="376"/>
                    <a:pt x="464" y="376"/>
                  </a:cubicBezTo>
                  <a:cubicBezTo>
                    <a:pt x="465" y="376"/>
                    <a:pt x="466" y="376"/>
                    <a:pt x="466" y="376"/>
                  </a:cubicBezTo>
                  <a:cubicBezTo>
                    <a:pt x="467" y="376"/>
                    <a:pt x="467" y="378"/>
                    <a:pt x="467" y="379"/>
                  </a:cubicBezTo>
                  <a:cubicBezTo>
                    <a:pt x="467" y="380"/>
                    <a:pt x="467" y="381"/>
                    <a:pt x="467" y="382"/>
                  </a:cubicBezTo>
                  <a:cubicBezTo>
                    <a:pt x="467" y="385"/>
                    <a:pt x="467" y="388"/>
                    <a:pt x="468" y="390"/>
                  </a:cubicBezTo>
                  <a:cubicBezTo>
                    <a:pt x="471" y="393"/>
                    <a:pt x="476" y="393"/>
                    <a:pt x="478" y="393"/>
                  </a:cubicBezTo>
                  <a:cubicBezTo>
                    <a:pt x="480" y="392"/>
                    <a:pt x="484" y="391"/>
                    <a:pt x="486" y="389"/>
                  </a:cubicBezTo>
                  <a:cubicBezTo>
                    <a:pt x="488" y="388"/>
                    <a:pt x="490" y="386"/>
                    <a:pt x="491" y="384"/>
                  </a:cubicBezTo>
                  <a:cubicBezTo>
                    <a:pt x="493" y="381"/>
                    <a:pt x="496" y="379"/>
                    <a:pt x="497" y="378"/>
                  </a:cubicBezTo>
                  <a:cubicBezTo>
                    <a:pt x="499" y="378"/>
                    <a:pt x="501" y="379"/>
                    <a:pt x="502" y="380"/>
                  </a:cubicBezTo>
                  <a:cubicBezTo>
                    <a:pt x="503" y="381"/>
                    <a:pt x="503" y="382"/>
                    <a:pt x="503" y="383"/>
                  </a:cubicBezTo>
                  <a:cubicBezTo>
                    <a:pt x="503" y="385"/>
                    <a:pt x="504" y="387"/>
                    <a:pt x="506" y="388"/>
                  </a:cubicBezTo>
                  <a:cubicBezTo>
                    <a:pt x="507" y="389"/>
                    <a:pt x="509" y="389"/>
                    <a:pt x="511" y="388"/>
                  </a:cubicBezTo>
                  <a:cubicBezTo>
                    <a:pt x="512" y="388"/>
                    <a:pt x="512" y="388"/>
                    <a:pt x="513" y="388"/>
                  </a:cubicBezTo>
                  <a:cubicBezTo>
                    <a:pt x="513" y="388"/>
                    <a:pt x="513" y="389"/>
                    <a:pt x="513" y="390"/>
                  </a:cubicBezTo>
                  <a:cubicBezTo>
                    <a:pt x="514" y="392"/>
                    <a:pt x="514" y="394"/>
                    <a:pt x="516" y="395"/>
                  </a:cubicBezTo>
                  <a:cubicBezTo>
                    <a:pt x="518" y="397"/>
                    <a:pt x="521" y="397"/>
                    <a:pt x="523" y="397"/>
                  </a:cubicBezTo>
                  <a:cubicBezTo>
                    <a:pt x="524" y="397"/>
                    <a:pt x="524" y="397"/>
                    <a:pt x="525" y="397"/>
                  </a:cubicBezTo>
                  <a:cubicBezTo>
                    <a:pt x="527" y="397"/>
                    <a:pt x="529" y="395"/>
                    <a:pt x="532" y="394"/>
                  </a:cubicBezTo>
                  <a:cubicBezTo>
                    <a:pt x="534" y="393"/>
                    <a:pt x="536" y="391"/>
                    <a:pt x="537" y="391"/>
                  </a:cubicBezTo>
                  <a:cubicBezTo>
                    <a:pt x="538" y="391"/>
                    <a:pt x="540" y="391"/>
                    <a:pt x="541" y="391"/>
                  </a:cubicBezTo>
                  <a:cubicBezTo>
                    <a:pt x="541" y="391"/>
                    <a:pt x="541" y="392"/>
                    <a:pt x="540" y="392"/>
                  </a:cubicBezTo>
                  <a:cubicBezTo>
                    <a:pt x="539" y="394"/>
                    <a:pt x="538" y="395"/>
                    <a:pt x="538" y="397"/>
                  </a:cubicBezTo>
                  <a:cubicBezTo>
                    <a:pt x="538" y="399"/>
                    <a:pt x="540" y="404"/>
                    <a:pt x="542" y="406"/>
                  </a:cubicBezTo>
                  <a:cubicBezTo>
                    <a:pt x="543" y="407"/>
                    <a:pt x="544" y="408"/>
                    <a:pt x="545" y="408"/>
                  </a:cubicBezTo>
                  <a:cubicBezTo>
                    <a:pt x="546" y="409"/>
                    <a:pt x="547" y="409"/>
                    <a:pt x="547" y="409"/>
                  </a:cubicBezTo>
                  <a:cubicBezTo>
                    <a:pt x="549" y="409"/>
                    <a:pt x="551" y="408"/>
                    <a:pt x="553" y="407"/>
                  </a:cubicBezTo>
                  <a:cubicBezTo>
                    <a:pt x="555" y="405"/>
                    <a:pt x="555" y="401"/>
                    <a:pt x="555" y="398"/>
                  </a:cubicBezTo>
                  <a:cubicBezTo>
                    <a:pt x="555" y="396"/>
                    <a:pt x="555" y="393"/>
                    <a:pt x="556" y="392"/>
                  </a:cubicBezTo>
                  <a:cubicBezTo>
                    <a:pt x="556" y="392"/>
                    <a:pt x="558" y="391"/>
                    <a:pt x="559" y="391"/>
                  </a:cubicBezTo>
                  <a:cubicBezTo>
                    <a:pt x="561" y="390"/>
                    <a:pt x="563" y="389"/>
                    <a:pt x="564" y="387"/>
                  </a:cubicBezTo>
                  <a:cubicBezTo>
                    <a:pt x="565" y="386"/>
                    <a:pt x="565" y="385"/>
                    <a:pt x="565" y="383"/>
                  </a:cubicBezTo>
                  <a:cubicBezTo>
                    <a:pt x="565" y="383"/>
                    <a:pt x="565" y="382"/>
                    <a:pt x="565" y="382"/>
                  </a:cubicBezTo>
                  <a:cubicBezTo>
                    <a:pt x="565" y="382"/>
                    <a:pt x="565" y="382"/>
                    <a:pt x="565" y="382"/>
                  </a:cubicBezTo>
                  <a:cubicBezTo>
                    <a:pt x="565" y="382"/>
                    <a:pt x="565" y="382"/>
                    <a:pt x="565" y="382"/>
                  </a:cubicBezTo>
                  <a:cubicBezTo>
                    <a:pt x="566" y="382"/>
                    <a:pt x="569" y="383"/>
                    <a:pt x="571" y="384"/>
                  </a:cubicBezTo>
                  <a:cubicBezTo>
                    <a:pt x="571" y="385"/>
                    <a:pt x="572" y="386"/>
                    <a:pt x="573" y="387"/>
                  </a:cubicBezTo>
                  <a:cubicBezTo>
                    <a:pt x="574" y="389"/>
                    <a:pt x="576" y="391"/>
                    <a:pt x="577" y="391"/>
                  </a:cubicBezTo>
                  <a:cubicBezTo>
                    <a:pt x="577" y="392"/>
                    <a:pt x="582" y="395"/>
                    <a:pt x="585" y="395"/>
                  </a:cubicBezTo>
                  <a:cubicBezTo>
                    <a:pt x="585" y="395"/>
                    <a:pt x="586" y="395"/>
                    <a:pt x="586" y="395"/>
                  </a:cubicBezTo>
                  <a:cubicBezTo>
                    <a:pt x="588" y="394"/>
                    <a:pt x="590" y="393"/>
                    <a:pt x="591" y="391"/>
                  </a:cubicBezTo>
                  <a:cubicBezTo>
                    <a:pt x="592" y="390"/>
                    <a:pt x="593" y="389"/>
                    <a:pt x="594" y="389"/>
                  </a:cubicBezTo>
                  <a:cubicBezTo>
                    <a:pt x="594" y="389"/>
                    <a:pt x="594" y="389"/>
                    <a:pt x="595" y="389"/>
                  </a:cubicBezTo>
                  <a:cubicBezTo>
                    <a:pt x="597" y="389"/>
                    <a:pt x="598" y="389"/>
                    <a:pt x="599" y="389"/>
                  </a:cubicBezTo>
                  <a:cubicBezTo>
                    <a:pt x="599" y="390"/>
                    <a:pt x="600" y="392"/>
                    <a:pt x="601" y="393"/>
                  </a:cubicBezTo>
                  <a:cubicBezTo>
                    <a:pt x="602" y="394"/>
                    <a:pt x="602" y="396"/>
                    <a:pt x="603" y="397"/>
                  </a:cubicBezTo>
                  <a:cubicBezTo>
                    <a:pt x="605" y="399"/>
                    <a:pt x="610" y="401"/>
                    <a:pt x="611" y="402"/>
                  </a:cubicBezTo>
                  <a:cubicBezTo>
                    <a:pt x="612" y="402"/>
                    <a:pt x="614" y="403"/>
                    <a:pt x="615" y="403"/>
                  </a:cubicBezTo>
                  <a:cubicBezTo>
                    <a:pt x="616" y="404"/>
                    <a:pt x="618" y="404"/>
                    <a:pt x="619" y="405"/>
                  </a:cubicBezTo>
                  <a:cubicBezTo>
                    <a:pt x="619" y="405"/>
                    <a:pt x="620" y="406"/>
                    <a:pt x="621" y="407"/>
                  </a:cubicBezTo>
                  <a:cubicBezTo>
                    <a:pt x="623" y="409"/>
                    <a:pt x="625" y="411"/>
                    <a:pt x="627" y="411"/>
                  </a:cubicBezTo>
                  <a:cubicBezTo>
                    <a:pt x="627" y="411"/>
                    <a:pt x="628" y="411"/>
                    <a:pt x="628" y="411"/>
                  </a:cubicBezTo>
                  <a:cubicBezTo>
                    <a:pt x="631" y="411"/>
                    <a:pt x="631" y="408"/>
                    <a:pt x="632" y="406"/>
                  </a:cubicBezTo>
                  <a:cubicBezTo>
                    <a:pt x="632" y="405"/>
                    <a:pt x="633" y="404"/>
                    <a:pt x="633" y="404"/>
                  </a:cubicBezTo>
                  <a:cubicBezTo>
                    <a:pt x="633" y="404"/>
                    <a:pt x="634" y="404"/>
                    <a:pt x="635" y="404"/>
                  </a:cubicBezTo>
                  <a:cubicBezTo>
                    <a:pt x="637" y="404"/>
                    <a:pt x="639" y="405"/>
                    <a:pt x="640" y="404"/>
                  </a:cubicBezTo>
                  <a:cubicBezTo>
                    <a:pt x="642" y="403"/>
                    <a:pt x="644" y="401"/>
                    <a:pt x="645" y="398"/>
                  </a:cubicBezTo>
                  <a:cubicBezTo>
                    <a:pt x="646" y="397"/>
                    <a:pt x="648" y="395"/>
                    <a:pt x="649" y="395"/>
                  </a:cubicBezTo>
                  <a:cubicBezTo>
                    <a:pt x="649" y="395"/>
                    <a:pt x="649" y="394"/>
                    <a:pt x="651" y="394"/>
                  </a:cubicBezTo>
                  <a:cubicBezTo>
                    <a:pt x="653" y="394"/>
                    <a:pt x="653" y="394"/>
                    <a:pt x="653" y="394"/>
                  </a:cubicBezTo>
                  <a:cubicBezTo>
                    <a:pt x="654" y="394"/>
                    <a:pt x="655" y="394"/>
                    <a:pt x="657" y="394"/>
                  </a:cubicBezTo>
                  <a:cubicBezTo>
                    <a:pt x="658" y="393"/>
                    <a:pt x="659" y="392"/>
                    <a:pt x="661" y="391"/>
                  </a:cubicBezTo>
                  <a:cubicBezTo>
                    <a:pt x="661" y="390"/>
                    <a:pt x="663" y="388"/>
                    <a:pt x="663" y="388"/>
                  </a:cubicBezTo>
                  <a:cubicBezTo>
                    <a:pt x="663" y="388"/>
                    <a:pt x="664" y="390"/>
                    <a:pt x="665" y="390"/>
                  </a:cubicBezTo>
                  <a:cubicBezTo>
                    <a:pt x="667" y="392"/>
                    <a:pt x="668" y="393"/>
                    <a:pt x="669" y="393"/>
                  </a:cubicBezTo>
                  <a:cubicBezTo>
                    <a:pt x="671" y="394"/>
                    <a:pt x="673" y="394"/>
                    <a:pt x="674" y="394"/>
                  </a:cubicBezTo>
                  <a:cubicBezTo>
                    <a:pt x="675" y="394"/>
                    <a:pt x="677" y="394"/>
                    <a:pt x="679" y="393"/>
                  </a:cubicBezTo>
                  <a:cubicBezTo>
                    <a:pt x="680" y="393"/>
                    <a:pt x="682" y="391"/>
                    <a:pt x="683" y="390"/>
                  </a:cubicBezTo>
                  <a:cubicBezTo>
                    <a:pt x="684" y="389"/>
                    <a:pt x="685" y="388"/>
                    <a:pt x="686" y="388"/>
                  </a:cubicBezTo>
                  <a:cubicBezTo>
                    <a:pt x="687" y="387"/>
                    <a:pt x="687" y="387"/>
                    <a:pt x="687" y="387"/>
                  </a:cubicBezTo>
                  <a:cubicBezTo>
                    <a:pt x="690" y="386"/>
                    <a:pt x="695" y="383"/>
                    <a:pt x="698" y="383"/>
                  </a:cubicBezTo>
                  <a:cubicBezTo>
                    <a:pt x="699" y="383"/>
                    <a:pt x="701" y="385"/>
                    <a:pt x="702" y="386"/>
                  </a:cubicBezTo>
                  <a:cubicBezTo>
                    <a:pt x="703" y="387"/>
                    <a:pt x="704" y="389"/>
                    <a:pt x="706" y="389"/>
                  </a:cubicBezTo>
                  <a:cubicBezTo>
                    <a:pt x="707" y="390"/>
                    <a:pt x="710" y="391"/>
                    <a:pt x="712" y="391"/>
                  </a:cubicBezTo>
                  <a:cubicBezTo>
                    <a:pt x="714" y="391"/>
                    <a:pt x="718" y="392"/>
                    <a:pt x="720" y="391"/>
                  </a:cubicBezTo>
                  <a:cubicBezTo>
                    <a:pt x="722" y="391"/>
                    <a:pt x="725" y="389"/>
                    <a:pt x="727" y="388"/>
                  </a:cubicBezTo>
                  <a:cubicBezTo>
                    <a:pt x="728" y="387"/>
                    <a:pt x="728" y="385"/>
                    <a:pt x="729" y="384"/>
                  </a:cubicBezTo>
                  <a:cubicBezTo>
                    <a:pt x="729" y="383"/>
                    <a:pt x="730" y="381"/>
                    <a:pt x="730" y="381"/>
                  </a:cubicBezTo>
                  <a:cubicBezTo>
                    <a:pt x="730" y="381"/>
                    <a:pt x="731" y="381"/>
                    <a:pt x="732" y="381"/>
                  </a:cubicBezTo>
                  <a:cubicBezTo>
                    <a:pt x="733" y="381"/>
                    <a:pt x="735" y="381"/>
                    <a:pt x="736" y="381"/>
                  </a:cubicBezTo>
                  <a:cubicBezTo>
                    <a:pt x="739" y="382"/>
                    <a:pt x="745" y="386"/>
                    <a:pt x="752" y="391"/>
                  </a:cubicBezTo>
                  <a:cubicBezTo>
                    <a:pt x="753" y="392"/>
                    <a:pt x="755" y="394"/>
                    <a:pt x="757" y="395"/>
                  </a:cubicBezTo>
                  <a:cubicBezTo>
                    <a:pt x="760" y="398"/>
                    <a:pt x="764" y="402"/>
                    <a:pt x="767" y="403"/>
                  </a:cubicBezTo>
                  <a:cubicBezTo>
                    <a:pt x="768" y="404"/>
                    <a:pt x="770" y="404"/>
                    <a:pt x="771" y="405"/>
                  </a:cubicBezTo>
                  <a:cubicBezTo>
                    <a:pt x="773" y="405"/>
                    <a:pt x="774" y="405"/>
                    <a:pt x="774" y="405"/>
                  </a:cubicBezTo>
                  <a:cubicBezTo>
                    <a:pt x="775" y="406"/>
                    <a:pt x="776" y="407"/>
                    <a:pt x="778" y="408"/>
                  </a:cubicBezTo>
                  <a:cubicBezTo>
                    <a:pt x="779" y="409"/>
                    <a:pt x="781" y="410"/>
                    <a:pt x="782" y="410"/>
                  </a:cubicBezTo>
                  <a:cubicBezTo>
                    <a:pt x="788" y="413"/>
                    <a:pt x="803" y="415"/>
                    <a:pt x="804" y="415"/>
                  </a:cubicBezTo>
                  <a:cubicBezTo>
                    <a:pt x="804" y="415"/>
                    <a:pt x="804" y="415"/>
                    <a:pt x="804" y="415"/>
                  </a:cubicBezTo>
                  <a:cubicBezTo>
                    <a:pt x="804" y="415"/>
                    <a:pt x="804" y="415"/>
                    <a:pt x="804" y="415"/>
                  </a:cubicBezTo>
                  <a:cubicBezTo>
                    <a:pt x="806" y="415"/>
                    <a:pt x="807" y="414"/>
                    <a:pt x="807" y="413"/>
                  </a:cubicBezTo>
                  <a:cubicBezTo>
                    <a:pt x="807" y="412"/>
                    <a:pt x="807" y="412"/>
                    <a:pt x="807" y="41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9">
              <a:extLst>
                <a:ext uri="{FF2B5EF4-FFF2-40B4-BE49-F238E27FC236}">
                  <a16:creationId xmlns:a16="http://schemas.microsoft.com/office/drawing/2014/main" id="{BEC2EA16-56ED-4450-8DAE-3DBEDF8E7DE6}"/>
                </a:ext>
              </a:extLst>
            </p:cNvPr>
            <p:cNvSpPr>
              <a:spLocks/>
            </p:cNvSpPr>
            <p:nvPr/>
          </p:nvSpPr>
          <p:spPr bwMode="auto">
            <a:xfrm>
              <a:off x="5960360" y="2136376"/>
              <a:ext cx="679208" cy="768152"/>
            </a:xfrm>
            <a:custGeom>
              <a:avLst/>
              <a:gdLst>
                <a:gd name="T0" fmla="*/ 585 w 611"/>
                <a:gd name="T1" fmla="*/ 139 h 691"/>
                <a:gd name="T2" fmla="*/ 567 w 611"/>
                <a:gd name="T3" fmla="*/ 128 h 691"/>
                <a:gd name="T4" fmla="*/ 543 w 611"/>
                <a:gd name="T5" fmla="*/ 131 h 691"/>
                <a:gd name="T6" fmla="*/ 520 w 611"/>
                <a:gd name="T7" fmla="*/ 133 h 691"/>
                <a:gd name="T8" fmla="*/ 514 w 611"/>
                <a:gd name="T9" fmla="*/ 131 h 691"/>
                <a:gd name="T10" fmla="*/ 509 w 611"/>
                <a:gd name="T11" fmla="*/ 124 h 691"/>
                <a:gd name="T12" fmla="*/ 475 w 611"/>
                <a:gd name="T13" fmla="*/ 135 h 691"/>
                <a:gd name="T14" fmla="*/ 439 w 611"/>
                <a:gd name="T15" fmla="*/ 130 h 691"/>
                <a:gd name="T16" fmla="*/ 414 w 611"/>
                <a:gd name="T17" fmla="*/ 113 h 691"/>
                <a:gd name="T18" fmla="*/ 390 w 611"/>
                <a:gd name="T19" fmla="*/ 120 h 691"/>
                <a:gd name="T20" fmla="*/ 381 w 611"/>
                <a:gd name="T21" fmla="*/ 114 h 691"/>
                <a:gd name="T22" fmla="*/ 366 w 611"/>
                <a:gd name="T23" fmla="*/ 102 h 691"/>
                <a:gd name="T24" fmla="*/ 335 w 611"/>
                <a:gd name="T25" fmla="*/ 81 h 691"/>
                <a:gd name="T26" fmla="*/ 310 w 611"/>
                <a:gd name="T27" fmla="*/ 82 h 691"/>
                <a:gd name="T28" fmla="*/ 304 w 611"/>
                <a:gd name="T29" fmla="*/ 85 h 691"/>
                <a:gd name="T30" fmla="*/ 279 w 611"/>
                <a:gd name="T31" fmla="*/ 97 h 691"/>
                <a:gd name="T32" fmla="*/ 256 w 611"/>
                <a:gd name="T33" fmla="*/ 82 h 691"/>
                <a:gd name="T34" fmla="*/ 234 w 611"/>
                <a:gd name="T35" fmla="*/ 80 h 691"/>
                <a:gd name="T36" fmla="*/ 208 w 611"/>
                <a:gd name="T37" fmla="*/ 74 h 691"/>
                <a:gd name="T38" fmla="*/ 199 w 611"/>
                <a:gd name="T39" fmla="*/ 44 h 691"/>
                <a:gd name="T40" fmla="*/ 185 w 611"/>
                <a:gd name="T41" fmla="*/ 4 h 691"/>
                <a:gd name="T42" fmla="*/ 161 w 611"/>
                <a:gd name="T43" fmla="*/ 2 h 691"/>
                <a:gd name="T44" fmla="*/ 4 w 611"/>
                <a:gd name="T45" fmla="*/ 45 h 691"/>
                <a:gd name="T46" fmla="*/ 0 w 611"/>
                <a:gd name="T47" fmla="*/ 51 h 691"/>
                <a:gd name="T48" fmla="*/ 8 w 611"/>
                <a:gd name="T49" fmla="*/ 80 h 691"/>
                <a:gd name="T50" fmla="*/ 8 w 611"/>
                <a:gd name="T51" fmla="*/ 108 h 691"/>
                <a:gd name="T52" fmla="*/ 8 w 611"/>
                <a:gd name="T53" fmla="*/ 125 h 691"/>
                <a:gd name="T54" fmla="*/ 9 w 611"/>
                <a:gd name="T55" fmla="*/ 149 h 691"/>
                <a:gd name="T56" fmla="*/ 16 w 611"/>
                <a:gd name="T57" fmla="*/ 177 h 691"/>
                <a:gd name="T58" fmla="*/ 30 w 611"/>
                <a:gd name="T59" fmla="*/ 223 h 691"/>
                <a:gd name="T60" fmla="*/ 31 w 611"/>
                <a:gd name="T61" fmla="*/ 238 h 691"/>
                <a:gd name="T62" fmla="*/ 33 w 611"/>
                <a:gd name="T63" fmla="*/ 269 h 691"/>
                <a:gd name="T64" fmla="*/ 37 w 611"/>
                <a:gd name="T65" fmla="*/ 288 h 691"/>
                <a:gd name="T66" fmla="*/ 38 w 611"/>
                <a:gd name="T67" fmla="*/ 327 h 691"/>
                <a:gd name="T68" fmla="*/ 42 w 611"/>
                <a:gd name="T69" fmla="*/ 346 h 691"/>
                <a:gd name="T70" fmla="*/ 47 w 611"/>
                <a:gd name="T71" fmla="*/ 424 h 691"/>
                <a:gd name="T72" fmla="*/ 34 w 611"/>
                <a:gd name="T73" fmla="*/ 449 h 691"/>
                <a:gd name="T74" fmla="*/ 53 w 611"/>
                <a:gd name="T75" fmla="*/ 469 h 691"/>
                <a:gd name="T76" fmla="*/ 66 w 611"/>
                <a:gd name="T77" fmla="*/ 690 h 691"/>
                <a:gd name="T78" fmla="*/ 300 w 611"/>
                <a:gd name="T79" fmla="*/ 686 h 691"/>
                <a:gd name="T80" fmla="*/ 512 w 611"/>
                <a:gd name="T81" fmla="*/ 673 h 691"/>
                <a:gd name="T82" fmla="*/ 507 w 611"/>
                <a:gd name="T83" fmla="*/ 640 h 691"/>
                <a:gd name="T84" fmla="*/ 468 w 611"/>
                <a:gd name="T85" fmla="*/ 606 h 691"/>
                <a:gd name="T86" fmla="*/ 432 w 611"/>
                <a:gd name="T87" fmla="*/ 569 h 691"/>
                <a:gd name="T88" fmla="*/ 410 w 611"/>
                <a:gd name="T89" fmla="*/ 553 h 691"/>
                <a:gd name="T90" fmla="*/ 386 w 611"/>
                <a:gd name="T91" fmla="*/ 545 h 691"/>
                <a:gd name="T92" fmla="*/ 372 w 611"/>
                <a:gd name="T93" fmla="*/ 530 h 691"/>
                <a:gd name="T94" fmla="*/ 372 w 611"/>
                <a:gd name="T95" fmla="*/ 497 h 691"/>
                <a:gd name="T96" fmla="*/ 374 w 611"/>
                <a:gd name="T97" fmla="*/ 475 h 691"/>
                <a:gd name="T98" fmla="*/ 367 w 611"/>
                <a:gd name="T99" fmla="*/ 437 h 691"/>
                <a:gd name="T100" fmla="*/ 360 w 611"/>
                <a:gd name="T101" fmla="*/ 424 h 691"/>
                <a:gd name="T102" fmla="*/ 370 w 611"/>
                <a:gd name="T103" fmla="*/ 407 h 691"/>
                <a:gd name="T104" fmla="*/ 400 w 611"/>
                <a:gd name="T105" fmla="*/ 386 h 691"/>
                <a:gd name="T106" fmla="*/ 409 w 611"/>
                <a:gd name="T107" fmla="*/ 310 h 691"/>
                <a:gd name="T108" fmla="*/ 443 w 611"/>
                <a:gd name="T109" fmla="*/ 274 h 691"/>
                <a:gd name="T110" fmla="*/ 482 w 611"/>
                <a:gd name="T111" fmla="*/ 232 h 691"/>
                <a:gd name="T112" fmla="*/ 554 w 611"/>
                <a:gd name="T113" fmla="*/ 174 h 691"/>
                <a:gd name="T114" fmla="*/ 598 w 611"/>
                <a:gd name="T115" fmla="*/ 150 h 691"/>
                <a:gd name="T116" fmla="*/ 602 w 611"/>
                <a:gd name="T117" fmla="*/ 135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1" h="691">
                  <a:moveTo>
                    <a:pt x="602" y="135"/>
                  </a:moveTo>
                  <a:cubicBezTo>
                    <a:pt x="599" y="135"/>
                    <a:pt x="594" y="136"/>
                    <a:pt x="591" y="137"/>
                  </a:cubicBezTo>
                  <a:cubicBezTo>
                    <a:pt x="589" y="137"/>
                    <a:pt x="589" y="137"/>
                    <a:pt x="589" y="137"/>
                  </a:cubicBezTo>
                  <a:cubicBezTo>
                    <a:pt x="588" y="137"/>
                    <a:pt x="586" y="138"/>
                    <a:pt x="585" y="139"/>
                  </a:cubicBezTo>
                  <a:cubicBezTo>
                    <a:pt x="584" y="139"/>
                    <a:pt x="582" y="140"/>
                    <a:pt x="581" y="140"/>
                  </a:cubicBezTo>
                  <a:cubicBezTo>
                    <a:pt x="580" y="140"/>
                    <a:pt x="577" y="139"/>
                    <a:pt x="576" y="138"/>
                  </a:cubicBezTo>
                  <a:cubicBezTo>
                    <a:pt x="576" y="137"/>
                    <a:pt x="576" y="136"/>
                    <a:pt x="576" y="136"/>
                  </a:cubicBezTo>
                  <a:cubicBezTo>
                    <a:pt x="575" y="134"/>
                    <a:pt x="571" y="129"/>
                    <a:pt x="567" y="128"/>
                  </a:cubicBezTo>
                  <a:cubicBezTo>
                    <a:pt x="564" y="127"/>
                    <a:pt x="557" y="128"/>
                    <a:pt x="553" y="129"/>
                  </a:cubicBezTo>
                  <a:cubicBezTo>
                    <a:pt x="551" y="129"/>
                    <a:pt x="551" y="129"/>
                    <a:pt x="551" y="129"/>
                  </a:cubicBezTo>
                  <a:cubicBezTo>
                    <a:pt x="550" y="129"/>
                    <a:pt x="548" y="130"/>
                    <a:pt x="547" y="130"/>
                  </a:cubicBezTo>
                  <a:cubicBezTo>
                    <a:pt x="546" y="131"/>
                    <a:pt x="544" y="131"/>
                    <a:pt x="543" y="131"/>
                  </a:cubicBezTo>
                  <a:cubicBezTo>
                    <a:pt x="541" y="131"/>
                    <a:pt x="539" y="131"/>
                    <a:pt x="536" y="131"/>
                  </a:cubicBezTo>
                  <a:cubicBezTo>
                    <a:pt x="533" y="130"/>
                    <a:pt x="530" y="130"/>
                    <a:pt x="528" y="130"/>
                  </a:cubicBezTo>
                  <a:cubicBezTo>
                    <a:pt x="527" y="131"/>
                    <a:pt x="525" y="131"/>
                    <a:pt x="523" y="132"/>
                  </a:cubicBezTo>
                  <a:cubicBezTo>
                    <a:pt x="522" y="132"/>
                    <a:pt x="521" y="132"/>
                    <a:pt x="520" y="133"/>
                  </a:cubicBezTo>
                  <a:cubicBezTo>
                    <a:pt x="519" y="133"/>
                    <a:pt x="519" y="133"/>
                    <a:pt x="519" y="133"/>
                  </a:cubicBezTo>
                  <a:cubicBezTo>
                    <a:pt x="518" y="133"/>
                    <a:pt x="517" y="133"/>
                    <a:pt x="515" y="133"/>
                  </a:cubicBezTo>
                  <a:cubicBezTo>
                    <a:pt x="515" y="133"/>
                    <a:pt x="515" y="133"/>
                    <a:pt x="515" y="133"/>
                  </a:cubicBezTo>
                  <a:cubicBezTo>
                    <a:pt x="514" y="133"/>
                    <a:pt x="514" y="132"/>
                    <a:pt x="514" y="131"/>
                  </a:cubicBezTo>
                  <a:cubicBezTo>
                    <a:pt x="514" y="129"/>
                    <a:pt x="514" y="127"/>
                    <a:pt x="513" y="126"/>
                  </a:cubicBezTo>
                  <a:cubicBezTo>
                    <a:pt x="512" y="125"/>
                    <a:pt x="511" y="125"/>
                    <a:pt x="510" y="125"/>
                  </a:cubicBezTo>
                  <a:cubicBezTo>
                    <a:pt x="509" y="124"/>
                    <a:pt x="509" y="124"/>
                    <a:pt x="509" y="124"/>
                  </a:cubicBezTo>
                  <a:cubicBezTo>
                    <a:pt x="509" y="124"/>
                    <a:pt x="509" y="124"/>
                    <a:pt x="509" y="124"/>
                  </a:cubicBezTo>
                  <a:cubicBezTo>
                    <a:pt x="510" y="123"/>
                    <a:pt x="511" y="121"/>
                    <a:pt x="509" y="119"/>
                  </a:cubicBezTo>
                  <a:cubicBezTo>
                    <a:pt x="507" y="117"/>
                    <a:pt x="503" y="118"/>
                    <a:pt x="500" y="119"/>
                  </a:cubicBezTo>
                  <a:cubicBezTo>
                    <a:pt x="499" y="119"/>
                    <a:pt x="499" y="119"/>
                    <a:pt x="499" y="119"/>
                  </a:cubicBezTo>
                  <a:cubicBezTo>
                    <a:pt x="490" y="121"/>
                    <a:pt x="482" y="128"/>
                    <a:pt x="475" y="135"/>
                  </a:cubicBezTo>
                  <a:cubicBezTo>
                    <a:pt x="468" y="141"/>
                    <a:pt x="462" y="147"/>
                    <a:pt x="456" y="147"/>
                  </a:cubicBezTo>
                  <a:cubicBezTo>
                    <a:pt x="451" y="147"/>
                    <a:pt x="446" y="143"/>
                    <a:pt x="441" y="136"/>
                  </a:cubicBezTo>
                  <a:cubicBezTo>
                    <a:pt x="441" y="136"/>
                    <a:pt x="441" y="135"/>
                    <a:pt x="441" y="134"/>
                  </a:cubicBezTo>
                  <a:cubicBezTo>
                    <a:pt x="440" y="133"/>
                    <a:pt x="440" y="131"/>
                    <a:pt x="439" y="130"/>
                  </a:cubicBezTo>
                  <a:cubicBezTo>
                    <a:pt x="437" y="127"/>
                    <a:pt x="432" y="126"/>
                    <a:pt x="427" y="124"/>
                  </a:cubicBezTo>
                  <a:cubicBezTo>
                    <a:pt x="423" y="123"/>
                    <a:pt x="419" y="122"/>
                    <a:pt x="417" y="120"/>
                  </a:cubicBezTo>
                  <a:cubicBezTo>
                    <a:pt x="417" y="120"/>
                    <a:pt x="417" y="119"/>
                    <a:pt x="417" y="118"/>
                  </a:cubicBezTo>
                  <a:cubicBezTo>
                    <a:pt x="416" y="116"/>
                    <a:pt x="416" y="114"/>
                    <a:pt x="414" y="113"/>
                  </a:cubicBezTo>
                  <a:cubicBezTo>
                    <a:pt x="413" y="111"/>
                    <a:pt x="407" y="110"/>
                    <a:pt x="405" y="110"/>
                  </a:cubicBezTo>
                  <a:cubicBezTo>
                    <a:pt x="405" y="110"/>
                    <a:pt x="404" y="110"/>
                    <a:pt x="402" y="110"/>
                  </a:cubicBezTo>
                  <a:cubicBezTo>
                    <a:pt x="395" y="110"/>
                    <a:pt x="393" y="111"/>
                    <a:pt x="392" y="112"/>
                  </a:cubicBezTo>
                  <a:cubicBezTo>
                    <a:pt x="390" y="114"/>
                    <a:pt x="390" y="117"/>
                    <a:pt x="390" y="120"/>
                  </a:cubicBezTo>
                  <a:cubicBezTo>
                    <a:pt x="390" y="121"/>
                    <a:pt x="390" y="122"/>
                    <a:pt x="390" y="123"/>
                  </a:cubicBezTo>
                  <a:cubicBezTo>
                    <a:pt x="389" y="123"/>
                    <a:pt x="388" y="122"/>
                    <a:pt x="385" y="120"/>
                  </a:cubicBezTo>
                  <a:cubicBezTo>
                    <a:pt x="383" y="119"/>
                    <a:pt x="382" y="117"/>
                    <a:pt x="381" y="116"/>
                  </a:cubicBezTo>
                  <a:cubicBezTo>
                    <a:pt x="381" y="116"/>
                    <a:pt x="381" y="114"/>
                    <a:pt x="381" y="114"/>
                  </a:cubicBezTo>
                  <a:cubicBezTo>
                    <a:pt x="381" y="112"/>
                    <a:pt x="381" y="110"/>
                    <a:pt x="380" y="109"/>
                  </a:cubicBezTo>
                  <a:cubicBezTo>
                    <a:pt x="379" y="106"/>
                    <a:pt x="375" y="102"/>
                    <a:pt x="372" y="101"/>
                  </a:cubicBezTo>
                  <a:cubicBezTo>
                    <a:pt x="370" y="100"/>
                    <a:pt x="368" y="101"/>
                    <a:pt x="367" y="101"/>
                  </a:cubicBezTo>
                  <a:cubicBezTo>
                    <a:pt x="366" y="102"/>
                    <a:pt x="366" y="102"/>
                    <a:pt x="366" y="102"/>
                  </a:cubicBezTo>
                  <a:cubicBezTo>
                    <a:pt x="366" y="101"/>
                    <a:pt x="366" y="101"/>
                    <a:pt x="366" y="101"/>
                  </a:cubicBezTo>
                  <a:cubicBezTo>
                    <a:pt x="367" y="99"/>
                    <a:pt x="368" y="97"/>
                    <a:pt x="367" y="95"/>
                  </a:cubicBezTo>
                  <a:cubicBezTo>
                    <a:pt x="364" y="88"/>
                    <a:pt x="350" y="84"/>
                    <a:pt x="336" y="82"/>
                  </a:cubicBezTo>
                  <a:cubicBezTo>
                    <a:pt x="335" y="81"/>
                    <a:pt x="335" y="81"/>
                    <a:pt x="335" y="81"/>
                  </a:cubicBezTo>
                  <a:cubicBezTo>
                    <a:pt x="334" y="81"/>
                    <a:pt x="332" y="81"/>
                    <a:pt x="329" y="81"/>
                  </a:cubicBezTo>
                  <a:cubicBezTo>
                    <a:pt x="326" y="81"/>
                    <a:pt x="322" y="81"/>
                    <a:pt x="320" y="81"/>
                  </a:cubicBezTo>
                  <a:cubicBezTo>
                    <a:pt x="318" y="81"/>
                    <a:pt x="318" y="81"/>
                    <a:pt x="318" y="81"/>
                  </a:cubicBezTo>
                  <a:cubicBezTo>
                    <a:pt x="316" y="81"/>
                    <a:pt x="311" y="82"/>
                    <a:pt x="310" y="82"/>
                  </a:cubicBezTo>
                  <a:cubicBezTo>
                    <a:pt x="310" y="82"/>
                    <a:pt x="308" y="83"/>
                    <a:pt x="308" y="83"/>
                  </a:cubicBezTo>
                  <a:cubicBezTo>
                    <a:pt x="307" y="83"/>
                    <a:pt x="307" y="84"/>
                    <a:pt x="306" y="84"/>
                  </a:cubicBezTo>
                  <a:cubicBezTo>
                    <a:pt x="306" y="84"/>
                    <a:pt x="306" y="84"/>
                    <a:pt x="306" y="84"/>
                  </a:cubicBezTo>
                  <a:cubicBezTo>
                    <a:pt x="306" y="84"/>
                    <a:pt x="305" y="84"/>
                    <a:pt x="304" y="85"/>
                  </a:cubicBezTo>
                  <a:cubicBezTo>
                    <a:pt x="303" y="85"/>
                    <a:pt x="301" y="85"/>
                    <a:pt x="300" y="85"/>
                  </a:cubicBezTo>
                  <a:cubicBezTo>
                    <a:pt x="299" y="86"/>
                    <a:pt x="298" y="88"/>
                    <a:pt x="297" y="90"/>
                  </a:cubicBezTo>
                  <a:cubicBezTo>
                    <a:pt x="297" y="91"/>
                    <a:pt x="296" y="92"/>
                    <a:pt x="296" y="93"/>
                  </a:cubicBezTo>
                  <a:cubicBezTo>
                    <a:pt x="293" y="95"/>
                    <a:pt x="283" y="97"/>
                    <a:pt x="279" y="97"/>
                  </a:cubicBezTo>
                  <a:cubicBezTo>
                    <a:pt x="277" y="96"/>
                    <a:pt x="274" y="94"/>
                    <a:pt x="273" y="93"/>
                  </a:cubicBezTo>
                  <a:cubicBezTo>
                    <a:pt x="272" y="93"/>
                    <a:pt x="272" y="92"/>
                    <a:pt x="272" y="91"/>
                  </a:cubicBezTo>
                  <a:cubicBezTo>
                    <a:pt x="272" y="89"/>
                    <a:pt x="272" y="87"/>
                    <a:pt x="270" y="86"/>
                  </a:cubicBezTo>
                  <a:cubicBezTo>
                    <a:pt x="267" y="83"/>
                    <a:pt x="261" y="82"/>
                    <a:pt x="256" y="82"/>
                  </a:cubicBezTo>
                  <a:cubicBezTo>
                    <a:pt x="254" y="82"/>
                    <a:pt x="252" y="82"/>
                    <a:pt x="251" y="82"/>
                  </a:cubicBezTo>
                  <a:cubicBezTo>
                    <a:pt x="249" y="83"/>
                    <a:pt x="247" y="83"/>
                    <a:pt x="245" y="83"/>
                  </a:cubicBezTo>
                  <a:cubicBezTo>
                    <a:pt x="243" y="83"/>
                    <a:pt x="239" y="82"/>
                    <a:pt x="237" y="82"/>
                  </a:cubicBezTo>
                  <a:cubicBezTo>
                    <a:pt x="236" y="81"/>
                    <a:pt x="235" y="80"/>
                    <a:pt x="234" y="80"/>
                  </a:cubicBezTo>
                  <a:cubicBezTo>
                    <a:pt x="233" y="78"/>
                    <a:pt x="231" y="77"/>
                    <a:pt x="230" y="76"/>
                  </a:cubicBezTo>
                  <a:cubicBezTo>
                    <a:pt x="228" y="76"/>
                    <a:pt x="224" y="76"/>
                    <a:pt x="220" y="76"/>
                  </a:cubicBezTo>
                  <a:cubicBezTo>
                    <a:pt x="218" y="76"/>
                    <a:pt x="216" y="77"/>
                    <a:pt x="214" y="76"/>
                  </a:cubicBezTo>
                  <a:cubicBezTo>
                    <a:pt x="213" y="76"/>
                    <a:pt x="209" y="75"/>
                    <a:pt x="208" y="74"/>
                  </a:cubicBezTo>
                  <a:cubicBezTo>
                    <a:pt x="206" y="72"/>
                    <a:pt x="203" y="69"/>
                    <a:pt x="202" y="68"/>
                  </a:cubicBezTo>
                  <a:cubicBezTo>
                    <a:pt x="202" y="67"/>
                    <a:pt x="202" y="65"/>
                    <a:pt x="203" y="63"/>
                  </a:cubicBezTo>
                  <a:cubicBezTo>
                    <a:pt x="203" y="61"/>
                    <a:pt x="203" y="59"/>
                    <a:pt x="203" y="58"/>
                  </a:cubicBezTo>
                  <a:cubicBezTo>
                    <a:pt x="203" y="54"/>
                    <a:pt x="201" y="49"/>
                    <a:pt x="199" y="44"/>
                  </a:cubicBezTo>
                  <a:cubicBezTo>
                    <a:pt x="198" y="41"/>
                    <a:pt x="197" y="38"/>
                    <a:pt x="197" y="36"/>
                  </a:cubicBezTo>
                  <a:cubicBezTo>
                    <a:pt x="196" y="34"/>
                    <a:pt x="196" y="31"/>
                    <a:pt x="195" y="28"/>
                  </a:cubicBezTo>
                  <a:cubicBezTo>
                    <a:pt x="195" y="22"/>
                    <a:pt x="194" y="16"/>
                    <a:pt x="192" y="12"/>
                  </a:cubicBezTo>
                  <a:cubicBezTo>
                    <a:pt x="191" y="10"/>
                    <a:pt x="187" y="5"/>
                    <a:pt x="185" y="4"/>
                  </a:cubicBezTo>
                  <a:cubicBezTo>
                    <a:pt x="182" y="2"/>
                    <a:pt x="175" y="2"/>
                    <a:pt x="170" y="2"/>
                  </a:cubicBezTo>
                  <a:cubicBezTo>
                    <a:pt x="165" y="0"/>
                    <a:pt x="165" y="0"/>
                    <a:pt x="165" y="0"/>
                  </a:cubicBezTo>
                  <a:cubicBezTo>
                    <a:pt x="164" y="0"/>
                    <a:pt x="163" y="0"/>
                    <a:pt x="163" y="0"/>
                  </a:cubicBezTo>
                  <a:cubicBezTo>
                    <a:pt x="162" y="1"/>
                    <a:pt x="161" y="2"/>
                    <a:pt x="161" y="2"/>
                  </a:cubicBezTo>
                  <a:cubicBezTo>
                    <a:pt x="162" y="38"/>
                    <a:pt x="162" y="38"/>
                    <a:pt x="162" y="38"/>
                  </a:cubicBezTo>
                  <a:cubicBezTo>
                    <a:pt x="161" y="43"/>
                    <a:pt x="161" y="43"/>
                    <a:pt x="161" y="43"/>
                  </a:cubicBezTo>
                  <a:cubicBezTo>
                    <a:pt x="104" y="45"/>
                    <a:pt x="104" y="45"/>
                    <a:pt x="104" y="45"/>
                  </a:cubicBezTo>
                  <a:cubicBezTo>
                    <a:pt x="4" y="45"/>
                    <a:pt x="4" y="45"/>
                    <a:pt x="4" y="45"/>
                  </a:cubicBezTo>
                  <a:cubicBezTo>
                    <a:pt x="3" y="45"/>
                    <a:pt x="2" y="45"/>
                    <a:pt x="1" y="46"/>
                  </a:cubicBezTo>
                  <a:cubicBezTo>
                    <a:pt x="0" y="50"/>
                    <a:pt x="0" y="50"/>
                    <a:pt x="0" y="50"/>
                  </a:cubicBezTo>
                  <a:cubicBezTo>
                    <a:pt x="0" y="50"/>
                    <a:pt x="0" y="50"/>
                    <a:pt x="0" y="51"/>
                  </a:cubicBezTo>
                  <a:cubicBezTo>
                    <a:pt x="0" y="51"/>
                    <a:pt x="0" y="51"/>
                    <a:pt x="0" y="51"/>
                  </a:cubicBezTo>
                  <a:cubicBezTo>
                    <a:pt x="0" y="52"/>
                    <a:pt x="0" y="52"/>
                    <a:pt x="0" y="53"/>
                  </a:cubicBezTo>
                  <a:cubicBezTo>
                    <a:pt x="3" y="58"/>
                    <a:pt x="3" y="58"/>
                    <a:pt x="3" y="58"/>
                  </a:cubicBezTo>
                  <a:cubicBezTo>
                    <a:pt x="8" y="79"/>
                    <a:pt x="8" y="79"/>
                    <a:pt x="8" y="79"/>
                  </a:cubicBezTo>
                  <a:cubicBezTo>
                    <a:pt x="8" y="80"/>
                    <a:pt x="8" y="80"/>
                    <a:pt x="8" y="80"/>
                  </a:cubicBezTo>
                  <a:cubicBezTo>
                    <a:pt x="9" y="82"/>
                    <a:pt x="11" y="85"/>
                    <a:pt x="11" y="86"/>
                  </a:cubicBezTo>
                  <a:cubicBezTo>
                    <a:pt x="11" y="88"/>
                    <a:pt x="10" y="90"/>
                    <a:pt x="9" y="93"/>
                  </a:cubicBezTo>
                  <a:cubicBezTo>
                    <a:pt x="8" y="96"/>
                    <a:pt x="7" y="98"/>
                    <a:pt x="6" y="100"/>
                  </a:cubicBezTo>
                  <a:cubicBezTo>
                    <a:pt x="6" y="102"/>
                    <a:pt x="7" y="105"/>
                    <a:pt x="8" y="108"/>
                  </a:cubicBezTo>
                  <a:cubicBezTo>
                    <a:pt x="8" y="110"/>
                    <a:pt x="9" y="113"/>
                    <a:pt x="9" y="114"/>
                  </a:cubicBezTo>
                  <a:cubicBezTo>
                    <a:pt x="9" y="115"/>
                    <a:pt x="8" y="116"/>
                    <a:pt x="8" y="117"/>
                  </a:cubicBezTo>
                  <a:cubicBezTo>
                    <a:pt x="7" y="119"/>
                    <a:pt x="7" y="120"/>
                    <a:pt x="7" y="121"/>
                  </a:cubicBezTo>
                  <a:cubicBezTo>
                    <a:pt x="7" y="123"/>
                    <a:pt x="8" y="124"/>
                    <a:pt x="8" y="125"/>
                  </a:cubicBezTo>
                  <a:cubicBezTo>
                    <a:pt x="8" y="125"/>
                    <a:pt x="9" y="126"/>
                    <a:pt x="9" y="126"/>
                  </a:cubicBezTo>
                  <a:cubicBezTo>
                    <a:pt x="9" y="128"/>
                    <a:pt x="8" y="131"/>
                    <a:pt x="8" y="133"/>
                  </a:cubicBezTo>
                  <a:cubicBezTo>
                    <a:pt x="8" y="136"/>
                    <a:pt x="8" y="138"/>
                    <a:pt x="8" y="140"/>
                  </a:cubicBezTo>
                  <a:cubicBezTo>
                    <a:pt x="8" y="143"/>
                    <a:pt x="9" y="147"/>
                    <a:pt x="9" y="149"/>
                  </a:cubicBezTo>
                  <a:cubicBezTo>
                    <a:pt x="10" y="151"/>
                    <a:pt x="12" y="155"/>
                    <a:pt x="13" y="158"/>
                  </a:cubicBezTo>
                  <a:cubicBezTo>
                    <a:pt x="15" y="163"/>
                    <a:pt x="18" y="169"/>
                    <a:pt x="18" y="172"/>
                  </a:cubicBezTo>
                  <a:cubicBezTo>
                    <a:pt x="18" y="173"/>
                    <a:pt x="18" y="173"/>
                    <a:pt x="17" y="174"/>
                  </a:cubicBezTo>
                  <a:cubicBezTo>
                    <a:pt x="17" y="175"/>
                    <a:pt x="16" y="176"/>
                    <a:pt x="16" y="177"/>
                  </a:cubicBezTo>
                  <a:cubicBezTo>
                    <a:pt x="17" y="181"/>
                    <a:pt x="20" y="187"/>
                    <a:pt x="23" y="192"/>
                  </a:cubicBezTo>
                  <a:cubicBezTo>
                    <a:pt x="24" y="195"/>
                    <a:pt x="26" y="198"/>
                    <a:pt x="27" y="200"/>
                  </a:cubicBezTo>
                  <a:cubicBezTo>
                    <a:pt x="28" y="204"/>
                    <a:pt x="30" y="211"/>
                    <a:pt x="30" y="215"/>
                  </a:cubicBezTo>
                  <a:cubicBezTo>
                    <a:pt x="30" y="217"/>
                    <a:pt x="30" y="221"/>
                    <a:pt x="30" y="223"/>
                  </a:cubicBezTo>
                  <a:cubicBezTo>
                    <a:pt x="30" y="223"/>
                    <a:pt x="30" y="224"/>
                    <a:pt x="30" y="225"/>
                  </a:cubicBezTo>
                  <a:cubicBezTo>
                    <a:pt x="29" y="227"/>
                    <a:pt x="29" y="229"/>
                    <a:pt x="29" y="230"/>
                  </a:cubicBezTo>
                  <a:cubicBezTo>
                    <a:pt x="29" y="232"/>
                    <a:pt x="29" y="234"/>
                    <a:pt x="30" y="235"/>
                  </a:cubicBezTo>
                  <a:cubicBezTo>
                    <a:pt x="30" y="236"/>
                    <a:pt x="31" y="237"/>
                    <a:pt x="31" y="238"/>
                  </a:cubicBezTo>
                  <a:cubicBezTo>
                    <a:pt x="31" y="240"/>
                    <a:pt x="31" y="243"/>
                    <a:pt x="31" y="246"/>
                  </a:cubicBezTo>
                  <a:cubicBezTo>
                    <a:pt x="31" y="249"/>
                    <a:pt x="31" y="251"/>
                    <a:pt x="31" y="253"/>
                  </a:cubicBezTo>
                  <a:cubicBezTo>
                    <a:pt x="31" y="255"/>
                    <a:pt x="31" y="257"/>
                    <a:pt x="32" y="260"/>
                  </a:cubicBezTo>
                  <a:cubicBezTo>
                    <a:pt x="32" y="263"/>
                    <a:pt x="33" y="267"/>
                    <a:pt x="33" y="269"/>
                  </a:cubicBezTo>
                  <a:cubicBezTo>
                    <a:pt x="33" y="270"/>
                    <a:pt x="33" y="271"/>
                    <a:pt x="33" y="273"/>
                  </a:cubicBezTo>
                  <a:cubicBezTo>
                    <a:pt x="32" y="275"/>
                    <a:pt x="32" y="278"/>
                    <a:pt x="32" y="280"/>
                  </a:cubicBezTo>
                  <a:cubicBezTo>
                    <a:pt x="33" y="281"/>
                    <a:pt x="34" y="283"/>
                    <a:pt x="35" y="285"/>
                  </a:cubicBezTo>
                  <a:cubicBezTo>
                    <a:pt x="36" y="285"/>
                    <a:pt x="37" y="287"/>
                    <a:pt x="37" y="288"/>
                  </a:cubicBezTo>
                  <a:cubicBezTo>
                    <a:pt x="37" y="288"/>
                    <a:pt x="36" y="290"/>
                    <a:pt x="36" y="291"/>
                  </a:cubicBezTo>
                  <a:cubicBezTo>
                    <a:pt x="36" y="292"/>
                    <a:pt x="35" y="293"/>
                    <a:pt x="35" y="294"/>
                  </a:cubicBezTo>
                  <a:cubicBezTo>
                    <a:pt x="35" y="302"/>
                    <a:pt x="34" y="316"/>
                    <a:pt x="36" y="323"/>
                  </a:cubicBezTo>
                  <a:cubicBezTo>
                    <a:pt x="36" y="325"/>
                    <a:pt x="37" y="326"/>
                    <a:pt x="38" y="327"/>
                  </a:cubicBezTo>
                  <a:cubicBezTo>
                    <a:pt x="39" y="328"/>
                    <a:pt x="39" y="330"/>
                    <a:pt x="40" y="330"/>
                  </a:cubicBezTo>
                  <a:cubicBezTo>
                    <a:pt x="40" y="331"/>
                    <a:pt x="39" y="333"/>
                    <a:pt x="39" y="334"/>
                  </a:cubicBezTo>
                  <a:cubicBezTo>
                    <a:pt x="39" y="335"/>
                    <a:pt x="39" y="337"/>
                    <a:pt x="39" y="338"/>
                  </a:cubicBezTo>
                  <a:cubicBezTo>
                    <a:pt x="39" y="341"/>
                    <a:pt x="42" y="346"/>
                    <a:pt x="42" y="346"/>
                  </a:cubicBezTo>
                  <a:cubicBezTo>
                    <a:pt x="44" y="349"/>
                    <a:pt x="49" y="356"/>
                    <a:pt x="51" y="358"/>
                  </a:cubicBezTo>
                  <a:cubicBezTo>
                    <a:pt x="52" y="364"/>
                    <a:pt x="52" y="364"/>
                    <a:pt x="52" y="364"/>
                  </a:cubicBezTo>
                  <a:cubicBezTo>
                    <a:pt x="52" y="370"/>
                    <a:pt x="52" y="377"/>
                    <a:pt x="53" y="383"/>
                  </a:cubicBezTo>
                  <a:cubicBezTo>
                    <a:pt x="55" y="398"/>
                    <a:pt x="56" y="412"/>
                    <a:pt x="47" y="424"/>
                  </a:cubicBezTo>
                  <a:cubicBezTo>
                    <a:pt x="45" y="425"/>
                    <a:pt x="41" y="427"/>
                    <a:pt x="40" y="428"/>
                  </a:cubicBezTo>
                  <a:cubicBezTo>
                    <a:pt x="38" y="429"/>
                    <a:pt x="34" y="433"/>
                    <a:pt x="32" y="436"/>
                  </a:cubicBezTo>
                  <a:cubicBezTo>
                    <a:pt x="31" y="438"/>
                    <a:pt x="29" y="441"/>
                    <a:pt x="29" y="443"/>
                  </a:cubicBezTo>
                  <a:cubicBezTo>
                    <a:pt x="30" y="446"/>
                    <a:pt x="32" y="447"/>
                    <a:pt x="34" y="449"/>
                  </a:cubicBezTo>
                  <a:cubicBezTo>
                    <a:pt x="35" y="450"/>
                    <a:pt x="35" y="451"/>
                    <a:pt x="36" y="451"/>
                  </a:cubicBezTo>
                  <a:cubicBezTo>
                    <a:pt x="37" y="452"/>
                    <a:pt x="37" y="454"/>
                    <a:pt x="38" y="456"/>
                  </a:cubicBezTo>
                  <a:cubicBezTo>
                    <a:pt x="40" y="461"/>
                    <a:pt x="42" y="465"/>
                    <a:pt x="45" y="467"/>
                  </a:cubicBezTo>
                  <a:cubicBezTo>
                    <a:pt x="47" y="468"/>
                    <a:pt x="50" y="468"/>
                    <a:pt x="53" y="469"/>
                  </a:cubicBezTo>
                  <a:cubicBezTo>
                    <a:pt x="59" y="472"/>
                    <a:pt x="59" y="472"/>
                    <a:pt x="59" y="472"/>
                  </a:cubicBezTo>
                  <a:cubicBezTo>
                    <a:pt x="63" y="478"/>
                    <a:pt x="63" y="478"/>
                    <a:pt x="63" y="478"/>
                  </a:cubicBezTo>
                  <a:cubicBezTo>
                    <a:pt x="65" y="688"/>
                    <a:pt x="65" y="688"/>
                    <a:pt x="65" y="688"/>
                  </a:cubicBezTo>
                  <a:cubicBezTo>
                    <a:pt x="65" y="689"/>
                    <a:pt x="65" y="690"/>
                    <a:pt x="66" y="690"/>
                  </a:cubicBezTo>
                  <a:cubicBezTo>
                    <a:pt x="66" y="690"/>
                    <a:pt x="67" y="691"/>
                    <a:pt x="67" y="691"/>
                  </a:cubicBezTo>
                  <a:cubicBezTo>
                    <a:pt x="67" y="691"/>
                    <a:pt x="67" y="691"/>
                    <a:pt x="67" y="691"/>
                  </a:cubicBezTo>
                  <a:cubicBezTo>
                    <a:pt x="155" y="690"/>
                    <a:pt x="155" y="690"/>
                    <a:pt x="155" y="690"/>
                  </a:cubicBezTo>
                  <a:cubicBezTo>
                    <a:pt x="300" y="686"/>
                    <a:pt x="300" y="686"/>
                    <a:pt x="300" y="686"/>
                  </a:cubicBezTo>
                  <a:cubicBezTo>
                    <a:pt x="422" y="681"/>
                    <a:pt x="422" y="681"/>
                    <a:pt x="422" y="681"/>
                  </a:cubicBezTo>
                  <a:cubicBezTo>
                    <a:pt x="510" y="676"/>
                    <a:pt x="510" y="676"/>
                    <a:pt x="510" y="676"/>
                  </a:cubicBezTo>
                  <a:cubicBezTo>
                    <a:pt x="510" y="676"/>
                    <a:pt x="511" y="676"/>
                    <a:pt x="511" y="675"/>
                  </a:cubicBezTo>
                  <a:cubicBezTo>
                    <a:pt x="512" y="675"/>
                    <a:pt x="512" y="674"/>
                    <a:pt x="512" y="673"/>
                  </a:cubicBezTo>
                  <a:cubicBezTo>
                    <a:pt x="509" y="666"/>
                    <a:pt x="509" y="666"/>
                    <a:pt x="509" y="666"/>
                  </a:cubicBezTo>
                  <a:cubicBezTo>
                    <a:pt x="510" y="664"/>
                    <a:pt x="510" y="664"/>
                    <a:pt x="510" y="664"/>
                  </a:cubicBezTo>
                  <a:cubicBezTo>
                    <a:pt x="510" y="663"/>
                    <a:pt x="510" y="663"/>
                    <a:pt x="510" y="662"/>
                  </a:cubicBezTo>
                  <a:cubicBezTo>
                    <a:pt x="507" y="653"/>
                    <a:pt x="507" y="646"/>
                    <a:pt x="507" y="640"/>
                  </a:cubicBezTo>
                  <a:cubicBezTo>
                    <a:pt x="506" y="627"/>
                    <a:pt x="505" y="621"/>
                    <a:pt x="482" y="611"/>
                  </a:cubicBezTo>
                  <a:cubicBezTo>
                    <a:pt x="481" y="610"/>
                    <a:pt x="479" y="610"/>
                    <a:pt x="478" y="610"/>
                  </a:cubicBezTo>
                  <a:cubicBezTo>
                    <a:pt x="477" y="610"/>
                    <a:pt x="475" y="610"/>
                    <a:pt x="475" y="609"/>
                  </a:cubicBezTo>
                  <a:cubicBezTo>
                    <a:pt x="474" y="609"/>
                    <a:pt x="470" y="607"/>
                    <a:pt x="468" y="606"/>
                  </a:cubicBezTo>
                  <a:cubicBezTo>
                    <a:pt x="465" y="603"/>
                    <a:pt x="456" y="596"/>
                    <a:pt x="454" y="593"/>
                  </a:cubicBezTo>
                  <a:cubicBezTo>
                    <a:pt x="453" y="591"/>
                    <a:pt x="451" y="589"/>
                    <a:pt x="450" y="586"/>
                  </a:cubicBezTo>
                  <a:cubicBezTo>
                    <a:pt x="448" y="583"/>
                    <a:pt x="445" y="579"/>
                    <a:pt x="443" y="577"/>
                  </a:cubicBezTo>
                  <a:cubicBezTo>
                    <a:pt x="441" y="574"/>
                    <a:pt x="433" y="570"/>
                    <a:pt x="432" y="569"/>
                  </a:cubicBezTo>
                  <a:cubicBezTo>
                    <a:pt x="422" y="566"/>
                    <a:pt x="422" y="566"/>
                    <a:pt x="422" y="566"/>
                  </a:cubicBezTo>
                  <a:cubicBezTo>
                    <a:pt x="419" y="564"/>
                    <a:pt x="416" y="563"/>
                    <a:pt x="415" y="562"/>
                  </a:cubicBezTo>
                  <a:cubicBezTo>
                    <a:pt x="415" y="561"/>
                    <a:pt x="414" y="560"/>
                    <a:pt x="414" y="559"/>
                  </a:cubicBezTo>
                  <a:cubicBezTo>
                    <a:pt x="413" y="557"/>
                    <a:pt x="411" y="555"/>
                    <a:pt x="410" y="553"/>
                  </a:cubicBezTo>
                  <a:cubicBezTo>
                    <a:pt x="408" y="552"/>
                    <a:pt x="404" y="552"/>
                    <a:pt x="401" y="552"/>
                  </a:cubicBezTo>
                  <a:cubicBezTo>
                    <a:pt x="399" y="551"/>
                    <a:pt x="397" y="551"/>
                    <a:pt x="396" y="551"/>
                  </a:cubicBezTo>
                  <a:cubicBezTo>
                    <a:pt x="394" y="550"/>
                    <a:pt x="390" y="549"/>
                    <a:pt x="389" y="548"/>
                  </a:cubicBezTo>
                  <a:cubicBezTo>
                    <a:pt x="388" y="547"/>
                    <a:pt x="387" y="546"/>
                    <a:pt x="386" y="545"/>
                  </a:cubicBezTo>
                  <a:cubicBezTo>
                    <a:pt x="384" y="543"/>
                    <a:pt x="383" y="541"/>
                    <a:pt x="382" y="540"/>
                  </a:cubicBezTo>
                  <a:cubicBezTo>
                    <a:pt x="381" y="540"/>
                    <a:pt x="379" y="539"/>
                    <a:pt x="378" y="538"/>
                  </a:cubicBezTo>
                  <a:cubicBezTo>
                    <a:pt x="375" y="537"/>
                    <a:pt x="371" y="535"/>
                    <a:pt x="370" y="533"/>
                  </a:cubicBezTo>
                  <a:cubicBezTo>
                    <a:pt x="371" y="533"/>
                    <a:pt x="372" y="531"/>
                    <a:pt x="372" y="530"/>
                  </a:cubicBezTo>
                  <a:cubicBezTo>
                    <a:pt x="373" y="529"/>
                    <a:pt x="374" y="528"/>
                    <a:pt x="374" y="527"/>
                  </a:cubicBezTo>
                  <a:cubicBezTo>
                    <a:pt x="375" y="523"/>
                    <a:pt x="375" y="516"/>
                    <a:pt x="375" y="513"/>
                  </a:cubicBezTo>
                  <a:cubicBezTo>
                    <a:pt x="375" y="511"/>
                    <a:pt x="374" y="509"/>
                    <a:pt x="373" y="506"/>
                  </a:cubicBezTo>
                  <a:cubicBezTo>
                    <a:pt x="372" y="503"/>
                    <a:pt x="371" y="499"/>
                    <a:pt x="372" y="497"/>
                  </a:cubicBezTo>
                  <a:cubicBezTo>
                    <a:pt x="372" y="497"/>
                    <a:pt x="373" y="495"/>
                    <a:pt x="373" y="494"/>
                  </a:cubicBezTo>
                  <a:cubicBezTo>
                    <a:pt x="374" y="493"/>
                    <a:pt x="375" y="491"/>
                    <a:pt x="375" y="490"/>
                  </a:cubicBezTo>
                  <a:cubicBezTo>
                    <a:pt x="375" y="487"/>
                    <a:pt x="375" y="485"/>
                    <a:pt x="374" y="482"/>
                  </a:cubicBezTo>
                  <a:cubicBezTo>
                    <a:pt x="374" y="479"/>
                    <a:pt x="373" y="477"/>
                    <a:pt x="374" y="475"/>
                  </a:cubicBezTo>
                  <a:cubicBezTo>
                    <a:pt x="374" y="473"/>
                    <a:pt x="375" y="471"/>
                    <a:pt x="377" y="468"/>
                  </a:cubicBezTo>
                  <a:cubicBezTo>
                    <a:pt x="379" y="464"/>
                    <a:pt x="381" y="459"/>
                    <a:pt x="381" y="455"/>
                  </a:cubicBezTo>
                  <a:cubicBezTo>
                    <a:pt x="380" y="450"/>
                    <a:pt x="375" y="440"/>
                    <a:pt x="371" y="438"/>
                  </a:cubicBezTo>
                  <a:cubicBezTo>
                    <a:pt x="370" y="437"/>
                    <a:pt x="368" y="437"/>
                    <a:pt x="367" y="437"/>
                  </a:cubicBezTo>
                  <a:cubicBezTo>
                    <a:pt x="365" y="437"/>
                    <a:pt x="365" y="437"/>
                    <a:pt x="365" y="437"/>
                  </a:cubicBezTo>
                  <a:cubicBezTo>
                    <a:pt x="364" y="437"/>
                    <a:pt x="364" y="437"/>
                    <a:pt x="364" y="437"/>
                  </a:cubicBezTo>
                  <a:cubicBezTo>
                    <a:pt x="362" y="437"/>
                    <a:pt x="360" y="433"/>
                    <a:pt x="360" y="431"/>
                  </a:cubicBezTo>
                  <a:cubicBezTo>
                    <a:pt x="359" y="429"/>
                    <a:pt x="359" y="426"/>
                    <a:pt x="360" y="424"/>
                  </a:cubicBezTo>
                  <a:cubicBezTo>
                    <a:pt x="360" y="424"/>
                    <a:pt x="362" y="421"/>
                    <a:pt x="365" y="419"/>
                  </a:cubicBezTo>
                  <a:cubicBezTo>
                    <a:pt x="365" y="419"/>
                    <a:pt x="365" y="419"/>
                    <a:pt x="365" y="418"/>
                  </a:cubicBezTo>
                  <a:cubicBezTo>
                    <a:pt x="366" y="417"/>
                    <a:pt x="369" y="412"/>
                    <a:pt x="370" y="410"/>
                  </a:cubicBezTo>
                  <a:cubicBezTo>
                    <a:pt x="370" y="409"/>
                    <a:pt x="370" y="408"/>
                    <a:pt x="370" y="407"/>
                  </a:cubicBezTo>
                  <a:cubicBezTo>
                    <a:pt x="370" y="406"/>
                    <a:pt x="371" y="404"/>
                    <a:pt x="371" y="403"/>
                  </a:cubicBezTo>
                  <a:cubicBezTo>
                    <a:pt x="373" y="400"/>
                    <a:pt x="382" y="395"/>
                    <a:pt x="385" y="393"/>
                  </a:cubicBezTo>
                  <a:cubicBezTo>
                    <a:pt x="386" y="393"/>
                    <a:pt x="388" y="392"/>
                    <a:pt x="390" y="391"/>
                  </a:cubicBezTo>
                  <a:cubicBezTo>
                    <a:pt x="394" y="389"/>
                    <a:pt x="398" y="388"/>
                    <a:pt x="400" y="386"/>
                  </a:cubicBezTo>
                  <a:cubicBezTo>
                    <a:pt x="402" y="384"/>
                    <a:pt x="404" y="380"/>
                    <a:pt x="405" y="378"/>
                  </a:cubicBezTo>
                  <a:cubicBezTo>
                    <a:pt x="406" y="376"/>
                    <a:pt x="406" y="371"/>
                    <a:pt x="407" y="369"/>
                  </a:cubicBezTo>
                  <a:cubicBezTo>
                    <a:pt x="407" y="356"/>
                    <a:pt x="405" y="321"/>
                    <a:pt x="404" y="311"/>
                  </a:cubicBezTo>
                  <a:cubicBezTo>
                    <a:pt x="407" y="311"/>
                    <a:pt x="408" y="311"/>
                    <a:pt x="409" y="310"/>
                  </a:cubicBezTo>
                  <a:cubicBezTo>
                    <a:pt x="411" y="309"/>
                    <a:pt x="413" y="304"/>
                    <a:pt x="414" y="302"/>
                  </a:cubicBezTo>
                  <a:cubicBezTo>
                    <a:pt x="417" y="297"/>
                    <a:pt x="417" y="297"/>
                    <a:pt x="417" y="297"/>
                  </a:cubicBezTo>
                  <a:cubicBezTo>
                    <a:pt x="418" y="295"/>
                    <a:pt x="420" y="293"/>
                    <a:pt x="420" y="292"/>
                  </a:cubicBezTo>
                  <a:cubicBezTo>
                    <a:pt x="425" y="287"/>
                    <a:pt x="442" y="274"/>
                    <a:pt x="443" y="274"/>
                  </a:cubicBezTo>
                  <a:cubicBezTo>
                    <a:pt x="450" y="267"/>
                    <a:pt x="450" y="267"/>
                    <a:pt x="450" y="267"/>
                  </a:cubicBezTo>
                  <a:cubicBezTo>
                    <a:pt x="451" y="265"/>
                    <a:pt x="453" y="262"/>
                    <a:pt x="454" y="262"/>
                  </a:cubicBezTo>
                  <a:cubicBezTo>
                    <a:pt x="456" y="260"/>
                    <a:pt x="460" y="257"/>
                    <a:pt x="462" y="255"/>
                  </a:cubicBezTo>
                  <a:cubicBezTo>
                    <a:pt x="482" y="232"/>
                    <a:pt x="482" y="232"/>
                    <a:pt x="482" y="232"/>
                  </a:cubicBezTo>
                  <a:cubicBezTo>
                    <a:pt x="490" y="221"/>
                    <a:pt x="490" y="221"/>
                    <a:pt x="490" y="221"/>
                  </a:cubicBezTo>
                  <a:cubicBezTo>
                    <a:pt x="517" y="193"/>
                    <a:pt x="517" y="193"/>
                    <a:pt x="517" y="193"/>
                  </a:cubicBezTo>
                  <a:cubicBezTo>
                    <a:pt x="540" y="180"/>
                    <a:pt x="540" y="180"/>
                    <a:pt x="540" y="180"/>
                  </a:cubicBezTo>
                  <a:cubicBezTo>
                    <a:pt x="554" y="174"/>
                    <a:pt x="554" y="174"/>
                    <a:pt x="554" y="174"/>
                  </a:cubicBezTo>
                  <a:cubicBezTo>
                    <a:pt x="563" y="171"/>
                    <a:pt x="563" y="171"/>
                    <a:pt x="563" y="171"/>
                  </a:cubicBezTo>
                  <a:cubicBezTo>
                    <a:pt x="587" y="158"/>
                    <a:pt x="587" y="158"/>
                    <a:pt x="587" y="158"/>
                  </a:cubicBezTo>
                  <a:cubicBezTo>
                    <a:pt x="588" y="158"/>
                    <a:pt x="593" y="155"/>
                    <a:pt x="595" y="154"/>
                  </a:cubicBezTo>
                  <a:cubicBezTo>
                    <a:pt x="596" y="153"/>
                    <a:pt x="597" y="152"/>
                    <a:pt x="598" y="150"/>
                  </a:cubicBezTo>
                  <a:cubicBezTo>
                    <a:pt x="599" y="149"/>
                    <a:pt x="601" y="147"/>
                    <a:pt x="602" y="147"/>
                  </a:cubicBezTo>
                  <a:cubicBezTo>
                    <a:pt x="602" y="146"/>
                    <a:pt x="603" y="146"/>
                    <a:pt x="604" y="146"/>
                  </a:cubicBezTo>
                  <a:cubicBezTo>
                    <a:pt x="607" y="144"/>
                    <a:pt x="611" y="142"/>
                    <a:pt x="610" y="139"/>
                  </a:cubicBezTo>
                  <a:cubicBezTo>
                    <a:pt x="609" y="137"/>
                    <a:pt x="608" y="135"/>
                    <a:pt x="602" y="135"/>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20">
              <a:extLst>
                <a:ext uri="{FF2B5EF4-FFF2-40B4-BE49-F238E27FC236}">
                  <a16:creationId xmlns:a16="http://schemas.microsoft.com/office/drawing/2014/main" id="{3FD86B3D-E291-4F5A-B2B5-4A77E83518B0}"/>
                </a:ext>
              </a:extLst>
            </p:cNvPr>
            <p:cNvSpPr>
              <a:spLocks/>
            </p:cNvSpPr>
            <p:nvPr/>
          </p:nvSpPr>
          <p:spPr bwMode="auto">
            <a:xfrm>
              <a:off x="6862938" y="2619503"/>
              <a:ext cx="39418" cy="67719"/>
            </a:xfrm>
            <a:custGeom>
              <a:avLst/>
              <a:gdLst>
                <a:gd name="T0" fmla="*/ 35 w 35"/>
                <a:gd name="T1" fmla="*/ 3 h 61"/>
                <a:gd name="T2" fmla="*/ 32 w 35"/>
                <a:gd name="T3" fmla="*/ 1 h 61"/>
                <a:gd name="T4" fmla="*/ 29 w 35"/>
                <a:gd name="T5" fmla="*/ 1 h 61"/>
                <a:gd name="T6" fmla="*/ 22 w 35"/>
                <a:gd name="T7" fmla="*/ 6 h 61"/>
                <a:gd name="T8" fmla="*/ 21 w 35"/>
                <a:gd name="T9" fmla="*/ 7 h 61"/>
                <a:gd name="T10" fmla="*/ 17 w 35"/>
                <a:gd name="T11" fmla="*/ 14 h 61"/>
                <a:gd name="T12" fmla="*/ 10 w 35"/>
                <a:gd name="T13" fmla="*/ 22 h 61"/>
                <a:gd name="T14" fmla="*/ 9 w 35"/>
                <a:gd name="T15" fmla="*/ 23 h 61"/>
                <a:gd name="T16" fmla="*/ 9 w 35"/>
                <a:gd name="T17" fmla="*/ 30 h 61"/>
                <a:gd name="T18" fmla="*/ 3 w 35"/>
                <a:gd name="T19" fmla="*/ 37 h 61"/>
                <a:gd name="T20" fmla="*/ 3 w 35"/>
                <a:gd name="T21" fmla="*/ 38 h 61"/>
                <a:gd name="T22" fmla="*/ 0 w 35"/>
                <a:gd name="T23" fmla="*/ 50 h 61"/>
                <a:gd name="T24" fmla="*/ 0 w 35"/>
                <a:gd name="T25" fmla="*/ 51 h 61"/>
                <a:gd name="T26" fmla="*/ 4 w 35"/>
                <a:gd name="T27" fmla="*/ 58 h 61"/>
                <a:gd name="T28" fmla="*/ 6 w 35"/>
                <a:gd name="T29" fmla="*/ 60 h 61"/>
                <a:gd name="T30" fmla="*/ 13 w 35"/>
                <a:gd name="T31" fmla="*/ 61 h 61"/>
                <a:gd name="T32" fmla="*/ 13 w 35"/>
                <a:gd name="T33" fmla="*/ 61 h 61"/>
                <a:gd name="T34" fmla="*/ 15 w 35"/>
                <a:gd name="T35" fmla="*/ 60 h 61"/>
                <a:gd name="T36" fmla="*/ 21 w 35"/>
                <a:gd name="T37" fmla="*/ 53 h 61"/>
                <a:gd name="T38" fmla="*/ 24 w 35"/>
                <a:gd name="T39" fmla="*/ 45 h 61"/>
                <a:gd name="T40" fmla="*/ 24 w 35"/>
                <a:gd name="T41" fmla="*/ 44 h 61"/>
                <a:gd name="T42" fmla="*/ 24 w 35"/>
                <a:gd name="T43" fmla="*/ 38 h 61"/>
                <a:gd name="T44" fmla="*/ 30 w 35"/>
                <a:gd name="T45" fmla="*/ 28 h 61"/>
                <a:gd name="T46" fmla="*/ 30 w 35"/>
                <a:gd name="T47" fmla="*/ 27 h 61"/>
                <a:gd name="T48" fmla="*/ 29 w 35"/>
                <a:gd name="T49" fmla="*/ 20 h 61"/>
                <a:gd name="T50" fmla="*/ 35 w 35"/>
                <a:gd name="T51" fmla="*/ 6 h 61"/>
                <a:gd name="T52" fmla="*/ 35 w 35"/>
                <a:gd name="T53"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61">
                  <a:moveTo>
                    <a:pt x="35" y="3"/>
                  </a:moveTo>
                  <a:cubicBezTo>
                    <a:pt x="32" y="1"/>
                    <a:pt x="32" y="1"/>
                    <a:pt x="32" y="1"/>
                  </a:cubicBezTo>
                  <a:cubicBezTo>
                    <a:pt x="31" y="0"/>
                    <a:pt x="30" y="0"/>
                    <a:pt x="29" y="1"/>
                  </a:cubicBezTo>
                  <a:cubicBezTo>
                    <a:pt x="22" y="6"/>
                    <a:pt x="22" y="6"/>
                    <a:pt x="22" y="6"/>
                  </a:cubicBezTo>
                  <a:cubicBezTo>
                    <a:pt x="22" y="7"/>
                    <a:pt x="21" y="7"/>
                    <a:pt x="21" y="7"/>
                  </a:cubicBezTo>
                  <a:cubicBezTo>
                    <a:pt x="17" y="14"/>
                    <a:pt x="17" y="14"/>
                    <a:pt x="17" y="14"/>
                  </a:cubicBezTo>
                  <a:cubicBezTo>
                    <a:pt x="10" y="22"/>
                    <a:pt x="10" y="22"/>
                    <a:pt x="10" y="22"/>
                  </a:cubicBezTo>
                  <a:cubicBezTo>
                    <a:pt x="10" y="22"/>
                    <a:pt x="9" y="23"/>
                    <a:pt x="9" y="23"/>
                  </a:cubicBezTo>
                  <a:cubicBezTo>
                    <a:pt x="9" y="30"/>
                    <a:pt x="9" y="30"/>
                    <a:pt x="9" y="30"/>
                  </a:cubicBezTo>
                  <a:cubicBezTo>
                    <a:pt x="3" y="37"/>
                    <a:pt x="3" y="37"/>
                    <a:pt x="3" y="37"/>
                  </a:cubicBezTo>
                  <a:cubicBezTo>
                    <a:pt x="3" y="37"/>
                    <a:pt x="3" y="38"/>
                    <a:pt x="3" y="38"/>
                  </a:cubicBezTo>
                  <a:cubicBezTo>
                    <a:pt x="0" y="50"/>
                    <a:pt x="0" y="50"/>
                    <a:pt x="0" y="50"/>
                  </a:cubicBezTo>
                  <a:cubicBezTo>
                    <a:pt x="0" y="50"/>
                    <a:pt x="0" y="51"/>
                    <a:pt x="0" y="51"/>
                  </a:cubicBezTo>
                  <a:cubicBezTo>
                    <a:pt x="4" y="58"/>
                    <a:pt x="4" y="58"/>
                    <a:pt x="4" y="58"/>
                  </a:cubicBezTo>
                  <a:cubicBezTo>
                    <a:pt x="4" y="59"/>
                    <a:pt x="5" y="60"/>
                    <a:pt x="6" y="60"/>
                  </a:cubicBezTo>
                  <a:cubicBezTo>
                    <a:pt x="13" y="61"/>
                    <a:pt x="13" y="61"/>
                    <a:pt x="13" y="61"/>
                  </a:cubicBezTo>
                  <a:cubicBezTo>
                    <a:pt x="13" y="61"/>
                    <a:pt x="13" y="61"/>
                    <a:pt x="13" y="61"/>
                  </a:cubicBezTo>
                  <a:cubicBezTo>
                    <a:pt x="14" y="61"/>
                    <a:pt x="15" y="61"/>
                    <a:pt x="15" y="60"/>
                  </a:cubicBezTo>
                  <a:cubicBezTo>
                    <a:pt x="21" y="53"/>
                    <a:pt x="21" y="53"/>
                    <a:pt x="21" y="53"/>
                  </a:cubicBezTo>
                  <a:cubicBezTo>
                    <a:pt x="24" y="45"/>
                    <a:pt x="24" y="45"/>
                    <a:pt x="24" y="45"/>
                  </a:cubicBezTo>
                  <a:cubicBezTo>
                    <a:pt x="24" y="45"/>
                    <a:pt x="24" y="45"/>
                    <a:pt x="24" y="44"/>
                  </a:cubicBezTo>
                  <a:cubicBezTo>
                    <a:pt x="24" y="38"/>
                    <a:pt x="24" y="38"/>
                    <a:pt x="24" y="38"/>
                  </a:cubicBezTo>
                  <a:cubicBezTo>
                    <a:pt x="30" y="28"/>
                    <a:pt x="30" y="28"/>
                    <a:pt x="30" y="28"/>
                  </a:cubicBezTo>
                  <a:cubicBezTo>
                    <a:pt x="30" y="28"/>
                    <a:pt x="30" y="27"/>
                    <a:pt x="30" y="27"/>
                  </a:cubicBezTo>
                  <a:cubicBezTo>
                    <a:pt x="29" y="20"/>
                    <a:pt x="29" y="20"/>
                    <a:pt x="29" y="20"/>
                  </a:cubicBezTo>
                  <a:cubicBezTo>
                    <a:pt x="35" y="6"/>
                    <a:pt x="35" y="6"/>
                    <a:pt x="35" y="6"/>
                  </a:cubicBezTo>
                  <a:cubicBezTo>
                    <a:pt x="35" y="5"/>
                    <a:pt x="35" y="4"/>
                    <a:pt x="35" y="3"/>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1">
              <a:extLst>
                <a:ext uri="{FF2B5EF4-FFF2-40B4-BE49-F238E27FC236}">
                  <a16:creationId xmlns:a16="http://schemas.microsoft.com/office/drawing/2014/main" id="{AE14DCBE-75FD-47D1-849B-9696B944AC39}"/>
                </a:ext>
              </a:extLst>
            </p:cNvPr>
            <p:cNvSpPr>
              <a:spLocks noEditPoints="1"/>
            </p:cNvSpPr>
            <p:nvPr/>
          </p:nvSpPr>
          <p:spPr bwMode="auto">
            <a:xfrm>
              <a:off x="6353532" y="2431508"/>
              <a:ext cx="524567" cy="582178"/>
            </a:xfrm>
            <a:custGeom>
              <a:avLst/>
              <a:gdLst>
                <a:gd name="T0" fmla="*/ 469 w 471"/>
                <a:gd name="T1" fmla="*/ 244 h 524"/>
                <a:gd name="T2" fmla="*/ 451 w 471"/>
                <a:gd name="T3" fmla="*/ 223 h 524"/>
                <a:gd name="T4" fmla="*/ 436 w 471"/>
                <a:gd name="T5" fmla="*/ 236 h 524"/>
                <a:gd name="T6" fmla="*/ 427 w 471"/>
                <a:gd name="T7" fmla="*/ 253 h 524"/>
                <a:gd name="T8" fmla="*/ 419 w 471"/>
                <a:gd name="T9" fmla="*/ 263 h 524"/>
                <a:gd name="T10" fmla="*/ 423 w 471"/>
                <a:gd name="T11" fmla="*/ 234 h 524"/>
                <a:gd name="T12" fmla="*/ 431 w 471"/>
                <a:gd name="T13" fmla="*/ 218 h 524"/>
                <a:gd name="T14" fmla="*/ 445 w 471"/>
                <a:gd name="T15" fmla="*/ 196 h 524"/>
                <a:gd name="T16" fmla="*/ 435 w 471"/>
                <a:gd name="T17" fmla="*/ 178 h 524"/>
                <a:gd name="T18" fmla="*/ 427 w 471"/>
                <a:gd name="T19" fmla="*/ 165 h 524"/>
                <a:gd name="T20" fmla="*/ 421 w 471"/>
                <a:gd name="T21" fmla="*/ 160 h 524"/>
                <a:gd name="T22" fmla="*/ 421 w 471"/>
                <a:gd name="T23" fmla="*/ 135 h 524"/>
                <a:gd name="T24" fmla="*/ 399 w 471"/>
                <a:gd name="T25" fmla="*/ 118 h 524"/>
                <a:gd name="T26" fmla="*/ 394 w 471"/>
                <a:gd name="T27" fmla="*/ 105 h 524"/>
                <a:gd name="T28" fmla="*/ 363 w 471"/>
                <a:gd name="T29" fmla="*/ 97 h 524"/>
                <a:gd name="T30" fmla="*/ 336 w 471"/>
                <a:gd name="T31" fmla="*/ 95 h 524"/>
                <a:gd name="T32" fmla="*/ 228 w 471"/>
                <a:gd name="T33" fmla="*/ 69 h 524"/>
                <a:gd name="T34" fmla="*/ 204 w 471"/>
                <a:gd name="T35" fmla="*/ 46 h 524"/>
                <a:gd name="T36" fmla="*/ 187 w 471"/>
                <a:gd name="T37" fmla="*/ 41 h 524"/>
                <a:gd name="T38" fmla="*/ 163 w 471"/>
                <a:gd name="T39" fmla="*/ 40 h 524"/>
                <a:gd name="T40" fmla="*/ 164 w 471"/>
                <a:gd name="T41" fmla="*/ 31 h 524"/>
                <a:gd name="T42" fmla="*/ 169 w 471"/>
                <a:gd name="T43" fmla="*/ 17 h 524"/>
                <a:gd name="T44" fmla="*/ 149 w 471"/>
                <a:gd name="T45" fmla="*/ 4 h 524"/>
                <a:gd name="T46" fmla="*/ 126 w 471"/>
                <a:gd name="T47" fmla="*/ 16 h 524"/>
                <a:gd name="T48" fmla="*/ 69 w 471"/>
                <a:gd name="T49" fmla="*/ 36 h 524"/>
                <a:gd name="T50" fmla="*/ 55 w 471"/>
                <a:gd name="T51" fmla="*/ 34 h 524"/>
                <a:gd name="T52" fmla="*/ 48 w 471"/>
                <a:gd name="T53" fmla="*/ 103 h 524"/>
                <a:gd name="T54" fmla="*/ 26 w 471"/>
                <a:gd name="T55" fmla="*/ 125 h 524"/>
                <a:gd name="T56" fmla="*/ 7 w 471"/>
                <a:gd name="T57" fmla="*/ 151 h 524"/>
                <a:gd name="T58" fmla="*/ 7 w 471"/>
                <a:gd name="T59" fmla="*/ 177 h 524"/>
                <a:gd name="T60" fmla="*/ 22 w 471"/>
                <a:gd name="T61" fmla="*/ 190 h 524"/>
                <a:gd name="T62" fmla="*/ 15 w 471"/>
                <a:gd name="T63" fmla="*/ 224 h 524"/>
                <a:gd name="T64" fmla="*/ 16 w 471"/>
                <a:gd name="T65" fmla="*/ 248 h 524"/>
                <a:gd name="T66" fmla="*/ 21 w 471"/>
                <a:gd name="T67" fmla="*/ 277 h 524"/>
                <a:gd name="T68" fmla="*/ 41 w 471"/>
                <a:gd name="T69" fmla="*/ 291 h 524"/>
                <a:gd name="T70" fmla="*/ 58 w 471"/>
                <a:gd name="T71" fmla="*/ 300 h 524"/>
                <a:gd name="T72" fmla="*/ 86 w 471"/>
                <a:gd name="T73" fmla="*/ 315 h 524"/>
                <a:gd name="T74" fmla="*/ 119 w 471"/>
                <a:gd name="T75" fmla="*/ 349 h 524"/>
                <a:gd name="T76" fmla="*/ 146 w 471"/>
                <a:gd name="T77" fmla="*/ 371 h 524"/>
                <a:gd name="T78" fmla="*/ 152 w 471"/>
                <a:gd name="T79" fmla="*/ 406 h 524"/>
                <a:gd name="T80" fmla="*/ 154 w 471"/>
                <a:gd name="T81" fmla="*/ 418 h 524"/>
                <a:gd name="T82" fmla="*/ 162 w 471"/>
                <a:gd name="T83" fmla="*/ 429 h 524"/>
                <a:gd name="T84" fmla="*/ 159 w 471"/>
                <a:gd name="T85" fmla="*/ 450 h 524"/>
                <a:gd name="T86" fmla="*/ 164 w 471"/>
                <a:gd name="T87" fmla="*/ 475 h 524"/>
                <a:gd name="T88" fmla="*/ 170 w 471"/>
                <a:gd name="T89" fmla="*/ 492 h 524"/>
                <a:gd name="T90" fmla="*/ 210 w 471"/>
                <a:gd name="T91" fmla="*/ 522 h 524"/>
                <a:gd name="T92" fmla="*/ 452 w 471"/>
                <a:gd name="T93" fmla="*/ 507 h 524"/>
                <a:gd name="T94" fmla="*/ 456 w 471"/>
                <a:gd name="T95" fmla="*/ 488 h 524"/>
                <a:gd name="T96" fmla="*/ 452 w 471"/>
                <a:gd name="T97" fmla="*/ 461 h 524"/>
                <a:gd name="T98" fmla="*/ 446 w 471"/>
                <a:gd name="T99" fmla="*/ 446 h 524"/>
                <a:gd name="T100" fmla="*/ 443 w 471"/>
                <a:gd name="T101" fmla="*/ 426 h 524"/>
                <a:gd name="T102" fmla="*/ 447 w 471"/>
                <a:gd name="T103" fmla="*/ 390 h 524"/>
                <a:gd name="T104" fmla="*/ 449 w 471"/>
                <a:gd name="T105" fmla="*/ 372 h 524"/>
                <a:gd name="T106" fmla="*/ 449 w 471"/>
                <a:gd name="T107" fmla="*/ 342 h 524"/>
                <a:gd name="T108" fmla="*/ 458 w 471"/>
                <a:gd name="T109" fmla="*/ 312 h 524"/>
                <a:gd name="T110" fmla="*/ 458 w 471"/>
                <a:gd name="T111" fmla="*/ 288 h 524"/>
                <a:gd name="T112" fmla="*/ 214 w 471"/>
                <a:gd name="T113" fmla="*/ 519 h 524"/>
                <a:gd name="T114" fmla="*/ 452 w 471"/>
                <a:gd name="T115" fmla="*/ 50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1" h="524">
                  <a:moveTo>
                    <a:pt x="460" y="280"/>
                  </a:moveTo>
                  <a:cubicBezTo>
                    <a:pt x="460" y="278"/>
                    <a:pt x="461" y="276"/>
                    <a:pt x="461" y="273"/>
                  </a:cubicBezTo>
                  <a:cubicBezTo>
                    <a:pt x="461" y="270"/>
                    <a:pt x="461" y="268"/>
                    <a:pt x="461" y="266"/>
                  </a:cubicBezTo>
                  <a:cubicBezTo>
                    <a:pt x="463" y="260"/>
                    <a:pt x="469" y="245"/>
                    <a:pt x="469" y="244"/>
                  </a:cubicBezTo>
                  <a:cubicBezTo>
                    <a:pt x="470" y="243"/>
                    <a:pt x="471" y="238"/>
                    <a:pt x="471" y="236"/>
                  </a:cubicBezTo>
                  <a:cubicBezTo>
                    <a:pt x="471" y="234"/>
                    <a:pt x="468" y="229"/>
                    <a:pt x="467" y="227"/>
                  </a:cubicBezTo>
                  <a:cubicBezTo>
                    <a:pt x="465" y="224"/>
                    <a:pt x="462" y="219"/>
                    <a:pt x="458" y="219"/>
                  </a:cubicBezTo>
                  <a:cubicBezTo>
                    <a:pt x="456" y="219"/>
                    <a:pt x="453" y="221"/>
                    <a:pt x="451" y="223"/>
                  </a:cubicBezTo>
                  <a:cubicBezTo>
                    <a:pt x="451" y="224"/>
                    <a:pt x="450" y="225"/>
                    <a:pt x="449" y="225"/>
                  </a:cubicBezTo>
                  <a:cubicBezTo>
                    <a:pt x="449" y="225"/>
                    <a:pt x="448" y="225"/>
                    <a:pt x="447" y="226"/>
                  </a:cubicBezTo>
                  <a:cubicBezTo>
                    <a:pt x="445" y="226"/>
                    <a:pt x="443" y="227"/>
                    <a:pt x="442" y="228"/>
                  </a:cubicBezTo>
                  <a:cubicBezTo>
                    <a:pt x="439" y="230"/>
                    <a:pt x="437" y="235"/>
                    <a:pt x="436" y="236"/>
                  </a:cubicBezTo>
                  <a:cubicBezTo>
                    <a:pt x="436" y="237"/>
                    <a:pt x="436" y="239"/>
                    <a:pt x="436" y="240"/>
                  </a:cubicBezTo>
                  <a:cubicBezTo>
                    <a:pt x="436" y="241"/>
                    <a:pt x="435" y="243"/>
                    <a:pt x="435" y="243"/>
                  </a:cubicBezTo>
                  <a:cubicBezTo>
                    <a:pt x="434" y="245"/>
                    <a:pt x="432" y="249"/>
                    <a:pt x="430" y="251"/>
                  </a:cubicBezTo>
                  <a:cubicBezTo>
                    <a:pt x="430" y="251"/>
                    <a:pt x="429" y="252"/>
                    <a:pt x="427" y="253"/>
                  </a:cubicBezTo>
                  <a:cubicBezTo>
                    <a:pt x="426" y="254"/>
                    <a:pt x="424" y="255"/>
                    <a:pt x="423" y="256"/>
                  </a:cubicBezTo>
                  <a:cubicBezTo>
                    <a:pt x="422" y="257"/>
                    <a:pt x="422" y="259"/>
                    <a:pt x="421" y="260"/>
                  </a:cubicBezTo>
                  <a:cubicBezTo>
                    <a:pt x="421" y="261"/>
                    <a:pt x="421" y="263"/>
                    <a:pt x="420" y="263"/>
                  </a:cubicBezTo>
                  <a:cubicBezTo>
                    <a:pt x="420" y="263"/>
                    <a:pt x="420" y="263"/>
                    <a:pt x="419" y="263"/>
                  </a:cubicBezTo>
                  <a:cubicBezTo>
                    <a:pt x="417" y="263"/>
                    <a:pt x="416" y="263"/>
                    <a:pt x="416" y="263"/>
                  </a:cubicBezTo>
                  <a:cubicBezTo>
                    <a:pt x="416" y="262"/>
                    <a:pt x="415" y="260"/>
                    <a:pt x="415" y="258"/>
                  </a:cubicBezTo>
                  <a:cubicBezTo>
                    <a:pt x="417" y="249"/>
                    <a:pt x="417" y="249"/>
                    <a:pt x="417" y="249"/>
                  </a:cubicBezTo>
                  <a:cubicBezTo>
                    <a:pt x="423" y="234"/>
                    <a:pt x="423" y="234"/>
                    <a:pt x="423" y="234"/>
                  </a:cubicBezTo>
                  <a:cubicBezTo>
                    <a:pt x="424" y="233"/>
                    <a:pt x="427" y="228"/>
                    <a:pt x="428" y="226"/>
                  </a:cubicBezTo>
                  <a:cubicBezTo>
                    <a:pt x="428" y="225"/>
                    <a:pt x="428" y="223"/>
                    <a:pt x="428" y="222"/>
                  </a:cubicBezTo>
                  <a:cubicBezTo>
                    <a:pt x="428" y="221"/>
                    <a:pt x="428" y="220"/>
                    <a:pt x="428" y="219"/>
                  </a:cubicBezTo>
                  <a:cubicBezTo>
                    <a:pt x="428" y="219"/>
                    <a:pt x="430" y="218"/>
                    <a:pt x="431" y="218"/>
                  </a:cubicBezTo>
                  <a:cubicBezTo>
                    <a:pt x="433" y="218"/>
                    <a:pt x="434" y="218"/>
                    <a:pt x="435" y="217"/>
                  </a:cubicBezTo>
                  <a:cubicBezTo>
                    <a:pt x="439" y="215"/>
                    <a:pt x="442" y="213"/>
                    <a:pt x="443" y="211"/>
                  </a:cubicBezTo>
                  <a:cubicBezTo>
                    <a:pt x="444" y="210"/>
                    <a:pt x="444" y="207"/>
                    <a:pt x="444" y="205"/>
                  </a:cubicBezTo>
                  <a:cubicBezTo>
                    <a:pt x="446" y="201"/>
                    <a:pt x="446" y="198"/>
                    <a:pt x="445" y="196"/>
                  </a:cubicBezTo>
                  <a:cubicBezTo>
                    <a:pt x="445" y="196"/>
                    <a:pt x="444" y="194"/>
                    <a:pt x="440" y="194"/>
                  </a:cubicBezTo>
                  <a:cubicBezTo>
                    <a:pt x="437" y="192"/>
                    <a:pt x="434" y="189"/>
                    <a:pt x="434" y="188"/>
                  </a:cubicBezTo>
                  <a:cubicBezTo>
                    <a:pt x="433" y="188"/>
                    <a:pt x="433" y="185"/>
                    <a:pt x="433" y="183"/>
                  </a:cubicBezTo>
                  <a:cubicBezTo>
                    <a:pt x="433" y="182"/>
                    <a:pt x="435" y="179"/>
                    <a:pt x="435" y="178"/>
                  </a:cubicBezTo>
                  <a:cubicBezTo>
                    <a:pt x="437" y="173"/>
                    <a:pt x="440" y="169"/>
                    <a:pt x="437" y="166"/>
                  </a:cubicBezTo>
                  <a:cubicBezTo>
                    <a:pt x="437" y="165"/>
                    <a:pt x="436" y="164"/>
                    <a:pt x="434" y="164"/>
                  </a:cubicBezTo>
                  <a:cubicBezTo>
                    <a:pt x="432" y="164"/>
                    <a:pt x="430" y="165"/>
                    <a:pt x="428" y="165"/>
                  </a:cubicBezTo>
                  <a:cubicBezTo>
                    <a:pt x="428" y="165"/>
                    <a:pt x="427" y="165"/>
                    <a:pt x="427" y="165"/>
                  </a:cubicBezTo>
                  <a:cubicBezTo>
                    <a:pt x="426" y="166"/>
                    <a:pt x="425" y="166"/>
                    <a:pt x="424" y="167"/>
                  </a:cubicBezTo>
                  <a:cubicBezTo>
                    <a:pt x="423" y="167"/>
                    <a:pt x="421" y="168"/>
                    <a:pt x="421" y="168"/>
                  </a:cubicBezTo>
                  <a:cubicBezTo>
                    <a:pt x="421" y="167"/>
                    <a:pt x="420" y="165"/>
                    <a:pt x="420" y="164"/>
                  </a:cubicBezTo>
                  <a:cubicBezTo>
                    <a:pt x="420" y="163"/>
                    <a:pt x="421" y="161"/>
                    <a:pt x="421" y="160"/>
                  </a:cubicBezTo>
                  <a:cubicBezTo>
                    <a:pt x="422" y="159"/>
                    <a:pt x="422" y="158"/>
                    <a:pt x="423" y="157"/>
                  </a:cubicBezTo>
                  <a:cubicBezTo>
                    <a:pt x="423" y="154"/>
                    <a:pt x="425" y="145"/>
                    <a:pt x="424" y="141"/>
                  </a:cubicBezTo>
                  <a:cubicBezTo>
                    <a:pt x="424" y="139"/>
                    <a:pt x="423" y="138"/>
                    <a:pt x="422" y="137"/>
                  </a:cubicBezTo>
                  <a:cubicBezTo>
                    <a:pt x="422" y="136"/>
                    <a:pt x="421" y="135"/>
                    <a:pt x="421" y="135"/>
                  </a:cubicBezTo>
                  <a:cubicBezTo>
                    <a:pt x="421" y="134"/>
                    <a:pt x="423" y="133"/>
                    <a:pt x="423" y="132"/>
                  </a:cubicBezTo>
                  <a:cubicBezTo>
                    <a:pt x="422" y="128"/>
                    <a:pt x="418" y="125"/>
                    <a:pt x="413" y="122"/>
                  </a:cubicBezTo>
                  <a:cubicBezTo>
                    <a:pt x="410" y="121"/>
                    <a:pt x="404" y="119"/>
                    <a:pt x="401" y="119"/>
                  </a:cubicBezTo>
                  <a:cubicBezTo>
                    <a:pt x="401" y="118"/>
                    <a:pt x="400" y="118"/>
                    <a:pt x="399" y="118"/>
                  </a:cubicBezTo>
                  <a:cubicBezTo>
                    <a:pt x="396" y="119"/>
                    <a:pt x="396" y="119"/>
                    <a:pt x="396" y="119"/>
                  </a:cubicBezTo>
                  <a:cubicBezTo>
                    <a:pt x="396" y="119"/>
                    <a:pt x="395" y="118"/>
                    <a:pt x="395" y="118"/>
                  </a:cubicBezTo>
                  <a:cubicBezTo>
                    <a:pt x="395" y="118"/>
                    <a:pt x="395" y="115"/>
                    <a:pt x="395" y="113"/>
                  </a:cubicBezTo>
                  <a:cubicBezTo>
                    <a:pt x="395" y="110"/>
                    <a:pt x="395" y="107"/>
                    <a:pt x="394" y="105"/>
                  </a:cubicBezTo>
                  <a:cubicBezTo>
                    <a:pt x="392" y="102"/>
                    <a:pt x="386" y="100"/>
                    <a:pt x="386" y="100"/>
                  </a:cubicBezTo>
                  <a:cubicBezTo>
                    <a:pt x="383" y="99"/>
                    <a:pt x="378" y="99"/>
                    <a:pt x="374" y="98"/>
                  </a:cubicBezTo>
                  <a:cubicBezTo>
                    <a:pt x="371" y="98"/>
                    <a:pt x="368" y="98"/>
                    <a:pt x="366" y="98"/>
                  </a:cubicBezTo>
                  <a:cubicBezTo>
                    <a:pt x="365" y="98"/>
                    <a:pt x="364" y="97"/>
                    <a:pt x="363" y="97"/>
                  </a:cubicBezTo>
                  <a:cubicBezTo>
                    <a:pt x="361" y="96"/>
                    <a:pt x="359" y="95"/>
                    <a:pt x="357" y="95"/>
                  </a:cubicBezTo>
                  <a:cubicBezTo>
                    <a:pt x="356" y="95"/>
                    <a:pt x="354" y="95"/>
                    <a:pt x="353" y="96"/>
                  </a:cubicBezTo>
                  <a:cubicBezTo>
                    <a:pt x="352" y="96"/>
                    <a:pt x="350" y="97"/>
                    <a:pt x="349" y="97"/>
                  </a:cubicBezTo>
                  <a:cubicBezTo>
                    <a:pt x="346" y="97"/>
                    <a:pt x="338" y="95"/>
                    <a:pt x="336" y="95"/>
                  </a:cubicBezTo>
                  <a:cubicBezTo>
                    <a:pt x="335" y="95"/>
                    <a:pt x="335" y="95"/>
                    <a:pt x="334" y="95"/>
                  </a:cubicBezTo>
                  <a:cubicBezTo>
                    <a:pt x="332" y="95"/>
                    <a:pt x="332" y="95"/>
                    <a:pt x="332" y="95"/>
                  </a:cubicBezTo>
                  <a:cubicBezTo>
                    <a:pt x="307" y="84"/>
                    <a:pt x="307" y="84"/>
                    <a:pt x="307" y="84"/>
                  </a:cubicBezTo>
                  <a:cubicBezTo>
                    <a:pt x="228" y="69"/>
                    <a:pt x="228" y="69"/>
                    <a:pt x="228" y="69"/>
                  </a:cubicBezTo>
                  <a:cubicBezTo>
                    <a:pt x="227" y="66"/>
                    <a:pt x="222" y="58"/>
                    <a:pt x="220" y="55"/>
                  </a:cubicBezTo>
                  <a:cubicBezTo>
                    <a:pt x="218" y="53"/>
                    <a:pt x="214" y="50"/>
                    <a:pt x="212" y="49"/>
                  </a:cubicBezTo>
                  <a:cubicBezTo>
                    <a:pt x="211" y="48"/>
                    <a:pt x="210" y="48"/>
                    <a:pt x="208" y="47"/>
                  </a:cubicBezTo>
                  <a:cubicBezTo>
                    <a:pt x="207" y="47"/>
                    <a:pt x="205" y="47"/>
                    <a:pt x="204" y="46"/>
                  </a:cubicBezTo>
                  <a:cubicBezTo>
                    <a:pt x="204" y="46"/>
                    <a:pt x="204" y="45"/>
                    <a:pt x="203" y="45"/>
                  </a:cubicBezTo>
                  <a:cubicBezTo>
                    <a:pt x="202" y="44"/>
                    <a:pt x="202" y="43"/>
                    <a:pt x="200" y="42"/>
                  </a:cubicBezTo>
                  <a:cubicBezTo>
                    <a:pt x="198" y="41"/>
                    <a:pt x="195" y="41"/>
                    <a:pt x="192" y="41"/>
                  </a:cubicBezTo>
                  <a:cubicBezTo>
                    <a:pt x="190" y="41"/>
                    <a:pt x="188" y="41"/>
                    <a:pt x="187" y="41"/>
                  </a:cubicBezTo>
                  <a:cubicBezTo>
                    <a:pt x="186" y="41"/>
                    <a:pt x="185" y="40"/>
                    <a:pt x="184" y="39"/>
                  </a:cubicBezTo>
                  <a:cubicBezTo>
                    <a:pt x="182" y="38"/>
                    <a:pt x="181" y="38"/>
                    <a:pt x="180" y="37"/>
                  </a:cubicBezTo>
                  <a:cubicBezTo>
                    <a:pt x="178" y="36"/>
                    <a:pt x="173" y="35"/>
                    <a:pt x="171" y="36"/>
                  </a:cubicBezTo>
                  <a:cubicBezTo>
                    <a:pt x="169" y="36"/>
                    <a:pt x="165" y="39"/>
                    <a:pt x="163" y="40"/>
                  </a:cubicBezTo>
                  <a:cubicBezTo>
                    <a:pt x="162" y="40"/>
                    <a:pt x="161" y="41"/>
                    <a:pt x="160" y="41"/>
                  </a:cubicBezTo>
                  <a:cubicBezTo>
                    <a:pt x="160" y="40"/>
                    <a:pt x="160" y="40"/>
                    <a:pt x="161" y="39"/>
                  </a:cubicBezTo>
                  <a:cubicBezTo>
                    <a:pt x="161" y="39"/>
                    <a:pt x="161" y="39"/>
                    <a:pt x="161" y="38"/>
                  </a:cubicBezTo>
                  <a:cubicBezTo>
                    <a:pt x="162" y="37"/>
                    <a:pt x="163" y="33"/>
                    <a:pt x="164" y="31"/>
                  </a:cubicBezTo>
                  <a:cubicBezTo>
                    <a:pt x="164" y="29"/>
                    <a:pt x="164" y="28"/>
                    <a:pt x="164" y="27"/>
                  </a:cubicBezTo>
                  <a:cubicBezTo>
                    <a:pt x="164" y="26"/>
                    <a:pt x="163" y="24"/>
                    <a:pt x="164" y="24"/>
                  </a:cubicBezTo>
                  <a:cubicBezTo>
                    <a:pt x="164" y="23"/>
                    <a:pt x="165" y="22"/>
                    <a:pt x="166" y="21"/>
                  </a:cubicBezTo>
                  <a:cubicBezTo>
                    <a:pt x="167" y="19"/>
                    <a:pt x="168" y="18"/>
                    <a:pt x="169" y="17"/>
                  </a:cubicBezTo>
                  <a:cubicBezTo>
                    <a:pt x="169" y="15"/>
                    <a:pt x="171" y="10"/>
                    <a:pt x="170" y="7"/>
                  </a:cubicBezTo>
                  <a:cubicBezTo>
                    <a:pt x="169" y="4"/>
                    <a:pt x="163" y="0"/>
                    <a:pt x="159" y="0"/>
                  </a:cubicBezTo>
                  <a:cubicBezTo>
                    <a:pt x="157" y="0"/>
                    <a:pt x="153" y="1"/>
                    <a:pt x="150" y="4"/>
                  </a:cubicBezTo>
                  <a:cubicBezTo>
                    <a:pt x="149" y="4"/>
                    <a:pt x="149" y="4"/>
                    <a:pt x="149" y="4"/>
                  </a:cubicBezTo>
                  <a:cubicBezTo>
                    <a:pt x="147" y="6"/>
                    <a:pt x="142" y="10"/>
                    <a:pt x="142" y="10"/>
                  </a:cubicBezTo>
                  <a:cubicBezTo>
                    <a:pt x="135" y="14"/>
                    <a:pt x="135" y="14"/>
                    <a:pt x="135" y="14"/>
                  </a:cubicBezTo>
                  <a:cubicBezTo>
                    <a:pt x="127" y="16"/>
                    <a:pt x="127" y="16"/>
                    <a:pt x="127" y="16"/>
                  </a:cubicBezTo>
                  <a:cubicBezTo>
                    <a:pt x="126" y="16"/>
                    <a:pt x="126" y="16"/>
                    <a:pt x="126" y="16"/>
                  </a:cubicBezTo>
                  <a:cubicBezTo>
                    <a:pt x="112" y="25"/>
                    <a:pt x="112" y="25"/>
                    <a:pt x="112" y="25"/>
                  </a:cubicBezTo>
                  <a:cubicBezTo>
                    <a:pt x="83" y="36"/>
                    <a:pt x="83" y="36"/>
                    <a:pt x="83" y="36"/>
                  </a:cubicBezTo>
                  <a:cubicBezTo>
                    <a:pt x="76" y="37"/>
                    <a:pt x="76" y="37"/>
                    <a:pt x="76" y="37"/>
                  </a:cubicBezTo>
                  <a:cubicBezTo>
                    <a:pt x="73" y="37"/>
                    <a:pt x="70" y="36"/>
                    <a:pt x="69" y="36"/>
                  </a:cubicBezTo>
                  <a:cubicBezTo>
                    <a:pt x="63" y="33"/>
                    <a:pt x="59" y="32"/>
                    <a:pt x="59" y="32"/>
                  </a:cubicBezTo>
                  <a:cubicBezTo>
                    <a:pt x="58" y="32"/>
                    <a:pt x="57" y="32"/>
                    <a:pt x="56" y="33"/>
                  </a:cubicBezTo>
                  <a:cubicBezTo>
                    <a:pt x="56" y="33"/>
                    <a:pt x="56" y="33"/>
                    <a:pt x="56" y="33"/>
                  </a:cubicBezTo>
                  <a:cubicBezTo>
                    <a:pt x="55" y="34"/>
                    <a:pt x="55" y="34"/>
                    <a:pt x="55" y="34"/>
                  </a:cubicBezTo>
                  <a:cubicBezTo>
                    <a:pt x="52" y="41"/>
                    <a:pt x="52" y="41"/>
                    <a:pt x="52" y="41"/>
                  </a:cubicBezTo>
                  <a:cubicBezTo>
                    <a:pt x="47" y="41"/>
                    <a:pt x="47" y="41"/>
                    <a:pt x="47" y="41"/>
                  </a:cubicBezTo>
                  <a:cubicBezTo>
                    <a:pt x="46" y="42"/>
                    <a:pt x="45" y="43"/>
                    <a:pt x="45" y="44"/>
                  </a:cubicBezTo>
                  <a:cubicBezTo>
                    <a:pt x="48" y="103"/>
                    <a:pt x="48" y="103"/>
                    <a:pt x="48" y="103"/>
                  </a:cubicBezTo>
                  <a:cubicBezTo>
                    <a:pt x="46" y="111"/>
                    <a:pt x="46" y="111"/>
                    <a:pt x="46" y="111"/>
                  </a:cubicBezTo>
                  <a:cubicBezTo>
                    <a:pt x="43" y="117"/>
                    <a:pt x="43" y="117"/>
                    <a:pt x="43" y="117"/>
                  </a:cubicBezTo>
                  <a:cubicBezTo>
                    <a:pt x="40" y="118"/>
                    <a:pt x="32" y="122"/>
                    <a:pt x="29" y="124"/>
                  </a:cubicBezTo>
                  <a:cubicBezTo>
                    <a:pt x="26" y="125"/>
                    <a:pt x="26" y="125"/>
                    <a:pt x="26" y="125"/>
                  </a:cubicBezTo>
                  <a:cubicBezTo>
                    <a:pt x="22" y="128"/>
                    <a:pt x="15" y="132"/>
                    <a:pt x="13" y="136"/>
                  </a:cubicBezTo>
                  <a:cubicBezTo>
                    <a:pt x="12" y="137"/>
                    <a:pt x="12" y="139"/>
                    <a:pt x="11" y="141"/>
                  </a:cubicBezTo>
                  <a:cubicBezTo>
                    <a:pt x="11" y="142"/>
                    <a:pt x="11" y="143"/>
                    <a:pt x="11" y="143"/>
                  </a:cubicBezTo>
                  <a:cubicBezTo>
                    <a:pt x="10" y="145"/>
                    <a:pt x="8" y="149"/>
                    <a:pt x="7" y="151"/>
                  </a:cubicBezTo>
                  <a:cubicBezTo>
                    <a:pt x="7" y="151"/>
                    <a:pt x="6" y="152"/>
                    <a:pt x="5" y="153"/>
                  </a:cubicBezTo>
                  <a:cubicBezTo>
                    <a:pt x="3" y="154"/>
                    <a:pt x="2" y="156"/>
                    <a:pt x="1" y="158"/>
                  </a:cubicBezTo>
                  <a:cubicBezTo>
                    <a:pt x="0" y="160"/>
                    <a:pt x="0" y="165"/>
                    <a:pt x="1" y="167"/>
                  </a:cubicBezTo>
                  <a:cubicBezTo>
                    <a:pt x="1" y="169"/>
                    <a:pt x="4" y="175"/>
                    <a:pt x="7" y="177"/>
                  </a:cubicBezTo>
                  <a:cubicBezTo>
                    <a:pt x="9" y="178"/>
                    <a:pt x="10" y="177"/>
                    <a:pt x="12" y="177"/>
                  </a:cubicBezTo>
                  <a:cubicBezTo>
                    <a:pt x="13" y="177"/>
                    <a:pt x="13" y="177"/>
                    <a:pt x="13" y="177"/>
                  </a:cubicBezTo>
                  <a:cubicBezTo>
                    <a:pt x="14" y="177"/>
                    <a:pt x="14" y="177"/>
                    <a:pt x="14" y="177"/>
                  </a:cubicBezTo>
                  <a:cubicBezTo>
                    <a:pt x="17" y="179"/>
                    <a:pt x="21" y="187"/>
                    <a:pt x="22" y="190"/>
                  </a:cubicBezTo>
                  <a:cubicBezTo>
                    <a:pt x="22" y="193"/>
                    <a:pt x="20" y="197"/>
                    <a:pt x="18" y="200"/>
                  </a:cubicBezTo>
                  <a:cubicBezTo>
                    <a:pt x="16" y="203"/>
                    <a:pt x="14" y="207"/>
                    <a:pt x="14" y="209"/>
                  </a:cubicBezTo>
                  <a:cubicBezTo>
                    <a:pt x="13" y="212"/>
                    <a:pt x="14" y="214"/>
                    <a:pt x="14" y="217"/>
                  </a:cubicBezTo>
                  <a:cubicBezTo>
                    <a:pt x="15" y="220"/>
                    <a:pt x="15" y="222"/>
                    <a:pt x="15" y="224"/>
                  </a:cubicBezTo>
                  <a:cubicBezTo>
                    <a:pt x="15" y="224"/>
                    <a:pt x="14" y="226"/>
                    <a:pt x="14" y="227"/>
                  </a:cubicBezTo>
                  <a:cubicBezTo>
                    <a:pt x="13" y="228"/>
                    <a:pt x="12" y="230"/>
                    <a:pt x="12" y="232"/>
                  </a:cubicBezTo>
                  <a:cubicBezTo>
                    <a:pt x="11" y="235"/>
                    <a:pt x="13" y="239"/>
                    <a:pt x="14" y="242"/>
                  </a:cubicBezTo>
                  <a:cubicBezTo>
                    <a:pt x="15" y="244"/>
                    <a:pt x="16" y="247"/>
                    <a:pt x="16" y="248"/>
                  </a:cubicBezTo>
                  <a:cubicBezTo>
                    <a:pt x="16" y="251"/>
                    <a:pt x="16" y="257"/>
                    <a:pt x="15" y="260"/>
                  </a:cubicBezTo>
                  <a:cubicBezTo>
                    <a:pt x="15" y="261"/>
                    <a:pt x="14" y="262"/>
                    <a:pt x="14" y="263"/>
                  </a:cubicBezTo>
                  <a:cubicBezTo>
                    <a:pt x="12" y="265"/>
                    <a:pt x="11" y="267"/>
                    <a:pt x="12" y="270"/>
                  </a:cubicBezTo>
                  <a:cubicBezTo>
                    <a:pt x="13" y="273"/>
                    <a:pt x="17" y="275"/>
                    <a:pt x="21" y="277"/>
                  </a:cubicBezTo>
                  <a:cubicBezTo>
                    <a:pt x="22" y="278"/>
                    <a:pt x="24" y="279"/>
                    <a:pt x="25" y="279"/>
                  </a:cubicBezTo>
                  <a:cubicBezTo>
                    <a:pt x="25" y="280"/>
                    <a:pt x="26" y="281"/>
                    <a:pt x="27" y="282"/>
                  </a:cubicBezTo>
                  <a:cubicBezTo>
                    <a:pt x="29" y="284"/>
                    <a:pt x="31" y="286"/>
                    <a:pt x="32" y="287"/>
                  </a:cubicBezTo>
                  <a:cubicBezTo>
                    <a:pt x="34" y="288"/>
                    <a:pt x="39" y="290"/>
                    <a:pt x="41" y="291"/>
                  </a:cubicBezTo>
                  <a:cubicBezTo>
                    <a:pt x="42" y="291"/>
                    <a:pt x="44" y="291"/>
                    <a:pt x="46" y="291"/>
                  </a:cubicBezTo>
                  <a:cubicBezTo>
                    <a:pt x="49" y="292"/>
                    <a:pt x="52" y="292"/>
                    <a:pt x="53" y="293"/>
                  </a:cubicBezTo>
                  <a:cubicBezTo>
                    <a:pt x="54" y="293"/>
                    <a:pt x="55" y="295"/>
                    <a:pt x="55" y="296"/>
                  </a:cubicBezTo>
                  <a:cubicBezTo>
                    <a:pt x="56" y="298"/>
                    <a:pt x="57" y="299"/>
                    <a:pt x="58" y="300"/>
                  </a:cubicBezTo>
                  <a:cubicBezTo>
                    <a:pt x="60" y="302"/>
                    <a:pt x="64" y="304"/>
                    <a:pt x="66" y="305"/>
                  </a:cubicBezTo>
                  <a:cubicBezTo>
                    <a:pt x="67" y="306"/>
                    <a:pt x="69" y="306"/>
                    <a:pt x="71" y="307"/>
                  </a:cubicBezTo>
                  <a:cubicBezTo>
                    <a:pt x="73" y="308"/>
                    <a:pt x="75" y="308"/>
                    <a:pt x="76" y="309"/>
                  </a:cubicBezTo>
                  <a:cubicBezTo>
                    <a:pt x="79" y="310"/>
                    <a:pt x="84" y="313"/>
                    <a:pt x="86" y="315"/>
                  </a:cubicBezTo>
                  <a:cubicBezTo>
                    <a:pt x="87" y="317"/>
                    <a:pt x="89" y="320"/>
                    <a:pt x="91" y="323"/>
                  </a:cubicBezTo>
                  <a:cubicBezTo>
                    <a:pt x="93" y="326"/>
                    <a:pt x="94" y="329"/>
                    <a:pt x="96" y="331"/>
                  </a:cubicBezTo>
                  <a:cubicBezTo>
                    <a:pt x="99" y="335"/>
                    <a:pt x="107" y="342"/>
                    <a:pt x="111" y="345"/>
                  </a:cubicBezTo>
                  <a:cubicBezTo>
                    <a:pt x="113" y="346"/>
                    <a:pt x="117" y="348"/>
                    <a:pt x="119" y="349"/>
                  </a:cubicBezTo>
                  <a:cubicBezTo>
                    <a:pt x="121" y="350"/>
                    <a:pt x="125" y="350"/>
                    <a:pt x="126" y="351"/>
                  </a:cubicBezTo>
                  <a:cubicBezTo>
                    <a:pt x="133" y="355"/>
                    <a:pt x="133" y="355"/>
                    <a:pt x="133" y="355"/>
                  </a:cubicBezTo>
                  <a:cubicBezTo>
                    <a:pt x="140" y="362"/>
                    <a:pt x="140" y="362"/>
                    <a:pt x="140" y="362"/>
                  </a:cubicBezTo>
                  <a:cubicBezTo>
                    <a:pt x="146" y="371"/>
                    <a:pt x="146" y="371"/>
                    <a:pt x="146" y="371"/>
                  </a:cubicBezTo>
                  <a:cubicBezTo>
                    <a:pt x="149" y="391"/>
                    <a:pt x="149" y="391"/>
                    <a:pt x="149" y="391"/>
                  </a:cubicBezTo>
                  <a:cubicBezTo>
                    <a:pt x="151" y="398"/>
                    <a:pt x="151" y="398"/>
                    <a:pt x="151" y="398"/>
                  </a:cubicBezTo>
                  <a:cubicBezTo>
                    <a:pt x="150" y="399"/>
                    <a:pt x="150" y="400"/>
                    <a:pt x="150" y="401"/>
                  </a:cubicBezTo>
                  <a:cubicBezTo>
                    <a:pt x="150" y="403"/>
                    <a:pt x="151" y="404"/>
                    <a:pt x="152" y="406"/>
                  </a:cubicBezTo>
                  <a:cubicBezTo>
                    <a:pt x="152" y="407"/>
                    <a:pt x="153" y="408"/>
                    <a:pt x="153" y="409"/>
                  </a:cubicBezTo>
                  <a:cubicBezTo>
                    <a:pt x="153" y="409"/>
                    <a:pt x="153" y="410"/>
                    <a:pt x="153" y="411"/>
                  </a:cubicBezTo>
                  <a:cubicBezTo>
                    <a:pt x="152" y="412"/>
                    <a:pt x="152" y="414"/>
                    <a:pt x="152" y="415"/>
                  </a:cubicBezTo>
                  <a:cubicBezTo>
                    <a:pt x="153" y="416"/>
                    <a:pt x="153" y="417"/>
                    <a:pt x="154" y="418"/>
                  </a:cubicBezTo>
                  <a:cubicBezTo>
                    <a:pt x="154" y="418"/>
                    <a:pt x="154" y="418"/>
                    <a:pt x="155" y="419"/>
                  </a:cubicBezTo>
                  <a:cubicBezTo>
                    <a:pt x="155" y="419"/>
                    <a:pt x="155" y="420"/>
                    <a:pt x="155" y="421"/>
                  </a:cubicBezTo>
                  <a:cubicBezTo>
                    <a:pt x="156" y="423"/>
                    <a:pt x="157" y="426"/>
                    <a:pt x="158" y="427"/>
                  </a:cubicBezTo>
                  <a:cubicBezTo>
                    <a:pt x="159" y="428"/>
                    <a:pt x="161" y="429"/>
                    <a:pt x="162" y="429"/>
                  </a:cubicBezTo>
                  <a:cubicBezTo>
                    <a:pt x="163" y="429"/>
                    <a:pt x="164" y="429"/>
                    <a:pt x="164" y="429"/>
                  </a:cubicBezTo>
                  <a:cubicBezTo>
                    <a:pt x="164" y="430"/>
                    <a:pt x="165" y="431"/>
                    <a:pt x="165" y="435"/>
                  </a:cubicBezTo>
                  <a:cubicBezTo>
                    <a:pt x="165" y="436"/>
                    <a:pt x="163" y="439"/>
                    <a:pt x="162" y="442"/>
                  </a:cubicBezTo>
                  <a:cubicBezTo>
                    <a:pt x="161" y="445"/>
                    <a:pt x="160" y="447"/>
                    <a:pt x="159" y="450"/>
                  </a:cubicBezTo>
                  <a:cubicBezTo>
                    <a:pt x="159" y="452"/>
                    <a:pt x="160" y="455"/>
                    <a:pt x="161" y="458"/>
                  </a:cubicBezTo>
                  <a:cubicBezTo>
                    <a:pt x="162" y="459"/>
                    <a:pt x="162" y="461"/>
                    <a:pt x="162" y="462"/>
                  </a:cubicBezTo>
                  <a:cubicBezTo>
                    <a:pt x="162" y="463"/>
                    <a:pt x="163" y="464"/>
                    <a:pt x="163" y="466"/>
                  </a:cubicBezTo>
                  <a:cubicBezTo>
                    <a:pt x="163" y="469"/>
                    <a:pt x="163" y="473"/>
                    <a:pt x="164" y="475"/>
                  </a:cubicBezTo>
                  <a:cubicBezTo>
                    <a:pt x="164" y="477"/>
                    <a:pt x="166" y="478"/>
                    <a:pt x="167" y="480"/>
                  </a:cubicBezTo>
                  <a:cubicBezTo>
                    <a:pt x="168" y="481"/>
                    <a:pt x="169" y="482"/>
                    <a:pt x="169" y="483"/>
                  </a:cubicBezTo>
                  <a:cubicBezTo>
                    <a:pt x="169" y="483"/>
                    <a:pt x="169" y="485"/>
                    <a:pt x="170" y="487"/>
                  </a:cubicBezTo>
                  <a:cubicBezTo>
                    <a:pt x="170" y="489"/>
                    <a:pt x="170" y="490"/>
                    <a:pt x="170" y="492"/>
                  </a:cubicBezTo>
                  <a:cubicBezTo>
                    <a:pt x="171" y="492"/>
                    <a:pt x="172" y="498"/>
                    <a:pt x="175" y="500"/>
                  </a:cubicBezTo>
                  <a:cubicBezTo>
                    <a:pt x="176" y="501"/>
                    <a:pt x="179" y="503"/>
                    <a:pt x="183" y="504"/>
                  </a:cubicBezTo>
                  <a:cubicBezTo>
                    <a:pt x="188" y="506"/>
                    <a:pt x="201" y="508"/>
                    <a:pt x="205" y="508"/>
                  </a:cubicBezTo>
                  <a:cubicBezTo>
                    <a:pt x="210" y="522"/>
                    <a:pt x="210" y="522"/>
                    <a:pt x="210" y="522"/>
                  </a:cubicBezTo>
                  <a:cubicBezTo>
                    <a:pt x="210" y="523"/>
                    <a:pt x="211" y="524"/>
                    <a:pt x="212" y="524"/>
                  </a:cubicBezTo>
                  <a:cubicBezTo>
                    <a:pt x="212" y="524"/>
                    <a:pt x="212" y="524"/>
                    <a:pt x="213" y="524"/>
                  </a:cubicBezTo>
                  <a:cubicBezTo>
                    <a:pt x="349" y="516"/>
                    <a:pt x="349" y="516"/>
                    <a:pt x="349" y="516"/>
                  </a:cubicBezTo>
                  <a:cubicBezTo>
                    <a:pt x="452" y="507"/>
                    <a:pt x="452" y="507"/>
                    <a:pt x="452" y="507"/>
                  </a:cubicBezTo>
                  <a:cubicBezTo>
                    <a:pt x="455" y="507"/>
                    <a:pt x="455" y="507"/>
                    <a:pt x="455" y="507"/>
                  </a:cubicBezTo>
                  <a:cubicBezTo>
                    <a:pt x="456" y="507"/>
                    <a:pt x="457" y="506"/>
                    <a:pt x="457" y="506"/>
                  </a:cubicBezTo>
                  <a:cubicBezTo>
                    <a:pt x="458" y="505"/>
                    <a:pt x="458" y="504"/>
                    <a:pt x="458" y="504"/>
                  </a:cubicBezTo>
                  <a:cubicBezTo>
                    <a:pt x="456" y="488"/>
                    <a:pt x="456" y="488"/>
                    <a:pt x="456" y="488"/>
                  </a:cubicBezTo>
                  <a:cubicBezTo>
                    <a:pt x="456" y="487"/>
                    <a:pt x="457" y="483"/>
                    <a:pt x="457" y="481"/>
                  </a:cubicBezTo>
                  <a:cubicBezTo>
                    <a:pt x="457" y="479"/>
                    <a:pt x="458" y="475"/>
                    <a:pt x="457" y="473"/>
                  </a:cubicBezTo>
                  <a:cubicBezTo>
                    <a:pt x="457" y="470"/>
                    <a:pt x="456" y="467"/>
                    <a:pt x="455" y="465"/>
                  </a:cubicBezTo>
                  <a:cubicBezTo>
                    <a:pt x="454" y="464"/>
                    <a:pt x="453" y="462"/>
                    <a:pt x="452" y="461"/>
                  </a:cubicBezTo>
                  <a:cubicBezTo>
                    <a:pt x="451" y="460"/>
                    <a:pt x="450" y="459"/>
                    <a:pt x="450" y="458"/>
                  </a:cubicBezTo>
                  <a:cubicBezTo>
                    <a:pt x="450" y="457"/>
                    <a:pt x="450" y="456"/>
                    <a:pt x="450" y="455"/>
                  </a:cubicBezTo>
                  <a:cubicBezTo>
                    <a:pt x="450" y="454"/>
                    <a:pt x="450" y="452"/>
                    <a:pt x="450" y="451"/>
                  </a:cubicBezTo>
                  <a:cubicBezTo>
                    <a:pt x="449" y="449"/>
                    <a:pt x="448" y="447"/>
                    <a:pt x="446" y="446"/>
                  </a:cubicBezTo>
                  <a:cubicBezTo>
                    <a:pt x="445" y="445"/>
                    <a:pt x="444" y="444"/>
                    <a:pt x="443" y="443"/>
                  </a:cubicBezTo>
                  <a:cubicBezTo>
                    <a:pt x="443" y="443"/>
                    <a:pt x="444" y="441"/>
                    <a:pt x="444" y="440"/>
                  </a:cubicBezTo>
                  <a:cubicBezTo>
                    <a:pt x="445" y="439"/>
                    <a:pt x="446" y="438"/>
                    <a:pt x="446" y="436"/>
                  </a:cubicBezTo>
                  <a:cubicBezTo>
                    <a:pt x="446" y="433"/>
                    <a:pt x="444" y="430"/>
                    <a:pt x="443" y="426"/>
                  </a:cubicBezTo>
                  <a:cubicBezTo>
                    <a:pt x="442" y="424"/>
                    <a:pt x="441" y="421"/>
                    <a:pt x="441" y="419"/>
                  </a:cubicBezTo>
                  <a:cubicBezTo>
                    <a:pt x="440" y="416"/>
                    <a:pt x="441" y="409"/>
                    <a:pt x="442" y="406"/>
                  </a:cubicBezTo>
                  <a:cubicBezTo>
                    <a:pt x="442" y="404"/>
                    <a:pt x="443" y="402"/>
                    <a:pt x="444" y="399"/>
                  </a:cubicBezTo>
                  <a:cubicBezTo>
                    <a:pt x="445" y="396"/>
                    <a:pt x="447" y="392"/>
                    <a:pt x="447" y="390"/>
                  </a:cubicBezTo>
                  <a:cubicBezTo>
                    <a:pt x="447" y="388"/>
                    <a:pt x="447" y="387"/>
                    <a:pt x="447" y="385"/>
                  </a:cubicBezTo>
                  <a:cubicBezTo>
                    <a:pt x="447" y="384"/>
                    <a:pt x="446" y="383"/>
                    <a:pt x="446" y="382"/>
                  </a:cubicBezTo>
                  <a:cubicBezTo>
                    <a:pt x="446" y="380"/>
                    <a:pt x="447" y="377"/>
                    <a:pt x="448" y="375"/>
                  </a:cubicBezTo>
                  <a:cubicBezTo>
                    <a:pt x="448" y="374"/>
                    <a:pt x="449" y="373"/>
                    <a:pt x="449" y="372"/>
                  </a:cubicBezTo>
                  <a:cubicBezTo>
                    <a:pt x="451" y="370"/>
                    <a:pt x="452" y="368"/>
                    <a:pt x="452" y="367"/>
                  </a:cubicBezTo>
                  <a:cubicBezTo>
                    <a:pt x="453" y="364"/>
                    <a:pt x="452" y="359"/>
                    <a:pt x="452" y="358"/>
                  </a:cubicBezTo>
                  <a:cubicBezTo>
                    <a:pt x="452" y="356"/>
                    <a:pt x="451" y="353"/>
                    <a:pt x="450" y="350"/>
                  </a:cubicBezTo>
                  <a:cubicBezTo>
                    <a:pt x="450" y="347"/>
                    <a:pt x="449" y="344"/>
                    <a:pt x="449" y="342"/>
                  </a:cubicBezTo>
                  <a:cubicBezTo>
                    <a:pt x="448" y="341"/>
                    <a:pt x="448" y="337"/>
                    <a:pt x="449" y="336"/>
                  </a:cubicBezTo>
                  <a:cubicBezTo>
                    <a:pt x="449" y="332"/>
                    <a:pt x="451" y="324"/>
                    <a:pt x="452" y="321"/>
                  </a:cubicBezTo>
                  <a:cubicBezTo>
                    <a:pt x="453" y="318"/>
                    <a:pt x="454" y="315"/>
                    <a:pt x="455" y="314"/>
                  </a:cubicBezTo>
                  <a:cubicBezTo>
                    <a:pt x="456" y="313"/>
                    <a:pt x="457" y="312"/>
                    <a:pt x="458" y="312"/>
                  </a:cubicBezTo>
                  <a:cubicBezTo>
                    <a:pt x="460" y="310"/>
                    <a:pt x="462" y="309"/>
                    <a:pt x="463" y="308"/>
                  </a:cubicBezTo>
                  <a:cubicBezTo>
                    <a:pt x="463" y="306"/>
                    <a:pt x="464" y="304"/>
                    <a:pt x="464" y="303"/>
                  </a:cubicBezTo>
                  <a:cubicBezTo>
                    <a:pt x="463" y="300"/>
                    <a:pt x="462" y="297"/>
                    <a:pt x="461" y="294"/>
                  </a:cubicBezTo>
                  <a:cubicBezTo>
                    <a:pt x="459" y="292"/>
                    <a:pt x="458" y="289"/>
                    <a:pt x="458" y="288"/>
                  </a:cubicBezTo>
                  <a:cubicBezTo>
                    <a:pt x="458" y="287"/>
                    <a:pt x="459" y="285"/>
                    <a:pt x="459" y="284"/>
                  </a:cubicBezTo>
                  <a:cubicBezTo>
                    <a:pt x="459" y="282"/>
                    <a:pt x="460" y="281"/>
                    <a:pt x="460" y="280"/>
                  </a:cubicBezTo>
                  <a:close/>
                  <a:moveTo>
                    <a:pt x="349" y="511"/>
                  </a:moveTo>
                  <a:cubicBezTo>
                    <a:pt x="214" y="519"/>
                    <a:pt x="214" y="519"/>
                    <a:pt x="214" y="519"/>
                  </a:cubicBezTo>
                  <a:cubicBezTo>
                    <a:pt x="214" y="518"/>
                    <a:pt x="214" y="518"/>
                    <a:pt x="214" y="518"/>
                  </a:cubicBezTo>
                  <a:cubicBezTo>
                    <a:pt x="349" y="510"/>
                    <a:pt x="349" y="510"/>
                    <a:pt x="349" y="510"/>
                  </a:cubicBezTo>
                  <a:cubicBezTo>
                    <a:pt x="452" y="501"/>
                    <a:pt x="452" y="501"/>
                    <a:pt x="452" y="501"/>
                  </a:cubicBezTo>
                  <a:cubicBezTo>
                    <a:pt x="452" y="501"/>
                    <a:pt x="452" y="501"/>
                    <a:pt x="452" y="501"/>
                  </a:cubicBezTo>
                  <a:cubicBezTo>
                    <a:pt x="453" y="502"/>
                    <a:pt x="453" y="502"/>
                    <a:pt x="453" y="502"/>
                  </a:cubicBezTo>
                  <a:lnTo>
                    <a:pt x="349" y="511"/>
                  </a:ln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2">
              <a:extLst>
                <a:ext uri="{FF2B5EF4-FFF2-40B4-BE49-F238E27FC236}">
                  <a16:creationId xmlns:a16="http://schemas.microsoft.com/office/drawing/2014/main" id="{601FCB3C-07A2-4F07-BED7-6F5225B9BDC5}"/>
                </a:ext>
              </a:extLst>
            </p:cNvPr>
            <p:cNvSpPr>
              <a:spLocks/>
            </p:cNvSpPr>
            <p:nvPr/>
          </p:nvSpPr>
          <p:spPr bwMode="auto">
            <a:xfrm>
              <a:off x="6520302" y="2991451"/>
              <a:ext cx="415409" cy="735809"/>
            </a:xfrm>
            <a:custGeom>
              <a:avLst/>
              <a:gdLst>
                <a:gd name="T0" fmla="*/ 14 w 373"/>
                <a:gd name="T1" fmla="*/ 260 h 662"/>
                <a:gd name="T2" fmla="*/ 33 w 373"/>
                <a:gd name="T3" fmla="*/ 236 h 662"/>
                <a:gd name="T4" fmla="*/ 36 w 373"/>
                <a:gd name="T5" fmla="*/ 216 h 662"/>
                <a:gd name="T6" fmla="*/ 32 w 373"/>
                <a:gd name="T7" fmla="*/ 171 h 662"/>
                <a:gd name="T8" fmla="*/ 65 w 373"/>
                <a:gd name="T9" fmla="*/ 142 h 662"/>
                <a:gd name="T10" fmla="*/ 95 w 373"/>
                <a:gd name="T11" fmla="*/ 124 h 662"/>
                <a:gd name="T12" fmla="*/ 109 w 373"/>
                <a:gd name="T13" fmla="*/ 71 h 662"/>
                <a:gd name="T14" fmla="*/ 91 w 373"/>
                <a:gd name="T15" fmla="*/ 52 h 662"/>
                <a:gd name="T16" fmla="*/ 67 w 373"/>
                <a:gd name="T17" fmla="*/ 25 h 662"/>
                <a:gd name="T18" fmla="*/ 199 w 373"/>
                <a:gd name="T19" fmla="*/ 9 h 662"/>
                <a:gd name="T20" fmla="*/ 306 w 373"/>
                <a:gd name="T21" fmla="*/ 7 h 662"/>
                <a:gd name="T22" fmla="*/ 315 w 373"/>
                <a:gd name="T23" fmla="*/ 44 h 662"/>
                <a:gd name="T24" fmla="*/ 329 w 373"/>
                <a:gd name="T25" fmla="*/ 70 h 662"/>
                <a:gd name="T26" fmla="*/ 339 w 373"/>
                <a:gd name="T27" fmla="*/ 92 h 662"/>
                <a:gd name="T28" fmla="*/ 361 w 373"/>
                <a:gd name="T29" fmla="*/ 381 h 662"/>
                <a:gd name="T30" fmla="*/ 363 w 373"/>
                <a:gd name="T31" fmla="*/ 406 h 662"/>
                <a:gd name="T32" fmla="*/ 373 w 373"/>
                <a:gd name="T33" fmla="*/ 436 h 662"/>
                <a:gd name="T34" fmla="*/ 362 w 373"/>
                <a:gd name="T35" fmla="*/ 460 h 662"/>
                <a:gd name="T36" fmla="*/ 346 w 373"/>
                <a:gd name="T37" fmla="*/ 491 h 662"/>
                <a:gd name="T38" fmla="*/ 340 w 373"/>
                <a:gd name="T39" fmla="*/ 514 h 662"/>
                <a:gd name="T40" fmla="*/ 332 w 373"/>
                <a:gd name="T41" fmla="*/ 545 h 662"/>
                <a:gd name="T42" fmla="*/ 333 w 373"/>
                <a:gd name="T43" fmla="*/ 563 h 662"/>
                <a:gd name="T44" fmla="*/ 335 w 373"/>
                <a:gd name="T45" fmla="*/ 586 h 662"/>
                <a:gd name="T46" fmla="*/ 308 w 373"/>
                <a:gd name="T47" fmla="*/ 602 h 662"/>
                <a:gd name="T48" fmla="*/ 300 w 373"/>
                <a:gd name="T49" fmla="*/ 620 h 662"/>
                <a:gd name="T50" fmla="*/ 302 w 373"/>
                <a:gd name="T51" fmla="*/ 643 h 662"/>
                <a:gd name="T52" fmla="*/ 274 w 373"/>
                <a:gd name="T53" fmla="*/ 633 h 662"/>
                <a:gd name="T54" fmla="*/ 251 w 373"/>
                <a:gd name="T55" fmla="*/ 631 h 662"/>
                <a:gd name="T56" fmla="*/ 245 w 373"/>
                <a:gd name="T57" fmla="*/ 658 h 662"/>
                <a:gd name="T58" fmla="*/ 215 w 373"/>
                <a:gd name="T59" fmla="*/ 640 h 662"/>
                <a:gd name="T60" fmla="*/ 212 w 373"/>
                <a:gd name="T61" fmla="*/ 609 h 662"/>
                <a:gd name="T62" fmla="*/ 194 w 373"/>
                <a:gd name="T63" fmla="*/ 576 h 662"/>
                <a:gd name="T64" fmla="*/ 170 w 373"/>
                <a:gd name="T65" fmla="*/ 555 h 662"/>
                <a:gd name="T66" fmla="*/ 156 w 373"/>
                <a:gd name="T67" fmla="*/ 549 h 662"/>
                <a:gd name="T68" fmla="*/ 119 w 373"/>
                <a:gd name="T69" fmla="*/ 511 h 662"/>
                <a:gd name="T70" fmla="*/ 127 w 373"/>
                <a:gd name="T71" fmla="*/ 483 h 662"/>
                <a:gd name="T72" fmla="*/ 137 w 373"/>
                <a:gd name="T73" fmla="*/ 449 h 662"/>
                <a:gd name="T74" fmla="*/ 116 w 373"/>
                <a:gd name="T75" fmla="*/ 436 h 662"/>
                <a:gd name="T76" fmla="*/ 100 w 373"/>
                <a:gd name="T77" fmla="*/ 441 h 662"/>
                <a:gd name="T78" fmla="*/ 78 w 373"/>
                <a:gd name="T79" fmla="*/ 403 h 662"/>
                <a:gd name="T80" fmla="*/ 48 w 373"/>
                <a:gd name="T81" fmla="*/ 379 h 662"/>
                <a:gd name="T82" fmla="*/ 30 w 373"/>
                <a:gd name="T83" fmla="*/ 358 h 662"/>
                <a:gd name="T84" fmla="*/ 5 w 373"/>
                <a:gd name="T85" fmla="*/ 28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3" h="662">
                  <a:moveTo>
                    <a:pt x="8" y="273"/>
                  </a:moveTo>
                  <a:cubicBezTo>
                    <a:pt x="8" y="271"/>
                    <a:pt x="13" y="269"/>
                    <a:pt x="13" y="268"/>
                  </a:cubicBezTo>
                  <a:cubicBezTo>
                    <a:pt x="14" y="266"/>
                    <a:pt x="15" y="262"/>
                    <a:pt x="14" y="260"/>
                  </a:cubicBezTo>
                  <a:cubicBezTo>
                    <a:pt x="13" y="258"/>
                    <a:pt x="9" y="255"/>
                    <a:pt x="9" y="252"/>
                  </a:cubicBezTo>
                  <a:cubicBezTo>
                    <a:pt x="9" y="250"/>
                    <a:pt x="13" y="247"/>
                    <a:pt x="15" y="245"/>
                  </a:cubicBezTo>
                  <a:cubicBezTo>
                    <a:pt x="19" y="242"/>
                    <a:pt x="30" y="240"/>
                    <a:pt x="33" y="236"/>
                  </a:cubicBezTo>
                  <a:cubicBezTo>
                    <a:pt x="34" y="234"/>
                    <a:pt x="35" y="230"/>
                    <a:pt x="35" y="229"/>
                  </a:cubicBezTo>
                  <a:cubicBezTo>
                    <a:pt x="35" y="227"/>
                    <a:pt x="35" y="223"/>
                    <a:pt x="35" y="221"/>
                  </a:cubicBezTo>
                  <a:cubicBezTo>
                    <a:pt x="35" y="219"/>
                    <a:pt x="36" y="217"/>
                    <a:pt x="36" y="216"/>
                  </a:cubicBezTo>
                  <a:cubicBezTo>
                    <a:pt x="38" y="212"/>
                    <a:pt x="46" y="205"/>
                    <a:pt x="47" y="201"/>
                  </a:cubicBezTo>
                  <a:cubicBezTo>
                    <a:pt x="49" y="197"/>
                    <a:pt x="47" y="189"/>
                    <a:pt x="46" y="185"/>
                  </a:cubicBezTo>
                  <a:cubicBezTo>
                    <a:pt x="44" y="181"/>
                    <a:pt x="34" y="176"/>
                    <a:pt x="32" y="171"/>
                  </a:cubicBezTo>
                  <a:cubicBezTo>
                    <a:pt x="31" y="167"/>
                    <a:pt x="33" y="160"/>
                    <a:pt x="34" y="156"/>
                  </a:cubicBezTo>
                  <a:cubicBezTo>
                    <a:pt x="35" y="154"/>
                    <a:pt x="35" y="149"/>
                    <a:pt x="37" y="148"/>
                  </a:cubicBezTo>
                  <a:cubicBezTo>
                    <a:pt x="43" y="143"/>
                    <a:pt x="59" y="145"/>
                    <a:pt x="65" y="142"/>
                  </a:cubicBezTo>
                  <a:cubicBezTo>
                    <a:pt x="67" y="141"/>
                    <a:pt x="70" y="137"/>
                    <a:pt x="72" y="136"/>
                  </a:cubicBezTo>
                  <a:cubicBezTo>
                    <a:pt x="76" y="134"/>
                    <a:pt x="84" y="133"/>
                    <a:pt x="88" y="131"/>
                  </a:cubicBezTo>
                  <a:cubicBezTo>
                    <a:pt x="90" y="129"/>
                    <a:pt x="94" y="126"/>
                    <a:pt x="95" y="124"/>
                  </a:cubicBezTo>
                  <a:cubicBezTo>
                    <a:pt x="97" y="121"/>
                    <a:pt x="95" y="112"/>
                    <a:pt x="96" y="108"/>
                  </a:cubicBezTo>
                  <a:cubicBezTo>
                    <a:pt x="98" y="104"/>
                    <a:pt x="105" y="98"/>
                    <a:pt x="106" y="94"/>
                  </a:cubicBezTo>
                  <a:cubicBezTo>
                    <a:pt x="109" y="89"/>
                    <a:pt x="110" y="77"/>
                    <a:pt x="109" y="71"/>
                  </a:cubicBezTo>
                  <a:cubicBezTo>
                    <a:pt x="109" y="69"/>
                    <a:pt x="108" y="65"/>
                    <a:pt x="106" y="63"/>
                  </a:cubicBezTo>
                  <a:cubicBezTo>
                    <a:pt x="105" y="61"/>
                    <a:pt x="101" y="58"/>
                    <a:pt x="99" y="56"/>
                  </a:cubicBezTo>
                  <a:cubicBezTo>
                    <a:pt x="97" y="55"/>
                    <a:pt x="93" y="53"/>
                    <a:pt x="91" y="52"/>
                  </a:cubicBezTo>
                  <a:cubicBezTo>
                    <a:pt x="89" y="51"/>
                    <a:pt x="85" y="48"/>
                    <a:pt x="84" y="46"/>
                  </a:cubicBezTo>
                  <a:cubicBezTo>
                    <a:pt x="83" y="44"/>
                    <a:pt x="84" y="39"/>
                    <a:pt x="83" y="37"/>
                  </a:cubicBezTo>
                  <a:cubicBezTo>
                    <a:pt x="80" y="33"/>
                    <a:pt x="67" y="25"/>
                    <a:pt x="67" y="25"/>
                  </a:cubicBezTo>
                  <a:cubicBezTo>
                    <a:pt x="62" y="19"/>
                    <a:pt x="62" y="19"/>
                    <a:pt x="62" y="19"/>
                  </a:cubicBezTo>
                  <a:cubicBezTo>
                    <a:pt x="62" y="17"/>
                    <a:pt x="62" y="17"/>
                    <a:pt x="62" y="17"/>
                  </a:cubicBezTo>
                  <a:cubicBezTo>
                    <a:pt x="199" y="9"/>
                    <a:pt x="199" y="9"/>
                    <a:pt x="199" y="9"/>
                  </a:cubicBezTo>
                  <a:cubicBezTo>
                    <a:pt x="302" y="0"/>
                    <a:pt x="302" y="0"/>
                    <a:pt x="302" y="0"/>
                  </a:cubicBezTo>
                  <a:cubicBezTo>
                    <a:pt x="305" y="0"/>
                    <a:pt x="305" y="0"/>
                    <a:pt x="305" y="0"/>
                  </a:cubicBezTo>
                  <a:cubicBezTo>
                    <a:pt x="306" y="7"/>
                    <a:pt x="306" y="7"/>
                    <a:pt x="306" y="7"/>
                  </a:cubicBezTo>
                  <a:cubicBezTo>
                    <a:pt x="305" y="22"/>
                    <a:pt x="305" y="22"/>
                    <a:pt x="305" y="22"/>
                  </a:cubicBezTo>
                  <a:cubicBezTo>
                    <a:pt x="305" y="22"/>
                    <a:pt x="306" y="28"/>
                    <a:pt x="307" y="30"/>
                  </a:cubicBezTo>
                  <a:cubicBezTo>
                    <a:pt x="308" y="33"/>
                    <a:pt x="312" y="41"/>
                    <a:pt x="315" y="44"/>
                  </a:cubicBezTo>
                  <a:cubicBezTo>
                    <a:pt x="316" y="46"/>
                    <a:pt x="321" y="48"/>
                    <a:pt x="322" y="51"/>
                  </a:cubicBezTo>
                  <a:cubicBezTo>
                    <a:pt x="323" y="53"/>
                    <a:pt x="323" y="59"/>
                    <a:pt x="324" y="62"/>
                  </a:cubicBezTo>
                  <a:cubicBezTo>
                    <a:pt x="325" y="64"/>
                    <a:pt x="328" y="68"/>
                    <a:pt x="329" y="70"/>
                  </a:cubicBezTo>
                  <a:cubicBezTo>
                    <a:pt x="329" y="72"/>
                    <a:pt x="330" y="75"/>
                    <a:pt x="331" y="77"/>
                  </a:cubicBezTo>
                  <a:cubicBezTo>
                    <a:pt x="332" y="80"/>
                    <a:pt x="339" y="89"/>
                    <a:pt x="339" y="89"/>
                  </a:cubicBezTo>
                  <a:cubicBezTo>
                    <a:pt x="339" y="92"/>
                    <a:pt x="339" y="92"/>
                    <a:pt x="339" y="92"/>
                  </a:cubicBezTo>
                  <a:cubicBezTo>
                    <a:pt x="365" y="366"/>
                    <a:pt x="365" y="366"/>
                    <a:pt x="365" y="366"/>
                  </a:cubicBezTo>
                  <a:cubicBezTo>
                    <a:pt x="365" y="366"/>
                    <a:pt x="358" y="371"/>
                    <a:pt x="357" y="374"/>
                  </a:cubicBezTo>
                  <a:cubicBezTo>
                    <a:pt x="357" y="376"/>
                    <a:pt x="361" y="379"/>
                    <a:pt x="361" y="381"/>
                  </a:cubicBezTo>
                  <a:cubicBezTo>
                    <a:pt x="361" y="383"/>
                    <a:pt x="357" y="387"/>
                    <a:pt x="357" y="389"/>
                  </a:cubicBezTo>
                  <a:cubicBezTo>
                    <a:pt x="356" y="391"/>
                    <a:pt x="357" y="397"/>
                    <a:pt x="357" y="397"/>
                  </a:cubicBezTo>
                  <a:cubicBezTo>
                    <a:pt x="363" y="406"/>
                    <a:pt x="363" y="406"/>
                    <a:pt x="363" y="406"/>
                  </a:cubicBezTo>
                  <a:cubicBezTo>
                    <a:pt x="363" y="406"/>
                    <a:pt x="369" y="411"/>
                    <a:pt x="370" y="413"/>
                  </a:cubicBezTo>
                  <a:cubicBezTo>
                    <a:pt x="370" y="415"/>
                    <a:pt x="368" y="419"/>
                    <a:pt x="368" y="421"/>
                  </a:cubicBezTo>
                  <a:cubicBezTo>
                    <a:pt x="368" y="425"/>
                    <a:pt x="373" y="432"/>
                    <a:pt x="373" y="436"/>
                  </a:cubicBezTo>
                  <a:cubicBezTo>
                    <a:pt x="373" y="438"/>
                    <a:pt x="373" y="443"/>
                    <a:pt x="372" y="444"/>
                  </a:cubicBezTo>
                  <a:cubicBezTo>
                    <a:pt x="371" y="445"/>
                    <a:pt x="370" y="445"/>
                    <a:pt x="370" y="446"/>
                  </a:cubicBezTo>
                  <a:cubicBezTo>
                    <a:pt x="367" y="449"/>
                    <a:pt x="363" y="456"/>
                    <a:pt x="362" y="460"/>
                  </a:cubicBezTo>
                  <a:cubicBezTo>
                    <a:pt x="361" y="462"/>
                    <a:pt x="362" y="466"/>
                    <a:pt x="361" y="468"/>
                  </a:cubicBezTo>
                  <a:cubicBezTo>
                    <a:pt x="360" y="472"/>
                    <a:pt x="354" y="480"/>
                    <a:pt x="352" y="484"/>
                  </a:cubicBezTo>
                  <a:cubicBezTo>
                    <a:pt x="350" y="486"/>
                    <a:pt x="346" y="491"/>
                    <a:pt x="346" y="491"/>
                  </a:cubicBezTo>
                  <a:cubicBezTo>
                    <a:pt x="346" y="491"/>
                    <a:pt x="340" y="496"/>
                    <a:pt x="339" y="498"/>
                  </a:cubicBezTo>
                  <a:cubicBezTo>
                    <a:pt x="338" y="499"/>
                    <a:pt x="338" y="504"/>
                    <a:pt x="338" y="506"/>
                  </a:cubicBezTo>
                  <a:cubicBezTo>
                    <a:pt x="339" y="508"/>
                    <a:pt x="341" y="509"/>
                    <a:pt x="340" y="514"/>
                  </a:cubicBezTo>
                  <a:cubicBezTo>
                    <a:pt x="340" y="517"/>
                    <a:pt x="338" y="520"/>
                    <a:pt x="337" y="523"/>
                  </a:cubicBezTo>
                  <a:cubicBezTo>
                    <a:pt x="337" y="523"/>
                    <a:pt x="335" y="534"/>
                    <a:pt x="334" y="537"/>
                  </a:cubicBezTo>
                  <a:cubicBezTo>
                    <a:pt x="334" y="539"/>
                    <a:pt x="332" y="543"/>
                    <a:pt x="332" y="545"/>
                  </a:cubicBezTo>
                  <a:cubicBezTo>
                    <a:pt x="332" y="547"/>
                    <a:pt x="335" y="550"/>
                    <a:pt x="336" y="552"/>
                  </a:cubicBezTo>
                  <a:cubicBezTo>
                    <a:pt x="336" y="553"/>
                    <a:pt x="336" y="555"/>
                    <a:pt x="336" y="555"/>
                  </a:cubicBezTo>
                  <a:cubicBezTo>
                    <a:pt x="333" y="563"/>
                    <a:pt x="333" y="563"/>
                    <a:pt x="333" y="563"/>
                  </a:cubicBezTo>
                  <a:cubicBezTo>
                    <a:pt x="333" y="563"/>
                    <a:pt x="328" y="568"/>
                    <a:pt x="328" y="570"/>
                  </a:cubicBezTo>
                  <a:cubicBezTo>
                    <a:pt x="327" y="572"/>
                    <a:pt x="328" y="576"/>
                    <a:pt x="329" y="578"/>
                  </a:cubicBezTo>
                  <a:cubicBezTo>
                    <a:pt x="330" y="580"/>
                    <a:pt x="335" y="583"/>
                    <a:pt x="335" y="586"/>
                  </a:cubicBezTo>
                  <a:cubicBezTo>
                    <a:pt x="335" y="588"/>
                    <a:pt x="332" y="592"/>
                    <a:pt x="330" y="593"/>
                  </a:cubicBezTo>
                  <a:cubicBezTo>
                    <a:pt x="327" y="595"/>
                    <a:pt x="319" y="595"/>
                    <a:pt x="316" y="596"/>
                  </a:cubicBezTo>
                  <a:cubicBezTo>
                    <a:pt x="313" y="597"/>
                    <a:pt x="310" y="600"/>
                    <a:pt x="308" y="602"/>
                  </a:cubicBezTo>
                  <a:cubicBezTo>
                    <a:pt x="306" y="602"/>
                    <a:pt x="302" y="603"/>
                    <a:pt x="300" y="604"/>
                  </a:cubicBezTo>
                  <a:cubicBezTo>
                    <a:pt x="299" y="606"/>
                    <a:pt x="298" y="610"/>
                    <a:pt x="298" y="612"/>
                  </a:cubicBezTo>
                  <a:cubicBezTo>
                    <a:pt x="298" y="614"/>
                    <a:pt x="299" y="618"/>
                    <a:pt x="300" y="620"/>
                  </a:cubicBezTo>
                  <a:cubicBezTo>
                    <a:pt x="301" y="622"/>
                    <a:pt x="304" y="625"/>
                    <a:pt x="305" y="627"/>
                  </a:cubicBezTo>
                  <a:cubicBezTo>
                    <a:pt x="306" y="628"/>
                    <a:pt x="308" y="632"/>
                    <a:pt x="308" y="634"/>
                  </a:cubicBezTo>
                  <a:cubicBezTo>
                    <a:pt x="307" y="637"/>
                    <a:pt x="304" y="642"/>
                    <a:pt x="302" y="643"/>
                  </a:cubicBezTo>
                  <a:cubicBezTo>
                    <a:pt x="300" y="644"/>
                    <a:pt x="296" y="643"/>
                    <a:pt x="295" y="642"/>
                  </a:cubicBezTo>
                  <a:cubicBezTo>
                    <a:pt x="293" y="641"/>
                    <a:pt x="290" y="638"/>
                    <a:pt x="288" y="638"/>
                  </a:cubicBezTo>
                  <a:cubicBezTo>
                    <a:pt x="285" y="636"/>
                    <a:pt x="277" y="635"/>
                    <a:pt x="274" y="633"/>
                  </a:cubicBezTo>
                  <a:cubicBezTo>
                    <a:pt x="272" y="632"/>
                    <a:pt x="268" y="630"/>
                    <a:pt x="266" y="630"/>
                  </a:cubicBezTo>
                  <a:cubicBezTo>
                    <a:pt x="265" y="629"/>
                    <a:pt x="261" y="628"/>
                    <a:pt x="259" y="628"/>
                  </a:cubicBezTo>
                  <a:cubicBezTo>
                    <a:pt x="257" y="628"/>
                    <a:pt x="253" y="630"/>
                    <a:pt x="251" y="631"/>
                  </a:cubicBezTo>
                  <a:cubicBezTo>
                    <a:pt x="248" y="634"/>
                    <a:pt x="242" y="641"/>
                    <a:pt x="241" y="645"/>
                  </a:cubicBezTo>
                  <a:cubicBezTo>
                    <a:pt x="240" y="647"/>
                    <a:pt x="240" y="652"/>
                    <a:pt x="241" y="653"/>
                  </a:cubicBezTo>
                  <a:cubicBezTo>
                    <a:pt x="241" y="655"/>
                    <a:pt x="246" y="657"/>
                    <a:pt x="245" y="658"/>
                  </a:cubicBezTo>
                  <a:cubicBezTo>
                    <a:pt x="243" y="660"/>
                    <a:pt x="235" y="658"/>
                    <a:pt x="232" y="658"/>
                  </a:cubicBezTo>
                  <a:cubicBezTo>
                    <a:pt x="230" y="658"/>
                    <a:pt x="227" y="662"/>
                    <a:pt x="225" y="662"/>
                  </a:cubicBezTo>
                  <a:cubicBezTo>
                    <a:pt x="220" y="661"/>
                    <a:pt x="218" y="644"/>
                    <a:pt x="215" y="640"/>
                  </a:cubicBezTo>
                  <a:cubicBezTo>
                    <a:pt x="213" y="637"/>
                    <a:pt x="206" y="630"/>
                    <a:pt x="206" y="625"/>
                  </a:cubicBezTo>
                  <a:cubicBezTo>
                    <a:pt x="206" y="623"/>
                    <a:pt x="210" y="620"/>
                    <a:pt x="211" y="617"/>
                  </a:cubicBezTo>
                  <a:cubicBezTo>
                    <a:pt x="212" y="615"/>
                    <a:pt x="213" y="611"/>
                    <a:pt x="212" y="609"/>
                  </a:cubicBezTo>
                  <a:cubicBezTo>
                    <a:pt x="212" y="605"/>
                    <a:pt x="205" y="599"/>
                    <a:pt x="204" y="595"/>
                  </a:cubicBezTo>
                  <a:cubicBezTo>
                    <a:pt x="203" y="591"/>
                    <a:pt x="205" y="582"/>
                    <a:pt x="202" y="578"/>
                  </a:cubicBezTo>
                  <a:cubicBezTo>
                    <a:pt x="201" y="577"/>
                    <a:pt x="196" y="577"/>
                    <a:pt x="194" y="576"/>
                  </a:cubicBezTo>
                  <a:cubicBezTo>
                    <a:pt x="192" y="575"/>
                    <a:pt x="189" y="572"/>
                    <a:pt x="187" y="570"/>
                  </a:cubicBezTo>
                  <a:cubicBezTo>
                    <a:pt x="186" y="569"/>
                    <a:pt x="184" y="564"/>
                    <a:pt x="183" y="563"/>
                  </a:cubicBezTo>
                  <a:cubicBezTo>
                    <a:pt x="180" y="560"/>
                    <a:pt x="174" y="555"/>
                    <a:pt x="170" y="555"/>
                  </a:cubicBezTo>
                  <a:cubicBezTo>
                    <a:pt x="168" y="554"/>
                    <a:pt x="164" y="559"/>
                    <a:pt x="162" y="558"/>
                  </a:cubicBezTo>
                  <a:cubicBezTo>
                    <a:pt x="160" y="557"/>
                    <a:pt x="162" y="550"/>
                    <a:pt x="160" y="549"/>
                  </a:cubicBezTo>
                  <a:cubicBezTo>
                    <a:pt x="160" y="548"/>
                    <a:pt x="157" y="549"/>
                    <a:pt x="156" y="549"/>
                  </a:cubicBezTo>
                  <a:cubicBezTo>
                    <a:pt x="150" y="547"/>
                    <a:pt x="139" y="538"/>
                    <a:pt x="134" y="534"/>
                  </a:cubicBezTo>
                  <a:cubicBezTo>
                    <a:pt x="130" y="530"/>
                    <a:pt x="122" y="523"/>
                    <a:pt x="120" y="519"/>
                  </a:cubicBezTo>
                  <a:cubicBezTo>
                    <a:pt x="119" y="517"/>
                    <a:pt x="119" y="513"/>
                    <a:pt x="119" y="511"/>
                  </a:cubicBezTo>
                  <a:cubicBezTo>
                    <a:pt x="119" y="509"/>
                    <a:pt x="119" y="505"/>
                    <a:pt x="119" y="503"/>
                  </a:cubicBezTo>
                  <a:cubicBezTo>
                    <a:pt x="120" y="501"/>
                    <a:pt x="124" y="496"/>
                    <a:pt x="124" y="496"/>
                  </a:cubicBezTo>
                  <a:cubicBezTo>
                    <a:pt x="124" y="496"/>
                    <a:pt x="126" y="486"/>
                    <a:pt x="127" y="483"/>
                  </a:cubicBezTo>
                  <a:cubicBezTo>
                    <a:pt x="128" y="480"/>
                    <a:pt x="132" y="475"/>
                    <a:pt x="133" y="472"/>
                  </a:cubicBezTo>
                  <a:cubicBezTo>
                    <a:pt x="134" y="468"/>
                    <a:pt x="132" y="462"/>
                    <a:pt x="132" y="459"/>
                  </a:cubicBezTo>
                  <a:cubicBezTo>
                    <a:pt x="133" y="456"/>
                    <a:pt x="137" y="452"/>
                    <a:pt x="137" y="449"/>
                  </a:cubicBezTo>
                  <a:cubicBezTo>
                    <a:pt x="138" y="449"/>
                    <a:pt x="138" y="447"/>
                    <a:pt x="137" y="446"/>
                  </a:cubicBezTo>
                  <a:cubicBezTo>
                    <a:pt x="135" y="443"/>
                    <a:pt x="127" y="438"/>
                    <a:pt x="123" y="437"/>
                  </a:cubicBezTo>
                  <a:cubicBezTo>
                    <a:pt x="121" y="436"/>
                    <a:pt x="118" y="437"/>
                    <a:pt x="116" y="436"/>
                  </a:cubicBezTo>
                  <a:cubicBezTo>
                    <a:pt x="114" y="436"/>
                    <a:pt x="110" y="434"/>
                    <a:pt x="108" y="433"/>
                  </a:cubicBezTo>
                  <a:cubicBezTo>
                    <a:pt x="107" y="433"/>
                    <a:pt x="105" y="434"/>
                    <a:pt x="104" y="434"/>
                  </a:cubicBezTo>
                  <a:cubicBezTo>
                    <a:pt x="102" y="435"/>
                    <a:pt x="102" y="440"/>
                    <a:pt x="100" y="441"/>
                  </a:cubicBezTo>
                  <a:cubicBezTo>
                    <a:pt x="98" y="443"/>
                    <a:pt x="94" y="444"/>
                    <a:pt x="92" y="444"/>
                  </a:cubicBezTo>
                  <a:cubicBezTo>
                    <a:pt x="90" y="443"/>
                    <a:pt x="87" y="438"/>
                    <a:pt x="86" y="436"/>
                  </a:cubicBezTo>
                  <a:cubicBezTo>
                    <a:pt x="83" y="429"/>
                    <a:pt x="81" y="411"/>
                    <a:pt x="78" y="403"/>
                  </a:cubicBezTo>
                  <a:cubicBezTo>
                    <a:pt x="77" y="401"/>
                    <a:pt x="75" y="398"/>
                    <a:pt x="74" y="396"/>
                  </a:cubicBezTo>
                  <a:cubicBezTo>
                    <a:pt x="72" y="394"/>
                    <a:pt x="69" y="392"/>
                    <a:pt x="67" y="390"/>
                  </a:cubicBezTo>
                  <a:cubicBezTo>
                    <a:pt x="62" y="387"/>
                    <a:pt x="51" y="383"/>
                    <a:pt x="48" y="379"/>
                  </a:cubicBezTo>
                  <a:cubicBezTo>
                    <a:pt x="47" y="377"/>
                    <a:pt x="46" y="373"/>
                    <a:pt x="45" y="371"/>
                  </a:cubicBezTo>
                  <a:cubicBezTo>
                    <a:pt x="44" y="370"/>
                    <a:pt x="39" y="368"/>
                    <a:pt x="37" y="366"/>
                  </a:cubicBezTo>
                  <a:cubicBezTo>
                    <a:pt x="35" y="365"/>
                    <a:pt x="32" y="360"/>
                    <a:pt x="30" y="358"/>
                  </a:cubicBezTo>
                  <a:cubicBezTo>
                    <a:pt x="28" y="356"/>
                    <a:pt x="22" y="354"/>
                    <a:pt x="20" y="351"/>
                  </a:cubicBezTo>
                  <a:cubicBezTo>
                    <a:pt x="8" y="335"/>
                    <a:pt x="0" y="309"/>
                    <a:pt x="3" y="288"/>
                  </a:cubicBezTo>
                  <a:cubicBezTo>
                    <a:pt x="5" y="280"/>
                    <a:pt x="5" y="280"/>
                    <a:pt x="5" y="280"/>
                  </a:cubicBezTo>
                  <a:cubicBezTo>
                    <a:pt x="5" y="280"/>
                    <a:pt x="8" y="275"/>
                    <a:pt x="8" y="273"/>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23">
              <a:extLst>
                <a:ext uri="{FF2B5EF4-FFF2-40B4-BE49-F238E27FC236}">
                  <a16:creationId xmlns:a16="http://schemas.microsoft.com/office/drawing/2014/main" id="{DC104A15-F947-48DD-9E1C-C2210A43D90B}"/>
                </a:ext>
              </a:extLst>
            </p:cNvPr>
            <p:cNvSpPr>
              <a:spLocks/>
            </p:cNvSpPr>
            <p:nvPr/>
          </p:nvSpPr>
          <p:spPr bwMode="auto">
            <a:xfrm>
              <a:off x="6014939" y="2881282"/>
              <a:ext cx="630693" cy="416419"/>
            </a:xfrm>
            <a:custGeom>
              <a:avLst/>
              <a:gdLst>
                <a:gd name="T0" fmla="*/ 556 w 567"/>
                <a:gd name="T1" fmla="*/ 153 h 374"/>
                <a:gd name="T2" fmla="*/ 541 w 567"/>
                <a:gd name="T3" fmla="*/ 141 h 374"/>
                <a:gd name="T4" fmla="*/ 519 w 567"/>
                <a:gd name="T5" fmla="*/ 118 h 374"/>
                <a:gd name="T6" fmla="*/ 490 w 567"/>
                <a:gd name="T7" fmla="*/ 94 h 374"/>
                <a:gd name="T8" fmla="*/ 480 w 567"/>
                <a:gd name="T9" fmla="*/ 81 h 374"/>
                <a:gd name="T10" fmla="*/ 474 w 567"/>
                <a:gd name="T11" fmla="*/ 69 h 374"/>
                <a:gd name="T12" fmla="*/ 471 w 567"/>
                <a:gd name="T13" fmla="*/ 52 h 374"/>
                <a:gd name="T14" fmla="*/ 477 w 567"/>
                <a:gd name="T15" fmla="*/ 30 h 374"/>
                <a:gd name="T16" fmla="*/ 467 w 567"/>
                <a:gd name="T17" fmla="*/ 19 h 374"/>
                <a:gd name="T18" fmla="*/ 463 w 567"/>
                <a:gd name="T19" fmla="*/ 10 h 374"/>
                <a:gd name="T20" fmla="*/ 463 w 567"/>
                <a:gd name="T21" fmla="*/ 3 h 374"/>
                <a:gd name="T22" fmla="*/ 372 w 567"/>
                <a:gd name="T23" fmla="*/ 6 h 374"/>
                <a:gd name="T24" fmla="*/ 18 w 567"/>
                <a:gd name="T25" fmla="*/ 16 h 374"/>
                <a:gd name="T26" fmla="*/ 3 w 567"/>
                <a:gd name="T27" fmla="*/ 19 h 374"/>
                <a:gd name="T28" fmla="*/ 9 w 567"/>
                <a:gd name="T29" fmla="*/ 35 h 374"/>
                <a:gd name="T30" fmla="*/ 5 w 567"/>
                <a:gd name="T31" fmla="*/ 42 h 374"/>
                <a:gd name="T32" fmla="*/ 15 w 567"/>
                <a:gd name="T33" fmla="*/ 60 h 374"/>
                <a:gd name="T34" fmla="*/ 11 w 567"/>
                <a:gd name="T35" fmla="*/ 72 h 374"/>
                <a:gd name="T36" fmla="*/ 7 w 567"/>
                <a:gd name="T37" fmla="*/ 94 h 374"/>
                <a:gd name="T38" fmla="*/ 3 w 567"/>
                <a:gd name="T39" fmla="*/ 113 h 374"/>
                <a:gd name="T40" fmla="*/ 13 w 567"/>
                <a:gd name="T41" fmla="*/ 131 h 374"/>
                <a:gd name="T42" fmla="*/ 21 w 567"/>
                <a:gd name="T43" fmla="*/ 137 h 374"/>
                <a:gd name="T44" fmla="*/ 25 w 567"/>
                <a:gd name="T45" fmla="*/ 159 h 374"/>
                <a:gd name="T46" fmla="*/ 29 w 567"/>
                <a:gd name="T47" fmla="*/ 178 h 374"/>
                <a:gd name="T48" fmla="*/ 32 w 567"/>
                <a:gd name="T49" fmla="*/ 188 h 374"/>
                <a:gd name="T50" fmla="*/ 42 w 567"/>
                <a:gd name="T51" fmla="*/ 203 h 374"/>
                <a:gd name="T52" fmla="*/ 47 w 567"/>
                <a:gd name="T53" fmla="*/ 216 h 374"/>
                <a:gd name="T54" fmla="*/ 48 w 567"/>
                <a:gd name="T55" fmla="*/ 238 h 374"/>
                <a:gd name="T56" fmla="*/ 53 w 567"/>
                <a:gd name="T57" fmla="*/ 250 h 374"/>
                <a:gd name="T58" fmla="*/ 56 w 567"/>
                <a:gd name="T59" fmla="*/ 250 h 374"/>
                <a:gd name="T60" fmla="*/ 63 w 567"/>
                <a:gd name="T61" fmla="*/ 259 h 374"/>
                <a:gd name="T62" fmla="*/ 64 w 567"/>
                <a:gd name="T63" fmla="*/ 272 h 374"/>
                <a:gd name="T64" fmla="*/ 63 w 567"/>
                <a:gd name="T65" fmla="*/ 284 h 374"/>
                <a:gd name="T66" fmla="*/ 68 w 567"/>
                <a:gd name="T67" fmla="*/ 298 h 374"/>
                <a:gd name="T68" fmla="*/ 69 w 567"/>
                <a:gd name="T69" fmla="*/ 347 h 374"/>
                <a:gd name="T70" fmla="*/ 79 w 567"/>
                <a:gd name="T71" fmla="*/ 359 h 374"/>
                <a:gd name="T72" fmla="*/ 241 w 567"/>
                <a:gd name="T73" fmla="*/ 360 h 374"/>
                <a:gd name="T74" fmla="*/ 437 w 567"/>
                <a:gd name="T75" fmla="*/ 353 h 374"/>
                <a:gd name="T76" fmla="*/ 458 w 567"/>
                <a:gd name="T77" fmla="*/ 372 h 374"/>
                <a:gd name="T78" fmla="*/ 471 w 567"/>
                <a:gd name="T79" fmla="*/ 368 h 374"/>
                <a:gd name="T80" fmla="*/ 467 w 567"/>
                <a:gd name="T81" fmla="*/ 352 h 374"/>
                <a:gd name="T82" fmla="*/ 490 w 567"/>
                <a:gd name="T83" fmla="*/ 336 h 374"/>
                <a:gd name="T84" fmla="*/ 494 w 567"/>
                <a:gd name="T85" fmla="*/ 316 h 374"/>
                <a:gd name="T86" fmla="*/ 497 w 567"/>
                <a:gd name="T87" fmla="*/ 276 h 374"/>
                <a:gd name="T88" fmla="*/ 494 w 567"/>
                <a:gd name="T89" fmla="*/ 249 h 374"/>
                <a:gd name="T90" fmla="*/ 526 w 567"/>
                <a:gd name="T91" fmla="*/ 240 h 374"/>
                <a:gd name="T92" fmla="*/ 544 w 567"/>
                <a:gd name="T93" fmla="*/ 232 h 374"/>
                <a:gd name="T94" fmla="*/ 554 w 567"/>
                <a:gd name="T95" fmla="*/ 208 h 374"/>
                <a:gd name="T96" fmla="*/ 567 w 567"/>
                <a:gd name="T97" fmla="*/ 17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7" h="374">
                  <a:moveTo>
                    <a:pt x="567" y="170"/>
                  </a:moveTo>
                  <a:cubicBezTo>
                    <a:pt x="566" y="168"/>
                    <a:pt x="565" y="163"/>
                    <a:pt x="563" y="161"/>
                  </a:cubicBezTo>
                  <a:cubicBezTo>
                    <a:pt x="562" y="159"/>
                    <a:pt x="558" y="155"/>
                    <a:pt x="556" y="153"/>
                  </a:cubicBezTo>
                  <a:cubicBezTo>
                    <a:pt x="554" y="152"/>
                    <a:pt x="548" y="149"/>
                    <a:pt x="548" y="149"/>
                  </a:cubicBezTo>
                  <a:cubicBezTo>
                    <a:pt x="545" y="147"/>
                    <a:pt x="542" y="145"/>
                    <a:pt x="541" y="144"/>
                  </a:cubicBezTo>
                  <a:cubicBezTo>
                    <a:pt x="541" y="144"/>
                    <a:pt x="541" y="142"/>
                    <a:pt x="541" y="141"/>
                  </a:cubicBezTo>
                  <a:cubicBezTo>
                    <a:pt x="541" y="138"/>
                    <a:pt x="541" y="136"/>
                    <a:pt x="540" y="135"/>
                  </a:cubicBezTo>
                  <a:cubicBezTo>
                    <a:pt x="537" y="130"/>
                    <a:pt x="526" y="123"/>
                    <a:pt x="524" y="121"/>
                  </a:cubicBezTo>
                  <a:cubicBezTo>
                    <a:pt x="522" y="120"/>
                    <a:pt x="520" y="119"/>
                    <a:pt x="519" y="118"/>
                  </a:cubicBezTo>
                  <a:cubicBezTo>
                    <a:pt x="520" y="118"/>
                    <a:pt x="520" y="117"/>
                    <a:pt x="520" y="117"/>
                  </a:cubicBezTo>
                  <a:cubicBezTo>
                    <a:pt x="521" y="112"/>
                    <a:pt x="517" y="102"/>
                    <a:pt x="513" y="99"/>
                  </a:cubicBezTo>
                  <a:cubicBezTo>
                    <a:pt x="508" y="96"/>
                    <a:pt x="493" y="95"/>
                    <a:pt x="490" y="94"/>
                  </a:cubicBezTo>
                  <a:cubicBezTo>
                    <a:pt x="487" y="93"/>
                    <a:pt x="484" y="92"/>
                    <a:pt x="483" y="91"/>
                  </a:cubicBezTo>
                  <a:cubicBezTo>
                    <a:pt x="482" y="91"/>
                    <a:pt x="481" y="88"/>
                    <a:pt x="480" y="85"/>
                  </a:cubicBezTo>
                  <a:cubicBezTo>
                    <a:pt x="480" y="84"/>
                    <a:pt x="480" y="83"/>
                    <a:pt x="480" y="81"/>
                  </a:cubicBezTo>
                  <a:cubicBezTo>
                    <a:pt x="479" y="79"/>
                    <a:pt x="479" y="77"/>
                    <a:pt x="479" y="76"/>
                  </a:cubicBezTo>
                  <a:cubicBezTo>
                    <a:pt x="478" y="74"/>
                    <a:pt x="477" y="73"/>
                    <a:pt x="476" y="72"/>
                  </a:cubicBezTo>
                  <a:cubicBezTo>
                    <a:pt x="475" y="71"/>
                    <a:pt x="474" y="69"/>
                    <a:pt x="474" y="69"/>
                  </a:cubicBezTo>
                  <a:cubicBezTo>
                    <a:pt x="473" y="67"/>
                    <a:pt x="473" y="64"/>
                    <a:pt x="473" y="61"/>
                  </a:cubicBezTo>
                  <a:cubicBezTo>
                    <a:pt x="473" y="59"/>
                    <a:pt x="472" y="57"/>
                    <a:pt x="472" y="56"/>
                  </a:cubicBezTo>
                  <a:cubicBezTo>
                    <a:pt x="472" y="55"/>
                    <a:pt x="471" y="53"/>
                    <a:pt x="471" y="52"/>
                  </a:cubicBezTo>
                  <a:cubicBezTo>
                    <a:pt x="470" y="50"/>
                    <a:pt x="469" y="47"/>
                    <a:pt x="469" y="45"/>
                  </a:cubicBezTo>
                  <a:cubicBezTo>
                    <a:pt x="470" y="44"/>
                    <a:pt x="471" y="42"/>
                    <a:pt x="472" y="39"/>
                  </a:cubicBezTo>
                  <a:cubicBezTo>
                    <a:pt x="475" y="36"/>
                    <a:pt x="477" y="33"/>
                    <a:pt x="477" y="30"/>
                  </a:cubicBezTo>
                  <a:cubicBezTo>
                    <a:pt x="477" y="27"/>
                    <a:pt x="474" y="22"/>
                    <a:pt x="472" y="21"/>
                  </a:cubicBezTo>
                  <a:cubicBezTo>
                    <a:pt x="471" y="20"/>
                    <a:pt x="470" y="19"/>
                    <a:pt x="468" y="19"/>
                  </a:cubicBezTo>
                  <a:cubicBezTo>
                    <a:pt x="468" y="19"/>
                    <a:pt x="467" y="19"/>
                    <a:pt x="467" y="19"/>
                  </a:cubicBezTo>
                  <a:cubicBezTo>
                    <a:pt x="466" y="18"/>
                    <a:pt x="466" y="16"/>
                    <a:pt x="465" y="15"/>
                  </a:cubicBezTo>
                  <a:cubicBezTo>
                    <a:pt x="465" y="14"/>
                    <a:pt x="465" y="12"/>
                    <a:pt x="464" y="11"/>
                  </a:cubicBezTo>
                  <a:cubicBezTo>
                    <a:pt x="464" y="11"/>
                    <a:pt x="463" y="10"/>
                    <a:pt x="463" y="10"/>
                  </a:cubicBezTo>
                  <a:cubicBezTo>
                    <a:pt x="463" y="9"/>
                    <a:pt x="462" y="9"/>
                    <a:pt x="462" y="9"/>
                  </a:cubicBezTo>
                  <a:cubicBezTo>
                    <a:pt x="462" y="9"/>
                    <a:pt x="462" y="8"/>
                    <a:pt x="463" y="8"/>
                  </a:cubicBezTo>
                  <a:cubicBezTo>
                    <a:pt x="463" y="6"/>
                    <a:pt x="464" y="4"/>
                    <a:pt x="463" y="3"/>
                  </a:cubicBezTo>
                  <a:cubicBezTo>
                    <a:pt x="463" y="2"/>
                    <a:pt x="462" y="1"/>
                    <a:pt x="461" y="1"/>
                  </a:cubicBezTo>
                  <a:cubicBezTo>
                    <a:pt x="458" y="1"/>
                    <a:pt x="453" y="0"/>
                    <a:pt x="447" y="0"/>
                  </a:cubicBezTo>
                  <a:cubicBezTo>
                    <a:pt x="420" y="0"/>
                    <a:pt x="373" y="6"/>
                    <a:pt x="372" y="6"/>
                  </a:cubicBezTo>
                  <a:cubicBezTo>
                    <a:pt x="251" y="11"/>
                    <a:pt x="251" y="11"/>
                    <a:pt x="251" y="11"/>
                  </a:cubicBezTo>
                  <a:cubicBezTo>
                    <a:pt x="106" y="15"/>
                    <a:pt x="106" y="15"/>
                    <a:pt x="106" y="15"/>
                  </a:cubicBezTo>
                  <a:cubicBezTo>
                    <a:pt x="18" y="16"/>
                    <a:pt x="18" y="16"/>
                    <a:pt x="18" y="16"/>
                  </a:cubicBezTo>
                  <a:cubicBezTo>
                    <a:pt x="5" y="16"/>
                    <a:pt x="5" y="16"/>
                    <a:pt x="5" y="16"/>
                  </a:cubicBezTo>
                  <a:cubicBezTo>
                    <a:pt x="5" y="16"/>
                    <a:pt x="4" y="16"/>
                    <a:pt x="3" y="17"/>
                  </a:cubicBezTo>
                  <a:cubicBezTo>
                    <a:pt x="3" y="17"/>
                    <a:pt x="3" y="18"/>
                    <a:pt x="3" y="19"/>
                  </a:cubicBezTo>
                  <a:cubicBezTo>
                    <a:pt x="5" y="28"/>
                    <a:pt x="5" y="28"/>
                    <a:pt x="5" y="28"/>
                  </a:cubicBezTo>
                  <a:cubicBezTo>
                    <a:pt x="5" y="28"/>
                    <a:pt x="5" y="28"/>
                    <a:pt x="5" y="28"/>
                  </a:cubicBezTo>
                  <a:cubicBezTo>
                    <a:pt x="7" y="31"/>
                    <a:pt x="9" y="34"/>
                    <a:pt x="9" y="35"/>
                  </a:cubicBezTo>
                  <a:cubicBezTo>
                    <a:pt x="10" y="36"/>
                    <a:pt x="10" y="40"/>
                    <a:pt x="10" y="40"/>
                  </a:cubicBezTo>
                  <a:cubicBezTo>
                    <a:pt x="9" y="40"/>
                    <a:pt x="9" y="40"/>
                    <a:pt x="9" y="40"/>
                  </a:cubicBezTo>
                  <a:cubicBezTo>
                    <a:pt x="8" y="40"/>
                    <a:pt x="6" y="41"/>
                    <a:pt x="5" y="42"/>
                  </a:cubicBezTo>
                  <a:cubicBezTo>
                    <a:pt x="3" y="46"/>
                    <a:pt x="7" y="52"/>
                    <a:pt x="8" y="53"/>
                  </a:cubicBezTo>
                  <a:cubicBezTo>
                    <a:pt x="8" y="54"/>
                    <a:pt x="10" y="55"/>
                    <a:pt x="12" y="57"/>
                  </a:cubicBezTo>
                  <a:cubicBezTo>
                    <a:pt x="13" y="58"/>
                    <a:pt x="15" y="59"/>
                    <a:pt x="15" y="60"/>
                  </a:cubicBezTo>
                  <a:cubicBezTo>
                    <a:pt x="16" y="60"/>
                    <a:pt x="16" y="63"/>
                    <a:pt x="15" y="65"/>
                  </a:cubicBezTo>
                  <a:cubicBezTo>
                    <a:pt x="15" y="66"/>
                    <a:pt x="14" y="67"/>
                    <a:pt x="13" y="68"/>
                  </a:cubicBezTo>
                  <a:cubicBezTo>
                    <a:pt x="12" y="69"/>
                    <a:pt x="11" y="71"/>
                    <a:pt x="11" y="72"/>
                  </a:cubicBezTo>
                  <a:cubicBezTo>
                    <a:pt x="10" y="74"/>
                    <a:pt x="11" y="79"/>
                    <a:pt x="11" y="81"/>
                  </a:cubicBezTo>
                  <a:cubicBezTo>
                    <a:pt x="10" y="85"/>
                    <a:pt x="8" y="92"/>
                    <a:pt x="7" y="94"/>
                  </a:cubicBezTo>
                  <a:cubicBezTo>
                    <a:pt x="7" y="94"/>
                    <a:pt x="7" y="94"/>
                    <a:pt x="7" y="94"/>
                  </a:cubicBezTo>
                  <a:cubicBezTo>
                    <a:pt x="6" y="94"/>
                    <a:pt x="5" y="95"/>
                    <a:pt x="5" y="95"/>
                  </a:cubicBezTo>
                  <a:cubicBezTo>
                    <a:pt x="4" y="97"/>
                    <a:pt x="1" y="101"/>
                    <a:pt x="1" y="104"/>
                  </a:cubicBezTo>
                  <a:cubicBezTo>
                    <a:pt x="0" y="107"/>
                    <a:pt x="2" y="111"/>
                    <a:pt x="3" y="113"/>
                  </a:cubicBezTo>
                  <a:cubicBezTo>
                    <a:pt x="4" y="115"/>
                    <a:pt x="6" y="116"/>
                    <a:pt x="7" y="117"/>
                  </a:cubicBezTo>
                  <a:cubicBezTo>
                    <a:pt x="9" y="118"/>
                    <a:pt x="10" y="119"/>
                    <a:pt x="10" y="120"/>
                  </a:cubicBezTo>
                  <a:cubicBezTo>
                    <a:pt x="11" y="121"/>
                    <a:pt x="12" y="127"/>
                    <a:pt x="13" y="131"/>
                  </a:cubicBezTo>
                  <a:cubicBezTo>
                    <a:pt x="13" y="133"/>
                    <a:pt x="14" y="135"/>
                    <a:pt x="17" y="137"/>
                  </a:cubicBezTo>
                  <a:cubicBezTo>
                    <a:pt x="17" y="137"/>
                    <a:pt x="18" y="137"/>
                    <a:pt x="18" y="137"/>
                  </a:cubicBezTo>
                  <a:cubicBezTo>
                    <a:pt x="20" y="137"/>
                    <a:pt x="21" y="138"/>
                    <a:pt x="21" y="137"/>
                  </a:cubicBezTo>
                  <a:cubicBezTo>
                    <a:pt x="22" y="138"/>
                    <a:pt x="22" y="141"/>
                    <a:pt x="22" y="144"/>
                  </a:cubicBezTo>
                  <a:cubicBezTo>
                    <a:pt x="21" y="146"/>
                    <a:pt x="20" y="148"/>
                    <a:pt x="20" y="150"/>
                  </a:cubicBezTo>
                  <a:cubicBezTo>
                    <a:pt x="20" y="152"/>
                    <a:pt x="23" y="156"/>
                    <a:pt x="25" y="159"/>
                  </a:cubicBezTo>
                  <a:cubicBezTo>
                    <a:pt x="27" y="165"/>
                    <a:pt x="27" y="165"/>
                    <a:pt x="27" y="165"/>
                  </a:cubicBezTo>
                  <a:cubicBezTo>
                    <a:pt x="26" y="167"/>
                    <a:pt x="25" y="171"/>
                    <a:pt x="26" y="173"/>
                  </a:cubicBezTo>
                  <a:cubicBezTo>
                    <a:pt x="26" y="174"/>
                    <a:pt x="28" y="176"/>
                    <a:pt x="29" y="178"/>
                  </a:cubicBezTo>
                  <a:cubicBezTo>
                    <a:pt x="30" y="179"/>
                    <a:pt x="31" y="180"/>
                    <a:pt x="32" y="181"/>
                  </a:cubicBezTo>
                  <a:cubicBezTo>
                    <a:pt x="32" y="181"/>
                    <a:pt x="32" y="183"/>
                    <a:pt x="32" y="183"/>
                  </a:cubicBezTo>
                  <a:cubicBezTo>
                    <a:pt x="32" y="185"/>
                    <a:pt x="32" y="187"/>
                    <a:pt x="32" y="188"/>
                  </a:cubicBezTo>
                  <a:cubicBezTo>
                    <a:pt x="33" y="190"/>
                    <a:pt x="35" y="193"/>
                    <a:pt x="38" y="195"/>
                  </a:cubicBezTo>
                  <a:cubicBezTo>
                    <a:pt x="40" y="197"/>
                    <a:pt x="42" y="199"/>
                    <a:pt x="42" y="201"/>
                  </a:cubicBezTo>
                  <a:cubicBezTo>
                    <a:pt x="42" y="201"/>
                    <a:pt x="42" y="203"/>
                    <a:pt x="42" y="203"/>
                  </a:cubicBezTo>
                  <a:cubicBezTo>
                    <a:pt x="42" y="205"/>
                    <a:pt x="42" y="207"/>
                    <a:pt x="42" y="208"/>
                  </a:cubicBezTo>
                  <a:cubicBezTo>
                    <a:pt x="43" y="210"/>
                    <a:pt x="44" y="211"/>
                    <a:pt x="45" y="213"/>
                  </a:cubicBezTo>
                  <a:cubicBezTo>
                    <a:pt x="46" y="214"/>
                    <a:pt x="47" y="215"/>
                    <a:pt x="47" y="216"/>
                  </a:cubicBezTo>
                  <a:cubicBezTo>
                    <a:pt x="48" y="218"/>
                    <a:pt x="49" y="221"/>
                    <a:pt x="49" y="222"/>
                  </a:cubicBezTo>
                  <a:cubicBezTo>
                    <a:pt x="49" y="224"/>
                    <a:pt x="48" y="229"/>
                    <a:pt x="48" y="230"/>
                  </a:cubicBezTo>
                  <a:cubicBezTo>
                    <a:pt x="48" y="238"/>
                    <a:pt x="48" y="238"/>
                    <a:pt x="48" y="238"/>
                  </a:cubicBezTo>
                  <a:cubicBezTo>
                    <a:pt x="50" y="244"/>
                    <a:pt x="50" y="244"/>
                    <a:pt x="50" y="244"/>
                  </a:cubicBezTo>
                  <a:cubicBezTo>
                    <a:pt x="48" y="247"/>
                    <a:pt x="49" y="248"/>
                    <a:pt x="49" y="249"/>
                  </a:cubicBezTo>
                  <a:cubicBezTo>
                    <a:pt x="50" y="250"/>
                    <a:pt x="51" y="250"/>
                    <a:pt x="53" y="250"/>
                  </a:cubicBezTo>
                  <a:cubicBezTo>
                    <a:pt x="54" y="250"/>
                    <a:pt x="55" y="250"/>
                    <a:pt x="56" y="250"/>
                  </a:cubicBezTo>
                  <a:cubicBezTo>
                    <a:pt x="56" y="250"/>
                    <a:pt x="56" y="250"/>
                    <a:pt x="56" y="250"/>
                  </a:cubicBezTo>
                  <a:cubicBezTo>
                    <a:pt x="56" y="250"/>
                    <a:pt x="56" y="250"/>
                    <a:pt x="56" y="250"/>
                  </a:cubicBezTo>
                  <a:cubicBezTo>
                    <a:pt x="55" y="252"/>
                    <a:pt x="54" y="254"/>
                    <a:pt x="56" y="256"/>
                  </a:cubicBezTo>
                  <a:cubicBezTo>
                    <a:pt x="57" y="258"/>
                    <a:pt x="59" y="258"/>
                    <a:pt x="61" y="259"/>
                  </a:cubicBezTo>
                  <a:cubicBezTo>
                    <a:pt x="61" y="259"/>
                    <a:pt x="63" y="260"/>
                    <a:pt x="63" y="259"/>
                  </a:cubicBezTo>
                  <a:cubicBezTo>
                    <a:pt x="63" y="260"/>
                    <a:pt x="62" y="261"/>
                    <a:pt x="62" y="262"/>
                  </a:cubicBezTo>
                  <a:cubicBezTo>
                    <a:pt x="61" y="264"/>
                    <a:pt x="61" y="266"/>
                    <a:pt x="61" y="268"/>
                  </a:cubicBezTo>
                  <a:cubicBezTo>
                    <a:pt x="61" y="269"/>
                    <a:pt x="62" y="271"/>
                    <a:pt x="64" y="272"/>
                  </a:cubicBezTo>
                  <a:cubicBezTo>
                    <a:pt x="64" y="273"/>
                    <a:pt x="65" y="274"/>
                    <a:pt x="65" y="275"/>
                  </a:cubicBezTo>
                  <a:cubicBezTo>
                    <a:pt x="65" y="275"/>
                    <a:pt x="65" y="277"/>
                    <a:pt x="64" y="278"/>
                  </a:cubicBezTo>
                  <a:cubicBezTo>
                    <a:pt x="64" y="280"/>
                    <a:pt x="63" y="282"/>
                    <a:pt x="63" y="284"/>
                  </a:cubicBezTo>
                  <a:cubicBezTo>
                    <a:pt x="64" y="286"/>
                    <a:pt x="65" y="288"/>
                    <a:pt x="67" y="289"/>
                  </a:cubicBezTo>
                  <a:cubicBezTo>
                    <a:pt x="68" y="290"/>
                    <a:pt x="69" y="291"/>
                    <a:pt x="69" y="291"/>
                  </a:cubicBezTo>
                  <a:cubicBezTo>
                    <a:pt x="69" y="292"/>
                    <a:pt x="69" y="295"/>
                    <a:pt x="68" y="298"/>
                  </a:cubicBezTo>
                  <a:cubicBezTo>
                    <a:pt x="68" y="300"/>
                    <a:pt x="67" y="306"/>
                    <a:pt x="67" y="308"/>
                  </a:cubicBezTo>
                  <a:cubicBezTo>
                    <a:pt x="68" y="312"/>
                    <a:pt x="71" y="321"/>
                    <a:pt x="73" y="324"/>
                  </a:cubicBezTo>
                  <a:cubicBezTo>
                    <a:pt x="71" y="329"/>
                    <a:pt x="67" y="342"/>
                    <a:pt x="69" y="347"/>
                  </a:cubicBezTo>
                  <a:cubicBezTo>
                    <a:pt x="70" y="349"/>
                    <a:pt x="72" y="350"/>
                    <a:pt x="74" y="352"/>
                  </a:cubicBezTo>
                  <a:cubicBezTo>
                    <a:pt x="75" y="352"/>
                    <a:pt x="77" y="353"/>
                    <a:pt x="77" y="353"/>
                  </a:cubicBezTo>
                  <a:cubicBezTo>
                    <a:pt x="77" y="354"/>
                    <a:pt x="78" y="356"/>
                    <a:pt x="79" y="359"/>
                  </a:cubicBezTo>
                  <a:cubicBezTo>
                    <a:pt x="79" y="360"/>
                    <a:pt x="80" y="361"/>
                    <a:pt x="81" y="361"/>
                  </a:cubicBezTo>
                  <a:cubicBezTo>
                    <a:pt x="179" y="362"/>
                    <a:pt x="179" y="362"/>
                    <a:pt x="179" y="362"/>
                  </a:cubicBezTo>
                  <a:cubicBezTo>
                    <a:pt x="241" y="360"/>
                    <a:pt x="241" y="360"/>
                    <a:pt x="241" y="360"/>
                  </a:cubicBezTo>
                  <a:cubicBezTo>
                    <a:pt x="377" y="352"/>
                    <a:pt x="377" y="352"/>
                    <a:pt x="377" y="352"/>
                  </a:cubicBezTo>
                  <a:cubicBezTo>
                    <a:pt x="434" y="346"/>
                    <a:pt x="434" y="346"/>
                    <a:pt x="434" y="346"/>
                  </a:cubicBezTo>
                  <a:cubicBezTo>
                    <a:pt x="437" y="353"/>
                    <a:pt x="437" y="353"/>
                    <a:pt x="437" y="353"/>
                  </a:cubicBezTo>
                  <a:cubicBezTo>
                    <a:pt x="437" y="353"/>
                    <a:pt x="438" y="353"/>
                    <a:pt x="438" y="353"/>
                  </a:cubicBezTo>
                  <a:cubicBezTo>
                    <a:pt x="452" y="364"/>
                    <a:pt x="452" y="364"/>
                    <a:pt x="452" y="364"/>
                  </a:cubicBezTo>
                  <a:cubicBezTo>
                    <a:pt x="453" y="366"/>
                    <a:pt x="456" y="371"/>
                    <a:pt x="458" y="372"/>
                  </a:cubicBezTo>
                  <a:cubicBezTo>
                    <a:pt x="458" y="372"/>
                    <a:pt x="461" y="374"/>
                    <a:pt x="463" y="374"/>
                  </a:cubicBezTo>
                  <a:cubicBezTo>
                    <a:pt x="463" y="374"/>
                    <a:pt x="464" y="374"/>
                    <a:pt x="464" y="374"/>
                  </a:cubicBezTo>
                  <a:cubicBezTo>
                    <a:pt x="467" y="373"/>
                    <a:pt x="470" y="369"/>
                    <a:pt x="471" y="368"/>
                  </a:cubicBezTo>
                  <a:cubicBezTo>
                    <a:pt x="472" y="365"/>
                    <a:pt x="472" y="360"/>
                    <a:pt x="471" y="358"/>
                  </a:cubicBezTo>
                  <a:cubicBezTo>
                    <a:pt x="471" y="356"/>
                    <a:pt x="470" y="355"/>
                    <a:pt x="468" y="354"/>
                  </a:cubicBezTo>
                  <a:cubicBezTo>
                    <a:pt x="468" y="353"/>
                    <a:pt x="467" y="352"/>
                    <a:pt x="467" y="352"/>
                  </a:cubicBezTo>
                  <a:cubicBezTo>
                    <a:pt x="467" y="351"/>
                    <a:pt x="469" y="348"/>
                    <a:pt x="471" y="346"/>
                  </a:cubicBezTo>
                  <a:cubicBezTo>
                    <a:pt x="473" y="345"/>
                    <a:pt x="476" y="344"/>
                    <a:pt x="478" y="343"/>
                  </a:cubicBezTo>
                  <a:cubicBezTo>
                    <a:pt x="483" y="341"/>
                    <a:pt x="487" y="339"/>
                    <a:pt x="490" y="336"/>
                  </a:cubicBezTo>
                  <a:cubicBezTo>
                    <a:pt x="492" y="334"/>
                    <a:pt x="492" y="329"/>
                    <a:pt x="492" y="328"/>
                  </a:cubicBezTo>
                  <a:cubicBezTo>
                    <a:pt x="493" y="326"/>
                    <a:pt x="493" y="321"/>
                    <a:pt x="492" y="320"/>
                  </a:cubicBezTo>
                  <a:cubicBezTo>
                    <a:pt x="494" y="316"/>
                    <a:pt x="494" y="316"/>
                    <a:pt x="494" y="316"/>
                  </a:cubicBezTo>
                  <a:cubicBezTo>
                    <a:pt x="496" y="314"/>
                    <a:pt x="503" y="305"/>
                    <a:pt x="505" y="301"/>
                  </a:cubicBezTo>
                  <a:cubicBezTo>
                    <a:pt x="506" y="297"/>
                    <a:pt x="505" y="287"/>
                    <a:pt x="503" y="283"/>
                  </a:cubicBezTo>
                  <a:cubicBezTo>
                    <a:pt x="502" y="281"/>
                    <a:pt x="499" y="279"/>
                    <a:pt x="497" y="276"/>
                  </a:cubicBezTo>
                  <a:cubicBezTo>
                    <a:pt x="494" y="274"/>
                    <a:pt x="491" y="271"/>
                    <a:pt x="490" y="269"/>
                  </a:cubicBezTo>
                  <a:cubicBezTo>
                    <a:pt x="490" y="267"/>
                    <a:pt x="491" y="260"/>
                    <a:pt x="492" y="255"/>
                  </a:cubicBezTo>
                  <a:cubicBezTo>
                    <a:pt x="492" y="252"/>
                    <a:pt x="493" y="249"/>
                    <a:pt x="494" y="249"/>
                  </a:cubicBezTo>
                  <a:cubicBezTo>
                    <a:pt x="496" y="247"/>
                    <a:pt x="503" y="246"/>
                    <a:pt x="508" y="246"/>
                  </a:cubicBezTo>
                  <a:cubicBezTo>
                    <a:pt x="513" y="245"/>
                    <a:pt x="518" y="245"/>
                    <a:pt x="521" y="243"/>
                  </a:cubicBezTo>
                  <a:cubicBezTo>
                    <a:pt x="523" y="243"/>
                    <a:pt x="524" y="241"/>
                    <a:pt x="526" y="240"/>
                  </a:cubicBezTo>
                  <a:cubicBezTo>
                    <a:pt x="527" y="239"/>
                    <a:pt x="528" y="238"/>
                    <a:pt x="529" y="238"/>
                  </a:cubicBezTo>
                  <a:cubicBezTo>
                    <a:pt x="530" y="237"/>
                    <a:pt x="533" y="236"/>
                    <a:pt x="535" y="235"/>
                  </a:cubicBezTo>
                  <a:cubicBezTo>
                    <a:pt x="538" y="234"/>
                    <a:pt x="542" y="233"/>
                    <a:pt x="544" y="232"/>
                  </a:cubicBezTo>
                  <a:cubicBezTo>
                    <a:pt x="546" y="231"/>
                    <a:pt x="551" y="227"/>
                    <a:pt x="552" y="224"/>
                  </a:cubicBezTo>
                  <a:cubicBezTo>
                    <a:pt x="553" y="222"/>
                    <a:pt x="553" y="218"/>
                    <a:pt x="553" y="215"/>
                  </a:cubicBezTo>
                  <a:cubicBezTo>
                    <a:pt x="553" y="212"/>
                    <a:pt x="553" y="209"/>
                    <a:pt x="554" y="208"/>
                  </a:cubicBezTo>
                  <a:cubicBezTo>
                    <a:pt x="554" y="206"/>
                    <a:pt x="556" y="204"/>
                    <a:pt x="558" y="202"/>
                  </a:cubicBezTo>
                  <a:cubicBezTo>
                    <a:pt x="561" y="199"/>
                    <a:pt x="563" y="197"/>
                    <a:pt x="564" y="195"/>
                  </a:cubicBezTo>
                  <a:cubicBezTo>
                    <a:pt x="566" y="189"/>
                    <a:pt x="567" y="176"/>
                    <a:pt x="567" y="170"/>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24">
              <a:extLst>
                <a:ext uri="{FF2B5EF4-FFF2-40B4-BE49-F238E27FC236}">
                  <a16:creationId xmlns:a16="http://schemas.microsoft.com/office/drawing/2014/main" id="{14D40E6F-DCA0-4D46-987E-C0812489242B}"/>
                </a:ext>
              </a:extLst>
            </p:cNvPr>
            <p:cNvSpPr>
              <a:spLocks/>
            </p:cNvSpPr>
            <p:nvPr/>
          </p:nvSpPr>
          <p:spPr bwMode="auto">
            <a:xfrm>
              <a:off x="6101861" y="3260304"/>
              <a:ext cx="696391" cy="605425"/>
            </a:xfrm>
            <a:custGeom>
              <a:avLst/>
              <a:gdLst>
                <a:gd name="T0" fmla="*/ 625 w 627"/>
                <a:gd name="T1" fmla="*/ 427 h 544"/>
                <a:gd name="T2" fmla="*/ 611 w 627"/>
                <a:gd name="T3" fmla="*/ 407 h 544"/>
                <a:gd name="T4" fmla="*/ 586 w 627"/>
                <a:gd name="T5" fmla="*/ 383 h 544"/>
                <a:gd name="T6" fmla="*/ 592 w 627"/>
                <a:gd name="T7" fmla="*/ 367 h 544"/>
                <a:gd name="T8" fmla="*/ 583 w 627"/>
                <a:gd name="T9" fmla="*/ 347 h 544"/>
                <a:gd name="T10" fmla="*/ 566 w 627"/>
                <a:gd name="T11" fmla="*/ 327 h 544"/>
                <a:gd name="T12" fmla="*/ 547 w 627"/>
                <a:gd name="T13" fmla="*/ 309 h 544"/>
                <a:gd name="T14" fmla="*/ 541 w 627"/>
                <a:gd name="T15" fmla="*/ 313 h 544"/>
                <a:gd name="T16" fmla="*/ 534 w 627"/>
                <a:gd name="T17" fmla="*/ 304 h 544"/>
                <a:gd name="T18" fmla="*/ 498 w 627"/>
                <a:gd name="T19" fmla="*/ 269 h 544"/>
                <a:gd name="T20" fmla="*/ 503 w 627"/>
                <a:gd name="T21" fmla="*/ 255 h 544"/>
                <a:gd name="T22" fmla="*/ 513 w 627"/>
                <a:gd name="T23" fmla="*/ 224 h 544"/>
                <a:gd name="T24" fmla="*/ 517 w 627"/>
                <a:gd name="T25" fmla="*/ 208 h 544"/>
                <a:gd name="T26" fmla="*/ 493 w 627"/>
                <a:gd name="T27" fmla="*/ 192 h 544"/>
                <a:gd name="T28" fmla="*/ 477 w 627"/>
                <a:gd name="T29" fmla="*/ 195 h 544"/>
                <a:gd name="T30" fmla="*/ 465 w 627"/>
                <a:gd name="T31" fmla="*/ 193 h 544"/>
                <a:gd name="T32" fmla="*/ 453 w 627"/>
                <a:gd name="T33" fmla="*/ 152 h 544"/>
                <a:gd name="T34" fmla="*/ 427 w 627"/>
                <a:gd name="T35" fmla="*/ 134 h 544"/>
                <a:gd name="T36" fmla="*/ 419 w 627"/>
                <a:gd name="T37" fmla="*/ 124 h 544"/>
                <a:gd name="T38" fmla="*/ 409 w 627"/>
                <a:gd name="T39" fmla="*/ 114 h 544"/>
                <a:gd name="T40" fmla="*/ 397 w 627"/>
                <a:gd name="T41" fmla="*/ 102 h 544"/>
                <a:gd name="T42" fmla="*/ 384 w 627"/>
                <a:gd name="T43" fmla="*/ 39 h 544"/>
                <a:gd name="T44" fmla="*/ 384 w 627"/>
                <a:gd name="T45" fmla="*/ 27 h 544"/>
                <a:gd name="T46" fmla="*/ 378 w 627"/>
                <a:gd name="T47" fmla="*/ 19 h 544"/>
                <a:gd name="T48" fmla="*/ 359 w 627"/>
                <a:gd name="T49" fmla="*/ 1 h 544"/>
                <a:gd name="T50" fmla="*/ 163 w 627"/>
                <a:gd name="T51" fmla="*/ 14 h 544"/>
                <a:gd name="T52" fmla="*/ 1 w 627"/>
                <a:gd name="T53" fmla="*/ 16 h 544"/>
                <a:gd name="T54" fmla="*/ 5 w 627"/>
                <a:gd name="T55" fmla="*/ 32 h 544"/>
                <a:gd name="T56" fmla="*/ 12 w 627"/>
                <a:gd name="T57" fmla="*/ 48 h 544"/>
                <a:gd name="T58" fmla="*/ 26 w 627"/>
                <a:gd name="T59" fmla="*/ 61 h 544"/>
                <a:gd name="T60" fmla="*/ 31 w 627"/>
                <a:gd name="T61" fmla="*/ 72 h 544"/>
                <a:gd name="T62" fmla="*/ 32 w 627"/>
                <a:gd name="T63" fmla="*/ 83 h 544"/>
                <a:gd name="T64" fmla="*/ 70 w 627"/>
                <a:gd name="T65" fmla="*/ 103 h 544"/>
                <a:gd name="T66" fmla="*/ 80 w 627"/>
                <a:gd name="T67" fmla="*/ 110 h 544"/>
                <a:gd name="T68" fmla="*/ 74 w 627"/>
                <a:gd name="T69" fmla="*/ 116 h 544"/>
                <a:gd name="T70" fmla="*/ 67 w 627"/>
                <a:gd name="T71" fmla="*/ 129 h 544"/>
                <a:gd name="T72" fmla="*/ 72 w 627"/>
                <a:gd name="T73" fmla="*/ 157 h 544"/>
                <a:gd name="T74" fmla="*/ 80 w 627"/>
                <a:gd name="T75" fmla="*/ 164 h 544"/>
                <a:gd name="T76" fmla="*/ 99 w 627"/>
                <a:gd name="T77" fmla="*/ 187 h 544"/>
                <a:gd name="T78" fmla="*/ 113 w 627"/>
                <a:gd name="T79" fmla="*/ 499 h 544"/>
                <a:gd name="T80" fmla="*/ 357 w 627"/>
                <a:gd name="T81" fmla="*/ 493 h 544"/>
                <a:gd name="T82" fmla="*/ 536 w 627"/>
                <a:gd name="T83" fmla="*/ 493 h 544"/>
                <a:gd name="T84" fmla="*/ 533 w 627"/>
                <a:gd name="T85" fmla="*/ 512 h 544"/>
                <a:gd name="T86" fmla="*/ 519 w 627"/>
                <a:gd name="T87" fmla="*/ 525 h 544"/>
                <a:gd name="T88" fmla="*/ 521 w 627"/>
                <a:gd name="T89" fmla="*/ 544 h 544"/>
                <a:gd name="T90" fmla="*/ 582 w 627"/>
                <a:gd name="T91" fmla="*/ 524 h 544"/>
                <a:gd name="T92" fmla="*/ 582 w 627"/>
                <a:gd name="T93" fmla="*/ 510 h 544"/>
                <a:gd name="T94" fmla="*/ 590 w 627"/>
                <a:gd name="T95" fmla="*/ 502 h 544"/>
                <a:gd name="T96" fmla="*/ 587 w 627"/>
                <a:gd name="T97" fmla="*/ 495 h 544"/>
                <a:gd name="T98" fmla="*/ 590 w 627"/>
                <a:gd name="T99" fmla="*/ 483 h 544"/>
                <a:gd name="T100" fmla="*/ 593 w 627"/>
                <a:gd name="T101" fmla="*/ 473 h 544"/>
                <a:gd name="T102" fmla="*/ 594 w 627"/>
                <a:gd name="T103" fmla="*/ 481 h 544"/>
                <a:gd name="T104" fmla="*/ 605 w 627"/>
                <a:gd name="T105" fmla="*/ 465 h 544"/>
                <a:gd name="T106" fmla="*/ 611 w 627"/>
                <a:gd name="T107" fmla="*/ 466 h 544"/>
                <a:gd name="T108" fmla="*/ 621 w 627"/>
                <a:gd name="T109" fmla="*/ 449 h 544"/>
                <a:gd name="T110" fmla="*/ 626 w 627"/>
                <a:gd name="T111" fmla="*/ 442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7" h="544">
                  <a:moveTo>
                    <a:pt x="625" y="433"/>
                  </a:moveTo>
                  <a:cubicBezTo>
                    <a:pt x="625" y="432"/>
                    <a:pt x="624" y="431"/>
                    <a:pt x="624" y="430"/>
                  </a:cubicBezTo>
                  <a:cubicBezTo>
                    <a:pt x="624" y="429"/>
                    <a:pt x="625" y="428"/>
                    <a:pt x="625" y="427"/>
                  </a:cubicBezTo>
                  <a:cubicBezTo>
                    <a:pt x="625" y="425"/>
                    <a:pt x="626" y="423"/>
                    <a:pt x="626" y="422"/>
                  </a:cubicBezTo>
                  <a:cubicBezTo>
                    <a:pt x="626" y="422"/>
                    <a:pt x="626" y="417"/>
                    <a:pt x="624" y="414"/>
                  </a:cubicBezTo>
                  <a:cubicBezTo>
                    <a:pt x="622" y="411"/>
                    <a:pt x="615" y="408"/>
                    <a:pt x="611" y="407"/>
                  </a:cubicBezTo>
                  <a:cubicBezTo>
                    <a:pt x="609" y="407"/>
                    <a:pt x="606" y="409"/>
                    <a:pt x="604" y="410"/>
                  </a:cubicBezTo>
                  <a:cubicBezTo>
                    <a:pt x="594" y="397"/>
                    <a:pt x="594" y="397"/>
                    <a:pt x="594" y="397"/>
                  </a:cubicBezTo>
                  <a:cubicBezTo>
                    <a:pt x="586" y="383"/>
                    <a:pt x="586" y="383"/>
                    <a:pt x="586" y="383"/>
                  </a:cubicBezTo>
                  <a:cubicBezTo>
                    <a:pt x="590" y="377"/>
                    <a:pt x="590" y="377"/>
                    <a:pt x="590" y="377"/>
                  </a:cubicBezTo>
                  <a:cubicBezTo>
                    <a:pt x="590" y="377"/>
                    <a:pt x="590" y="376"/>
                    <a:pt x="590" y="376"/>
                  </a:cubicBezTo>
                  <a:cubicBezTo>
                    <a:pt x="591" y="374"/>
                    <a:pt x="592" y="369"/>
                    <a:pt x="592" y="367"/>
                  </a:cubicBezTo>
                  <a:cubicBezTo>
                    <a:pt x="591" y="364"/>
                    <a:pt x="589" y="362"/>
                    <a:pt x="587" y="359"/>
                  </a:cubicBezTo>
                  <a:cubicBezTo>
                    <a:pt x="585" y="357"/>
                    <a:pt x="584" y="354"/>
                    <a:pt x="583" y="352"/>
                  </a:cubicBezTo>
                  <a:cubicBezTo>
                    <a:pt x="583" y="351"/>
                    <a:pt x="583" y="349"/>
                    <a:pt x="583" y="347"/>
                  </a:cubicBezTo>
                  <a:cubicBezTo>
                    <a:pt x="583" y="342"/>
                    <a:pt x="583" y="338"/>
                    <a:pt x="581" y="335"/>
                  </a:cubicBezTo>
                  <a:cubicBezTo>
                    <a:pt x="580" y="333"/>
                    <a:pt x="575" y="332"/>
                    <a:pt x="572" y="331"/>
                  </a:cubicBezTo>
                  <a:cubicBezTo>
                    <a:pt x="570" y="330"/>
                    <a:pt x="567" y="328"/>
                    <a:pt x="566" y="327"/>
                  </a:cubicBezTo>
                  <a:cubicBezTo>
                    <a:pt x="565" y="326"/>
                    <a:pt x="565" y="325"/>
                    <a:pt x="564" y="323"/>
                  </a:cubicBezTo>
                  <a:cubicBezTo>
                    <a:pt x="563" y="322"/>
                    <a:pt x="563" y="320"/>
                    <a:pt x="562" y="319"/>
                  </a:cubicBezTo>
                  <a:cubicBezTo>
                    <a:pt x="560" y="316"/>
                    <a:pt x="553" y="309"/>
                    <a:pt x="547" y="309"/>
                  </a:cubicBezTo>
                  <a:cubicBezTo>
                    <a:pt x="547" y="309"/>
                    <a:pt x="547" y="309"/>
                    <a:pt x="547" y="309"/>
                  </a:cubicBezTo>
                  <a:cubicBezTo>
                    <a:pt x="545" y="309"/>
                    <a:pt x="543" y="311"/>
                    <a:pt x="542" y="312"/>
                  </a:cubicBezTo>
                  <a:cubicBezTo>
                    <a:pt x="541" y="312"/>
                    <a:pt x="541" y="313"/>
                    <a:pt x="541" y="313"/>
                  </a:cubicBezTo>
                  <a:cubicBezTo>
                    <a:pt x="541" y="313"/>
                    <a:pt x="541" y="312"/>
                    <a:pt x="541" y="312"/>
                  </a:cubicBezTo>
                  <a:cubicBezTo>
                    <a:pt x="541" y="309"/>
                    <a:pt x="541" y="307"/>
                    <a:pt x="539" y="305"/>
                  </a:cubicBezTo>
                  <a:cubicBezTo>
                    <a:pt x="537" y="303"/>
                    <a:pt x="535" y="304"/>
                    <a:pt x="534" y="304"/>
                  </a:cubicBezTo>
                  <a:cubicBezTo>
                    <a:pt x="512" y="290"/>
                    <a:pt x="512" y="290"/>
                    <a:pt x="512" y="290"/>
                  </a:cubicBezTo>
                  <a:cubicBezTo>
                    <a:pt x="509" y="287"/>
                    <a:pt x="501" y="279"/>
                    <a:pt x="499" y="275"/>
                  </a:cubicBezTo>
                  <a:cubicBezTo>
                    <a:pt x="499" y="274"/>
                    <a:pt x="498" y="271"/>
                    <a:pt x="498" y="269"/>
                  </a:cubicBezTo>
                  <a:cubicBezTo>
                    <a:pt x="498" y="267"/>
                    <a:pt x="498" y="264"/>
                    <a:pt x="499" y="262"/>
                  </a:cubicBezTo>
                  <a:cubicBezTo>
                    <a:pt x="499" y="261"/>
                    <a:pt x="500" y="260"/>
                    <a:pt x="501" y="259"/>
                  </a:cubicBezTo>
                  <a:cubicBezTo>
                    <a:pt x="502" y="257"/>
                    <a:pt x="503" y="256"/>
                    <a:pt x="503" y="255"/>
                  </a:cubicBezTo>
                  <a:cubicBezTo>
                    <a:pt x="504" y="252"/>
                    <a:pt x="506" y="244"/>
                    <a:pt x="507" y="242"/>
                  </a:cubicBezTo>
                  <a:cubicBezTo>
                    <a:pt x="508" y="240"/>
                    <a:pt x="512" y="233"/>
                    <a:pt x="513" y="230"/>
                  </a:cubicBezTo>
                  <a:cubicBezTo>
                    <a:pt x="513" y="228"/>
                    <a:pt x="513" y="226"/>
                    <a:pt x="513" y="224"/>
                  </a:cubicBezTo>
                  <a:cubicBezTo>
                    <a:pt x="513" y="221"/>
                    <a:pt x="512" y="219"/>
                    <a:pt x="513" y="217"/>
                  </a:cubicBezTo>
                  <a:cubicBezTo>
                    <a:pt x="513" y="217"/>
                    <a:pt x="514" y="215"/>
                    <a:pt x="514" y="214"/>
                  </a:cubicBezTo>
                  <a:cubicBezTo>
                    <a:pt x="515" y="212"/>
                    <a:pt x="517" y="210"/>
                    <a:pt x="517" y="208"/>
                  </a:cubicBezTo>
                  <a:cubicBezTo>
                    <a:pt x="517" y="206"/>
                    <a:pt x="517" y="205"/>
                    <a:pt x="517" y="203"/>
                  </a:cubicBezTo>
                  <a:cubicBezTo>
                    <a:pt x="514" y="198"/>
                    <a:pt x="504" y="194"/>
                    <a:pt x="501" y="193"/>
                  </a:cubicBezTo>
                  <a:cubicBezTo>
                    <a:pt x="499" y="192"/>
                    <a:pt x="495" y="192"/>
                    <a:pt x="493" y="192"/>
                  </a:cubicBezTo>
                  <a:cubicBezTo>
                    <a:pt x="491" y="191"/>
                    <a:pt x="487" y="189"/>
                    <a:pt x="485" y="189"/>
                  </a:cubicBezTo>
                  <a:cubicBezTo>
                    <a:pt x="484" y="189"/>
                    <a:pt x="481" y="189"/>
                    <a:pt x="480" y="190"/>
                  </a:cubicBezTo>
                  <a:cubicBezTo>
                    <a:pt x="478" y="191"/>
                    <a:pt x="478" y="193"/>
                    <a:pt x="477" y="195"/>
                  </a:cubicBezTo>
                  <a:cubicBezTo>
                    <a:pt x="476" y="196"/>
                    <a:pt x="476" y="197"/>
                    <a:pt x="475" y="197"/>
                  </a:cubicBezTo>
                  <a:cubicBezTo>
                    <a:pt x="474" y="198"/>
                    <a:pt x="471" y="199"/>
                    <a:pt x="470" y="199"/>
                  </a:cubicBezTo>
                  <a:cubicBezTo>
                    <a:pt x="469" y="199"/>
                    <a:pt x="467" y="196"/>
                    <a:pt x="465" y="193"/>
                  </a:cubicBezTo>
                  <a:cubicBezTo>
                    <a:pt x="464" y="190"/>
                    <a:pt x="463" y="183"/>
                    <a:pt x="461" y="177"/>
                  </a:cubicBezTo>
                  <a:cubicBezTo>
                    <a:pt x="460" y="170"/>
                    <a:pt x="459" y="164"/>
                    <a:pt x="458" y="160"/>
                  </a:cubicBezTo>
                  <a:cubicBezTo>
                    <a:pt x="457" y="158"/>
                    <a:pt x="454" y="154"/>
                    <a:pt x="453" y="152"/>
                  </a:cubicBezTo>
                  <a:cubicBezTo>
                    <a:pt x="451" y="150"/>
                    <a:pt x="446" y="147"/>
                    <a:pt x="445" y="146"/>
                  </a:cubicBezTo>
                  <a:cubicBezTo>
                    <a:pt x="444" y="145"/>
                    <a:pt x="442" y="144"/>
                    <a:pt x="440" y="143"/>
                  </a:cubicBezTo>
                  <a:cubicBezTo>
                    <a:pt x="435" y="140"/>
                    <a:pt x="429" y="137"/>
                    <a:pt x="427" y="134"/>
                  </a:cubicBezTo>
                  <a:cubicBezTo>
                    <a:pt x="427" y="134"/>
                    <a:pt x="426" y="133"/>
                    <a:pt x="426" y="132"/>
                  </a:cubicBezTo>
                  <a:cubicBezTo>
                    <a:pt x="425" y="130"/>
                    <a:pt x="425" y="129"/>
                    <a:pt x="424" y="128"/>
                  </a:cubicBezTo>
                  <a:cubicBezTo>
                    <a:pt x="423" y="126"/>
                    <a:pt x="421" y="125"/>
                    <a:pt x="419" y="124"/>
                  </a:cubicBezTo>
                  <a:cubicBezTo>
                    <a:pt x="418" y="124"/>
                    <a:pt x="416" y="123"/>
                    <a:pt x="416" y="123"/>
                  </a:cubicBezTo>
                  <a:cubicBezTo>
                    <a:pt x="415" y="122"/>
                    <a:pt x="414" y="121"/>
                    <a:pt x="413" y="119"/>
                  </a:cubicBezTo>
                  <a:cubicBezTo>
                    <a:pt x="412" y="118"/>
                    <a:pt x="411" y="116"/>
                    <a:pt x="409" y="114"/>
                  </a:cubicBezTo>
                  <a:cubicBezTo>
                    <a:pt x="408" y="114"/>
                    <a:pt x="407" y="113"/>
                    <a:pt x="405" y="112"/>
                  </a:cubicBezTo>
                  <a:cubicBezTo>
                    <a:pt x="403" y="111"/>
                    <a:pt x="400" y="109"/>
                    <a:pt x="399" y="108"/>
                  </a:cubicBezTo>
                  <a:cubicBezTo>
                    <a:pt x="398" y="107"/>
                    <a:pt x="398" y="104"/>
                    <a:pt x="397" y="102"/>
                  </a:cubicBezTo>
                  <a:cubicBezTo>
                    <a:pt x="397" y="101"/>
                    <a:pt x="397" y="101"/>
                    <a:pt x="397" y="101"/>
                  </a:cubicBezTo>
                  <a:cubicBezTo>
                    <a:pt x="388" y="82"/>
                    <a:pt x="381" y="65"/>
                    <a:pt x="383" y="46"/>
                  </a:cubicBezTo>
                  <a:cubicBezTo>
                    <a:pt x="383" y="43"/>
                    <a:pt x="384" y="40"/>
                    <a:pt x="384" y="39"/>
                  </a:cubicBezTo>
                  <a:cubicBezTo>
                    <a:pt x="384" y="38"/>
                    <a:pt x="385" y="38"/>
                    <a:pt x="385" y="37"/>
                  </a:cubicBezTo>
                  <a:cubicBezTo>
                    <a:pt x="387" y="35"/>
                    <a:pt x="389" y="32"/>
                    <a:pt x="388" y="30"/>
                  </a:cubicBezTo>
                  <a:cubicBezTo>
                    <a:pt x="387" y="28"/>
                    <a:pt x="385" y="28"/>
                    <a:pt x="384" y="27"/>
                  </a:cubicBezTo>
                  <a:cubicBezTo>
                    <a:pt x="383" y="27"/>
                    <a:pt x="383" y="27"/>
                    <a:pt x="383" y="27"/>
                  </a:cubicBezTo>
                  <a:cubicBezTo>
                    <a:pt x="382" y="27"/>
                    <a:pt x="381" y="25"/>
                    <a:pt x="380" y="23"/>
                  </a:cubicBezTo>
                  <a:cubicBezTo>
                    <a:pt x="379" y="22"/>
                    <a:pt x="379" y="20"/>
                    <a:pt x="378" y="19"/>
                  </a:cubicBezTo>
                  <a:cubicBezTo>
                    <a:pt x="376" y="18"/>
                    <a:pt x="374" y="16"/>
                    <a:pt x="371" y="14"/>
                  </a:cubicBezTo>
                  <a:cubicBezTo>
                    <a:pt x="368" y="12"/>
                    <a:pt x="365" y="9"/>
                    <a:pt x="363" y="8"/>
                  </a:cubicBezTo>
                  <a:cubicBezTo>
                    <a:pt x="362" y="7"/>
                    <a:pt x="360" y="3"/>
                    <a:pt x="359" y="1"/>
                  </a:cubicBezTo>
                  <a:cubicBezTo>
                    <a:pt x="359" y="0"/>
                    <a:pt x="358" y="0"/>
                    <a:pt x="357" y="0"/>
                  </a:cubicBezTo>
                  <a:cubicBezTo>
                    <a:pt x="299" y="6"/>
                    <a:pt x="299" y="6"/>
                    <a:pt x="299" y="6"/>
                  </a:cubicBezTo>
                  <a:cubicBezTo>
                    <a:pt x="163" y="14"/>
                    <a:pt x="163" y="14"/>
                    <a:pt x="163" y="14"/>
                  </a:cubicBezTo>
                  <a:cubicBezTo>
                    <a:pt x="101" y="16"/>
                    <a:pt x="101" y="16"/>
                    <a:pt x="101" y="16"/>
                  </a:cubicBezTo>
                  <a:cubicBezTo>
                    <a:pt x="101" y="16"/>
                    <a:pt x="26" y="15"/>
                    <a:pt x="5" y="15"/>
                  </a:cubicBezTo>
                  <a:cubicBezTo>
                    <a:pt x="4" y="15"/>
                    <a:pt x="2" y="15"/>
                    <a:pt x="1" y="16"/>
                  </a:cubicBezTo>
                  <a:cubicBezTo>
                    <a:pt x="1" y="16"/>
                    <a:pt x="0" y="17"/>
                    <a:pt x="1" y="21"/>
                  </a:cubicBezTo>
                  <a:cubicBezTo>
                    <a:pt x="0" y="22"/>
                    <a:pt x="0" y="25"/>
                    <a:pt x="1" y="26"/>
                  </a:cubicBezTo>
                  <a:cubicBezTo>
                    <a:pt x="1" y="28"/>
                    <a:pt x="3" y="30"/>
                    <a:pt x="5" y="32"/>
                  </a:cubicBezTo>
                  <a:cubicBezTo>
                    <a:pt x="6" y="32"/>
                    <a:pt x="7" y="34"/>
                    <a:pt x="7" y="34"/>
                  </a:cubicBezTo>
                  <a:cubicBezTo>
                    <a:pt x="8" y="35"/>
                    <a:pt x="9" y="38"/>
                    <a:pt x="10" y="41"/>
                  </a:cubicBezTo>
                  <a:cubicBezTo>
                    <a:pt x="11" y="44"/>
                    <a:pt x="11" y="47"/>
                    <a:pt x="12" y="48"/>
                  </a:cubicBezTo>
                  <a:cubicBezTo>
                    <a:pt x="14" y="51"/>
                    <a:pt x="17" y="55"/>
                    <a:pt x="20" y="56"/>
                  </a:cubicBezTo>
                  <a:cubicBezTo>
                    <a:pt x="20" y="57"/>
                    <a:pt x="21" y="58"/>
                    <a:pt x="22" y="58"/>
                  </a:cubicBezTo>
                  <a:cubicBezTo>
                    <a:pt x="24" y="59"/>
                    <a:pt x="26" y="60"/>
                    <a:pt x="26" y="61"/>
                  </a:cubicBezTo>
                  <a:cubicBezTo>
                    <a:pt x="26" y="61"/>
                    <a:pt x="27" y="63"/>
                    <a:pt x="27" y="64"/>
                  </a:cubicBezTo>
                  <a:cubicBezTo>
                    <a:pt x="27" y="66"/>
                    <a:pt x="27" y="67"/>
                    <a:pt x="27" y="68"/>
                  </a:cubicBezTo>
                  <a:cubicBezTo>
                    <a:pt x="28" y="70"/>
                    <a:pt x="29" y="71"/>
                    <a:pt x="31" y="72"/>
                  </a:cubicBezTo>
                  <a:cubicBezTo>
                    <a:pt x="31" y="73"/>
                    <a:pt x="33" y="75"/>
                    <a:pt x="33" y="75"/>
                  </a:cubicBezTo>
                  <a:cubicBezTo>
                    <a:pt x="33" y="76"/>
                    <a:pt x="33" y="77"/>
                    <a:pt x="33" y="77"/>
                  </a:cubicBezTo>
                  <a:cubicBezTo>
                    <a:pt x="32" y="79"/>
                    <a:pt x="32" y="81"/>
                    <a:pt x="32" y="83"/>
                  </a:cubicBezTo>
                  <a:cubicBezTo>
                    <a:pt x="34" y="86"/>
                    <a:pt x="39" y="89"/>
                    <a:pt x="42" y="90"/>
                  </a:cubicBezTo>
                  <a:cubicBezTo>
                    <a:pt x="45" y="94"/>
                    <a:pt x="58" y="106"/>
                    <a:pt x="65" y="107"/>
                  </a:cubicBezTo>
                  <a:cubicBezTo>
                    <a:pt x="67" y="107"/>
                    <a:pt x="68" y="105"/>
                    <a:pt x="70" y="103"/>
                  </a:cubicBezTo>
                  <a:cubicBezTo>
                    <a:pt x="71" y="103"/>
                    <a:pt x="72" y="102"/>
                    <a:pt x="72" y="102"/>
                  </a:cubicBezTo>
                  <a:cubicBezTo>
                    <a:pt x="73" y="102"/>
                    <a:pt x="75" y="103"/>
                    <a:pt x="76" y="103"/>
                  </a:cubicBezTo>
                  <a:cubicBezTo>
                    <a:pt x="77" y="104"/>
                    <a:pt x="79" y="108"/>
                    <a:pt x="80" y="110"/>
                  </a:cubicBezTo>
                  <a:cubicBezTo>
                    <a:pt x="81" y="112"/>
                    <a:pt x="81" y="115"/>
                    <a:pt x="81" y="117"/>
                  </a:cubicBezTo>
                  <a:cubicBezTo>
                    <a:pt x="81" y="117"/>
                    <a:pt x="80" y="117"/>
                    <a:pt x="80" y="117"/>
                  </a:cubicBezTo>
                  <a:cubicBezTo>
                    <a:pt x="78" y="116"/>
                    <a:pt x="75" y="116"/>
                    <a:pt x="74" y="116"/>
                  </a:cubicBezTo>
                  <a:cubicBezTo>
                    <a:pt x="72" y="118"/>
                    <a:pt x="71" y="120"/>
                    <a:pt x="71" y="122"/>
                  </a:cubicBezTo>
                  <a:cubicBezTo>
                    <a:pt x="71" y="123"/>
                    <a:pt x="70" y="124"/>
                    <a:pt x="70" y="125"/>
                  </a:cubicBezTo>
                  <a:cubicBezTo>
                    <a:pt x="70" y="126"/>
                    <a:pt x="68" y="127"/>
                    <a:pt x="67" y="129"/>
                  </a:cubicBezTo>
                  <a:cubicBezTo>
                    <a:pt x="64" y="132"/>
                    <a:pt x="61" y="135"/>
                    <a:pt x="61" y="138"/>
                  </a:cubicBezTo>
                  <a:cubicBezTo>
                    <a:pt x="61" y="140"/>
                    <a:pt x="62" y="143"/>
                    <a:pt x="64" y="147"/>
                  </a:cubicBezTo>
                  <a:cubicBezTo>
                    <a:pt x="66" y="149"/>
                    <a:pt x="70" y="154"/>
                    <a:pt x="72" y="157"/>
                  </a:cubicBezTo>
                  <a:cubicBezTo>
                    <a:pt x="73" y="157"/>
                    <a:pt x="75" y="158"/>
                    <a:pt x="76" y="159"/>
                  </a:cubicBezTo>
                  <a:cubicBezTo>
                    <a:pt x="77" y="160"/>
                    <a:pt x="80" y="161"/>
                    <a:pt x="80" y="162"/>
                  </a:cubicBezTo>
                  <a:cubicBezTo>
                    <a:pt x="80" y="162"/>
                    <a:pt x="80" y="163"/>
                    <a:pt x="80" y="164"/>
                  </a:cubicBezTo>
                  <a:cubicBezTo>
                    <a:pt x="80" y="166"/>
                    <a:pt x="79" y="168"/>
                    <a:pt x="80" y="169"/>
                  </a:cubicBezTo>
                  <a:cubicBezTo>
                    <a:pt x="82" y="174"/>
                    <a:pt x="88" y="182"/>
                    <a:pt x="93" y="185"/>
                  </a:cubicBezTo>
                  <a:cubicBezTo>
                    <a:pt x="94" y="186"/>
                    <a:pt x="98" y="187"/>
                    <a:pt x="99" y="187"/>
                  </a:cubicBezTo>
                  <a:cubicBezTo>
                    <a:pt x="106" y="192"/>
                    <a:pt x="106" y="192"/>
                    <a:pt x="106" y="192"/>
                  </a:cubicBezTo>
                  <a:cubicBezTo>
                    <a:pt x="112" y="441"/>
                    <a:pt x="112" y="441"/>
                    <a:pt x="112" y="441"/>
                  </a:cubicBezTo>
                  <a:cubicBezTo>
                    <a:pt x="113" y="499"/>
                    <a:pt x="113" y="499"/>
                    <a:pt x="113" y="499"/>
                  </a:cubicBezTo>
                  <a:cubicBezTo>
                    <a:pt x="113" y="501"/>
                    <a:pt x="114" y="502"/>
                    <a:pt x="116" y="502"/>
                  </a:cubicBezTo>
                  <a:cubicBezTo>
                    <a:pt x="209" y="500"/>
                    <a:pt x="209" y="500"/>
                    <a:pt x="209" y="500"/>
                  </a:cubicBezTo>
                  <a:cubicBezTo>
                    <a:pt x="357" y="493"/>
                    <a:pt x="357" y="493"/>
                    <a:pt x="357" y="493"/>
                  </a:cubicBezTo>
                  <a:cubicBezTo>
                    <a:pt x="525" y="482"/>
                    <a:pt x="525" y="482"/>
                    <a:pt x="525" y="482"/>
                  </a:cubicBezTo>
                  <a:cubicBezTo>
                    <a:pt x="527" y="484"/>
                    <a:pt x="530" y="485"/>
                    <a:pt x="531" y="486"/>
                  </a:cubicBezTo>
                  <a:cubicBezTo>
                    <a:pt x="532" y="488"/>
                    <a:pt x="535" y="491"/>
                    <a:pt x="536" y="493"/>
                  </a:cubicBezTo>
                  <a:cubicBezTo>
                    <a:pt x="537" y="494"/>
                    <a:pt x="538" y="497"/>
                    <a:pt x="538" y="499"/>
                  </a:cubicBezTo>
                  <a:cubicBezTo>
                    <a:pt x="538" y="501"/>
                    <a:pt x="538" y="505"/>
                    <a:pt x="538" y="506"/>
                  </a:cubicBezTo>
                  <a:cubicBezTo>
                    <a:pt x="537" y="507"/>
                    <a:pt x="535" y="510"/>
                    <a:pt x="533" y="512"/>
                  </a:cubicBezTo>
                  <a:cubicBezTo>
                    <a:pt x="532" y="512"/>
                    <a:pt x="531" y="513"/>
                    <a:pt x="530" y="514"/>
                  </a:cubicBezTo>
                  <a:cubicBezTo>
                    <a:pt x="528" y="515"/>
                    <a:pt x="526" y="515"/>
                    <a:pt x="525" y="516"/>
                  </a:cubicBezTo>
                  <a:cubicBezTo>
                    <a:pt x="523" y="518"/>
                    <a:pt x="521" y="520"/>
                    <a:pt x="519" y="525"/>
                  </a:cubicBezTo>
                  <a:cubicBezTo>
                    <a:pt x="518" y="525"/>
                    <a:pt x="511" y="537"/>
                    <a:pt x="519" y="543"/>
                  </a:cubicBezTo>
                  <a:cubicBezTo>
                    <a:pt x="520" y="544"/>
                    <a:pt x="520" y="544"/>
                    <a:pt x="521" y="544"/>
                  </a:cubicBezTo>
                  <a:cubicBezTo>
                    <a:pt x="521" y="544"/>
                    <a:pt x="521" y="544"/>
                    <a:pt x="521" y="544"/>
                  </a:cubicBezTo>
                  <a:cubicBezTo>
                    <a:pt x="575" y="538"/>
                    <a:pt x="575" y="538"/>
                    <a:pt x="575" y="538"/>
                  </a:cubicBezTo>
                  <a:cubicBezTo>
                    <a:pt x="576" y="538"/>
                    <a:pt x="577" y="537"/>
                    <a:pt x="577" y="536"/>
                  </a:cubicBezTo>
                  <a:cubicBezTo>
                    <a:pt x="577" y="536"/>
                    <a:pt x="581" y="527"/>
                    <a:pt x="582" y="524"/>
                  </a:cubicBezTo>
                  <a:cubicBezTo>
                    <a:pt x="582" y="524"/>
                    <a:pt x="583" y="523"/>
                    <a:pt x="584" y="522"/>
                  </a:cubicBezTo>
                  <a:cubicBezTo>
                    <a:pt x="585" y="520"/>
                    <a:pt x="587" y="518"/>
                    <a:pt x="587" y="516"/>
                  </a:cubicBezTo>
                  <a:cubicBezTo>
                    <a:pt x="587" y="513"/>
                    <a:pt x="584" y="512"/>
                    <a:pt x="582" y="510"/>
                  </a:cubicBezTo>
                  <a:cubicBezTo>
                    <a:pt x="581" y="510"/>
                    <a:pt x="581" y="509"/>
                    <a:pt x="580" y="509"/>
                  </a:cubicBezTo>
                  <a:cubicBezTo>
                    <a:pt x="581" y="508"/>
                    <a:pt x="582" y="508"/>
                    <a:pt x="583" y="507"/>
                  </a:cubicBezTo>
                  <a:cubicBezTo>
                    <a:pt x="586" y="506"/>
                    <a:pt x="589" y="505"/>
                    <a:pt x="590" y="502"/>
                  </a:cubicBezTo>
                  <a:cubicBezTo>
                    <a:pt x="590" y="500"/>
                    <a:pt x="588" y="498"/>
                    <a:pt x="587" y="496"/>
                  </a:cubicBezTo>
                  <a:cubicBezTo>
                    <a:pt x="587" y="496"/>
                    <a:pt x="586" y="495"/>
                    <a:pt x="586" y="495"/>
                  </a:cubicBezTo>
                  <a:cubicBezTo>
                    <a:pt x="586" y="495"/>
                    <a:pt x="587" y="495"/>
                    <a:pt x="587" y="495"/>
                  </a:cubicBezTo>
                  <a:cubicBezTo>
                    <a:pt x="589" y="494"/>
                    <a:pt x="592" y="494"/>
                    <a:pt x="593" y="492"/>
                  </a:cubicBezTo>
                  <a:cubicBezTo>
                    <a:pt x="594" y="489"/>
                    <a:pt x="593" y="487"/>
                    <a:pt x="591" y="485"/>
                  </a:cubicBezTo>
                  <a:cubicBezTo>
                    <a:pt x="591" y="484"/>
                    <a:pt x="590" y="483"/>
                    <a:pt x="590" y="483"/>
                  </a:cubicBezTo>
                  <a:cubicBezTo>
                    <a:pt x="589" y="478"/>
                    <a:pt x="589" y="476"/>
                    <a:pt x="589" y="476"/>
                  </a:cubicBezTo>
                  <a:cubicBezTo>
                    <a:pt x="589" y="473"/>
                    <a:pt x="590" y="471"/>
                    <a:pt x="590" y="470"/>
                  </a:cubicBezTo>
                  <a:cubicBezTo>
                    <a:pt x="591" y="471"/>
                    <a:pt x="592" y="472"/>
                    <a:pt x="593" y="473"/>
                  </a:cubicBezTo>
                  <a:cubicBezTo>
                    <a:pt x="592" y="473"/>
                    <a:pt x="592" y="474"/>
                    <a:pt x="592" y="474"/>
                  </a:cubicBezTo>
                  <a:cubicBezTo>
                    <a:pt x="591" y="476"/>
                    <a:pt x="590" y="479"/>
                    <a:pt x="592" y="481"/>
                  </a:cubicBezTo>
                  <a:cubicBezTo>
                    <a:pt x="593" y="481"/>
                    <a:pt x="594" y="481"/>
                    <a:pt x="594" y="481"/>
                  </a:cubicBezTo>
                  <a:cubicBezTo>
                    <a:pt x="598" y="481"/>
                    <a:pt x="603" y="475"/>
                    <a:pt x="603" y="474"/>
                  </a:cubicBezTo>
                  <a:cubicBezTo>
                    <a:pt x="604" y="473"/>
                    <a:pt x="604" y="471"/>
                    <a:pt x="604" y="469"/>
                  </a:cubicBezTo>
                  <a:cubicBezTo>
                    <a:pt x="604" y="467"/>
                    <a:pt x="605" y="465"/>
                    <a:pt x="605" y="465"/>
                  </a:cubicBezTo>
                  <a:cubicBezTo>
                    <a:pt x="605" y="464"/>
                    <a:pt x="607" y="464"/>
                    <a:pt x="608" y="464"/>
                  </a:cubicBezTo>
                  <a:cubicBezTo>
                    <a:pt x="609" y="464"/>
                    <a:pt x="609" y="464"/>
                    <a:pt x="609" y="464"/>
                  </a:cubicBezTo>
                  <a:cubicBezTo>
                    <a:pt x="609" y="464"/>
                    <a:pt x="610" y="465"/>
                    <a:pt x="611" y="466"/>
                  </a:cubicBezTo>
                  <a:cubicBezTo>
                    <a:pt x="613" y="467"/>
                    <a:pt x="616" y="468"/>
                    <a:pt x="618" y="467"/>
                  </a:cubicBezTo>
                  <a:cubicBezTo>
                    <a:pt x="622" y="465"/>
                    <a:pt x="623" y="456"/>
                    <a:pt x="623" y="454"/>
                  </a:cubicBezTo>
                  <a:cubicBezTo>
                    <a:pt x="623" y="452"/>
                    <a:pt x="622" y="451"/>
                    <a:pt x="621" y="449"/>
                  </a:cubicBezTo>
                  <a:cubicBezTo>
                    <a:pt x="620" y="449"/>
                    <a:pt x="619" y="447"/>
                    <a:pt x="619" y="448"/>
                  </a:cubicBezTo>
                  <a:cubicBezTo>
                    <a:pt x="619" y="447"/>
                    <a:pt x="621" y="446"/>
                    <a:pt x="622" y="446"/>
                  </a:cubicBezTo>
                  <a:cubicBezTo>
                    <a:pt x="624" y="445"/>
                    <a:pt x="626" y="444"/>
                    <a:pt x="626" y="442"/>
                  </a:cubicBezTo>
                  <a:cubicBezTo>
                    <a:pt x="627" y="439"/>
                    <a:pt x="626" y="436"/>
                    <a:pt x="625" y="433"/>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25">
              <a:extLst>
                <a:ext uri="{FF2B5EF4-FFF2-40B4-BE49-F238E27FC236}">
                  <a16:creationId xmlns:a16="http://schemas.microsoft.com/office/drawing/2014/main" id="{6CF413D2-E6F6-4F61-91BD-58FE79FFC89C}"/>
                </a:ext>
              </a:extLst>
            </p:cNvPr>
            <p:cNvSpPr>
              <a:spLocks/>
            </p:cNvSpPr>
            <p:nvPr/>
          </p:nvSpPr>
          <p:spPr bwMode="auto">
            <a:xfrm>
              <a:off x="6763887" y="3392709"/>
              <a:ext cx="752991" cy="398226"/>
            </a:xfrm>
            <a:custGeom>
              <a:avLst/>
              <a:gdLst>
                <a:gd name="T0" fmla="*/ 646 w 677"/>
                <a:gd name="T1" fmla="*/ 140 h 358"/>
                <a:gd name="T2" fmla="*/ 620 w 677"/>
                <a:gd name="T3" fmla="*/ 105 h 358"/>
                <a:gd name="T4" fmla="*/ 608 w 677"/>
                <a:gd name="T5" fmla="*/ 68 h 358"/>
                <a:gd name="T6" fmla="*/ 604 w 677"/>
                <a:gd name="T7" fmla="*/ 58 h 358"/>
                <a:gd name="T8" fmla="*/ 583 w 677"/>
                <a:gd name="T9" fmla="*/ 43 h 358"/>
                <a:gd name="T10" fmla="*/ 568 w 677"/>
                <a:gd name="T11" fmla="*/ 23 h 358"/>
                <a:gd name="T12" fmla="*/ 550 w 677"/>
                <a:gd name="T13" fmla="*/ 35 h 358"/>
                <a:gd name="T14" fmla="*/ 534 w 677"/>
                <a:gd name="T15" fmla="*/ 44 h 358"/>
                <a:gd name="T16" fmla="*/ 517 w 677"/>
                <a:gd name="T17" fmla="*/ 37 h 358"/>
                <a:gd name="T18" fmla="*/ 498 w 677"/>
                <a:gd name="T19" fmla="*/ 45 h 358"/>
                <a:gd name="T20" fmla="*/ 477 w 677"/>
                <a:gd name="T21" fmla="*/ 32 h 358"/>
                <a:gd name="T22" fmla="*/ 441 w 677"/>
                <a:gd name="T23" fmla="*/ 10 h 358"/>
                <a:gd name="T24" fmla="*/ 409 w 677"/>
                <a:gd name="T25" fmla="*/ 5 h 358"/>
                <a:gd name="T26" fmla="*/ 389 w 677"/>
                <a:gd name="T27" fmla="*/ 6 h 358"/>
                <a:gd name="T28" fmla="*/ 387 w 677"/>
                <a:gd name="T29" fmla="*/ 28 h 358"/>
                <a:gd name="T30" fmla="*/ 379 w 677"/>
                <a:gd name="T31" fmla="*/ 46 h 358"/>
                <a:gd name="T32" fmla="*/ 355 w 677"/>
                <a:gd name="T33" fmla="*/ 51 h 358"/>
                <a:gd name="T34" fmla="*/ 340 w 677"/>
                <a:gd name="T35" fmla="*/ 66 h 358"/>
                <a:gd name="T36" fmla="*/ 328 w 677"/>
                <a:gd name="T37" fmla="*/ 91 h 358"/>
                <a:gd name="T38" fmla="*/ 312 w 677"/>
                <a:gd name="T39" fmla="*/ 112 h 358"/>
                <a:gd name="T40" fmla="*/ 305 w 677"/>
                <a:gd name="T41" fmla="*/ 137 h 358"/>
                <a:gd name="T42" fmla="*/ 279 w 677"/>
                <a:gd name="T43" fmla="*/ 143 h 358"/>
                <a:gd name="T44" fmla="*/ 261 w 677"/>
                <a:gd name="T45" fmla="*/ 128 h 358"/>
                <a:gd name="T46" fmla="*/ 257 w 677"/>
                <a:gd name="T47" fmla="*/ 141 h 358"/>
                <a:gd name="T48" fmla="*/ 246 w 677"/>
                <a:gd name="T49" fmla="*/ 163 h 358"/>
                <a:gd name="T50" fmla="*/ 239 w 677"/>
                <a:gd name="T51" fmla="*/ 165 h 358"/>
                <a:gd name="T52" fmla="*/ 224 w 677"/>
                <a:gd name="T53" fmla="*/ 156 h 358"/>
                <a:gd name="T54" fmla="*/ 205 w 677"/>
                <a:gd name="T55" fmla="*/ 173 h 358"/>
                <a:gd name="T56" fmla="*/ 197 w 677"/>
                <a:gd name="T57" fmla="*/ 177 h 358"/>
                <a:gd name="T58" fmla="*/ 164 w 677"/>
                <a:gd name="T59" fmla="*/ 171 h 358"/>
                <a:gd name="T60" fmla="*/ 154 w 677"/>
                <a:gd name="T61" fmla="*/ 180 h 358"/>
                <a:gd name="T62" fmla="*/ 147 w 677"/>
                <a:gd name="T63" fmla="*/ 174 h 358"/>
                <a:gd name="T64" fmla="*/ 124 w 677"/>
                <a:gd name="T65" fmla="*/ 179 h 358"/>
                <a:gd name="T66" fmla="*/ 115 w 677"/>
                <a:gd name="T67" fmla="*/ 190 h 358"/>
                <a:gd name="T68" fmla="*/ 107 w 677"/>
                <a:gd name="T69" fmla="*/ 207 h 358"/>
                <a:gd name="T70" fmla="*/ 113 w 677"/>
                <a:gd name="T71" fmla="*/ 225 h 358"/>
                <a:gd name="T72" fmla="*/ 88 w 677"/>
                <a:gd name="T73" fmla="*/ 238 h 358"/>
                <a:gd name="T74" fmla="*/ 77 w 677"/>
                <a:gd name="T75" fmla="*/ 251 h 358"/>
                <a:gd name="T76" fmla="*/ 86 w 677"/>
                <a:gd name="T77" fmla="*/ 273 h 358"/>
                <a:gd name="T78" fmla="*/ 70 w 677"/>
                <a:gd name="T79" fmla="*/ 274 h 358"/>
                <a:gd name="T80" fmla="*/ 40 w 677"/>
                <a:gd name="T81" fmla="*/ 265 h 358"/>
                <a:gd name="T82" fmla="*/ 19 w 677"/>
                <a:gd name="T83" fmla="*/ 283 h 358"/>
                <a:gd name="T84" fmla="*/ 24 w 677"/>
                <a:gd name="T85" fmla="*/ 298 h 358"/>
                <a:gd name="T86" fmla="*/ 25 w 677"/>
                <a:gd name="T87" fmla="*/ 321 h 358"/>
                <a:gd name="T88" fmla="*/ 19 w 677"/>
                <a:gd name="T89" fmla="*/ 343 h 358"/>
                <a:gd name="T90" fmla="*/ 2 w 677"/>
                <a:gd name="T91" fmla="*/ 346 h 358"/>
                <a:gd name="T92" fmla="*/ 3 w 677"/>
                <a:gd name="T93" fmla="*/ 358 h 358"/>
                <a:gd name="T94" fmla="*/ 134 w 677"/>
                <a:gd name="T95" fmla="*/ 336 h 358"/>
                <a:gd name="T96" fmla="*/ 151 w 677"/>
                <a:gd name="T97" fmla="*/ 328 h 358"/>
                <a:gd name="T98" fmla="*/ 320 w 677"/>
                <a:gd name="T99" fmla="*/ 312 h 358"/>
                <a:gd name="T100" fmla="*/ 463 w 677"/>
                <a:gd name="T101" fmla="*/ 298 h 358"/>
                <a:gd name="T102" fmla="*/ 536 w 677"/>
                <a:gd name="T103" fmla="*/ 288 h 358"/>
                <a:gd name="T104" fmla="*/ 559 w 677"/>
                <a:gd name="T105" fmla="*/ 276 h 358"/>
                <a:gd name="T106" fmla="*/ 586 w 677"/>
                <a:gd name="T107" fmla="*/ 254 h 358"/>
                <a:gd name="T108" fmla="*/ 606 w 677"/>
                <a:gd name="T109" fmla="*/ 238 h 358"/>
                <a:gd name="T110" fmla="*/ 616 w 677"/>
                <a:gd name="T111" fmla="*/ 223 h 358"/>
                <a:gd name="T112" fmla="*/ 676 w 677"/>
                <a:gd name="T113" fmla="*/ 155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7" h="358">
                  <a:moveTo>
                    <a:pt x="677" y="152"/>
                  </a:moveTo>
                  <a:cubicBezTo>
                    <a:pt x="676" y="151"/>
                    <a:pt x="675" y="151"/>
                    <a:pt x="674" y="151"/>
                  </a:cubicBezTo>
                  <a:cubicBezTo>
                    <a:pt x="660" y="150"/>
                    <a:pt x="660" y="150"/>
                    <a:pt x="660" y="150"/>
                  </a:cubicBezTo>
                  <a:cubicBezTo>
                    <a:pt x="646" y="140"/>
                    <a:pt x="646" y="140"/>
                    <a:pt x="646" y="140"/>
                  </a:cubicBezTo>
                  <a:cubicBezTo>
                    <a:pt x="630" y="120"/>
                    <a:pt x="630" y="120"/>
                    <a:pt x="630" y="120"/>
                  </a:cubicBezTo>
                  <a:cubicBezTo>
                    <a:pt x="623" y="113"/>
                    <a:pt x="623" y="113"/>
                    <a:pt x="623" y="113"/>
                  </a:cubicBezTo>
                  <a:cubicBezTo>
                    <a:pt x="621" y="106"/>
                    <a:pt x="621" y="106"/>
                    <a:pt x="621" y="106"/>
                  </a:cubicBezTo>
                  <a:cubicBezTo>
                    <a:pt x="621" y="106"/>
                    <a:pt x="621" y="106"/>
                    <a:pt x="620" y="105"/>
                  </a:cubicBezTo>
                  <a:cubicBezTo>
                    <a:pt x="606" y="90"/>
                    <a:pt x="606" y="90"/>
                    <a:pt x="606" y="90"/>
                  </a:cubicBezTo>
                  <a:cubicBezTo>
                    <a:pt x="609" y="77"/>
                    <a:pt x="609" y="77"/>
                    <a:pt x="609" y="77"/>
                  </a:cubicBezTo>
                  <a:cubicBezTo>
                    <a:pt x="609" y="76"/>
                    <a:pt x="609" y="76"/>
                    <a:pt x="609" y="76"/>
                  </a:cubicBezTo>
                  <a:cubicBezTo>
                    <a:pt x="608" y="68"/>
                    <a:pt x="608" y="68"/>
                    <a:pt x="608" y="68"/>
                  </a:cubicBezTo>
                  <a:cubicBezTo>
                    <a:pt x="608" y="67"/>
                    <a:pt x="608" y="67"/>
                    <a:pt x="608" y="67"/>
                  </a:cubicBezTo>
                  <a:cubicBezTo>
                    <a:pt x="605" y="63"/>
                    <a:pt x="605" y="63"/>
                    <a:pt x="605" y="63"/>
                  </a:cubicBezTo>
                  <a:cubicBezTo>
                    <a:pt x="605" y="59"/>
                    <a:pt x="605" y="59"/>
                    <a:pt x="605" y="59"/>
                  </a:cubicBezTo>
                  <a:cubicBezTo>
                    <a:pt x="605" y="59"/>
                    <a:pt x="604" y="58"/>
                    <a:pt x="604" y="58"/>
                  </a:cubicBezTo>
                  <a:cubicBezTo>
                    <a:pt x="598" y="50"/>
                    <a:pt x="598" y="50"/>
                    <a:pt x="598" y="50"/>
                  </a:cubicBezTo>
                  <a:cubicBezTo>
                    <a:pt x="591" y="44"/>
                    <a:pt x="591" y="44"/>
                    <a:pt x="591" y="44"/>
                  </a:cubicBezTo>
                  <a:cubicBezTo>
                    <a:pt x="590" y="44"/>
                    <a:pt x="590" y="43"/>
                    <a:pt x="589" y="43"/>
                  </a:cubicBezTo>
                  <a:cubicBezTo>
                    <a:pt x="583" y="43"/>
                    <a:pt x="583" y="43"/>
                    <a:pt x="583" y="43"/>
                  </a:cubicBezTo>
                  <a:cubicBezTo>
                    <a:pt x="577" y="36"/>
                    <a:pt x="577" y="36"/>
                    <a:pt x="577" y="36"/>
                  </a:cubicBezTo>
                  <a:cubicBezTo>
                    <a:pt x="571" y="24"/>
                    <a:pt x="571" y="24"/>
                    <a:pt x="571" y="24"/>
                  </a:cubicBezTo>
                  <a:cubicBezTo>
                    <a:pt x="571" y="23"/>
                    <a:pt x="570" y="23"/>
                    <a:pt x="570" y="23"/>
                  </a:cubicBezTo>
                  <a:cubicBezTo>
                    <a:pt x="569" y="22"/>
                    <a:pt x="568" y="22"/>
                    <a:pt x="568" y="23"/>
                  </a:cubicBezTo>
                  <a:cubicBezTo>
                    <a:pt x="559" y="27"/>
                    <a:pt x="559" y="27"/>
                    <a:pt x="559" y="27"/>
                  </a:cubicBezTo>
                  <a:cubicBezTo>
                    <a:pt x="559" y="27"/>
                    <a:pt x="559" y="27"/>
                    <a:pt x="559" y="27"/>
                  </a:cubicBezTo>
                  <a:cubicBezTo>
                    <a:pt x="551" y="35"/>
                    <a:pt x="551" y="35"/>
                    <a:pt x="551" y="35"/>
                  </a:cubicBezTo>
                  <a:cubicBezTo>
                    <a:pt x="550" y="35"/>
                    <a:pt x="550" y="35"/>
                    <a:pt x="550" y="35"/>
                  </a:cubicBezTo>
                  <a:cubicBezTo>
                    <a:pt x="547" y="41"/>
                    <a:pt x="547" y="41"/>
                    <a:pt x="547" y="41"/>
                  </a:cubicBezTo>
                  <a:cubicBezTo>
                    <a:pt x="541" y="41"/>
                    <a:pt x="541" y="41"/>
                    <a:pt x="541" y="41"/>
                  </a:cubicBezTo>
                  <a:cubicBezTo>
                    <a:pt x="540" y="41"/>
                    <a:pt x="540" y="41"/>
                    <a:pt x="540" y="41"/>
                  </a:cubicBezTo>
                  <a:cubicBezTo>
                    <a:pt x="534" y="44"/>
                    <a:pt x="534" y="44"/>
                    <a:pt x="534" y="44"/>
                  </a:cubicBezTo>
                  <a:cubicBezTo>
                    <a:pt x="528" y="39"/>
                    <a:pt x="528" y="39"/>
                    <a:pt x="528" y="39"/>
                  </a:cubicBezTo>
                  <a:cubicBezTo>
                    <a:pt x="528" y="39"/>
                    <a:pt x="527" y="38"/>
                    <a:pt x="527" y="38"/>
                  </a:cubicBezTo>
                  <a:cubicBezTo>
                    <a:pt x="517" y="37"/>
                    <a:pt x="517" y="37"/>
                    <a:pt x="517" y="37"/>
                  </a:cubicBezTo>
                  <a:cubicBezTo>
                    <a:pt x="517" y="37"/>
                    <a:pt x="517" y="37"/>
                    <a:pt x="517" y="37"/>
                  </a:cubicBezTo>
                  <a:cubicBezTo>
                    <a:pt x="510" y="38"/>
                    <a:pt x="510" y="38"/>
                    <a:pt x="510" y="38"/>
                  </a:cubicBezTo>
                  <a:cubicBezTo>
                    <a:pt x="509" y="38"/>
                    <a:pt x="508" y="38"/>
                    <a:pt x="508" y="39"/>
                  </a:cubicBezTo>
                  <a:cubicBezTo>
                    <a:pt x="503" y="45"/>
                    <a:pt x="503" y="45"/>
                    <a:pt x="503" y="45"/>
                  </a:cubicBezTo>
                  <a:cubicBezTo>
                    <a:pt x="498" y="45"/>
                    <a:pt x="498" y="45"/>
                    <a:pt x="498" y="45"/>
                  </a:cubicBezTo>
                  <a:cubicBezTo>
                    <a:pt x="483" y="34"/>
                    <a:pt x="483" y="34"/>
                    <a:pt x="483" y="34"/>
                  </a:cubicBezTo>
                  <a:cubicBezTo>
                    <a:pt x="483" y="33"/>
                    <a:pt x="483" y="33"/>
                    <a:pt x="482" y="33"/>
                  </a:cubicBezTo>
                  <a:cubicBezTo>
                    <a:pt x="478" y="32"/>
                    <a:pt x="478" y="32"/>
                    <a:pt x="478" y="32"/>
                  </a:cubicBezTo>
                  <a:cubicBezTo>
                    <a:pt x="478" y="32"/>
                    <a:pt x="477" y="32"/>
                    <a:pt x="477" y="32"/>
                  </a:cubicBezTo>
                  <a:cubicBezTo>
                    <a:pt x="462" y="34"/>
                    <a:pt x="462" y="34"/>
                    <a:pt x="462" y="34"/>
                  </a:cubicBezTo>
                  <a:cubicBezTo>
                    <a:pt x="456" y="33"/>
                    <a:pt x="456" y="33"/>
                    <a:pt x="456" y="33"/>
                  </a:cubicBezTo>
                  <a:cubicBezTo>
                    <a:pt x="445" y="19"/>
                    <a:pt x="445" y="19"/>
                    <a:pt x="445" y="19"/>
                  </a:cubicBezTo>
                  <a:cubicBezTo>
                    <a:pt x="441" y="10"/>
                    <a:pt x="441" y="10"/>
                    <a:pt x="441" y="10"/>
                  </a:cubicBezTo>
                  <a:cubicBezTo>
                    <a:pt x="440" y="9"/>
                    <a:pt x="440" y="9"/>
                    <a:pt x="439" y="9"/>
                  </a:cubicBezTo>
                  <a:cubicBezTo>
                    <a:pt x="421" y="2"/>
                    <a:pt x="421" y="2"/>
                    <a:pt x="421" y="2"/>
                  </a:cubicBezTo>
                  <a:cubicBezTo>
                    <a:pt x="421" y="1"/>
                    <a:pt x="420" y="1"/>
                    <a:pt x="420" y="2"/>
                  </a:cubicBezTo>
                  <a:cubicBezTo>
                    <a:pt x="409" y="5"/>
                    <a:pt x="409" y="5"/>
                    <a:pt x="409" y="5"/>
                  </a:cubicBezTo>
                  <a:cubicBezTo>
                    <a:pt x="402" y="0"/>
                    <a:pt x="402" y="0"/>
                    <a:pt x="402" y="0"/>
                  </a:cubicBezTo>
                  <a:cubicBezTo>
                    <a:pt x="402" y="0"/>
                    <a:pt x="400" y="0"/>
                    <a:pt x="400" y="0"/>
                  </a:cubicBezTo>
                  <a:cubicBezTo>
                    <a:pt x="390" y="6"/>
                    <a:pt x="390" y="6"/>
                    <a:pt x="390" y="6"/>
                  </a:cubicBezTo>
                  <a:cubicBezTo>
                    <a:pt x="389" y="6"/>
                    <a:pt x="389" y="6"/>
                    <a:pt x="389" y="6"/>
                  </a:cubicBezTo>
                  <a:cubicBezTo>
                    <a:pt x="385" y="10"/>
                    <a:pt x="385" y="10"/>
                    <a:pt x="385" y="10"/>
                  </a:cubicBezTo>
                  <a:cubicBezTo>
                    <a:pt x="385" y="11"/>
                    <a:pt x="384" y="12"/>
                    <a:pt x="385" y="13"/>
                  </a:cubicBezTo>
                  <a:cubicBezTo>
                    <a:pt x="389" y="21"/>
                    <a:pt x="389" y="21"/>
                    <a:pt x="389" y="21"/>
                  </a:cubicBezTo>
                  <a:cubicBezTo>
                    <a:pt x="387" y="28"/>
                    <a:pt x="387" y="28"/>
                    <a:pt x="387" y="28"/>
                  </a:cubicBezTo>
                  <a:cubicBezTo>
                    <a:pt x="387" y="28"/>
                    <a:pt x="387" y="29"/>
                    <a:pt x="387" y="30"/>
                  </a:cubicBezTo>
                  <a:cubicBezTo>
                    <a:pt x="394" y="37"/>
                    <a:pt x="394" y="37"/>
                    <a:pt x="394" y="37"/>
                  </a:cubicBezTo>
                  <a:cubicBezTo>
                    <a:pt x="393" y="42"/>
                    <a:pt x="393" y="42"/>
                    <a:pt x="393" y="42"/>
                  </a:cubicBezTo>
                  <a:cubicBezTo>
                    <a:pt x="379" y="46"/>
                    <a:pt x="379" y="46"/>
                    <a:pt x="379" y="46"/>
                  </a:cubicBezTo>
                  <a:cubicBezTo>
                    <a:pt x="378" y="46"/>
                    <a:pt x="378" y="46"/>
                    <a:pt x="378" y="46"/>
                  </a:cubicBezTo>
                  <a:cubicBezTo>
                    <a:pt x="365" y="56"/>
                    <a:pt x="365" y="56"/>
                    <a:pt x="365" y="56"/>
                  </a:cubicBezTo>
                  <a:cubicBezTo>
                    <a:pt x="358" y="52"/>
                    <a:pt x="358" y="52"/>
                    <a:pt x="358" y="52"/>
                  </a:cubicBezTo>
                  <a:cubicBezTo>
                    <a:pt x="357" y="51"/>
                    <a:pt x="356" y="51"/>
                    <a:pt x="355" y="51"/>
                  </a:cubicBezTo>
                  <a:cubicBezTo>
                    <a:pt x="348" y="54"/>
                    <a:pt x="348" y="54"/>
                    <a:pt x="348" y="54"/>
                  </a:cubicBezTo>
                  <a:cubicBezTo>
                    <a:pt x="341" y="55"/>
                    <a:pt x="341" y="55"/>
                    <a:pt x="341" y="55"/>
                  </a:cubicBezTo>
                  <a:cubicBezTo>
                    <a:pt x="340" y="55"/>
                    <a:pt x="339" y="56"/>
                    <a:pt x="339" y="58"/>
                  </a:cubicBezTo>
                  <a:cubicBezTo>
                    <a:pt x="340" y="66"/>
                    <a:pt x="340" y="66"/>
                    <a:pt x="340" y="66"/>
                  </a:cubicBezTo>
                  <a:cubicBezTo>
                    <a:pt x="343" y="74"/>
                    <a:pt x="343" y="74"/>
                    <a:pt x="343" y="74"/>
                  </a:cubicBezTo>
                  <a:cubicBezTo>
                    <a:pt x="341" y="81"/>
                    <a:pt x="341" y="81"/>
                    <a:pt x="341" y="81"/>
                  </a:cubicBezTo>
                  <a:cubicBezTo>
                    <a:pt x="336" y="87"/>
                    <a:pt x="336" y="87"/>
                    <a:pt x="336" y="87"/>
                  </a:cubicBezTo>
                  <a:cubicBezTo>
                    <a:pt x="328" y="91"/>
                    <a:pt x="328" y="91"/>
                    <a:pt x="328" y="91"/>
                  </a:cubicBezTo>
                  <a:cubicBezTo>
                    <a:pt x="328" y="92"/>
                    <a:pt x="327" y="92"/>
                    <a:pt x="327" y="93"/>
                  </a:cubicBezTo>
                  <a:cubicBezTo>
                    <a:pt x="325" y="107"/>
                    <a:pt x="325" y="107"/>
                    <a:pt x="325" y="107"/>
                  </a:cubicBezTo>
                  <a:cubicBezTo>
                    <a:pt x="319" y="112"/>
                    <a:pt x="319" y="112"/>
                    <a:pt x="319" y="112"/>
                  </a:cubicBezTo>
                  <a:cubicBezTo>
                    <a:pt x="312" y="112"/>
                    <a:pt x="312" y="112"/>
                    <a:pt x="312" y="112"/>
                  </a:cubicBezTo>
                  <a:cubicBezTo>
                    <a:pt x="311" y="112"/>
                    <a:pt x="310" y="112"/>
                    <a:pt x="310" y="114"/>
                  </a:cubicBezTo>
                  <a:cubicBezTo>
                    <a:pt x="305" y="129"/>
                    <a:pt x="305" y="129"/>
                    <a:pt x="305" y="129"/>
                  </a:cubicBezTo>
                  <a:cubicBezTo>
                    <a:pt x="305" y="129"/>
                    <a:pt x="305" y="129"/>
                    <a:pt x="305" y="130"/>
                  </a:cubicBezTo>
                  <a:cubicBezTo>
                    <a:pt x="305" y="137"/>
                    <a:pt x="305" y="137"/>
                    <a:pt x="305" y="137"/>
                  </a:cubicBezTo>
                  <a:cubicBezTo>
                    <a:pt x="304" y="144"/>
                    <a:pt x="304" y="144"/>
                    <a:pt x="304" y="144"/>
                  </a:cubicBezTo>
                  <a:cubicBezTo>
                    <a:pt x="299" y="147"/>
                    <a:pt x="299" y="147"/>
                    <a:pt x="299" y="147"/>
                  </a:cubicBezTo>
                  <a:cubicBezTo>
                    <a:pt x="285" y="146"/>
                    <a:pt x="285" y="146"/>
                    <a:pt x="285" y="146"/>
                  </a:cubicBezTo>
                  <a:cubicBezTo>
                    <a:pt x="279" y="143"/>
                    <a:pt x="279" y="143"/>
                    <a:pt x="279" y="143"/>
                  </a:cubicBezTo>
                  <a:cubicBezTo>
                    <a:pt x="273" y="133"/>
                    <a:pt x="273" y="133"/>
                    <a:pt x="273" y="133"/>
                  </a:cubicBezTo>
                  <a:cubicBezTo>
                    <a:pt x="272" y="132"/>
                    <a:pt x="272" y="132"/>
                    <a:pt x="271" y="132"/>
                  </a:cubicBezTo>
                  <a:cubicBezTo>
                    <a:pt x="264" y="128"/>
                    <a:pt x="264" y="128"/>
                    <a:pt x="264" y="128"/>
                  </a:cubicBezTo>
                  <a:cubicBezTo>
                    <a:pt x="263" y="127"/>
                    <a:pt x="262" y="128"/>
                    <a:pt x="261" y="128"/>
                  </a:cubicBezTo>
                  <a:cubicBezTo>
                    <a:pt x="261" y="129"/>
                    <a:pt x="260" y="130"/>
                    <a:pt x="261" y="131"/>
                  </a:cubicBezTo>
                  <a:cubicBezTo>
                    <a:pt x="263" y="136"/>
                    <a:pt x="263" y="136"/>
                    <a:pt x="263" y="136"/>
                  </a:cubicBezTo>
                  <a:cubicBezTo>
                    <a:pt x="257" y="140"/>
                    <a:pt x="257" y="140"/>
                    <a:pt x="257" y="140"/>
                  </a:cubicBezTo>
                  <a:cubicBezTo>
                    <a:pt x="257" y="140"/>
                    <a:pt x="257" y="141"/>
                    <a:pt x="257" y="141"/>
                  </a:cubicBezTo>
                  <a:cubicBezTo>
                    <a:pt x="251" y="148"/>
                    <a:pt x="251" y="148"/>
                    <a:pt x="251" y="148"/>
                  </a:cubicBezTo>
                  <a:cubicBezTo>
                    <a:pt x="251" y="149"/>
                    <a:pt x="250" y="149"/>
                    <a:pt x="251" y="150"/>
                  </a:cubicBezTo>
                  <a:cubicBezTo>
                    <a:pt x="251" y="157"/>
                    <a:pt x="251" y="157"/>
                    <a:pt x="251" y="157"/>
                  </a:cubicBezTo>
                  <a:cubicBezTo>
                    <a:pt x="246" y="163"/>
                    <a:pt x="246" y="163"/>
                    <a:pt x="246" y="163"/>
                  </a:cubicBezTo>
                  <a:cubicBezTo>
                    <a:pt x="246" y="164"/>
                    <a:pt x="246" y="164"/>
                    <a:pt x="246" y="164"/>
                  </a:cubicBezTo>
                  <a:cubicBezTo>
                    <a:pt x="245" y="169"/>
                    <a:pt x="245" y="169"/>
                    <a:pt x="245" y="169"/>
                  </a:cubicBezTo>
                  <a:cubicBezTo>
                    <a:pt x="240" y="166"/>
                    <a:pt x="240" y="166"/>
                    <a:pt x="240" y="166"/>
                  </a:cubicBezTo>
                  <a:cubicBezTo>
                    <a:pt x="240" y="165"/>
                    <a:pt x="239" y="165"/>
                    <a:pt x="239" y="165"/>
                  </a:cubicBezTo>
                  <a:cubicBezTo>
                    <a:pt x="233" y="164"/>
                    <a:pt x="233" y="164"/>
                    <a:pt x="233" y="164"/>
                  </a:cubicBezTo>
                  <a:cubicBezTo>
                    <a:pt x="228" y="157"/>
                    <a:pt x="228" y="157"/>
                    <a:pt x="228" y="157"/>
                  </a:cubicBezTo>
                  <a:cubicBezTo>
                    <a:pt x="227" y="156"/>
                    <a:pt x="227" y="156"/>
                    <a:pt x="226" y="156"/>
                  </a:cubicBezTo>
                  <a:cubicBezTo>
                    <a:pt x="225" y="156"/>
                    <a:pt x="224" y="156"/>
                    <a:pt x="224" y="156"/>
                  </a:cubicBezTo>
                  <a:cubicBezTo>
                    <a:pt x="218" y="162"/>
                    <a:pt x="218" y="162"/>
                    <a:pt x="218" y="162"/>
                  </a:cubicBezTo>
                  <a:cubicBezTo>
                    <a:pt x="211" y="165"/>
                    <a:pt x="211" y="165"/>
                    <a:pt x="211" y="165"/>
                  </a:cubicBezTo>
                  <a:cubicBezTo>
                    <a:pt x="211" y="165"/>
                    <a:pt x="210" y="165"/>
                    <a:pt x="210" y="165"/>
                  </a:cubicBezTo>
                  <a:cubicBezTo>
                    <a:pt x="205" y="173"/>
                    <a:pt x="205" y="173"/>
                    <a:pt x="205" y="173"/>
                  </a:cubicBezTo>
                  <a:cubicBezTo>
                    <a:pt x="205" y="173"/>
                    <a:pt x="204" y="174"/>
                    <a:pt x="204" y="174"/>
                  </a:cubicBezTo>
                  <a:cubicBezTo>
                    <a:pt x="204" y="176"/>
                    <a:pt x="204" y="176"/>
                    <a:pt x="204" y="176"/>
                  </a:cubicBezTo>
                  <a:cubicBezTo>
                    <a:pt x="202" y="181"/>
                    <a:pt x="202" y="181"/>
                    <a:pt x="202" y="181"/>
                  </a:cubicBezTo>
                  <a:cubicBezTo>
                    <a:pt x="197" y="177"/>
                    <a:pt x="197" y="177"/>
                    <a:pt x="197" y="177"/>
                  </a:cubicBezTo>
                  <a:cubicBezTo>
                    <a:pt x="197" y="176"/>
                    <a:pt x="196" y="176"/>
                    <a:pt x="196" y="176"/>
                  </a:cubicBezTo>
                  <a:cubicBezTo>
                    <a:pt x="173" y="167"/>
                    <a:pt x="173" y="167"/>
                    <a:pt x="173" y="167"/>
                  </a:cubicBezTo>
                  <a:cubicBezTo>
                    <a:pt x="172" y="167"/>
                    <a:pt x="172" y="167"/>
                    <a:pt x="171" y="168"/>
                  </a:cubicBezTo>
                  <a:cubicBezTo>
                    <a:pt x="164" y="171"/>
                    <a:pt x="164" y="171"/>
                    <a:pt x="164" y="171"/>
                  </a:cubicBezTo>
                  <a:cubicBezTo>
                    <a:pt x="155" y="172"/>
                    <a:pt x="155" y="172"/>
                    <a:pt x="155" y="172"/>
                  </a:cubicBezTo>
                  <a:cubicBezTo>
                    <a:pt x="154" y="172"/>
                    <a:pt x="153" y="172"/>
                    <a:pt x="153" y="173"/>
                  </a:cubicBezTo>
                  <a:cubicBezTo>
                    <a:pt x="152" y="173"/>
                    <a:pt x="152" y="174"/>
                    <a:pt x="153" y="175"/>
                  </a:cubicBezTo>
                  <a:cubicBezTo>
                    <a:pt x="154" y="180"/>
                    <a:pt x="154" y="180"/>
                    <a:pt x="154" y="180"/>
                  </a:cubicBezTo>
                  <a:cubicBezTo>
                    <a:pt x="152" y="181"/>
                    <a:pt x="152" y="181"/>
                    <a:pt x="152" y="181"/>
                  </a:cubicBezTo>
                  <a:cubicBezTo>
                    <a:pt x="151" y="176"/>
                    <a:pt x="151" y="176"/>
                    <a:pt x="151" y="176"/>
                  </a:cubicBezTo>
                  <a:cubicBezTo>
                    <a:pt x="151" y="175"/>
                    <a:pt x="150" y="174"/>
                    <a:pt x="149" y="174"/>
                  </a:cubicBezTo>
                  <a:cubicBezTo>
                    <a:pt x="149" y="174"/>
                    <a:pt x="148" y="174"/>
                    <a:pt x="147" y="174"/>
                  </a:cubicBezTo>
                  <a:cubicBezTo>
                    <a:pt x="141" y="178"/>
                    <a:pt x="141" y="178"/>
                    <a:pt x="141" y="178"/>
                  </a:cubicBezTo>
                  <a:cubicBezTo>
                    <a:pt x="126" y="176"/>
                    <a:pt x="126" y="176"/>
                    <a:pt x="126" y="176"/>
                  </a:cubicBezTo>
                  <a:cubicBezTo>
                    <a:pt x="126" y="176"/>
                    <a:pt x="125" y="176"/>
                    <a:pt x="124" y="177"/>
                  </a:cubicBezTo>
                  <a:cubicBezTo>
                    <a:pt x="124" y="178"/>
                    <a:pt x="123" y="179"/>
                    <a:pt x="124" y="179"/>
                  </a:cubicBezTo>
                  <a:cubicBezTo>
                    <a:pt x="126" y="185"/>
                    <a:pt x="126" y="185"/>
                    <a:pt x="126" y="185"/>
                  </a:cubicBezTo>
                  <a:cubicBezTo>
                    <a:pt x="123" y="190"/>
                    <a:pt x="123" y="190"/>
                    <a:pt x="123" y="190"/>
                  </a:cubicBezTo>
                  <a:cubicBezTo>
                    <a:pt x="117" y="189"/>
                    <a:pt x="117" y="189"/>
                    <a:pt x="117" y="189"/>
                  </a:cubicBezTo>
                  <a:cubicBezTo>
                    <a:pt x="116" y="189"/>
                    <a:pt x="116" y="189"/>
                    <a:pt x="115" y="190"/>
                  </a:cubicBezTo>
                  <a:cubicBezTo>
                    <a:pt x="115" y="190"/>
                    <a:pt x="114" y="191"/>
                    <a:pt x="114" y="191"/>
                  </a:cubicBezTo>
                  <a:cubicBezTo>
                    <a:pt x="114" y="194"/>
                    <a:pt x="114" y="194"/>
                    <a:pt x="114" y="194"/>
                  </a:cubicBezTo>
                  <a:cubicBezTo>
                    <a:pt x="112" y="200"/>
                    <a:pt x="112" y="200"/>
                    <a:pt x="112" y="200"/>
                  </a:cubicBezTo>
                  <a:cubicBezTo>
                    <a:pt x="107" y="207"/>
                    <a:pt x="107" y="207"/>
                    <a:pt x="107" y="207"/>
                  </a:cubicBezTo>
                  <a:cubicBezTo>
                    <a:pt x="106" y="208"/>
                    <a:pt x="106" y="209"/>
                    <a:pt x="106" y="209"/>
                  </a:cubicBezTo>
                  <a:cubicBezTo>
                    <a:pt x="108" y="217"/>
                    <a:pt x="108" y="217"/>
                    <a:pt x="108" y="217"/>
                  </a:cubicBezTo>
                  <a:cubicBezTo>
                    <a:pt x="108" y="218"/>
                    <a:pt x="108" y="218"/>
                    <a:pt x="108" y="218"/>
                  </a:cubicBezTo>
                  <a:cubicBezTo>
                    <a:pt x="113" y="225"/>
                    <a:pt x="113" y="225"/>
                    <a:pt x="113" y="225"/>
                  </a:cubicBezTo>
                  <a:cubicBezTo>
                    <a:pt x="109" y="230"/>
                    <a:pt x="109" y="230"/>
                    <a:pt x="109" y="230"/>
                  </a:cubicBezTo>
                  <a:cubicBezTo>
                    <a:pt x="96" y="233"/>
                    <a:pt x="96" y="233"/>
                    <a:pt x="96" y="233"/>
                  </a:cubicBezTo>
                  <a:cubicBezTo>
                    <a:pt x="96" y="233"/>
                    <a:pt x="95" y="233"/>
                    <a:pt x="95" y="233"/>
                  </a:cubicBezTo>
                  <a:cubicBezTo>
                    <a:pt x="88" y="238"/>
                    <a:pt x="88" y="238"/>
                    <a:pt x="88" y="238"/>
                  </a:cubicBezTo>
                  <a:cubicBezTo>
                    <a:pt x="80" y="241"/>
                    <a:pt x="80" y="241"/>
                    <a:pt x="80" y="241"/>
                  </a:cubicBezTo>
                  <a:cubicBezTo>
                    <a:pt x="80" y="241"/>
                    <a:pt x="79" y="242"/>
                    <a:pt x="79" y="243"/>
                  </a:cubicBezTo>
                  <a:cubicBezTo>
                    <a:pt x="77" y="250"/>
                    <a:pt x="77" y="250"/>
                    <a:pt x="77" y="250"/>
                  </a:cubicBezTo>
                  <a:cubicBezTo>
                    <a:pt x="77" y="250"/>
                    <a:pt x="77" y="251"/>
                    <a:pt x="77" y="251"/>
                  </a:cubicBezTo>
                  <a:cubicBezTo>
                    <a:pt x="78" y="259"/>
                    <a:pt x="78" y="259"/>
                    <a:pt x="78" y="259"/>
                  </a:cubicBezTo>
                  <a:cubicBezTo>
                    <a:pt x="78" y="259"/>
                    <a:pt x="78" y="260"/>
                    <a:pt x="79" y="260"/>
                  </a:cubicBezTo>
                  <a:cubicBezTo>
                    <a:pt x="84" y="267"/>
                    <a:pt x="84" y="267"/>
                    <a:pt x="84" y="267"/>
                  </a:cubicBezTo>
                  <a:cubicBezTo>
                    <a:pt x="86" y="273"/>
                    <a:pt x="86" y="273"/>
                    <a:pt x="86" y="273"/>
                  </a:cubicBezTo>
                  <a:cubicBezTo>
                    <a:pt x="82" y="280"/>
                    <a:pt x="82" y="280"/>
                    <a:pt x="82" y="280"/>
                  </a:cubicBezTo>
                  <a:cubicBezTo>
                    <a:pt x="77" y="279"/>
                    <a:pt x="77" y="279"/>
                    <a:pt x="77" y="279"/>
                  </a:cubicBezTo>
                  <a:cubicBezTo>
                    <a:pt x="70" y="274"/>
                    <a:pt x="70" y="274"/>
                    <a:pt x="70" y="274"/>
                  </a:cubicBezTo>
                  <a:cubicBezTo>
                    <a:pt x="70" y="274"/>
                    <a:pt x="70" y="274"/>
                    <a:pt x="70" y="274"/>
                  </a:cubicBezTo>
                  <a:cubicBezTo>
                    <a:pt x="56" y="270"/>
                    <a:pt x="56" y="270"/>
                    <a:pt x="56" y="270"/>
                  </a:cubicBezTo>
                  <a:cubicBezTo>
                    <a:pt x="49" y="266"/>
                    <a:pt x="49" y="266"/>
                    <a:pt x="49" y="266"/>
                  </a:cubicBezTo>
                  <a:cubicBezTo>
                    <a:pt x="48" y="266"/>
                    <a:pt x="48" y="266"/>
                    <a:pt x="48" y="266"/>
                  </a:cubicBezTo>
                  <a:cubicBezTo>
                    <a:pt x="40" y="265"/>
                    <a:pt x="40" y="265"/>
                    <a:pt x="40" y="265"/>
                  </a:cubicBezTo>
                  <a:cubicBezTo>
                    <a:pt x="40" y="265"/>
                    <a:pt x="39" y="265"/>
                    <a:pt x="39" y="265"/>
                  </a:cubicBezTo>
                  <a:cubicBezTo>
                    <a:pt x="31" y="268"/>
                    <a:pt x="31" y="268"/>
                    <a:pt x="31" y="268"/>
                  </a:cubicBezTo>
                  <a:cubicBezTo>
                    <a:pt x="31" y="268"/>
                    <a:pt x="31" y="268"/>
                    <a:pt x="30" y="269"/>
                  </a:cubicBezTo>
                  <a:cubicBezTo>
                    <a:pt x="19" y="283"/>
                    <a:pt x="19" y="283"/>
                    <a:pt x="19" y="283"/>
                  </a:cubicBezTo>
                  <a:cubicBezTo>
                    <a:pt x="19" y="283"/>
                    <a:pt x="19" y="284"/>
                    <a:pt x="19" y="284"/>
                  </a:cubicBezTo>
                  <a:cubicBezTo>
                    <a:pt x="19" y="292"/>
                    <a:pt x="19" y="292"/>
                    <a:pt x="19" y="292"/>
                  </a:cubicBezTo>
                  <a:cubicBezTo>
                    <a:pt x="19" y="293"/>
                    <a:pt x="19" y="294"/>
                    <a:pt x="20" y="294"/>
                  </a:cubicBezTo>
                  <a:cubicBezTo>
                    <a:pt x="24" y="298"/>
                    <a:pt x="24" y="298"/>
                    <a:pt x="24" y="298"/>
                  </a:cubicBezTo>
                  <a:cubicBezTo>
                    <a:pt x="25" y="303"/>
                    <a:pt x="25" y="303"/>
                    <a:pt x="25" y="303"/>
                  </a:cubicBezTo>
                  <a:cubicBezTo>
                    <a:pt x="23" y="311"/>
                    <a:pt x="23" y="311"/>
                    <a:pt x="23" y="311"/>
                  </a:cubicBezTo>
                  <a:cubicBezTo>
                    <a:pt x="23" y="311"/>
                    <a:pt x="23" y="311"/>
                    <a:pt x="23" y="312"/>
                  </a:cubicBezTo>
                  <a:cubicBezTo>
                    <a:pt x="25" y="321"/>
                    <a:pt x="25" y="321"/>
                    <a:pt x="25" y="321"/>
                  </a:cubicBezTo>
                  <a:cubicBezTo>
                    <a:pt x="19" y="326"/>
                    <a:pt x="19" y="326"/>
                    <a:pt x="19" y="326"/>
                  </a:cubicBezTo>
                  <a:cubicBezTo>
                    <a:pt x="18" y="327"/>
                    <a:pt x="18" y="328"/>
                    <a:pt x="19" y="329"/>
                  </a:cubicBezTo>
                  <a:cubicBezTo>
                    <a:pt x="22" y="335"/>
                    <a:pt x="22" y="335"/>
                    <a:pt x="22" y="335"/>
                  </a:cubicBezTo>
                  <a:cubicBezTo>
                    <a:pt x="19" y="343"/>
                    <a:pt x="19" y="343"/>
                    <a:pt x="19" y="343"/>
                  </a:cubicBezTo>
                  <a:cubicBezTo>
                    <a:pt x="14" y="341"/>
                    <a:pt x="14" y="341"/>
                    <a:pt x="14" y="341"/>
                  </a:cubicBezTo>
                  <a:cubicBezTo>
                    <a:pt x="13" y="340"/>
                    <a:pt x="12" y="340"/>
                    <a:pt x="12" y="341"/>
                  </a:cubicBezTo>
                  <a:cubicBezTo>
                    <a:pt x="4" y="344"/>
                    <a:pt x="4" y="344"/>
                    <a:pt x="4" y="344"/>
                  </a:cubicBezTo>
                  <a:cubicBezTo>
                    <a:pt x="3" y="345"/>
                    <a:pt x="3" y="345"/>
                    <a:pt x="2" y="346"/>
                  </a:cubicBezTo>
                  <a:cubicBezTo>
                    <a:pt x="0" y="355"/>
                    <a:pt x="0" y="355"/>
                    <a:pt x="0" y="355"/>
                  </a:cubicBezTo>
                  <a:cubicBezTo>
                    <a:pt x="0" y="356"/>
                    <a:pt x="0" y="357"/>
                    <a:pt x="1" y="358"/>
                  </a:cubicBezTo>
                  <a:cubicBezTo>
                    <a:pt x="1" y="358"/>
                    <a:pt x="2" y="358"/>
                    <a:pt x="3" y="358"/>
                  </a:cubicBezTo>
                  <a:cubicBezTo>
                    <a:pt x="3" y="358"/>
                    <a:pt x="3" y="358"/>
                    <a:pt x="3" y="358"/>
                  </a:cubicBezTo>
                  <a:cubicBezTo>
                    <a:pt x="131" y="348"/>
                    <a:pt x="131" y="348"/>
                    <a:pt x="131" y="348"/>
                  </a:cubicBezTo>
                  <a:cubicBezTo>
                    <a:pt x="132" y="347"/>
                    <a:pt x="133" y="347"/>
                    <a:pt x="133" y="345"/>
                  </a:cubicBezTo>
                  <a:cubicBezTo>
                    <a:pt x="134" y="337"/>
                    <a:pt x="134" y="337"/>
                    <a:pt x="134" y="337"/>
                  </a:cubicBezTo>
                  <a:cubicBezTo>
                    <a:pt x="134" y="337"/>
                    <a:pt x="134" y="337"/>
                    <a:pt x="134" y="336"/>
                  </a:cubicBezTo>
                  <a:cubicBezTo>
                    <a:pt x="130" y="325"/>
                    <a:pt x="130" y="325"/>
                    <a:pt x="130" y="325"/>
                  </a:cubicBezTo>
                  <a:cubicBezTo>
                    <a:pt x="142" y="325"/>
                    <a:pt x="142" y="325"/>
                    <a:pt x="142" y="325"/>
                  </a:cubicBezTo>
                  <a:cubicBezTo>
                    <a:pt x="150" y="328"/>
                    <a:pt x="150" y="328"/>
                    <a:pt x="150" y="328"/>
                  </a:cubicBezTo>
                  <a:cubicBezTo>
                    <a:pt x="150" y="328"/>
                    <a:pt x="151" y="328"/>
                    <a:pt x="151" y="328"/>
                  </a:cubicBezTo>
                  <a:cubicBezTo>
                    <a:pt x="190" y="323"/>
                    <a:pt x="190" y="323"/>
                    <a:pt x="190" y="323"/>
                  </a:cubicBezTo>
                  <a:cubicBezTo>
                    <a:pt x="227" y="320"/>
                    <a:pt x="227" y="320"/>
                    <a:pt x="227" y="320"/>
                  </a:cubicBezTo>
                  <a:cubicBezTo>
                    <a:pt x="274" y="314"/>
                    <a:pt x="274" y="314"/>
                    <a:pt x="274" y="314"/>
                  </a:cubicBezTo>
                  <a:cubicBezTo>
                    <a:pt x="320" y="312"/>
                    <a:pt x="320" y="312"/>
                    <a:pt x="320" y="312"/>
                  </a:cubicBezTo>
                  <a:cubicBezTo>
                    <a:pt x="366" y="307"/>
                    <a:pt x="366" y="307"/>
                    <a:pt x="366" y="307"/>
                  </a:cubicBezTo>
                  <a:cubicBezTo>
                    <a:pt x="391" y="303"/>
                    <a:pt x="391" y="303"/>
                    <a:pt x="391" y="303"/>
                  </a:cubicBezTo>
                  <a:cubicBezTo>
                    <a:pt x="432" y="301"/>
                    <a:pt x="432" y="301"/>
                    <a:pt x="432" y="301"/>
                  </a:cubicBezTo>
                  <a:cubicBezTo>
                    <a:pt x="463" y="298"/>
                    <a:pt x="463" y="298"/>
                    <a:pt x="463" y="298"/>
                  </a:cubicBezTo>
                  <a:cubicBezTo>
                    <a:pt x="492" y="293"/>
                    <a:pt x="492" y="293"/>
                    <a:pt x="492" y="293"/>
                  </a:cubicBezTo>
                  <a:cubicBezTo>
                    <a:pt x="525" y="291"/>
                    <a:pt x="525" y="291"/>
                    <a:pt x="525" y="291"/>
                  </a:cubicBezTo>
                  <a:cubicBezTo>
                    <a:pt x="525" y="291"/>
                    <a:pt x="526" y="291"/>
                    <a:pt x="526" y="291"/>
                  </a:cubicBezTo>
                  <a:cubicBezTo>
                    <a:pt x="536" y="288"/>
                    <a:pt x="536" y="288"/>
                    <a:pt x="536" y="288"/>
                  </a:cubicBezTo>
                  <a:cubicBezTo>
                    <a:pt x="536" y="288"/>
                    <a:pt x="536" y="287"/>
                    <a:pt x="536" y="287"/>
                  </a:cubicBezTo>
                  <a:cubicBezTo>
                    <a:pt x="550" y="278"/>
                    <a:pt x="550" y="278"/>
                    <a:pt x="550" y="278"/>
                  </a:cubicBezTo>
                  <a:cubicBezTo>
                    <a:pt x="558" y="276"/>
                    <a:pt x="558" y="276"/>
                    <a:pt x="558" y="276"/>
                  </a:cubicBezTo>
                  <a:cubicBezTo>
                    <a:pt x="558" y="276"/>
                    <a:pt x="559" y="276"/>
                    <a:pt x="559" y="276"/>
                  </a:cubicBezTo>
                  <a:cubicBezTo>
                    <a:pt x="566" y="270"/>
                    <a:pt x="566" y="270"/>
                    <a:pt x="566" y="270"/>
                  </a:cubicBezTo>
                  <a:cubicBezTo>
                    <a:pt x="584" y="263"/>
                    <a:pt x="584" y="263"/>
                    <a:pt x="584" y="263"/>
                  </a:cubicBezTo>
                  <a:cubicBezTo>
                    <a:pt x="584" y="263"/>
                    <a:pt x="585" y="262"/>
                    <a:pt x="585" y="261"/>
                  </a:cubicBezTo>
                  <a:cubicBezTo>
                    <a:pt x="586" y="254"/>
                    <a:pt x="586" y="254"/>
                    <a:pt x="586" y="254"/>
                  </a:cubicBezTo>
                  <a:cubicBezTo>
                    <a:pt x="592" y="249"/>
                    <a:pt x="592" y="249"/>
                    <a:pt x="592" y="249"/>
                  </a:cubicBezTo>
                  <a:cubicBezTo>
                    <a:pt x="600" y="246"/>
                    <a:pt x="600" y="246"/>
                    <a:pt x="600" y="246"/>
                  </a:cubicBezTo>
                  <a:cubicBezTo>
                    <a:pt x="600" y="245"/>
                    <a:pt x="600" y="245"/>
                    <a:pt x="600" y="245"/>
                  </a:cubicBezTo>
                  <a:cubicBezTo>
                    <a:pt x="606" y="238"/>
                    <a:pt x="606" y="238"/>
                    <a:pt x="606" y="238"/>
                  </a:cubicBezTo>
                  <a:cubicBezTo>
                    <a:pt x="607" y="237"/>
                    <a:pt x="607" y="237"/>
                    <a:pt x="607" y="236"/>
                  </a:cubicBezTo>
                  <a:cubicBezTo>
                    <a:pt x="607" y="230"/>
                    <a:pt x="607" y="230"/>
                    <a:pt x="607" y="230"/>
                  </a:cubicBezTo>
                  <a:cubicBezTo>
                    <a:pt x="615" y="224"/>
                    <a:pt x="615" y="224"/>
                    <a:pt x="615" y="224"/>
                  </a:cubicBezTo>
                  <a:cubicBezTo>
                    <a:pt x="616" y="224"/>
                    <a:pt x="616" y="223"/>
                    <a:pt x="616" y="223"/>
                  </a:cubicBezTo>
                  <a:cubicBezTo>
                    <a:pt x="617" y="215"/>
                    <a:pt x="617" y="215"/>
                    <a:pt x="617" y="215"/>
                  </a:cubicBezTo>
                  <a:cubicBezTo>
                    <a:pt x="621" y="208"/>
                    <a:pt x="621" y="208"/>
                    <a:pt x="621" y="208"/>
                  </a:cubicBezTo>
                  <a:cubicBezTo>
                    <a:pt x="647" y="189"/>
                    <a:pt x="647" y="189"/>
                    <a:pt x="647" y="189"/>
                  </a:cubicBezTo>
                  <a:cubicBezTo>
                    <a:pt x="676" y="155"/>
                    <a:pt x="676" y="155"/>
                    <a:pt x="676" y="155"/>
                  </a:cubicBezTo>
                  <a:cubicBezTo>
                    <a:pt x="677" y="154"/>
                    <a:pt x="677" y="153"/>
                    <a:pt x="677" y="152"/>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6">
              <a:extLst>
                <a:ext uri="{FF2B5EF4-FFF2-40B4-BE49-F238E27FC236}">
                  <a16:creationId xmlns:a16="http://schemas.microsoft.com/office/drawing/2014/main" id="{093FA332-C4F6-44AE-966C-CB6985948BD9}"/>
                </a:ext>
              </a:extLst>
            </p:cNvPr>
            <p:cNvSpPr>
              <a:spLocks/>
            </p:cNvSpPr>
            <p:nvPr/>
          </p:nvSpPr>
          <p:spPr bwMode="auto">
            <a:xfrm>
              <a:off x="6574881" y="3972866"/>
              <a:ext cx="369926" cy="639790"/>
            </a:xfrm>
            <a:custGeom>
              <a:avLst/>
              <a:gdLst>
                <a:gd name="T0" fmla="*/ 31 w 332"/>
                <a:gd name="T1" fmla="*/ 266 h 575"/>
                <a:gd name="T2" fmla="*/ 44 w 332"/>
                <a:gd name="T3" fmla="*/ 270 h 575"/>
                <a:gd name="T4" fmla="*/ 47 w 332"/>
                <a:gd name="T5" fmla="*/ 288 h 575"/>
                <a:gd name="T6" fmla="*/ 54 w 332"/>
                <a:gd name="T7" fmla="*/ 301 h 575"/>
                <a:gd name="T8" fmla="*/ 46 w 332"/>
                <a:gd name="T9" fmla="*/ 313 h 575"/>
                <a:gd name="T10" fmla="*/ 56 w 332"/>
                <a:gd name="T11" fmla="*/ 325 h 575"/>
                <a:gd name="T12" fmla="*/ 67 w 332"/>
                <a:gd name="T13" fmla="*/ 334 h 575"/>
                <a:gd name="T14" fmla="*/ 54 w 332"/>
                <a:gd name="T15" fmla="*/ 344 h 575"/>
                <a:gd name="T16" fmla="*/ 49 w 332"/>
                <a:gd name="T17" fmla="*/ 355 h 575"/>
                <a:gd name="T18" fmla="*/ 51 w 332"/>
                <a:gd name="T19" fmla="*/ 365 h 575"/>
                <a:gd name="T20" fmla="*/ 52 w 332"/>
                <a:gd name="T21" fmla="*/ 370 h 575"/>
                <a:gd name="T22" fmla="*/ 25 w 332"/>
                <a:gd name="T23" fmla="*/ 399 h 575"/>
                <a:gd name="T24" fmla="*/ 21 w 332"/>
                <a:gd name="T25" fmla="*/ 417 h 575"/>
                <a:gd name="T26" fmla="*/ 19 w 332"/>
                <a:gd name="T27" fmla="*/ 426 h 575"/>
                <a:gd name="T28" fmla="*/ 7 w 332"/>
                <a:gd name="T29" fmla="*/ 448 h 575"/>
                <a:gd name="T30" fmla="*/ 0 w 332"/>
                <a:gd name="T31" fmla="*/ 463 h 575"/>
                <a:gd name="T32" fmla="*/ 9 w 332"/>
                <a:gd name="T33" fmla="*/ 486 h 575"/>
                <a:gd name="T34" fmla="*/ 194 w 332"/>
                <a:gd name="T35" fmla="*/ 481 h 575"/>
                <a:gd name="T36" fmla="*/ 188 w 332"/>
                <a:gd name="T37" fmla="*/ 505 h 575"/>
                <a:gd name="T38" fmla="*/ 192 w 332"/>
                <a:gd name="T39" fmla="*/ 533 h 575"/>
                <a:gd name="T40" fmla="*/ 209 w 332"/>
                <a:gd name="T41" fmla="*/ 562 h 575"/>
                <a:gd name="T42" fmla="*/ 222 w 332"/>
                <a:gd name="T43" fmla="*/ 575 h 575"/>
                <a:gd name="T44" fmla="*/ 240 w 332"/>
                <a:gd name="T45" fmla="*/ 560 h 575"/>
                <a:gd name="T46" fmla="*/ 268 w 332"/>
                <a:gd name="T47" fmla="*/ 549 h 575"/>
                <a:gd name="T48" fmla="*/ 303 w 332"/>
                <a:gd name="T49" fmla="*/ 549 h 575"/>
                <a:gd name="T50" fmla="*/ 328 w 332"/>
                <a:gd name="T51" fmla="*/ 549 h 575"/>
                <a:gd name="T52" fmla="*/ 308 w 332"/>
                <a:gd name="T53" fmla="*/ 364 h 575"/>
                <a:gd name="T54" fmla="*/ 304 w 332"/>
                <a:gd name="T55" fmla="*/ 0 h 575"/>
                <a:gd name="T56" fmla="*/ 108 w 332"/>
                <a:gd name="T57" fmla="*/ 16 h 575"/>
                <a:gd name="T58" fmla="*/ 107 w 332"/>
                <a:gd name="T59" fmla="*/ 26 h 575"/>
                <a:gd name="T60" fmla="*/ 92 w 332"/>
                <a:gd name="T61" fmla="*/ 44 h 575"/>
                <a:gd name="T62" fmla="*/ 82 w 332"/>
                <a:gd name="T63" fmla="*/ 57 h 575"/>
                <a:gd name="T64" fmla="*/ 80 w 332"/>
                <a:gd name="T65" fmla="*/ 77 h 575"/>
                <a:gd name="T66" fmla="*/ 72 w 332"/>
                <a:gd name="T67" fmla="*/ 93 h 575"/>
                <a:gd name="T68" fmla="*/ 59 w 332"/>
                <a:gd name="T69" fmla="*/ 107 h 575"/>
                <a:gd name="T70" fmla="*/ 52 w 332"/>
                <a:gd name="T71" fmla="*/ 117 h 575"/>
                <a:gd name="T72" fmla="*/ 36 w 332"/>
                <a:gd name="T73" fmla="*/ 140 h 575"/>
                <a:gd name="T74" fmla="*/ 42 w 332"/>
                <a:gd name="T75" fmla="*/ 158 h 575"/>
                <a:gd name="T76" fmla="*/ 32 w 332"/>
                <a:gd name="T77" fmla="*/ 169 h 575"/>
                <a:gd name="T78" fmla="*/ 31 w 332"/>
                <a:gd name="T79" fmla="*/ 172 h 575"/>
                <a:gd name="T80" fmla="*/ 24 w 332"/>
                <a:gd name="T81" fmla="*/ 188 h 575"/>
                <a:gd name="T82" fmla="*/ 36 w 332"/>
                <a:gd name="T83" fmla="*/ 209 h 575"/>
                <a:gd name="T84" fmla="*/ 38 w 332"/>
                <a:gd name="T85" fmla="*/ 223 h 575"/>
                <a:gd name="T86" fmla="*/ 42 w 332"/>
                <a:gd name="T87" fmla="*/ 239 h 575"/>
                <a:gd name="T88" fmla="*/ 35 w 332"/>
                <a:gd name="T89" fmla="*/ 25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2" h="575">
                  <a:moveTo>
                    <a:pt x="35" y="255"/>
                  </a:moveTo>
                  <a:cubicBezTo>
                    <a:pt x="32" y="259"/>
                    <a:pt x="32" y="259"/>
                    <a:pt x="32" y="259"/>
                  </a:cubicBezTo>
                  <a:cubicBezTo>
                    <a:pt x="31" y="266"/>
                    <a:pt x="31" y="266"/>
                    <a:pt x="31" y="266"/>
                  </a:cubicBezTo>
                  <a:cubicBezTo>
                    <a:pt x="38" y="261"/>
                    <a:pt x="38" y="261"/>
                    <a:pt x="38" y="261"/>
                  </a:cubicBezTo>
                  <a:cubicBezTo>
                    <a:pt x="44" y="262"/>
                    <a:pt x="44" y="262"/>
                    <a:pt x="44" y="262"/>
                  </a:cubicBezTo>
                  <a:cubicBezTo>
                    <a:pt x="44" y="270"/>
                    <a:pt x="44" y="270"/>
                    <a:pt x="44" y="270"/>
                  </a:cubicBezTo>
                  <a:cubicBezTo>
                    <a:pt x="38" y="276"/>
                    <a:pt x="38" y="276"/>
                    <a:pt x="38" y="276"/>
                  </a:cubicBezTo>
                  <a:cubicBezTo>
                    <a:pt x="39" y="284"/>
                    <a:pt x="39" y="284"/>
                    <a:pt x="39" y="284"/>
                  </a:cubicBezTo>
                  <a:cubicBezTo>
                    <a:pt x="47" y="288"/>
                    <a:pt x="47" y="288"/>
                    <a:pt x="47" y="288"/>
                  </a:cubicBezTo>
                  <a:cubicBezTo>
                    <a:pt x="39" y="298"/>
                    <a:pt x="39" y="298"/>
                    <a:pt x="39" y="298"/>
                  </a:cubicBezTo>
                  <a:cubicBezTo>
                    <a:pt x="41" y="303"/>
                    <a:pt x="41" y="303"/>
                    <a:pt x="41" y="303"/>
                  </a:cubicBezTo>
                  <a:cubicBezTo>
                    <a:pt x="54" y="301"/>
                    <a:pt x="54" y="301"/>
                    <a:pt x="54" y="301"/>
                  </a:cubicBezTo>
                  <a:cubicBezTo>
                    <a:pt x="48" y="308"/>
                    <a:pt x="48" y="308"/>
                    <a:pt x="48" y="308"/>
                  </a:cubicBezTo>
                  <a:cubicBezTo>
                    <a:pt x="53" y="315"/>
                    <a:pt x="53" y="315"/>
                    <a:pt x="53" y="315"/>
                  </a:cubicBezTo>
                  <a:cubicBezTo>
                    <a:pt x="46" y="313"/>
                    <a:pt x="46" y="313"/>
                    <a:pt x="46" y="313"/>
                  </a:cubicBezTo>
                  <a:cubicBezTo>
                    <a:pt x="45" y="314"/>
                    <a:pt x="45" y="314"/>
                    <a:pt x="45" y="314"/>
                  </a:cubicBezTo>
                  <a:cubicBezTo>
                    <a:pt x="49" y="321"/>
                    <a:pt x="49" y="321"/>
                    <a:pt x="49" y="321"/>
                  </a:cubicBezTo>
                  <a:cubicBezTo>
                    <a:pt x="56" y="325"/>
                    <a:pt x="56" y="325"/>
                    <a:pt x="56" y="325"/>
                  </a:cubicBezTo>
                  <a:cubicBezTo>
                    <a:pt x="58" y="331"/>
                    <a:pt x="58" y="331"/>
                    <a:pt x="58" y="331"/>
                  </a:cubicBezTo>
                  <a:cubicBezTo>
                    <a:pt x="65" y="333"/>
                    <a:pt x="65" y="333"/>
                    <a:pt x="65" y="333"/>
                  </a:cubicBezTo>
                  <a:cubicBezTo>
                    <a:pt x="67" y="334"/>
                    <a:pt x="67" y="334"/>
                    <a:pt x="67" y="334"/>
                  </a:cubicBezTo>
                  <a:cubicBezTo>
                    <a:pt x="66" y="337"/>
                    <a:pt x="66" y="337"/>
                    <a:pt x="66" y="337"/>
                  </a:cubicBezTo>
                  <a:cubicBezTo>
                    <a:pt x="60" y="337"/>
                    <a:pt x="60" y="337"/>
                    <a:pt x="60" y="337"/>
                  </a:cubicBezTo>
                  <a:cubicBezTo>
                    <a:pt x="54" y="344"/>
                    <a:pt x="54" y="344"/>
                    <a:pt x="54" y="344"/>
                  </a:cubicBezTo>
                  <a:cubicBezTo>
                    <a:pt x="47" y="347"/>
                    <a:pt x="47" y="347"/>
                    <a:pt x="47" y="347"/>
                  </a:cubicBezTo>
                  <a:cubicBezTo>
                    <a:pt x="42" y="354"/>
                    <a:pt x="42" y="354"/>
                    <a:pt x="42" y="354"/>
                  </a:cubicBezTo>
                  <a:cubicBezTo>
                    <a:pt x="49" y="355"/>
                    <a:pt x="49" y="355"/>
                    <a:pt x="49" y="355"/>
                  </a:cubicBezTo>
                  <a:cubicBezTo>
                    <a:pt x="57" y="354"/>
                    <a:pt x="57" y="354"/>
                    <a:pt x="57" y="354"/>
                  </a:cubicBezTo>
                  <a:cubicBezTo>
                    <a:pt x="52" y="363"/>
                    <a:pt x="52" y="363"/>
                    <a:pt x="52" y="363"/>
                  </a:cubicBezTo>
                  <a:cubicBezTo>
                    <a:pt x="51" y="365"/>
                    <a:pt x="51" y="365"/>
                    <a:pt x="51" y="365"/>
                  </a:cubicBezTo>
                  <a:cubicBezTo>
                    <a:pt x="44" y="366"/>
                    <a:pt x="44" y="366"/>
                    <a:pt x="44" y="366"/>
                  </a:cubicBezTo>
                  <a:cubicBezTo>
                    <a:pt x="51" y="369"/>
                    <a:pt x="51" y="369"/>
                    <a:pt x="51" y="369"/>
                  </a:cubicBezTo>
                  <a:cubicBezTo>
                    <a:pt x="52" y="370"/>
                    <a:pt x="52" y="370"/>
                    <a:pt x="52" y="370"/>
                  </a:cubicBezTo>
                  <a:cubicBezTo>
                    <a:pt x="34" y="389"/>
                    <a:pt x="34" y="389"/>
                    <a:pt x="34" y="389"/>
                  </a:cubicBezTo>
                  <a:cubicBezTo>
                    <a:pt x="28" y="392"/>
                    <a:pt x="28" y="392"/>
                    <a:pt x="28" y="392"/>
                  </a:cubicBezTo>
                  <a:cubicBezTo>
                    <a:pt x="25" y="399"/>
                    <a:pt x="25" y="399"/>
                    <a:pt x="25" y="399"/>
                  </a:cubicBezTo>
                  <a:cubicBezTo>
                    <a:pt x="30" y="403"/>
                    <a:pt x="30" y="403"/>
                    <a:pt x="30" y="403"/>
                  </a:cubicBezTo>
                  <a:cubicBezTo>
                    <a:pt x="23" y="410"/>
                    <a:pt x="23" y="410"/>
                    <a:pt x="23" y="410"/>
                  </a:cubicBezTo>
                  <a:cubicBezTo>
                    <a:pt x="21" y="417"/>
                    <a:pt x="21" y="417"/>
                    <a:pt x="21" y="417"/>
                  </a:cubicBezTo>
                  <a:cubicBezTo>
                    <a:pt x="13" y="422"/>
                    <a:pt x="13" y="422"/>
                    <a:pt x="13" y="422"/>
                  </a:cubicBezTo>
                  <a:cubicBezTo>
                    <a:pt x="21" y="423"/>
                    <a:pt x="21" y="423"/>
                    <a:pt x="21" y="423"/>
                  </a:cubicBezTo>
                  <a:cubicBezTo>
                    <a:pt x="19" y="426"/>
                    <a:pt x="19" y="426"/>
                    <a:pt x="19" y="426"/>
                  </a:cubicBezTo>
                  <a:cubicBezTo>
                    <a:pt x="12" y="432"/>
                    <a:pt x="12" y="432"/>
                    <a:pt x="12" y="432"/>
                  </a:cubicBezTo>
                  <a:cubicBezTo>
                    <a:pt x="16" y="447"/>
                    <a:pt x="16" y="447"/>
                    <a:pt x="16" y="447"/>
                  </a:cubicBezTo>
                  <a:cubicBezTo>
                    <a:pt x="7" y="448"/>
                    <a:pt x="7" y="448"/>
                    <a:pt x="7" y="448"/>
                  </a:cubicBezTo>
                  <a:cubicBezTo>
                    <a:pt x="13" y="455"/>
                    <a:pt x="13" y="455"/>
                    <a:pt x="13" y="455"/>
                  </a:cubicBezTo>
                  <a:cubicBezTo>
                    <a:pt x="11" y="461"/>
                    <a:pt x="11" y="461"/>
                    <a:pt x="11" y="461"/>
                  </a:cubicBezTo>
                  <a:cubicBezTo>
                    <a:pt x="0" y="463"/>
                    <a:pt x="0" y="463"/>
                    <a:pt x="0" y="463"/>
                  </a:cubicBezTo>
                  <a:cubicBezTo>
                    <a:pt x="5" y="471"/>
                    <a:pt x="5" y="471"/>
                    <a:pt x="5" y="471"/>
                  </a:cubicBezTo>
                  <a:cubicBezTo>
                    <a:pt x="4" y="479"/>
                    <a:pt x="4" y="479"/>
                    <a:pt x="4" y="479"/>
                  </a:cubicBezTo>
                  <a:cubicBezTo>
                    <a:pt x="9" y="486"/>
                    <a:pt x="9" y="486"/>
                    <a:pt x="9" y="486"/>
                  </a:cubicBezTo>
                  <a:cubicBezTo>
                    <a:pt x="2" y="494"/>
                    <a:pt x="2" y="494"/>
                    <a:pt x="2" y="494"/>
                  </a:cubicBezTo>
                  <a:cubicBezTo>
                    <a:pt x="100" y="488"/>
                    <a:pt x="100" y="488"/>
                    <a:pt x="100" y="488"/>
                  </a:cubicBezTo>
                  <a:cubicBezTo>
                    <a:pt x="194" y="481"/>
                    <a:pt x="194" y="481"/>
                    <a:pt x="194" y="481"/>
                  </a:cubicBezTo>
                  <a:cubicBezTo>
                    <a:pt x="194" y="482"/>
                    <a:pt x="194" y="482"/>
                    <a:pt x="194" y="482"/>
                  </a:cubicBezTo>
                  <a:cubicBezTo>
                    <a:pt x="193" y="490"/>
                    <a:pt x="193" y="490"/>
                    <a:pt x="193" y="490"/>
                  </a:cubicBezTo>
                  <a:cubicBezTo>
                    <a:pt x="188" y="505"/>
                    <a:pt x="188" y="505"/>
                    <a:pt x="188" y="505"/>
                  </a:cubicBezTo>
                  <a:cubicBezTo>
                    <a:pt x="188" y="505"/>
                    <a:pt x="185" y="515"/>
                    <a:pt x="185" y="518"/>
                  </a:cubicBezTo>
                  <a:cubicBezTo>
                    <a:pt x="185" y="520"/>
                    <a:pt x="188" y="526"/>
                    <a:pt x="188" y="526"/>
                  </a:cubicBezTo>
                  <a:cubicBezTo>
                    <a:pt x="188" y="526"/>
                    <a:pt x="191" y="532"/>
                    <a:pt x="192" y="533"/>
                  </a:cubicBezTo>
                  <a:cubicBezTo>
                    <a:pt x="195" y="536"/>
                    <a:pt x="201" y="540"/>
                    <a:pt x="203" y="543"/>
                  </a:cubicBezTo>
                  <a:cubicBezTo>
                    <a:pt x="204" y="545"/>
                    <a:pt x="204" y="549"/>
                    <a:pt x="205" y="551"/>
                  </a:cubicBezTo>
                  <a:cubicBezTo>
                    <a:pt x="205" y="551"/>
                    <a:pt x="205" y="557"/>
                    <a:pt x="209" y="562"/>
                  </a:cubicBezTo>
                  <a:cubicBezTo>
                    <a:pt x="210" y="563"/>
                    <a:pt x="213" y="569"/>
                    <a:pt x="213" y="569"/>
                  </a:cubicBezTo>
                  <a:cubicBezTo>
                    <a:pt x="218" y="572"/>
                    <a:pt x="218" y="572"/>
                    <a:pt x="218" y="572"/>
                  </a:cubicBezTo>
                  <a:cubicBezTo>
                    <a:pt x="218" y="572"/>
                    <a:pt x="221" y="574"/>
                    <a:pt x="222" y="575"/>
                  </a:cubicBezTo>
                  <a:cubicBezTo>
                    <a:pt x="224" y="575"/>
                    <a:pt x="228" y="575"/>
                    <a:pt x="229" y="574"/>
                  </a:cubicBezTo>
                  <a:cubicBezTo>
                    <a:pt x="231" y="573"/>
                    <a:pt x="231" y="568"/>
                    <a:pt x="232" y="567"/>
                  </a:cubicBezTo>
                  <a:cubicBezTo>
                    <a:pt x="233" y="565"/>
                    <a:pt x="240" y="560"/>
                    <a:pt x="240" y="560"/>
                  </a:cubicBezTo>
                  <a:cubicBezTo>
                    <a:pt x="242" y="557"/>
                    <a:pt x="242" y="557"/>
                    <a:pt x="242" y="557"/>
                  </a:cubicBezTo>
                  <a:cubicBezTo>
                    <a:pt x="248" y="554"/>
                    <a:pt x="250" y="555"/>
                    <a:pt x="253" y="555"/>
                  </a:cubicBezTo>
                  <a:cubicBezTo>
                    <a:pt x="257" y="555"/>
                    <a:pt x="268" y="549"/>
                    <a:pt x="268" y="549"/>
                  </a:cubicBezTo>
                  <a:cubicBezTo>
                    <a:pt x="283" y="546"/>
                    <a:pt x="283" y="546"/>
                    <a:pt x="283" y="546"/>
                  </a:cubicBezTo>
                  <a:cubicBezTo>
                    <a:pt x="287" y="544"/>
                    <a:pt x="296" y="547"/>
                    <a:pt x="296" y="547"/>
                  </a:cubicBezTo>
                  <a:cubicBezTo>
                    <a:pt x="296" y="547"/>
                    <a:pt x="301" y="549"/>
                    <a:pt x="303" y="549"/>
                  </a:cubicBezTo>
                  <a:cubicBezTo>
                    <a:pt x="305" y="549"/>
                    <a:pt x="311" y="546"/>
                    <a:pt x="311" y="546"/>
                  </a:cubicBezTo>
                  <a:cubicBezTo>
                    <a:pt x="311" y="546"/>
                    <a:pt x="312" y="544"/>
                    <a:pt x="313" y="544"/>
                  </a:cubicBezTo>
                  <a:cubicBezTo>
                    <a:pt x="317" y="542"/>
                    <a:pt x="324" y="551"/>
                    <a:pt x="328" y="549"/>
                  </a:cubicBezTo>
                  <a:cubicBezTo>
                    <a:pt x="330" y="549"/>
                    <a:pt x="332" y="541"/>
                    <a:pt x="332" y="541"/>
                  </a:cubicBezTo>
                  <a:cubicBezTo>
                    <a:pt x="331" y="538"/>
                    <a:pt x="331" y="538"/>
                    <a:pt x="331" y="538"/>
                  </a:cubicBezTo>
                  <a:cubicBezTo>
                    <a:pt x="308" y="364"/>
                    <a:pt x="308" y="364"/>
                    <a:pt x="308" y="364"/>
                  </a:cubicBezTo>
                  <a:cubicBezTo>
                    <a:pt x="315" y="10"/>
                    <a:pt x="315" y="10"/>
                    <a:pt x="315" y="10"/>
                  </a:cubicBezTo>
                  <a:cubicBezTo>
                    <a:pt x="308" y="6"/>
                    <a:pt x="308" y="6"/>
                    <a:pt x="308" y="6"/>
                  </a:cubicBezTo>
                  <a:cubicBezTo>
                    <a:pt x="304" y="0"/>
                    <a:pt x="304" y="0"/>
                    <a:pt x="304" y="0"/>
                  </a:cubicBezTo>
                  <a:cubicBezTo>
                    <a:pt x="303" y="0"/>
                    <a:pt x="303" y="0"/>
                    <a:pt x="303" y="0"/>
                  </a:cubicBezTo>
                  <a:cubicBezTo>
                    <a:pt x="233" y="6"/>
                    <a:pt x="233" y="6"/>
                    <a:pt x="233" y="6"/>
                  </a:cubicBezTo>
                  <a:cubicBezTo>
                    <a:pt x="108" y="16"/>
                    <a:pt x="108" y="16"/>
                    <a:pt x="108" y="16"/>
                  </a:cubicBezTo>
                  <a:cubicBezTo>
                    <a:pt x="108" y="16"/>
                    <a:pt x="103" y="15"/>
                    <a:pt x="103" y="16"/>
                  </a:cubicBezTo>
                  <a:cubicBezTo>
                    <a:pt x="103" y="17"/>
                    <a:pt x="106" y="19"/>
                    <a:pt x="106" y="19"/>
                  </a:cubicBezTo>
                  <a:cubicBezTo>
                    <a:pt x="106" y="19"/>
                    <a:pt x="108" y="25"/>
                    <a:pt x="107" y="26"/>
                  </a:cubicBezTo>
                  <a:cubicBezTo>
                    <a:pt x="106" y="29"/>
                    <a:pt x="102" y="32"/>
                    <a:pt x="100" y="33"/>
                  </a:cubicBezTo>
                  <a:cubicBezTo>
                    <a:pt x="98" y="34"/>
                    <a:pt x="94" y="33"/>
                    <a:pt x="92" y="34"/>
                  </a:cubicBezTo>
                  <a:cubicBezTo>
                    <a:pt x="90" y="34"/>
                    <a:pt x="94" y="37"/>
                    <a:pt x="92" y="44"/>
                  </a:cubicBezTo>
                  <a:cubicBezTo>
                    <a:pt x="91" y="47"/>
                    <a:pt x="86" y="46"/>
                    <a:pt x="83" y="41"/>
                  </a:cubicBezTo>
                  <a:cubicBezTo>
                    <a:pt x="81" y="39"/>
                    <a:pt x="81" y="49"/>
                    <a:pt x="83" y="52"/>
                  </a:cubicBezTo>
                  <a:cubicBezTo>
                    <a:pt x="83" y="52"/>
                    <a:pt x="83" y="56"/>
                    <a:pt x="82" y="57"/>
                  </a:cubicBezTo>
                  <a:cubicBezTo>
                    <a:pt x="76" y="61"/>
                    <a:pt x="80" y="64"/>
                    <a:pt x="80" y="64"/>
                  </a:cubicBezTo>
                  <a:cubicBezTo>
                    <a:pt x="80" y="65"/>
                    <a:pt x="84" y="66"/>
                    <a:pt x="85" y="68"/>
                  </a:cubicBezTo>
                  <a:cubicBezTo>
                    <a:pt x="85" y="70"/>
                    <a:pt x="81" y="74"/>
                    <a:pt x="80" y="77"/>
                  </a:cubicBezTo>
                  <a:cubicBezTo>
                    <a:pt x="80" y="78"/>
                    <a:pt x="82" y="81"/>
                    <a:pt x="82" y="83"/>
                  </a:cubicBezTo>
                  <a:cubicBezTo>
                    <a:pt x="81" y="85"/>
                    <a:pt x="78" y="89"/>
                    <a:pt x="76" y="91"/>
                  </a:cubicBezTo>
                  <a:cubicBezTo>
                    <a:pt x="75" y="91"/>
                    <a:pt x="73" y="93"/>
                    <a:pt x="72" y="93"/>
                  </a:cubicBezTo>
                  <a:cubicBezTo>
                    <a:pt x="70" y="93"/>
                    <a:pt x="66" y="91"/>
                    <a:pt x="65" y="93"/>
                  </a:cubicBezTo>
                  <a:cubicBezTo>
                    <a:pt x="63" y="94"/>
                    <a:pt x="67" y="98"/>
                    <a:pt x="66" y="100"/>
                  </a:cubicBezTo>
                  <a:cubicBezTo>
                    <a:pt x="65" y="102"/>
                    <a:pt x="60" y="105"/>
                    <a:pt x="59" y="107"/>
                  </a:cubicBezTo>
                  <a:cubicBezTo>
                    <a:pt x="58" y="108"/>
                    <a:pt x="58" y="112"/>
                    <a:pt x="57" y="112"/>
                  </a:cubicBezTo>
                  <a:cubicBezTo>
                    <a:pt x="50" y="109"/>
                    <a:pt x="54" y="115"/>
                    <a:pt x="54" y="115"/>
                  </a:cubicBezTo>
                  <a:cubicBezTo>
                    <a:pt x="54" y="116"/>
                    <a:pt x="52" y="117"/>
                    <a:pt x="52" y="117"/>
                  </a:cubicBezTo>
                  <a:cubicBezTo>
                    <a:pt x="51" y="119"/>
                    <a:pt x="51" y="123"/>
                    <a:pt x="52" y="125"/>
                  </a:cubicBezTo>
                  <a:cubicBezTo>
                    <a:pt x="52" y="127"/>
                    <a:pt x="56" y="130"/>
                    <a:pt x="55" y="132"/>
                  </a:cubicBezTo>
                  <a:cubicBezTo>
                    <a:pt x="53" y="137"/>
                    <a:pt x="37" y="135"/>
                    <a:pt x="36" y="140"/>
                  </a:cubicBezTo>
                  <a:cubicBezTo>
                    <a:pt x="36" y="141"/>
                    <a:pt x="41" y="142"/>
                    <a:pt x="42" y="144"/>
                  </a:cubicBezTo>
                  <a:cubicBezTo>
                    <a:pt x="42" y="146"/>
                    <a:pt x="40" y="150"/>
                    <a:pt x="40" y="152"/>
                  </a:cubicBezTo>
                  <a:cubicBezTo>
                    <a:pt x="40" y="154"/>
                    <a:pt x="42" y="157"/>
                    <a:pt x="42" y="158"/>
                  </a:cubicBezTo>
                  <a:cubicBezTo>
                    <a:pt x="41" y="160"/>
                    <a:pt x="41" y="162"/>
                    <a:pt x="40" y="163"/>
                  </a:cubicBezTo>
                  <a:cubicBezTo>
                    <a:pt x="38" y="164"/>
                    <a:pt x="34" y="161"/>
                    <a:pt x="32" y="163"/>
                  </a:cubicBezTo>
                  <a:cubicBezTo>
                    <a:pt x="31" y="164"/>
                    <a:pt x="31" y="167"/>
                    <a:pt x="32" y="169"/>
                  </a:cubicBezTo>
                  <a:cubicBezTo>
                    <a:pt x="33" y="170"/>
                    <a:pt x="40" y="169"/>
                    <a:pt x="40" y="171"/>
                  </a:cubicBezTo>
                  <a:cubicBezTo>
                    <a:pt x="40" y="173"/>
                    <a:pt x="35" y="176"/>
                    <a:pt x="33" y="175"/>
                  </a:cubicBezTo>
                  <a:cubicBezTo>
                    <a:pt x="32" y="175"/>
                    <a:pt x="32" y="172"/>
                    <a:pt x="31" y="172"/>
                  </a:cubicBezTo>
                  <a:cubicBezTo>
                    <a:pt x="29" y="172"/>
                    <a:pt x="26" y="174"/>
                    <a:pt x="26" y="175"/>
                  </a:cubicBezTo>
                  <a:cubicBezTo>
                    <a:pt x="25" y="177"/>
                    <a:pt x="32" y="181"/>
                    <a:pt x="31" y="183"/>
                  </a:cubicBezTo>
                  <a:cubicBezTo>
                    <a:pt x="31" y="185"/>
                    <a:pt x="25" y="186"/>
                    <a:pt x="24" y="188"/>
                  </a:cubicBezTo>
                  <a:cubicBezTo>
                    <a:pt x="24" y="190"/>
                    <a:pt x="28" y="194"/>
                    <a:pt x="29" y="195"/>
                  </a:cubicBezTo>
                  <a:cubicBezTo>
                    <a:pt x="30" y="197"/>
                    <a:pt x="29" y="207"/>
                    <a:pt x="29" y="207"/>
                  </a:cubicBezTo>
                  <a:cubicBezTo>
                    <a:pt x="30" y="209"/>
                    <a:pt x="35" y="209"/>
                    <a:pt x="36" y="209"/>
                  </a:cubicBezTo>
                  <a:cubicBezTo>
                    <a:pt x="37" y="209"/>
                    <a:pt x="37" y="208"/>
                    <a:pt x="37" y="208"/>
                  </a:cubicBezTo>
                  <a:cubicBezTo>
                    <a:pt x="39" y="209"/>
                    <a:pt x="35" y="213"/>
                    <a:pt x="35" y="215"/>
                  </a:cubicBezTo>
                  <a:cubicBezTo>
                    <a:pt x="35" y="217"/>
                    <a:pt x="37" y="222"/>
                    <a:pt x="38" y="223"/>
                  </a:cubicBezTo>
                  <a:cubicBezTo>
                    <a:pt x="38" y="224"/>
                    <a:pt x="40" y="224"/>
                    <a:pt x="40" y="225"/>
                  </a:cubicBezTo>
                  <a:cubicBezTo>
                    <a:pt x="42" y="227"/>
                    <a:pt x="43" y="234"/>
                    <a:pt x="42" y="237"/>
                  </a:cubicBezTo>
                  <a:cubicBezTo>
                    <a:pt x="42" y="237"/>
                    <a:pt x="42" y="238"/>
                    <a:pt x="42" y="239"/>
                  </a:cubicBezTo>
                  <a:cubicBezTo>
                    <a:pt x="40" y="239"/>
                    <a:pt x="35" y="237"/>
                    <a:pt x="34" y="239"/>
                  </a:cubicBezTo>
                  <a:cubicBezTo>
                    <a:pt x="33" y="240"/>
                    <a:pt x="36" y="245"/>
                    <a:pt x="36" y="245"/>
                  </a:cubicBezTo>
                  <a:lnTo>
                    <a:pt x="35" y="255"/>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7">
              <a:extLst>
                <a:ext uri="{FF2B5EF4-FFF2-40B4-BE49-F238E27FC236}">
                  <a16:creationId xmlns:a16="http://schemas.microsoft.com/office/drawing/2014/main" id="{BB7C459C-8B91-44F6-A65C-CE508952C351}"/>
                </a:ext>
              </a:extLst>
            </p:cNvPr>
            <p:cNvSpPr>
              <a:spLocks/>
            </p:cNvSpPr>
            <p:nvPr/>
          </p:nvSpPr>
          <p:spPr bwMode="auto">
            <a:xfrm>
              <a:off x="6227192" y="3790935"/>
              <a:ext cx="522546" cy="484138"/>
            </a:xfrm>
            <a:custGeom>
              <a:avLst/>
              <a:gdLst>
                <a:gd name="T0" fmla="*/ 462 w 470"/>
                <a:gd name="T1" fmla="*/ 56 h 435"/>
                <a:gd name="T2" fmla="*/ 410 w 470"/>
                <a:gd name="T3" fmla="*/ 50 h 435"/>
                <a:gd name="T4" fmla="*/ 423 w 470"/>
                <a:gd name="T5" fmla="*/ 39 h 435"/>
                <a:gd name="T6" fmla="*/ 427 w 470"/>
                <a:gd name="T7" fmla="*/ 13 h 435"/>
                <a:gd name="T8" fmla="*/ 412 w 470"/>
                <a:gd name="T9" fmla="*/ 0 h 435"/>
                <a:gd name="T10" fmla="*/ 5 w 470"/>
                <a:gd name="T11" fmla="*/ 20 h 435"/>
                <a:gd name="T12" fmla="*/ 17 w 470"/>
                <a:gd name="T13" fmla="*/ 122 h 435"/>
                <a:gd name="T14" fmla="*/ 23 w 470"/>
                <a:gd name="T15" fmla="*/ 361 h 435"/>
                <a:gd name="T16" fmla="*/ 26 w 470"/>
                <a:gd name="T17" fmla="*/ 365 h 435"/>
                <a:gd name="T18" fmla="*/ 44 w 470"/>
                <a:gd name="T19" fmla="*/ 369 h 435"/>
                <a:gd name="T20" fmla="*/ 66 w 470"/>
                <a:gd name="T21" fmla="*/ 432 h 435"/>
                <a:gd name="T22" fmla="*/ 69 w 470"/>
                <a:gd name="T23" fmla="*/ 435 h 435"/>
                <a:gd name="T24" fmla="*/ 350 w 470"/>
                <a:gd name="T25" fmla="*/ 419 h 435"/>
                <a:gd name="T26" fmla="*/ 350 w 470"/>
                <a:gd name="T27" fmla="*/ 405 h 435"/>
                <a:gd name="T28" fmla="*/ 358 w 470"/>
                <a:gd name="T29" fmla="*/ 402 h 435"/>
                <a:gd name="T30" fmla="*/ 350 w 470"/>
                <a:gd name="T31" fmla="*/ 379 h 435"/>
                <a:gd name="T32" fmla="*/ 348 w 470"/>
                <a:gd name="T33" fmla="*/ 371 h 435"/>
                <a:gd name="T34" fmla="*/ 351 w 470"/>
                <a:gd name="T35" fmla="*/ 366 h 435"/>
                <a:gd name="T36" fmla="*/ 344 w 470"/>
                <a:gd name="T37" fmla="*/ 358 h 435"/>
                <a:gd name="T38" fmla="*/ 341 w 470"/>
                <a:gd name="T39" fmla="*/ 353 h 435"/>
                <a:gd name="T40" fmla="*/ 343 w 470"/>
                <a:gd name="T41" fmla="*/ 342 h 435"/>
                <a:gd name="T42" fmla="*/ 345 w 470"/>
                <a:gd name="T43" fmla="*/ 342 h 435"/>
                <a:gd name="T44" fmla="*/ 356 w 470"/>
                <a:gd name="T45" fmla="*/ 334 h 435"/>
                <a:gd name="T46" fmla="*/ 347 w 470"/>
                <a:gd name="T47" fmla="*/ 329 h 435"/>
                <a:gd name="T48" fmla="*/ 355 w 470"/>
                <a:gd name="T49" fmla="*/ 328 h 435"/>
                <a:gd name="T50" fmla="*/ 357 w 470"/>
                <a:gd name="T51" fmla="*/ 307 h 435"/>
                <a:gd name="T52" fmla="*/ 359 w 470"/>
                <a:gd name="T53" fmla="*/ 302 h 435"/>
                <a:gd name="T54" fmla="*/ 367 w 470"/>
                <a:gd name="T55" fmla="*/ 288 h 435"/>
                <a:gd name="T56" fmla="*/ 370 w 470"/>
                <a:gd name="T57" fmla="*/ 279 h 435"/>
                <a:gd name="T58" fmla="*/ 374 w 470"/>
                <a:gd name="T59" fmla="*/ 273 h 435"/>
                <a:gd name="T60" fmla="*/ 381 w 470"/>
                <a:gd name="T61" fmla="*/ 265 h 435"/>
                <a:gd name="T62" fmla="*/ 381 w 470"/>
                <a:gd name="T63" fmla="*/ 259 h 435"/>
                <a:gd name="T64" fmla="*/ 397 w 470"/>
                <a:gd name="T65" fmla="*/ 247 h 435"/>
                <a:gd name="T66" fmla="*/ 398 w 470"/>
                <a:gd name="T67" fmla="*/ 238 h 435"/>
                <a:gd name="T68" fmla="*/ 396 w 470"/>
                <a:gd name="T69" fmla="*/ 227 h 435"/>
                <a:gd name="T70" fmla="*/ 401 w 470"/>
                <a:gd name="T71" fmla="*/ 216 h 435"/>
                <a:gd name="T72" fmla="*/ 408 w 470"/>
                <a:gd name="T73" fmla="*/ 206 h 435"/>
                <a:gd name="T74" fmla="*/ 422 w 470"/>
                <a:gd name="T75" fmla="*/ 191 h 435"/>
                <a:gd name="T76" fmla="*/ 421 w 470"/>
                <a:gd name="T77" fmla="*/ 178 h 435"/>
                <a:gd name="T78" fmla="*/ 429 w 470"/>
                <a:gd name="T79" fmla="*/ 169 h 435"/>
                <a:gd name="T80" fmla="*/ 438 w 470"/>
                <a:gd name="T81" fmla="*/ 162 h 435"/>
                <a:gd name="T82" fmla="*/ 428 w 470"/>
                <a:gd name="T83" fmla="*/ 132 h 435"/>
                <a:gd name="T84" fmla="*/ 435 w 470"/>
                <a:gd name="T85" fmla="*/ 127 h 435"/>
                <a:gd name="T86" fmla="*/ 440 w 470"/>
                <a:gd name="T87" fmla="*/ 117 h 435"/>
                <a:gd name="T88" fmla="*/ 443 w 470"/>
                <a:gd name="T89" fmla="*/ 114 h 435"/>
                <a:gd name="T90" fmla="*/ 447 w 470"/>
                <a:gd name="T91" fmla="*/ 95 h 435"/>
                <a:gd name="T92" fmla="*/ 465 w 470"/>
                <a:gd name="T93" fmla="*/ 81 h 435"/>
                <a:gd name="T94" fmla="*/ 463 w 470"/>
                <a:gd name="T95" fmla="*/ 74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0" h="435">
                  <a:moveTo>
                    <a:pt x="467" y="62"/>
                  </a:moveTo>
                  <a:cubicBezTo>
                    <a:pt x="467" y="60"/>
                    <a:pt x="465" y="58"/>
                    <a:pt x="464" y="57"/>
                  </a:cubicBezTo>
                  <a:cubicBezTo>
                    <a:pt x="463" y="56"/>
                    <a:pt x="463" y="56"/>
                    <a:pt x="462" y="56"/>
                  </a:cubicBezTo>
                  <a:cubicBezTo>
                    <a:pt x="409" y="62"/>
                    <a:pt x="409" y="62"/>
                    <a:pt x="409" y="62"/>
                  </a:cubicBezTo>
                  <a:cubicBezTo>
                    <a:pt x="408" y="59"/>
                    <a:pt x="408" y="57"/>
                    <a:pt x="408" y="56"/>
                  </a:cubicBezTo>
                  <a:cubicBezTo>
                    <a:pt x="408" y="56"/>
                    <a:pt x="409" y="53"/>
                    <a:pt x="410" y="50"/>
                  </a:cubicBezTo>
                  <a:cubicBezTo>
                    <a:pt x="412" y="48"/>
                    <a:pt x="414" y="44"/>
                    <a:pt x="415" y="43"/>
                  </a:cubicBezTo>
                  <a:cubicBezTo>
                    <a:pt x="416" y="43"/>
                    <a:pt x="417" y="42"/>
                    <a:pt x="419" y="41"/>
                  </a:cubicBezTo>
                  <a:cubicBezTo>
                    <a:pt x="420" y="40"/>
                    <a:pt x="422" y="40"/>
                    <a:pt x="423" y="39"/>
                  </a:cubicBezTo>
                  <a:cubicBezTo>
                    <a:pt x="425" y="37"/>
                    <a:pt x="429" y="33"/>
                    <a:pt x="430" y="30"/>
                  </a:cubicBezTo>
                  <a:cubicBezTo>
                    <a:pt x="431" y="28"/>
                    <a:pt x="430" y="22"/>
                    <a:pt x="430" y="21"/>
                  </a:cubicBezTo>
                  <a:cubicBezTo>
                    <a:pt x="430" y="19"/>
                    <a:pt x="428" y="15"/>
                    <a:pt x="427" y="13"/>
                  </a:cubicBezTo>
                  <a:cubicBezTo>
                    <a:pt x="426" y="11"/>
                    <a:pt x="423" y="7"/>
                    <a:pt x="421" y="5"/>
                  </a:cubicBezTo>
                  <a:cubicBezTo>
                    <a:pt x="419" y="4"/>
                    <a:pt x="414" y="1"/>
                    <a:pt x="413" y="1"/>
                  </a:cubicBezTo>
                  <a:cubicBezTo>
                    <a:pt x="413" y="1"/>
                    <a:pt x="412" y="0"/>
                    <a:pt x="412" y="0"/>
                  </a:cubicBezTo>
                  <a:cubicBezTo>
                    <a:pt x="243" y="11"/>
                    <a:pt x="243" y="11"/>
                    <a:pt x="243" y="11"/>
                  </a:cubicBezTo>
                  <a:cubicBezTo>
                    <a:pt x="96" y="18"/>
                    <a:pt x="96" y="18"/>
                    <a:pt x="96" y="18"/>
                  </a:cubicBezTo>
                  <a:cubicBezTo>
                    <a:pt x="95" y="18"/>
                    <a:pt x="28" y="18"/>
                    <a:pt x="5" y="20"/>
                  </a:cubicBezTo>
                  <a:cubicBezTo>
                    <a:pt x="4" y="20"/>
                    <a:pt x="2" y="20"/>
                    <a:pt x="1" y="22"/>
                  </a:cubicBezTo>
                  <a:cubicBezTo>
                    <a:pt x="1" y="22"/>
                    <a:pt x="0" y="24"/>
                    <a:pt x="1" y="27"/>
                  </a:cubicBezTo>
                  <a:cubicBezTo>
                    <a:pt x="17" y="122"/>
                    <a:pt x="17" y="122"/>
                    <a:pt x="17" y="122"/>
                  </a:cubicBezTo>
                  <a:cubicBezTo>
                    <a:pt x="20" y="154"/>
                    <a:pt x="20" y="154"/>
                    <a:pt x="20" y="154"/>
                  </a:cubicBezTo>
                  <a:cubicBezTo>
                    <a:pt x="22" y="359"/>
                    <a:pt x="22" y="359"/>
                    <a:pt x="22" y="359"/>
                  </a:cubicBezTo>
                  <a:cubicBezTo>
                    <a:pt x="22" y="359"/>
                    <a:pt x="22" y="360"/>
                    <a:pt x="23" y="361"/>
                  </a:cubicBezTo>
                  <a:cubicBezTo>
                    <a:pt x="24" y="361"/>
                    <a:pt x="25" y="362"/>
                    <a:pt x="25" y="362"/>
                  </a:cubicBezTo>
                  <a:cubicBezTo>
                    <a:pt x="25" y="362"/>
                    <a:pt x="25" y="362"/>
                    <a:pt x="25" y="362"/>
                  </a:cubicBezTo>
                  <a:cubicBezTo>
                    <a:pt x="25" y="363"/>
                    <a:pt x="25" y="364"/>
                    <a:pt x="26" y="365"/>
                  </a:cubicBezTo>
                  <a:cubicBezTo>
                    <a:pt x="27" y="367"/>
                    <a:pt x="31" y="372"/>
                    <a:pt x="35" y="372"/>
                  </a:cubicBezTo>
                  <a:cubicBezTo>
                    <a:pt x="37" y="372"/>
                    <a:pt x="39" y="371"/>
                    <a:pt x="41" y="370"/>
                  </a:cubicBezTo>
                  <a:cubicBezTo>
                    <a:pt x="42" y="369"/>
                    <a:pt x="43" y="369"/>
                    <a:pt x="44" y="369"/>
                  </a:cubicBezTo>
                  <a:cubicBezTo>
                    <a:pt x="44" y="369"/>
                    <a:pt x="45" y="368"/>
                    <a:pt x="47" y="368"/>
                  </a:cubicBezTo>
                  <a:cubicBezTo>
                    <a:pt x="52" y="368"/>
                    <a:pt x="61" y="370"/>
                    <a:pt x="64" y="371"/>
                  </a:cubicBezTo>
                  <a:cubicBezTo>
                    <a:pt x="66" y="432"/>
                    <a:pt x="66" y="432"/>
                    <a:pt x="66" y="432"/>
                  </a:cubicBezTo>
                  <a:cubicBezTo>
                    <a:pt x="66" y="433"/>
                    <a:pt x="67" y="433"/>
                    <a:pt x="67" y="434"/>
                  </a:cubicBezTo>
                  <a:cubicBezTo>
                    <a:pt x="68" y="434"/>
                    <a:pt x="68" y="435"/>
                    <a:pt x="69" y="435"/>
                  </a:cubicBezTo>
                  <a:cubicBezTo>
                    <a:pt x="69" y="435"/>
                    <a:pt x="69" y="435"/>
                    <a:pt x="69" y="435"/>
                  </a:cubicBezTo>
                  <a:cubicBezTo>
                    <a:pt x="189" y="430"/>
                    <a:pt x="189" y="430"/>
                    <a:pt x="189" y="430"/>
                  </a:cubicBezTo>
                  <a:cubicBezTo>
                    <a:pt x="348" y="422"/>
                    <a:pt x="348" y="422"/>
                    <a:pt x="348" y="422"/>
                  </a:cubicBezTo>
                  <a:cubicBezTo>
                    <a:pt x="349" y="422"/>
                    <a:pt x="350" y="421"/>
                    <a:pt x="350" y="419"/>
                  </a:cubicBezTo>
                  <a:cubicBezTo>
                    <a:pt x="351" y="409"/>
                    <a:pt x="351" y="409"/>
                    <a:pt x="351" y="409"/>
                  </a:cubicBezTo>
                  <a:cubicBezTo>
                    <a:pt x="351" y="409"/>
                    <a:pt x="351" y="408"/>
                    <a:pt x="351" y="408"/>
                  </a:cubicBezTo>
                  <a:cubicBezTo>
                    <a:pt x="350" y="407"/>
                    <a:pt x="350" y="406"/>
                    <a:pt x="350" y="405"/>
                  </a:cubicBezTo>
                  <a:cubicBezTo>
                    <a:pt x="350" y="405"/>
                    <a:pt x="350" y="405"/>
                    <a:pt x="351" y="405"/>
                  </a:cubicBezTo>
                  <a:cubicBezTo>
                    <a:pt x="353" y="405"/>
                    <a:pt x="354" y="405"/>
                    <a:pt x="356" y="405"/>
                  </a:cubicBezTo>
                  <a:cubicBezTo>
                    <a:pt x="357" y="404"/>
                    <a:pt x="357" y="402"/>
                    <a:pt x="358" y="402"/>
                  </a:cubicBezTo>
                  <a:cubicBezTo>
                    <a:pt x="358" y="398"/>
                    <a:pt x="357" y="391"/>
                    <a:pt x="355" y="387"/>
                  </a:cubicBezTo>
                  <a:cubicBezTo>
                    <a:pt x="355" y="387"/>
                    <a:pt x="354" y="386"/>
                    <a:pt x="353" y="386"/>
                  </a:cubicBezTo>
                  <a:cubicBezTo>
                    <a:pt x="352" y="384"/>
                    <a:pt x="350" y="380"/>
                    <a:pt x="350" y="379"/>
                  </a:cubicBezTo>
                  <a:cubicBezTo>
                    <a:pt x="351" y="379"/>
                    <a:pt x="351" y="378"/>
                    <a:pt x="351" y="377"/>
                  </a:cubicBezTo>
                  <a:cubicBezTo>
                    <a:pt x="352" y="375"/>
                    <a:pt x="354" y="372"/>
                    <a:pt x="351" y="370"/>
                  </a:cubicBezTo>
                  <a:cubicBezTo>
                    <a:pt x="350" y="369"/>
                    <a:pt x="349" y="370"/>
                    <a:pt x="348" y="371"/>
                  </a:cubicBezTo>
                  <a:cubicBezTo>
                    <a:pt x="348" y="371"/>
                    <a:pt x="348" y="371"/>
                    <a:pt x="348" y="371"/>
                  </a:cubicBezTo>
                  <a:cubicBezTo>
                    <a:pt x="348" y="371"/>
                    <a:pt x="347" y="370"/>
                    <a:pt x="346" y="370"/>
                  </a:cubicBezTo>
                  <a:cubicBezTo>
                    <a:pt x="348" y="370"/>
                    <a:pt x="351" y="368"/>
                    <a:pt x="351" y="366"/>
                  </a:cubicBezTo>
                  <a:cubicBezTo>
                    <a:pt x="351" y="364"/>
                    <a:pt x="350" y="362"/>
                    <a:pt x="349" y="360"/>
                  </a:cubicBezTo>
                  <a:cubicBezTo>
                    <a:pt x="348" y="359"/>
                    <a:pt x="347" y="358"/>
                    <a:pt x="345" y="358"/>
                  </a:cubicBezTo>
                  <a:cubicBezTo>
                    <a:pt x="345" y="358"/>
                    <a:pt x="344" y="358"/>
                    <a:pt x="344" y="358"/>
                  </a:cubicBezTo>
                  <a:cubicBezTo>
                    <a:pt x="344" y="358"/>
                    <a:pt x="344" y="358"/>
                    <a:pt x="344" y="357"/>
                  </a:cubicBezTo>
                  <a:cubicBezTo>
                    <a:pt x="344" y="355"/>
                    <a:pt x="342" y="354"/>
                    <a:pt x="341" y="353"/>
                  </a:cubicBezTo>
                  <a:cubicBezTo>
                    <a:pt x="341" y="353"/>
                    <a:pt x="341" y="353"/>
                    <a:pt x="341" y="353"/>
                  </a:cubicBezTo>
                  <a:cubicBezTo>
                    <a:pt x="341" y="353"/>
                    <a:pt x="341" y="352"/>
                    <a:pt x="341" y="352"/>
                  </a:cubicBezTo>
                  <a:cubicBezTo>
                    <a:pt x="344" y="352"/>
                    <a:pt x="346" y="351"/>
                    <a:pt x="347" y="348"/>
                  </a:cubicBezTo>
                  <a:cubicBezTo>
                    <a:pt x="347" y="346"/>
                    <a:pt x="345" y="344"/>
                    <a:pt x="343" y="342"/>
                  </a:cubicBezTo>
                  <a:cubicBezTo>
                    <a:pt x="343" y="342"/>
                    <a:pt x="342" y="341"/>
                    <a:pt x="341" y="340"/>
                  </a:cubicBezTo>
                  <a:cubicBezTo>
                    <a:pt x="342" y="340"/>
                    <a:pt x="342" y="340"/>
                    <a:pt x="343" y="340"/>
                  </a:cubicBezTo>
                  <a:cubicBezTo>
                    <a:pt x="343" y="341"/>
                    <a:pt x="344" y="342"/>
                    <a:pt x="345" y="342"/>
                  </a:cubicBezTo>
                  <a:cubicBezTo>
                    <a:pt x="346" y="342"/>
                    <a:pt x="346" y="343"/>
                    <a:pt x="346" y="343"/>
                  </a:cubicBezTo>
                  <a:cubicBezTo>
                    <a:pt x="349" y="343"/>
                    <a:pt x="352" y="340"/>
                    <a:pt x="354" y="338"/>
                  </a:cubicBezTo>
                  <a:cubicBezTo>
                    <a:pt x="355" y="337"/>
                    <a:pt x="356" y="336"/>
                    <a:pt x="356" y="334"/>
                  </a:cubicBezTo>
                  <a:cubicBezTo>
                    <a:pt x="355" y="331"/>
                    <a:pt x="352" y="331"/>
                    <a:pt x="349" y="331"/>
                  </a:cubicBezTo>
                  <a:cubicBezTo>
                    <a:pt x="348" y="331"/>
                    <a:pt x="347" y="331"/>
                    <a:pt x="347" y="331"/>
                  </a:cubicBezTo>
                  <a:cubicBezTo>
                    <a:pt x="347" y="331"/>
                    <a:pt x="347" y="330"/>
                    <a:pt x="347" y="329"/>
                  </a:cubicBezTo>
                  <a:cubicBezTo>
                    <a:pt x="347" y="329"/>
                    <a:pt x="348" y="329"/>
                    <a:pt x="349" y="329"/>
                  </a:cubicBezTo>
                  <a:cubicBezTo>
                    <a:pt x="350" y="330"/>
                    <a:pt x="351" y="330"/>
                    <a:pt x="352" y="330"/>
                  </a:cubicBezTo>
                  <a:cubicBezTo>
                    <a:pt x="354" y="330"/>
                    <a:pt x="355" y="329"/>
                    <a:pt x="355" y="328"/>
                  </a:cubicBezTo>
                  <a:cubicBezTo>
                    <a:pt x="358" y="324"/>
                    <a:pt x="356" y="318"/>
                    <a:pt x="356" y="316"/>
                  </a:cubicBezTo>
                  <a:cubicBezTo>
                    <a:pt x="356" y="315"/>
                    <a:pt x="356" y="314"/>
                    <a:pt x="356" y="314"/>
                  </a:cubicBezTo>
                  <a:cubicBezTo>
                    <a:pt x="357" y="311"/>
                    <a:pt x="358" y="309"/>
                    <a:pt x="357" y="307"/>
                  </a:cubicBezTo>
                  <a:cubicBezTo>
                    <a:pt x="356" y="306"/>
                    <a:pt x="355" y="305"/>
                    <a:pt x="353" y="304"/>
                  </a:cubicBezTo>
                  <a:cubicBezTo>
                    <a:pt x="353" y="304"/>
                    <a:pt x="353" y="304"/>
                    <a:pt x="353" y="304"/>
                  </a:cubicBezTo>
                  <a:cubicBezTo>
                    <a:pt x="354" y="303"/>
                    <a:pt x="358" y="302"/>
                    <a:pt x="359" y="302"/>
                  </a:cubicBezTo>
                  <a:cubicBezTo>
                    <a:pt x="364" y="301"/>
                    <a:pt x="369" y="300"/>
                    <a:pt x="371" y="297"/>
                  </a:cubicBezTo>
                  <a:cubicBezTo>
                    <a:pt x="371" y="294"/>
                    <a:pt x="370" y="292"/>
                    <a:pt x="368" y="290"/>
                  </a:cubicBezTo>
                  <a:cubicBezTo>
                    <a:pt x="368" y="289"/>
                    <a:pt x="367" y="288"/>
                    <a:pt x="367" y="288"/>
                  </a:cubicBezTo>
                  <a:cubicBezTo>
                    <a:pt x="367" y="286"/>
                    <a:pt x="367" y="284"/>
                    <a:pt x="367" y="283"/>
                  </a:cubicBezTo>
                  <a:cubicBezTo>
                    <a:pt x="367" y="283"/>
                    <a:pt x="367" y="283"/>
                    <a:pt x="367" y="283"/>
                  </a:cubicBezTo>
                  <a:cubicBezTo>
                    <a:pt x="368" y="282"/>
                    <a:pt x="370" y="281"/>
                    <a:pt x="370" y="279"/>
                  </a:cubicBezTo>
                  <a:cubicBezTo>
                    <a:pt x="370" y="279"/>
                    <a:pt x="370" y="279"/>
                    <a:pt x="370" y="278"/>
                  </a:cubicBezTo>
                  <a:cubicBezTo>
                    <a:pt x="370" y="278"/>
                    <a:pt x="371" y="278"/>
                    <a:pt x="372" y="278"/>
                  </a:cubicBezTo>
                  <a:cubicBezTo>
                    <a:pt x="373" y="277"/>
                    <a:pt x="374" y="275"/>
                    <a:pt x="374" y="273"/>
                  </a:cubicBezTo>
                  <a:cubicBezTo>
                    <a:pt x="374" y="273"/>
                    <a:pt x="374" y="273"/>
                    <a:pt x="374" y="273"/>
                  </a:cubicBezTo>
                  <a:cubicBezTo>
                    <a:pt x="374" y="272"/>
                    <a:pt x="376" y="271"/>
                    <a:pt x="377" y="270"/>
                  </a:cubicBezTo>
                  <a:cubicBezTo>
                    <a:pt x="379" y="269"/>
                    <a:pt x="381" y="267"/>
                    <a:pt x="381" y="265"/>
                  </a:cubicBezTo>
                  <a:cubicBezTo>
                    <a:pt x="382" y="263"/>
                    <a:pt x="381" y="261"/>
                    <a:pt x="381" y="260"/>
                  </a:cubicBezTo>
                  <a:cubicBezTo>
                    <a:pt x="380" y="259"/>
                    <a:pt x="380" y="259"/>
                    <a:pt x="380" y="259"/>
                  </a:cubicBezTo>
                  <a:cubicBezTo>
                    <a:pt x="381" y="259"/>
                    <a:pt x="381" y="259"/>
                    <a:pt x="381" y="259"/>
                  </a:cubicBezTo>
                  <a:cubicBezTo>
                    <a:pt x="383" y="259"/>
                    <a:pt x="384" y="259"/>
                    <a:pt x="385" y="259"/>
                  </a:cubicBezTo>
                  <a:cubicBezTo>
                    <a:pt x="387" y="259"/>
                    <a:pt x="390" y="258"/>
                    <a:pt x="391" y="257"/>
                  </a:cubicBezTo>
                  <a:cubicBezTo>
                    <a:pt x="393" y="255"/>
                    <a:pt x="397" y="251"/>
                    <a:pt x="397" y="247"/>
                  </a:cubicBezTo>
                  <a:cubicBezTo>
                    <a:pt x="398" y="246"/>
                    <a:pt x="397" y="244"/>
                    <a:pt x="396" y="243"/>
                  </a:cubicBezTo>
                  <a:cubicBezTo>
                    <a:pt x="396" y="242"/>
                    <a:pt x="396" y="241"/>
                    <a:pt x="396" y="241"/>
                  </a:cubicBezTo>
                  <a:cubicBezTo>
                    <a:pt x="396" y="241"/>
                    <a:pt x="397" y="239"/>
                    <a:pt x="398" y="238"/>
                  </a:cubicBezTo>
                  <a:cubicBezTo>
                    <a:pt x="399" y="236"/>
                    <a:pt x="401" y="233"/>
                    <a:pt x="400" y="231"/>
                  </a:cubicBezTo>
                  <a:cubicBezTo>
                    <a:pt x="400" y="229"/>
                    <a:pt x="398" y="228"/>
                    <a:pt x="397" y="228"/>
                  </a:cubicBezTo>
                  <a:cubicBezTo>
                    <a:pt x="397" y="227"/>
                    <a:pt x="396" y="227"/>
                    <a:pt x="396" y="227"/>
                  </a:cubicBezTo>
                  <a:cubicBezTo>
                    <a:pt x="396" y="226"/>
                    <a:pt x="396" y="226"/>
                    <a:pt x="396" y="226"/>
                  </a:cubicBezTo>
                  <a:cubicBezTo>
                    <a:pt x="399" y="227"/>
                    <a:pt x="405" y="224"/>
                    <a:pt x="405" y="220"/>
                  </a:cubicBezTo>
                  <a:cubicBezTo>
                    <a:pt x="405" y="218"/>
                    <a:pt x="403" y="216"/>
                    <a:pt x="401" y="216"/>
                  </a:cubicBezTo>
                  <a:cubicBezTo>
                    <a:pt x="402" y="215"/>
                    <a:pt x="404" y="215"/>
                    <a:pt x="405" y="214"/>
                  </a:cubicBezTo>
                  <a:cubicBezTo>
                    <a:pt x="407" y="211"/>
                    <a:pt x="408" y="207"/>
                    <a:pt x="408" y="206"/>
                  </a:cubicBezTo>
                  <a:cubicBezTo>
                    <a:pt x="408" y="206"/>
                    <a:pt x="408" y="206"/>
                    <a:pt x="408" y="206"/>
                  </a:cubicBezTo>
                  <a:cubicBezTo>
                    <a:pt x="407" y="204"/>
                    <a:pt x="407" y="203"/>
                    <a:pt x="407" y="203"/>
                  </a:cubicBezTo>
                  <a:cubicBezTo>
                    <a:pt x="409" y="202"/>
                    <a:pt x="413" y="200"/>
                    <a:pt x="414" y="199"/>
                  </a:cubicBezTo>
                  <a:cubicBezTo>
                    <a:pt x="418" y="197"/>
                    <a:pt x="421" y="194"/>
                    <a:pt x="422" y="191"/>
                  </a:cubicBezTo>
                  <a:cubicBezTo>
                    <a:pt x="424" y="188"/>
                    <a:pt x="422" y="183"/>
                    <a:pt x="421" y="181"/>
                  </a:cubicBezTo>
                  <a:cubicBezTo>
                    <a:pt x="420" y="180"/>
                    <a:pt x="420" y="180"/>
                    <a:pt x="419" y="180"/>
                  </a:cubicBezTo>
                  <a:cubicBezTo>
                    <a:pt x="419" y="179"/>
                    <a:pt x="420" y="179"/>
                    <a:pt x="421" y="178"/>
                  </a:cubicBezTo>
                  <a:cubicBezTo>
                    <a:pt x="423" y="177"/>
                    <a:pt x="425" y="177"/>
                    <a:pt x="426" y="176"/>
                  </a:cubicBezTo>
                  <a:cubicBezTo>
                    <a:pt x="427" y="175"/>
                    <a:pt x="427" y="173"/>
                    <a:pt x="428" y="171"/>
                  </a:cubicBezTo>
                  <a:cubicBezTo>
                    <a:pt x="428" y="170"/>
                    <a:pt x="429" y="169"/>
                    <a:pt x="429" y="169"/>
                  </a:cubicBezTo>
                  <a:cubicBezTo>
                    <a:pt x="429" y="168"/>
                    <a:pt x="431" y="168"/>
                    <a:pt x="431" y="168"/>
                  </a:cubicBezTo>
                  <a:cubicBezTo>
                    <a:pt x="433" y="168"/>
                    <a:pt x="435" y="167"/>
                    <a:pt x="436" y="166"/>
                  </a:cubicBezTo>
                  <a:cubicBezTo>
                    <a:pt x="437" y="165"/>
                    <a:pt x="438" y="163"/>
                    <a:pt x="438" y="162"/>
                  </a:cubicBezTo>
                  <a:cubicBezTo>
                    <a:pt x="439" y="157"/>
                    <a:pt x="435" y="146"/>
                    <a:pt x="434" y="142"/>
                  </a:cubicBezTo>
                  <a:cubicBezTo>
                    <a:pt x="437" y="136"/>
                    <a:pt x="437" y="133"/>
                    <a:pt x="435" y="131"/>
                  </a:cubicBezTo>
                  <a:cubicBezTo>
                    <a:pt x="433" y="129"/>
                    <a:pt x="430" y="130"/>
                    <a:pt x="428" y="132"/>
                  </a:cubicBezTo>
                  <a:cubicBezTo>
                    <a:pt x="428" y="132"/>
                    <a:pt x="428" y="132"/>
                    <a:pt x="428" y="132"/>
                  </a:cubicBezTo>
                  <a:cubicBezTo>
                    <a:pt x="428" y="131"/>
                    <a:pt x="429" y="129"/>
                    <a:pt x="429" y="129"/>
                  </a:cubicBezTo>
                  <a:cubicBezTo>
                    <a:pt x="430" y="128"/>
                    <a:pt x="432" y="127"/>
                    <a:pt x="435" y="127"/>
                  </a:cubicBezTo>
                  <a:cubicBezTo>
                    <a:pt x="435" y="127"/>
                    <a:pt x="435" y="127"/>
                    <a:pt x="436" y="127"/>
                  </a:cubicBezTo>
                  <a:cubicBezTo>
                    <a:pt x="440" y="127"/>
                    <a:pt x="442" y="125"/>
                    <a:pt x="443" y="124"/>
                  </a:cubicBezTo>
                  <a:cubicBezTo>
                    <a:pt x="444" y="121"/>
                    <a:pt x="442" y="119"/>
                    <a:pt x="440" y="117"/>
                  </a:cubicBezTo>
                  <a:cubicBezTo>
                    <a:pt x="440" y="117"/>
                    <a:pt x="439" y="117"/>
                    <a:pt x="439" y="116"/>
                  </a:cubicBezTo>
                  <a:cubicBezTo>
                    <a:pt x="439" y="116"/>
                    <a:pt x="440" y="116"/>
                    <a:pt x="440" y="116"/>
                  </a:cubicBezTo>
                  <a:cubicBezTo>
                    <a:pt x="441" y="116"/>
                    <a:pt x="442" y="115"/>
                    <a:pt x="443" y="114"/>
                  </a:cubicBezTo>
                  <a:cubicBezTo>
                    <a:pt x="444" y="113"/>
                    <a:pt x="446" y="110"/>
                    <a:pt x="447" y="109"/>
                  </a:cubicBezTo>
                  <a:cubicBezTo>
                    <a:pt x="447" y="108"/>
                    <a:pt x="449" y="106"/>
                    <a:pt x="449" y="103"/>
                  </a:cubicBezTo>
                  <a:cubicBezTo>
                    <a:pt x="449" y="101"/>
                    <a:pt x="448" y="97"/>
                    <a:pt x="447" y="95"/>
                  </a:cubicBezTo>
                  <a:cubicBezTo>
                    <a:pt x="450" y="92"/>
                    <a:pt x="450" y="92"/>
                    <a:pt x="450" y="92"/>
                  </a:cubicBezTo>
                  <a:cubicBezTo>
                    <a:pt x="457" y="89"/>
                    <a:pt x="457" y="89"/>
                    <a:pt x="457" y="89"/>
                  </a:cubicBezTo>
                  <a:cubicBezTo>
                    <a:pt x="460" y="87"/>
                    <a:pt x="465" y="84"/>
                    <a:pt x="465" y="81"/>
                  </a:cubicBezTo>
                  <a:cubicBezTo>
                    <a:pt x="466" y="79"/>
                    <a:pt x="464" y="77"/>
                    <a:pt x="462" y="75"/>
                  </a:cubicBezTo>
                  <a:cubicBezTo>
                    <a:pt x="462" y="75"/>
                    <a:pt x="462" y="75"/>
                    <a:pt x="461" y="74"/>
                  </a:cubicBezTo>
                  <a:cubicBezTo>
                    <a:pt x="462" y="74"/>
                    <a:pt x="462" y="74"/>
                    <a:pt x="463" y="74"/>
                  </a:cubicBezTo>
                  <a:cubicBezTo>
                    <a:pt x="465" y="74"/>
                    <a:pt x="467" y="73"/>
                    <a:pt x="468" y="71"/>
                  </a:cubicBezTo>
                  <a:cubicBezTo>
                    <a:pt x="470" y="69"/>
                    <a:pt x="469" y="65"/>
                    <a:pt x="467" y="6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8">
              <a:extLst>
                <a:ext uri="{FF2B5EF4-FFF2-40B4-BE49-F238E27FC236}">
                  <a16:creationId xmlns:a16="http://schemas.microsoft.com/office/drawing/2014/main" id="{C782C385-900E-420A-B25D-57AF013FC8AE}"/>
                </a:ext>
              </a:extLst>
            </p:cNvPr>
            <p:cNvSpPr>
              <a:spLocks noEditPoints="1"/>
            </p:cNvSpPr>
            <p:nvPr/>
          </p:nvSpPr>
          <p:spPr bwMode="auto">
            <a:xfrm>
              <a:off x="6300975" y="4253848"/>
              <a:ext cx="588243" cy="510417"/>
            </a:xfrm>
            <a:custGeom>
              <a:avLst/>
              <a:gdLst>
                <a:gd name="T0" fmla="*/ 474 w 529"/>
                <a:gd name="T1" fmla="*/ 404 h 459"/>
                <a:gd name="T2" fmla="*/ 470 w 529"/>
                <a:gd name="T3" fmla="*/ 376 h 459"/>
                <a:gd name="T4" fmla="*/ 493 w 529"/>
                <a:gd name="T5" fmla="*/ 365 h 459"/>
                <a:gd name="T6" fmla="*/ 459 w 529"/>
                <a:gd name="T7" fmla="*/ 358 h 459"/>
                <a:gd name="T8" fmla="*/ 447 w 529"/>
                <a:gd name="T9" fmla="*/ 344 h 459"/>
                <a:gd name="T10" fmla="*/ 427 w 529"/>
                <a:gd name="T11" fmla="*/ 334 h 459"/>
                <a:gd name="T12" fmla="*/ 380 w 529"/>
                <a:gd name="T13" fmla="*/ 331 h 459"/>
                <a:gd name="T14" fmla="*/ 441 w 529"/>
                <a:gd name="T15" fmla="*/ 313 h 459"/>
                <a:gd name="T16" fmla="*/ 459 w 529"/>
                <a:gd name="T17" fmla="*/ 305 h 459"/>
                <a:gd name="T18" fmla="*/ 437 w 529"/>
                <a:gd name="T19" fmla="*/ 273 h 459"/>
                <a:gd name="T20" fmla="*/ 444 w 529"/>
                <a:gd name="T21" fmla="*/ 229 h 459"/>
                <a:gd name="T22" fmla="*/ 257 w 529"/>
                <a:gd name="T23" fmla="*/ 239 h 459"/>
                <a:gd name="T24" fmla="*/ 253 w 529"/>
                <a:gd name="T25" fmla="*/ 226 h 459"/>
                <a:gd name="T26" fmla="*/ 252 w 529"/>
                <a:gd name="T27" fmla="*/ 212 h 459"/>
                <a:gd name="T28" fmla="*/ 263 w 529"/>
                <a:gd name="T29" fmla="*/ 186 h 459"/>
                <a:gd name="T30" fmla="*/ 275 w 529"/>
                <a:gd name="T31" fmla="*/ 157 h 459"/>
                <a:gd name="T32" fmla="*/ 279 w 529"/>
                <a:gd name="T33" fmla="*/ 141 h 459"/>
                <a:gd name="T34" fmla="*/ 306 w 529"/>
                <a:gd name="T35" fmla="*/ 101 h 459"/>
                <a:gd name="T36" fmla="*/ 296 w 529"/>
                <a:gd name="T37" fmla="*/ 101 h 459"/>
                <a:gd name="T38" fmla="*/ 303 w 529"/>
                <a:gd name="T39" fmla="*/ 94 h 459"/>
                <a:gd name="T40" fmla="*/ 316 w 529"/>
                <a:gd name="T41" fmla="*/ 82 h 459"/>
                <a:gd name="T42" fmla="*/ 305 w 529"/>
                <a:gd name="T43" fmla="*/ 71 h 459"/>
                <a:gd name="T44" fmla="*/ 303 w 529"/>
                <a:gd name="T45" fmla="*/ 46 h 459"/>
                <a:gd name="T46" fmla="*/ 297 w 529"/>
                <a:gd name="T47" fmla="*/ 36 h 459"/>
                <a:gd name="T48" fmla="*/ 294 w 529"/>
                <a:gd name="T49" fmla="*/ 18 h 459"/>
                <a:gd name="T50" fmla="*/ 284 w 529"/>
                <a:gd name="T51" fmla="*/ 2 h 459"/>
                <a:gd name="T52" fmla="*/ 0 w 529"/>
                <a:gd name="T53" fmla="*/ 16 h 459"/>
                <a:gd name="T54" fmla="*/ 28 w 529"/>
                <a:gd name="T55" fmla="*/ 169 h 459"/>
                <a:gd name="T56" fmla="*/ 34 w 529"/>
                <a:gd name="T57" fmla="*/ 192 h 459"/>
                <a:gd name="T58" fmla="*/ 42 w 529"/>
                <a:gd name="T59" fmla="*/ 208 h 459"/>
                <a:gd name="T60" fmla="*/ 57 w 529"/>
                <a:gd name="T61" fmla="*/ 236 h 459"/>
                <a:gd name="T62" fmla="*/ 58 w 529"/>
                <a:gd name="T63" fmla="*/ 256 h 459"/>
                <a:gd name="T64" fmla="*/ 55 w 529"/>
                <a:gd name="T65" fmla="*/ 274 h 459"/>
                <a:gd name="T66" fmla="*/ 45 w 529"/>
                <a:gd name="T67" fmla="*/ 292 h 459"/>
                <a:gd name="T68" fmla="*/ 39 w 529"/>
                <a:gd name="T69" fmla="*/ 324 h 459"/>
                <a:gd name="T70" fmla="*/ 30 w 529"/>
                <a:gd name="T71" fmla="*/ 374 h 459"/>
                <a:gd name="T72" fmla="*/ 58 w 529"/>
                <a:gd name="T73" fmla="*/ 398 h 459"/>
                <a:gd name="T74" fmla="*/ 80 w 529"/>
                <a:gd name="T75" fmla="*/ 384 h 459"/>
                <a:gd name="T76" fmla="*/ 89 w 529"/>
                <a:gd name="T77" fmla="*/ 367 h 459"/>
                <a:gd name="T78" fmla="*/ 95 w 529"/>
                <a:gd name="T79" fmla="*/ 394 h 459"/>
                <a:gd name="T80" fmla="*/ 138 w 529"/>
                <a:gd name="T81" fmla="*/ 408 h 459"/>
                <a:gd name="T82" fmla="*/ 208 w 529"/>
                <a:gd name="T83" fmla="*/ 412 h 459"/>
                <a:gd name="T84" fmla="*/ 211 w 529"/>
                <a:gd name="T85" fmla="*/ 393 h 459"/>
                <a:gd name="T86" fmla="*/ 232 w 529"/>
                <a:gd name="T87" fmla="*/ 386 h 459"/>
                <a:gd name="T88" fmla="*/ 254 w 529"/>
                <a:gd name="T89" fmla="*/ 390 h 459"/>
                <a:gd name="T90" fmla="*/ 265 w 529"/>
                <a:gd name="T91" fmla="*/ 401 h 459"/>
                <a:gd name="T92" fmla="*/ 291 w 529"/>
                <a:gd name="T93" fmla="*/ 418 h 459"/>
                <a:gd name="T94" fmla="*/ 309 w 529"/>
                <a:gd name="T95" fmla="*/ 432 h 459"/>
                <a:gd name="T96" fmla="*/ 323 w 529"/>
                <a:gd name="T97" fmla="*/ 450 h 459"/>
                <a:gd name="T98" fmla="*/ 349 w 529"/>
                <a:gd name="T99" fmla="*/ 454 h 459"/>
                <a:gd name="T100" fmla="*/ 366 w 529"/>
                <a:gd name="T101" fmla="*/ 454 h 459"/>
                <a:gd name="T102" fmla="*/ 370 w 529"/>
                <a:gd name="T103" fmla="*/ 436 h 459"/>
                <a:gd name="T104" fmla="*/ 384 w 529"/>
                <a:gd name="T105" fmla="*/ 432 h 459"/>
                <a:gd name="T106" fmla="*/ 401 w 529"/>
                <a:gd name="T107" fmla="*/ 443 h 459"/>
                <a:gd name="T108" fmla="*/ 414 w 529"/>
                <a:gd name="T109" fmla="*/ 455 h 459"/>
                <a:gd name="T110" fmla="*/ 422 w 529"/>
                <a:gd name="T111" fmla="*/ 434 h 459"/>
                <a:gd name="T112" fmla="*/ 409 w 529"/>
                <a:gd name="T113" fmla="*/ 401 h 459"/>
                <a:gd name="T114" fmla="*/ 448 w 529"/>
                <a:gd name="T115" fmla="*/ 418 h 459"/>
                <a:gd name="T116" fmla="*/ 454 w 529"/>
                <a:gd name="T117" fmla="*/ 428 h 459"/>
                <a:gd name="T118" fmla="*/ 510 w 529"/>
                <a:gd name="T119" fmla="*/ 454 h 459"/>
                <a:gd name="T120" fmla="*/ 519 w 529"/>
                <a:gd name="T121" fmla="*/ 424 h 459"/>
                <a:gd name="T122" fmla="*/ 296 w 529"/>
                <a:gd name="T123" fmla="*/ 10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9" h="459">
                  <a:moveTo>
                    <a:pt x="519" y="424"/>
                  </a:moveTo>
                  <a:cubicBezTo>
                    <a:pt x="515" y="422"/>
                    <a:pt x="512" y="419"/>
                    <a:pt x="509" y="417"/>
                  </a:cubicBezTo>
                  <a:cubicBezTo>
                    <a:pt x="503" y="413"/>
                    <a:pt x="496" y="409"/>
                    <a:pt x="488" y="409"/>
                  </a:cubicBezTo>
                  <a:cubicBezTo>
                    <a:pt x="486" y="409"/>
                    <a:pt x="486" y="409"/>
                    <a:pt x="486" y="409"/>
                  </a:cubicBezTo>
                  <a:cubicBezTo>
                    <a:pt x="480" y="409"/>
                    <a:pt x="477" y="406"/>
                    <a:pt x="474" y="404"/>
                  </a:cubicBezTo>
                  <a:cubicBezTo>
                    <a:pt x="472" y="403"/>
                    <a:pt x="470" y="401"/>
                    <a:pt x="467" y="401"/>
                  </a:cubicBezTo>
                  <a:cubicBezTo>
                    <a:pt x="463" y="400"/>
                    <a:pt x="461" y="400"/>
                    <a:pt x="460" y="399"/>
                  </a:cubicBezTo>
                  <a:cubicBezTo>
                    <a:pt x="459" y="398"/>
                    <a:pt x="458" y="396"/>
                    <a:pt x="458" y="395"/>
                  </a:cubicBezTo>
                  <a:cubicBezTo>
                    <a:pt x="459" y="394"/>
                    <a:pt x="460" y="394"/>
                    <a:pt x="461" y="393"/>
                  </a:cubicBezTo>
                  <a:cubicBezTo>
                    <a:pt x="469" y="389"/>
                    <a:pt x="470" y="384"/>
                    <a:pt x="470" y="376"/>
                  </a:cubicBezTo>
                  <a:cubicBezTo>
                    <a:pt x="470" y="376"/>
                    <a:pt x="470" y="376"/>
                    <a:pt x="470" y="376"/>
                  </a:cubicBezTo>
                  <a:cubicBezTo>
                    <a:pt x="471" y="376"/>
                    <a:pt x="472" y="376"/>
                    <a:pt x="473" y="376"/>
                  </a:cubicBezTo>
                  <a:cubicBezTo>
                    <a:pt x="477" y="376"/>
                    <a:pt x="478" y="374"/>
                    <a:pt x="479" y="372"/>
                  </a:cubicBezTo>
                  <a:cubicBezTo>
                    <a:pt x="480" y="371"/>
                    <a:pt x="484" y="370"/>
                    <a:pt x="486" y="369"/>
                  </a:cubicBezTo>
                  <a:cubicBezTo>
                    <a:pt x="490" y="368"/>
                    <a:pt x="492" y="368"/>
                    <a:pt x="493" y="365"/>
                  </a:cubicBezTo>
                  <a:cubicBezTo>
                    <a:pt x="493" y="362"/>
                    <a:pt x="491" y="361"/>
                    <a:pt x="490" y="360"/>
                  </a:cubicBezTo>
                  <a:cubicBezTo>
                    <a:pt x="487" y="359"/>
                    <a:pt x="487" y="359"/>
                    <a:pt x="487" y="359"/>
                  </a:cubicBezTo>
                  <a:cubicBezTo>
                    <a:pt x="482" y="356"/>
                    <a:pt x="481" y="355"/>
                    <a:pt x="470" y="352"/>
                  </a:cubicBezTo>
                  <a:cubicBezTo>
                    <a:pt x="463" y="350"/>
                    <a:pt x="460" y="352"/>
                    <a:pt x="459" y="354"/>
                  </a:cubicBezTo>
                  <a:cubicBezTo>
                    <a:pt x="459" y="355"/>
                    <a:pt x="459" y="356"/>
                    <a:pt x="459" y="358"/>
                  </a:cubicBezTo>
                  <a:cubicBezTo>
                    <a:pt x="458" y="357"/>
                    <a:pt x="457" y="357"/>
                    <a:pt x="456" y="357"/>
                  </a:cubicBezTo>
                  <a:cubicBezTo>
                    <a:pt x="449" y="354"/>
                    <a:pt x="446" y="352"/>
                    <a:pt x="446" y="352"/>
                  </a:cubicBezTo>
                  <a:cubicBezTo>
                    <a:pt x="444" y="350"/>
                    <a:pt x="441" y="348"/>
                    <a:pt x="441" y="347"/>
                  </a:cubicBezTo>
                  <a:cubicBezTo>
                    <a:pt x="441" y="347"/>
                    <a:pt x="440" y="347"/>
                    <a:pt x="440" y="347"/>
                  </a:cubicBezTo>
                  <a:cubicBezTo>
                    <a:pt x="441" y="346"/>
                    <a:pt x="445" y="345"/>
                    <a:pt x="447" y="344"/>
                  </a:cubicBezTo>
                  <a:cubicBezTo>
                    <a:pt x="451" y="343"/>
                    <a:pt x="456" y="341"/>
                    <a:pt x="456" y="337"/>
                  </a:cubicBezTo>
                  <a:cubicBezTo>
                    <a:pt x="456" y="331"/>
                    <a:pt x="443" y="328"/>
                    <a:pt x="435" y="327"/>
                  </a:cubicBezTo>
                  <a:cubicBezTo>
                    <a:pt x="435" y="327"/>
                    <a:pt x="435" y="327"/>
                    <a:pt x="435" y="327"/>
                  </a:cubicBezTo>
                  <a:cubicBezTo>
                    <a:pt x="432" y="327"/>
                    <a:pt x="430" y="329"/>
                    <a:pt x="429" y="332"/>
                  </a:cubicBezTo>
                  <a:cubicBezTo>
                    <a:pt x="428" y="333"/>
                    <a:pt x="427" y="334"/>
                    <a:pt x="427" y="334"/>
                  </a:cubicBezTo>
                  <a:cubicBezTo>
                    <a:pt x="426" y="335"/>
                    <a:pt x="423" y="336"/>
                    <a:pt x="421" y="337"/>
                  </a:cubicBezTo>
                  <a:cubicBezTo>
                    <a:pt x="415" y="338"/>
                    <a:pt x="403" y="339"/>
                    <a:pt x="399" y="339"/>
                  </a:cubicBezTo>
                  <a:cubicBezTo>
                    <a:pt x="397" y="339"/>
                    <a:pt x="390" y="339"/>
                    <a:pt x="388" y="339"/>
                  </a:cubicBezTo>
                  <a:cubicBezTo>
                    <a:pt x="385" y="338"/>
                    <a:pt x="381" y="336"/>
                    <a:pt x="381" y="336"/>
                  </a:cubicBezTo>
                  <a:cubicBezTo>
                    <a:pt x="380" y="335"/>
                    <a:pt x="380" y="332"/>
                    <a:pt x="380" y="331"/>
                  </a:cubicBezTo>
                  <a:cubicBezTo>
                    <a:pt x="381" y="330"/>
                    <a:pt x="383" y="327"/>
                    <a:pt x="386" y="324"/>
                  </a:cubicBezTo>
                  <a:cubicBezTo>
                    <a:pt x="386" y="324"/>
                    <a:pt x="387" y="324"/>
                    <a:pt x="387" y="324"/>
                  </a:cubicBezTo>
                  <a:cubicBezTo>
                    <a:pt x="389" y="318"/>
                    <a:pt x="394" y="310"/>
                    <a:pt x="396" y="309"/>
                  </a:cubicBezTo>
                  <a:cubicBezTo>
                    <a:pt x="399" y="307"/>
                    <a:pt x="405" y="306"/>
                    <a:pt x="411" y="306"/>
                  </a:cubicBezTo>
                  <a:cubicBezTo>
                    <a:pt x="422" y="306"/>
                    <a:pt x="434" y="309"/>
                    <a:pt x="441" y="313"/>
                  </a:cubicBezTo>
                  <a:cubicBezTo>
                    <a:pt x="444" y="316"/>
                    <a:pt x="458" y="328"/>
                    <a:pt x="466" y="328"/>
                  </a:cubicBezTo>
                  <a:cubicBezTo>
                    <a:pt x="469" y="328"/>
                    <a:pt x="471" y="326"/>
                    <a:pt x="471" y="323"/>
                  </a:cubicBezTo>
                  <a:cubicBezTo>
                    <a:pt x="471" y="323"/>
                    <a:pt x="471" y="322"/>
                    <a:pt x="471" y="322"/>
                  </a:cubicBezTo>
                  <a:cubicBezTo>
                    <a:pt x="471" y="322"/>
                    <a:pt x="469" y="315"/>
                    <a:pt x="462" y="310"/>
                  </a:cubicBezTo>
                  <a:cubicBezTo>
                    <a:pt x="459" y="305"/>
                    <a:pt x="459" y="305"/>
                    <a:pt x="459" y="305"/>
                  </a:cubicBezTo>
                  <a:cubicBezTo>
                    <a:pt x="455" y="298"/>
                    <a:pt x="455" y="298"/>
                    <a:pt x="455" y="298"/>
                  </a:cubicBezTo>
                  <a:cubicBezTo>
                    <a:pt x="454" y="296"/>
                    <a:pt x="453" y="291"/>
                    <a:pt x="452" y="290"/>
                  </a:cubicBezTo>
                  <a:cubicBezTo>
                    <a:pt x="451" y="287"/>
                    <a:pt x="448" y="285"/>
                    <a:pt x="446" y="283"/>
                  </a:cubicBezTo>
                  <a:cubicBezTo>
                    <a:pt x="444" y="282"/>
                    <a:pt x="442" y="281"/>
                    <a:pt x="441" y="280"/>
                  </a:cubicBezTo>
                  <a:cubicBezTo>
                    <a:pt x="440" y="279"/>
                    <a:pt x="438" y="275"/>
                    <a:pt x="437" y="273"/>
                  </a:cubicBezTo>
                  <a:cubicBezTo>
                    <a:pt x="436" y="271"/>
                    <a:pt x="435" y="267"/>
                    <a:pt x="435" y="266"/>
                  </a:cubicBezTo>
                  <a:cubicBezTo>
                    <a:pt x="434" y="264"/>
                    <a:pt x="436" y="258"/>
                    <a:pt x="437" y="254"/>
                  </a:cubicBezTo>
                  <a:cubicBezTo>
                    <a:pt x="442" y="239"/>
                    <a:pt x="442" y="239"/>
                    <a:pt x="442" y="239"/>
                  </a:cubicBezTo>
                  <a:cubicBezTo>
                    <a:pt x="444" y="231"/>
                    <a:pt x="444" y="231"/>
                    <a:pt x="444" y="231"/>
                  </a:cubicBezTo>
                  <a:cubicBezTo>
                    <a:pt x="444" y="230"/>
                    <a:pt x="444" y="230"/>
                    <a:pt x="444" y="229"/>
                  </a:cubicBezTo>
                  <a:cubicBezTo>
                    <a:pt x="443" y="228"/>
                    <a:pt x="443" y="228"/>
                    <a:pt x="443" y="228"/>
                  </a:cubicBezTo>
                  <a:cubicBezTo>
                    <a:pt x="442" y="227"/>
                    <a:pt x="442" y="226"/>
                    <a:pt x="440" y="226"/>
                  </a:cubicBezTo>
                  <a:cubicBezTo>
                    <a:pt x="347" y="234"/>
                    <a:pt x="347" y="234"/>
                    <a:pt x="347" y="234"/>
                  </a:cubicBezTo>
                  <a:cubicBezTo>
                    <a:pt x="258" y="239"/>
                    <a:pt x="258" y="239"/>
                    <a:pt x="258" y="239"/>
                  </a:cubicBezTo>
                  <a:cubicBezTo>
                    <a:pt x="258" y="239"/>
                    <a:pt x="257" y="239"/>
                    <a:pt x="257" y="239"/>
                  </a:cubicBezTo>
                  <a:cubicBezTo>
                    <a:pt x="257" y="239"/>
                    <a:pt x="255" y="239"/>
                    <a:pt x="254" y="240"/>
                  </a:cubicBezTo>
                  <a:cubicBezTo>
                    <a:pt x="254" y="240"/>
                    <a:pt x="254" y="240"/>
                    <a:pt x="254" y="240"/>
                  </a:cubicBezTo>
                  <a:cubicBezTo>
                    <a:pt x="256" y="238"/>
                    <a:pt x="258" y="237"/>
                    <a:pt x="259" y="234"/>
                  </a:cubicBezTo>
                  <a:cubicBezTo>
                    <a:pt x="259" y="232"/>
                    <a:pt x="257" y="230"/>
                    <a:pt x="255" y="228"/>
                  </a:cubicBezTo>
                  <a:cubicBezTo>
                    <a:pt x="255" y="228"/>
                    <a:pt x="254" y="226"/>
                    <a:pt x="253" y="226"/>
                  </a:cubicBezTo>
                  <a:cubicBezTo>
                    <a:pt x="253" y="226"/>
                    <a:pt x="254" y="224"/>
                    <a:pt x="254" y="223"/>
                  </a:cubicBezTo>
                  <a:cubicBezTo>
                    <a:pt x="255" y="222"/>
                    <a:pt x="255" y="220"/>
                    <a:pt x="255" y="218"/>
                  </a:cubicBezTo>
                  <a:cubicBezTo>
                    <a:pt x="255" y="217"/>
                    <a:pt x="253" y="215"/>
                    <a:pt x="252" y="214"/>
                  </a:cubicBezTo>
                  <a:cubicBezTo>
                    <a:pt x="251" y="213"/>
                    <a:pt x="251" y="213"/>
                    <a:pt x="250" y="212"/>
                  </a:cubicBezTo>
                  <a:cubicBezTo>
                    <a:pt x="251" y="212"/>
                    <a:pt x="252" y="212"/>
                    <a:pt x="252" y="212"/>
                  </a:cubicBezTo>
                  <a:cubicBezTo>
                    <a:pt x="254" y="212"/>
                    <a:pt x="254" y="212"/>
                    <a:pt x="254" y="212"/>
                  </a:cubicBezTo>
                  <a:cubicBezTo>
                    <a:pt x="256" y="212"/>
                    <a:pt x="258" y="212"/>
                    <a:pt x="260" y="211"/>
                  </a:cubicBezTo>
                  <a:cubicBezTo>
                    <a:pt x="261" y="209"/>
                    <a:pt x="263" y="206"/>
                    <a:pt x="263" y="203"/>
                  </a:cubicBezTo>
                  <a:cubicBezTo>
                    <a:pt x="265" y="196"/>
                    <a:pt x="265" y="196"/>
                    <a:pt x="265" y="196"/>
                  </a:cubicBezTo>
                  <a:cubicBezTo>
                    <a:pt x="266" y="193"/>
                    <a:pt x="265" y="190"/>
                    <a:pt x="263" y="186"/>
                  </a:cubicBezTo>
                  <a:cubicBezTo>
                    <a:pt x="262" y="185"/>
                    <a:pt x="261" y="182"/>
                    <a:pt x="261" y="181"/>
                  </a:cubicBezTo>
                  <a:cubicBezTo>
                    <a:pt x="264" y="175"/>
                    <a:pt x="270" y="167"/>
                    <a:pt x="270" y="167"/>
                  </a:cubicBezTo>
                  <a:cubicBezTo>
                    <a:pt x="271" y="165"/>
                    <a:pt x="271" y="164"/>
                    <a:pt x="272" y="162"/>
                  </a:cubicBezTo>
                  <a:cubicBezTo>
                    <a:pt x="272" y="161"/>
                    <a:pt x="272" y="160"/>
                    <a:pt x="272" y="159"/>
                  </a:cubicBezTo>
                  <a:cubicBezTo>
                    <a:pt x="272" y="159"/>
                    <a:pt x="274" y="158"/>
                    <a:pt x="275" y="157"/>
                  </a:cubicBezTo>
                  <a:cubicBezTo>
                    <a:pt x="277" y="156"/>
                    <a:pt x="280" y="154"/>
                    <a:pt x="279" y="151"/>
                  </a:cubicBezTo>
                  <a:cubicBezTo>
                    <a:pt x="279" y="148"/>
                    <a:pt x="277" y="147"/>
                    <a:pt x="275" y="147"/>
                  </a:cubicBezTo>
                  <a:cubicBezTo>
                    <a:pt x="275" y="147"/>
                    <a:pt x="275" y="146"/>
                    <a:pt x="274" y="146"/>
                  </a:cubicBezTo>
                  <a:cubicBezTo>
                    <a:pt x="275" y="145"/>
                    <a:pt x="276" y="143"/>
                    <a:pt x="277" y="142"/>
                  </a:cubicBezTo>
                  <a:cubicBezTo>
                    <a:pt x="277" y="142"/>
                    <a:pt x="278" y="141"/>
                    <a:pt x="279" y="141"/>
                  </a:cubicBezTo>
                  <a:cubicBezTo>
                    <a:pt x="281" y="140"/>
                    <a:pt x="282" y="140"/>
                    <a:pt x="283" y="139"/>
                  </a:cubicBezTo>
                  <a:cubicBezTo>
                    <a:pt x="291" y="134"/>
                    <a:pt x="300" y="126"/>
                    <a:pt x="301" y="118"/>
                  </a:cubicBezTo>
                  <a:cubicBezTo>
                    <a:pt x="301" y="111"/>
                    <a:pt x="301" y="111"/>
                    <a:pt x="301" y="111"/>
                  </a:cubicBezTo>
                  <a:cubicBezTo>
                    <a:pt x="302" y="111"/>
                    <a:pt x="302" y="110"/>
                    <a:pt x="303" y="109"/>
                  </a:cubicBezTo>
                  <a:cubicBezTo>
                    <a:pt x="305" y="107"/>
                    <a:pt x="308" y="104"/>
                    <a:pt x="306" y="101"/>
                  </a:cubicBezTo>
                  <a:cubicBezTo>
                    <a:pt x="306" y="100"/>
                    <a:pt x="305" y="99"/>
                    <a:pt x="303" y="99"/>
                  </a:cubicBezTo>
                  <a:cubicBezTo>
                    <a:pt x="302" y="99"/>
                    <a:pt x="300" y="99"/>
                    <a:pt x="299" y="100"/>
                  </a:cubicBezTo>
                  <a:cubicBezTo>
                    <a:pt x="298" y="100"/>
                    <a:pt x="297" y="101"/>
                    <a:pt x="296" y="101"/>
                  </a:cubicBezTo>
                  <a:cubicBezTo>
                    <a:pt x="296" y="101"/>
                    <a:pt x="296" y="101"/>
                    <a:pt x="296" y="101"/>
                  </a:cubicBezTo>
                  <a:cubicBezTo>
                    <a:pt x="296" y="101"/>
                    <a:pt x="296" y="101"/>
                    <a:pt x="296" y="101"/>
                  </a:cubicBezTo>
                  <a:cubicBezTo>
                    <a:pt x="295" y="101"/>
                    <a:pt x="295" y="101"/>
                    <a:pt x="295" y="101"/>
                  </a:cubicBezTo>
                  <a:cubicBezTo>
                    <a:pt x="293" y="101"/>
                    <a:pt x="292" y="101"/>
                    <a:pt x="292" y="101"/>
                  </a:cubicBezTo>
                  <a:cubicBezTo>
                    <a:pt x="292" y="100"/>
                    <a:pt x="294" y="98"/>
                    <a:pt x="295" y="97"/>
                  </a:cubicBezTo>
                  <a:cubicBezTo>
                    <a:pt x="296" y="96"/>
                    <a:pt x="297" y="96"/>
                    <a:pt x="298" y="96"/>
                  </a:cubicBezTo>
                  <a:cubicBezTo>
                    <a:pt x="300" y="95"/>
                    <a:pt x="302" y="95"/>
                    <a:pt x="303" y="94"/>
                  </a:cubicBezTo>
                  <a:cubicBezTo>
                    <a:pt x="304" y="93"/>
                    <a:pt x="305" y="91"/>
                    <a:pt x="306" y="90"/>
                  </a:cubicBezTo>
                  <a:cubicBezTo>
                    <a:pt x="307" y="89"/>
                    <a:pt x="308" y="87"/>
                    <a:pt x="308" y="87"/>
                  </a:cubicBezTo>
                  <a:cubicBezTo>
                    <a:pt x="309" y="87"/>
                    <a:pt x="309" y="87"/>
                    <a:pt x="310" y="87"/>
                  </a:cubicBezTo>
                  <a:cubicBezTo>
                    <a:pt x="312" y="87"/>
                    <a:pt x="313" y="87"/>
                    <a:pt x="314" y="87"/>
                  </a:cubicBezTo>
                  <a:cubicBezTo>
                    <a:pt x="316" y="86"/>
                    <a:pt x="317" y="83"/>
                    <a:pt x="316" y="82"/>
                  </a:cubicBezTo>
                  <a:cubicBezTo>
                    <a:pt x="316" y="80"/>
                    <a:pt x="314" y="79"/>
                    <a:pt x="313" y="79"/>
                  </a:cubicBezTo>
                  <a:cubicBezTo>
                    <a:pt x="312" y="78"/>
                    <a:pt x="311" y="78"/>
                    <a:pt x="310" y="78"/>
                  </a:cubicBezTo>
                  <a:cubicBezTo>
                    <a:pt x="309" y="78"/>
                    <a:pt x="307" y="77"/>
                    <a:pt x="307" y="77"/>
                  </a:cubicBezTo>
                  <a:cubicBezTo>
                    <a:pt x="307" y="77"/>
                    <a:pt x="307" y="76"/>
                    <a:pt x="306" y="75"/>
                  </a:cubicBezTo>
                  <a:cubicBezTo>
                    <a:pt x="306" y="74"/>
                    <a:pt x="306" y="72"/>
                    <a:pt x="305" y="71"/>
                  </a:cubicBezTo>
                  <a:cubicBezTo>
                    <a:pt x="304" y="70"/>
                    <a:pt x="302" y="69"/>
                    <a:pt x="300" y="69"/>
                  </a:cubicBezTo>
                  <a:cubicBezTo>
                    <a:pt x="299" y="69"/>
                    <a:pt x="298" y="68"/>
                    <a:pt x="297" y="68"/>
                  </a:cubicBezTo>
                  <a:cubicBezTo>
                    <a:pt x="296" y="67"/>
                    <a:pt x="295" y="64"/>
                    <a:pt x="295" y="63"/>
                  </a:cubicBezTo>
                  <a:cubicBezTo>
                    <a:pt x="296" y="61"/>
                    <a:pt x="302" y="56"/>
                    <a:pt x="303" y="49"/>
                  </a:cubicBezTo>
                  <a:cubicBezTo>
                    <a:pt x="303" y="48"/>
                    <a:pt x="303" y="47"/>
                    <a:pt x="303" y="46"/>
                  </a:cubicBezTo>
                  <a:cubicBezTo>
                    <a:pt x="302" y="45"/>
                    <a:pt x="300" y="45"/>
                    <a:pt x="294" y="47"/>
                  </a:cubicBezTo>
                  <a:cubicBezTo>
                    <a:pt x="292" y="47"/>
                    <a:pt x="290" y="48"/>
                    <a:pt x="289" y="49"/>
                  </a:cubicBezTo>
                  <a:cubicBezTo>
                    <a:pt x="289" y="48"/>
                    <a:pt x="288" y="47"/>
                    <a:pt x="288" y="46"/>
                  </a:cubicBezTo>
                  <a:cubicBezTo>
                    <a:pt x="288" y="46"/>
                    <a:pt x="290" y="44"/>
                    <a:pt x="291" y="43"/>
                  </a:cubicBezTo>
                  <a:cubicBezTo>
                    <a:pt x="294" y="41"/>
                    <a:pt x="297" y="39"/>
                    <a:pt x="297" y="36"/>
                  </a:cubicBezTo>
                  <a:cubicBezTo>
                    <a:pt x="296" y="33"/>
                    <a:pt x="293" y="32"/>
                    <a:pt x="290" y="31"/>
                  </a:cubicBezTo>
                  <a:cubicBezTo>
                    <a:pt x="289" y="31"/>
                    <a:pt x="288" y="31"/>
                    <a:pt x="288" y="30"/>
                  </a:cubicBezTo>
                  <a:cubicBezTo>
                    <a:pt x="287" y="29"/>
                    <a:pt x="287" y="26"/>
                    <a:pt x="287" y="25"/>
                  </a:cubicBezTo>
                  <a:cubicBezTo>
                    <a:pt x="287" y="25"/>
                    <a:pt x="289" y="23"/>
                    <a:pt x="290" y="23"/>
                  </a:cubicBezTo>
                  <a:cubicBezTo>
                    <a:pt x="291" y="22"/>
                    <a:pt x="293" y="20"/>
                    <a:pt x="294" y="18"/>
                  </a:cubicBezTo>
                  <a:cubicBezTo>
                    <a:pt x="294" y="16"/>
                    <a:pt x="295" y="11"/>
                    <a:pt x="293" y="9"/>
                  </a:cubicBezTo>
                  <a:cubicBezTo>
                    <a:pt x="291" y="7"/>
                    <a:pt x="289" y="7"/>
                    <a:pt x="286" y="6"/>
                  </a:cubicBezTo>
                  <a:cubicBezTo>
                    <a:pt x="285" y="6"/>
                    <a:pt x="285" y="6"/>
                    <a:pt x="285" y="6"/>
                  </a:cubicBezTo>
                  <a:cubicBezTo>
                    <a:pt x="285" y="6"/>
                    <a:pt x="285" y="5"/>
                    <a:pt x="285" y="5"/>
                  </a:cubicBezTo>
                  <a:cubicBezTo>
                    <a:pt x="285" y="4"/>
                    <a:pt x="285" y="3"/>
                    <a:pt x="284" y="2"/>
                  </a:cubicBezTo>
                  <a:cubicBezTo>
                    <a:pt x="283" y="1"/>
                    <a:pt x="282" y="0"/>
                    <a:pt x="281" y="0"/>
                  </a:cubicBezTo>
                  <a:cubicBezTo>
                    <a:pt x="279" y="0"/>
                    <a:pt x="278" y="1"/>
                    <a:pt x="278" y="1"/>
                  </a:cubicBezTo>
                  <a:cubicBezTo>
                    <a:pt x="123" y="9"/>
                    <a:pt x="123" y="9"/>
                    <a:pt x="123" y="9"/>
                  </a:cubicBezTo>
                  <a:cubicBezTo>
                    <a:pt x="3" y="14"/>
                    <a:pt x="3" y="14"/>
                    <a:pt x="3" y="14"/>
                  </a:cubicBezTo>
                  <a:cubicBezTo>
                    <a:pt x="1" y="14"/>
                    <a:pt x="0" y="15"/>
                    <a:pt x="0" y="16"/>
                  </a:cubicBezTo>
                  <a:cubicBezTo>
                    <a:pt x="4" y="135"/>
                    <a:pt x="4" y="135"/>
                    <a:pt x="4" y="135"/>
                  </a:cubicBezTo>
                  <a:cubicBezTo>
                    <a:pt x="4" y="136"/>
                    <a:pt x="4" y="136"/>
                    <a:pt x="5" y="137"/>
                  </a:cubicBezTo>
                  <a:cubicBezTo>
                    <a:pt x="17" y="148"/>
                    <a:pt x="17" y="148"/>
                    <a:pt x="17" y="148"/>
                  </a:cubicBezTo>
                  <a:cubicBezTo>
                    <a:pt x="22" y="155"/>
                    <a:pt x="22" y="155"/>
                    <a:pt x="22" y="155"/>
                  </a:cubicBezTo>
                  <a:cubicBezTo>
                    <a:pt x="24" y="159"/>
                    <a:pt x="27" y="167"/>
                    <a:pt x="28" y="169"/>
                  </a:cubicBezTo>
                  <a:cubicBezTo>
                    <a:pt x="28" y="170"/>
                    <a:pt x="27" y="172"/>
                    <a:pt x="27" y="174"/>
                  </a:cubicBezTo>
                  <a:cubicBezTo>
                    <a:pt x="26" y="176"/>
                    <a:pt x="26" y="179"/>
                    <a:pt x="26" y="181"/>
                  </a:cubicBezTo>
                  <a:cubicBezTo>
                    <a:pt x="27" y="183"/>
                    <a:pt x="29" y="185"/>
                    <a:pt x="30" y="187"/>
                  </a:cubicBezTo>
                  <a:cubicBezTo>
                    <a:pt x="31" y="188"/>
                    <a:pt x="32" y="188"/>
                    <a:pt x="33" y="189"/>
                  </a:cubicBezTo>
                  <a:cubicBezTo>
                    <a:pt x="33" y="190"/>
                    <a:pt x="33" y="191"/>
                    <a:pt x="34" y="192"/>
                  </a:cubicBezTo>
                  <a:cubicBezTo>
                    <a:pt x="34" y="194"/>
                    <a:pt x="35" y="196"/>
                    <a:pt x="37" y="197"/>
                  </a:cubicBezTo>
                  <a:cubicBezTo>
                    <a:pt x="37" y="198"/>
                    <a:pt x="38" y="198"/>
                    <a:pt x="39" y="199"/>
                  </a:cubicBezTo>
                  <a:cubicBezTo>
                    <a:pt x="39" y="199"/>
                    <a:pt x="39" y="199"/>
                    <a:pt x="39" y="199"/>
                  </a:cubicBezTo>
                  <a:cubicBezTo>
                    <a:pt x="40" y="200"/>
                    <a:pt x="42" y="203"/>
                    <a:pt x="42" y="205"/>
                  </a:cubicBezTo>
                  <a:cubicBezTo>
                    <a:pt x="42" y="205"/>
                    <a:pt x="42" y="207"/>
                    <a:pt x="42" y="208"/>
                  </a:cubicBezTo>
                  <a:cubicBezTo>
                    <a:pt x="42" y="210"/>
                    <a:pt x="42" y="212"/>
                    <a:pt x="42" y="213"/>
                  </a:cubicBezTo>
                  <a:cubicBezTo>
                    <a:pt x="44" y="216"/>
                    <a:pt x="47" y="220"/>
                    <a:pt x="51" y="224"/>
                  </a:cubicBezTo>
                  <a:cubicBezTo>
                    <a:pt x="52" y="226"/>
                    <a:pt x="54" y="228"/>
                    <a:pt x="55" y="229"/>
                  </a:cubicBezTo>
                  <a:cubicBezTo>
                    <a:pt x="56" y="230"/>
                    <a:pt x="56" y="231"/>
                    <a:pt x="57" y="236"/>
                  </a:cubicBezTo>
                  <a:cubicBezTo>
                    <a:pt x="57" y="236"/>
                    <a:pt x="57" y="236"/>
                    <a:pt x="57" y="236"/>
                  </a:cubicBezTo>
                  <a:cubicBezTo>
                    <a:pt x="58" y="239"/>
                    <a:pt x="59" y="242"/>
                    <a:pt x="59" y="243"/>
                  </a:cubicBezTo>
                  <a:cubicBezTo>
                    <a:pt x="59" y="243"/>
                    <a:pt x="58" y="244"/>
                    <a:pt x="58" y="244"/>
                  </a:cubicBezTo>
                  <a:cubicBezTo>
                    <a:pt x="57" y="246"/>
                    <a:pt x="55" y="247"/>
                    <a:pt x="55" y="249"/>
                  </a:cubicBezTo>
                  <a:cubicBezTo>
                    <a:pt x="55" y="251"/>
                    <a:pt x="56" y="252"/>
                    <a:pt x="57" y="254"/>
                  </a:cubicBezTo>
                  <a:cubicBezTo>
                    <a:pt x="57" y="255"/>
                    <a:pt x="58" y="256"/>
                    <a:pt x="58" y="256"/>
                  </a:cubicBezTo>
                  <a:cubicBezTo>
                    <a:pt x="58" y="257"/>
                    <a:pt x="57" y="258"/>
                    <a:pt x="57" y="259"/>
                  </a:cubicBezTo>
                  <a:cubicBezTo>
                    <a:pt x="56" y="260"/>
                    <a:pt x="55" y="262"/>
                    <a:pt x="55" y="263"/>
                  </a:cubicBezTo>
                  <a:cubicBezTo>
                    <a:pt x="55" y="265"/>
                    <a:pt x="56" y="266"/>
                    <a:pt x="56" y="268"/>
                  </a:cubicBezTo>
                  <a:cubicBezTo>
                    <a:pt x="56" y="269"/>
                    <a:pt x="57" y="270"/>
                    <a:pt x="57" y="271"/>
                  </a:cubicBezTo>
                  <a:cubicBezTo>
                    <a:pt x="57" y="272"/>
                    <a:pt x="55" y="273"/>
                    <a:pt x="55" y="274"/>
                  </a:cubicBezTo>
                  <a:cubicBezTo>
                    <a:pt x="54" y="275"/>
                    <a:pt x="53" y="277"/>
                    <a:pt x="52" y="278"/>
                  </a:cubicBezTo>
                  <a:cubicBezTo>
                    <a:pt x="52" y="279"/>
                    <a:pt x="52" y="280"/>
                    <a:pt x="52" y="282"/>
                  </a:cubicBezTo>
                  <a:cubicBezTo>
                    <a:pt x="52" y="283"/>
                    <a:pt x="51" y="285"/>
                    <a:pt x="51" y="285"/>
                  </a:cubicBezTo>
                  <a:cubicBezTo>
                    <a:pt x="51" y="286"/>
                    <a:pt x="49" y="288"/>
                    <a:pt x="48" y="289"/>
                  </a:cubicBezTo>
                  <a:cubicBezTo>
                    <a:pt x="47" y="290"/>
                    <a:pt x="46" y="291"/>
                    <a:pt x="45" y="292"/>
                  </a:cubicBezTo>
                  <a:cubicBezTo>
                    <a:pt x="45" y="294"/>
                    <a:pt x="42" y="298"/>
                    <a:pt x="42" y="301"/>
                  </a:cubicBezTo>
                  <a:cubicBezTo>
                    <a:pt x="41" y="304"/>
                    <a:pt x="42" y="306"/>
                    <a:pt x="43" y="309"/>
                  </a:cubicBezTo>
                  <a:cubicBezTo>
                    <a:pt x="43" y="311"/>
                    <a:pt x="44" y="314"/>
                    <a:pt x="44" y="316"/>
                  </a:cubicBezTo>
                  <a:cubicBezTo>
                    <a:pt x="44" y="316"/>
                    <a:pt x="42" y="317"/>
                    <a:pt x="42" y="318"/>
                  </a:cubicBezTo>
                  <a:cubicBezTo>
                    <a:pt x="40" y="320"/>
                    <a:pt x="39" y="322"/>
                    <a:pt x="39" y="324"/>
                  </a:cubicBezTo>
                  <a:cubicBezTo>
                    <a:pt x="38" y="327"/>
                    <a:pt x="41" y="332"/>
                    <a:pt x="42" y="334"/>
                  </a:cubicBezTo>
                  <a:cubicBezTo>
                    <a:pt x="46" y="352"/>
                    <a:pt x="46" y="352"/>
                    <a:pt x="46" y="352"/>
                  </a:cubicBezTo>
                  <a:cubicBezTo>
                    <a:pt x="46" y="355"/>
                    <a:pt x="45" y="358"/>
                    <a:pt x="44" y="358"/>
                  </a:cubicBezTo>
                  <a:cubicBezTo>
                    <a:pt x="39" y="363"/>
                    <a:pt x="37" y="366"/>
                    <a:pt x="37" y="367"/>
                  </a:cubicBezTo>
                  <a:cubicBezTo>
                    <a:pt x="34" y="370"/>
                    <a:pt x="31" y="374"/>
                    <a:pt x="30" y="374"/>
                  </a:cubicBezTo>
                  <a:cubicBezTo>
                    <a:pt x="23" y="378"/>
                    <a:pt x="22" y="384"/>
                    <a:pt x="22" y="388"/>
                  </a:cubicBezTo>
                  <a:cubicBezTo>
                    <a:pt x="21" y="391"/>
                    <a:pt x="22" y="395"/>
                    <a:pt x="23" y="397"/>
                  </a:cubicBezTo>
                  <a:cubicBezTo>
                    <a:pt x="23" y="399"/>
                    <a:pt x="26" y="403"/>
                    <a:pt x="33" y="403"/>
                  </a:cubicBezTo>
                  <a:cubicBezTo>
                    <a:pt x="36" y="403"/>
                    <a:pt x="41" y="402"/>
                    <a:pt x="47" y="399"/>
                  </a:cubicBezTo>
                  <a:cubicBezTo>
                    <a:pt x="49" y="398"/>
                    <a:pt x="54" y="398"/>
                    <a:pt x="58" y="398"/>
                  </a:cubicBezTo>
                  <a:cubicBezTo>
                    <a:pt x="60" y="398"/>
                    <a:pt x="61" y="398"/>
                    <a:pt x="63" y="398"/>
                  </a:cubicBezTo>
                  <a:cubicBezTo>
                    <a:pt x="70" y="398"/>
                    <a:pt x="77" y="398"/>
                    <a:pt x="82" y="395"/>
                  </a:cubicBezTo>
                  <a:cubicBezTo>
                    <a:pt x="84" y="395"/>
                    <a:pt x="87" y="391"/>
                    <a:pt x="86" y="388"/>
                  </a:cubicBezTo>
                  <a:cubicBezTo>
                    <a:pt x="86" y="386"/>
                    <a:pt x="83" y="385"/>
                    <a:pt x="81" y="384"/>
                  </a:cubicBezTo>
                  <a:cubicBezTo>
                    <a:pt x="81" y="384"/>
                    <a:pt x="80" y="384"/>
                    <a:pt x="80" y="384"/>
                  </a:cubicBezTo>
                  <a:cubicBezTo>
                    <a:pt x="80" y="383"/>
                    <a:pt x="81" y="383"/>
                    <a:pt x="81" y="383"/>
                  </a:cubicBezTo>
                  <a:cubicBezTo>
                    <a:pt x="83" y="382"/>
                    <a:pt x="85" y="381"/>
                    <a:pt x="86" y="379"/>
                  </a:cubicBezTo>
                  <a:cubicBezTo>
                    <a:pt x="87" y="377"/>
                    <a:pt x="87" y="373"/>
                    <a:pt x="86" y="369"/>
                  </a:cubicBezTo>
                  <a:cubicBezTo>
                    <a:pt x="86" y="367"/>
                    <a:pt x="86" y="364"/>
                    <a:pt x="86" y="362"/>
                  </a:cubicBezTo>
                  <a:cubicBezTo>
                    <a:pt x="87" y="363"/>
                    <a:pt x="88" y="366"/>
                    <a:pt x="89" y="367"/>
                  </a:cubicBezTo>
                  <a:cubicBezTo>
                    <a:pt x="89" y="368"/>
                    <a:pt x="89" y="368"/>
                    <a:pt x="89" y="368"/>
                  </a:cubicBezTo>
                  <a:cubicBezTo>
                    <a:pt x="90" y="369"/>
                    <a:pt x="92" y="373"/>
                    <a:pt x="92" y="374"/>
                  </a:cubicBezTo>
                  <a:cubicBezTo>
                    <a:pt x="93" y="378"/>
                    <a:pt x="92" y="379"/>
                    <a:pt x="93" y="379"/>
                  </a:cubicBezTo>
                  <a:cubicBezTo>
                    <a:pt x="92" y="380"/>
                    <a:pt x="87" y="387"/>
                    <a:pt x="90" y="392"/>
                  </a:cubicBezTo>
                  <a:cubicBezTo>
                    <a:pt x="91" y="394"/>
                    <a:pt x="94" y="394"/>
                    <a:pt x="95" y="394"/>
                  </a:cubicBezTo>
                  <a:cubicBezTo>
                    <a:pt x="96" y="395"/>
                    <a:pt x="97" y="394"/>
                    <a:pt x="98" y="394"/>
                  </a:cubicBezTo>
                  <a:cubicBezTo>
                    <a:pt x="98" y="394"/>
                    <a:pt x="99" y="394"/>
                    <a:pt x="100" y="394"/>
                  </a:cubicBezTo>
                  <a:cubicBezTo>
                    <a:pt x="104" y="395"/>
                    <a:pt x="111" y="397"/>
                    <a:pt x="115" y="398"/>
                  </a:cubicBezTo>
                  <a:cubicBezTo>
                    <a:pt x="118" y="399"/>
                    <a:pt x="129" y="403"/>
                    <a:pt x="129" y="403"/>
                  </a:cubicBezTo>
                  <a:cubicBezTo>
                    <a:pt x="138" y="408"/>
                    <a:pt x="138" y="408"/>
                    <a:pt x="138" y="408"/>
                  </a:cubicBezTo>
                  <a:cubicBezTo>
                    <a:pt x="151" y="412"/>
                    <a:pt x="151" y="412"/>
                    <a:pt x="151" y="412"/>
                  </a:cubicBezTo>
                  <a:cubicBezTo>
                    <a:pt x="152" y="413"/>
                    <a:pt x="179" y="418"/>
                    <a:pt x="189" y="418"/>
                  </a:cubicBezTo>
                  <a:cubicBezTo>
                    <a:pt x="191" y="418"/>
                    <a:pt x="195" y="418"/>
                    <a:pt x="197" y="417"/>
                  </a:cubicBezTo>
                  <a:cubicBezTo>
                    <a:pt x="199" y="417"/>
                    <a:pt x="201" y="416"/>
                    <a:pt x="203" y="414"/>
                  </a:cubicBezTo>
                  <a:cubicBezTo>
                    <a:pt x="204" y="413"/>
                    <a:pt x="206" y="412"/>
                    <a:pt x="208" y="412"/>
                  </a:cubicBezTo>
                  <a:cubicBezTo>
                    <a:pt x="208" y="412"/>
                    <a:pt x="209" y="412"/>
                    <a:pt x="210" y="412"/>
                  </a:cubicBezTo>
                  <a:cubicBezTo>
                    <a:pt x="212" y="412"/>
                    <a:pt x="215" y="412"/>
                    <a:pt x="216" y="411"/>
                  </a:cubicBezTo>
                  <a:cubicBezTo>
                    <a:pt x="219" y="407"/>
                    <a:pt x="215" y="401"/>
                    <a:pt x="211" y="396"/>
                  </a:cubicBezTo>
                  <a:cubicBezTo>
                    <a:pt x="210" y="395"/>
                    <a:pt x="209" y="394"/>
                    <a:pt x="208" y="394"/>
                  </a:cubicBezTo>
                  <a:cubicBezTo>
                    <a:pt x="209" y="394"/>
                    <a:pt x="210" y="394"/>
                    <a:pt x="211" y="393"/>
                  </a:cubicBezTo>
                  <a:cubicBezTo>
                    <a:pt x="212" y="393"/>
                    <a:pt x="213" y="392"/>
                    <a:pt x="213" y="391"/>
                  </a:cubicBezTo>
                  <a:cubicBezTo>
                    <a:pt x="214" y="391"/>
                    <a:pt x="214" y="390"/>
                    <a:pt x="214" y="390"/>
                  </a:cubicBezTo>
                  <a:cubicBezTo>
                    <a:pt x="215" y="389"/>
                    <a:pt x="219" y="388"/>
                    <a:pt x="222" y="387"/>
                  </a:cubicBezTo>
                  <a:cubicBezTo>
                    <a:pt x="225" y="385"/>
                    <a:pt x="231" y="382"/>
                    <a:pt x="234" y="381"/>
                  </a:cubicBezTo>
                  <a:cubicBezTo>
                    <a:pt x="234" y="383"/>
                    <a:pt x="233" y="385"/>
                    <a:pt x="232" y="386"/>
                  </a:cubicBezTo>
                  <a:cubicBezTo>
                    <a:pt x="232" y="387"/>
                    <a:pt x="232" y="387"/>
                    <a:pt x="232" y="387"/>
                  </a:cubicBezTo>
                  <a:cubicBezTo>
                    <a:pt x="232" y="393"/>
                    <a:pt x="233" y="394"/>
                    <a:pt x="234" y="394"/>
                  </a:cubicBezTo>
                  <a:cubicBezTo>
                    <a:pt x="234" y="394"/>
                    <a:pt x="235" y="395"/>
                    <a:pt x="236" y="395"/>
                  </a:cubicBezTo>
                  <a:cubicBezTo>
                    <a:pt x="239" y="395"/>
                    <a:pt x="242" y="392"/>
                    <a:pt x="243" y="392"/>
                  </a:cubicBezTo>
                  <a:cubicBezTo>
                    <a:pt x="243" y="392"/>
                    <a:pt x="250" y="390"/>
                    <a:pt x="254" y="390"/>
                  </a:cubicBezTo>
                  <a:cubicBezTo>
                    <a:pt x="255" y="390"/>
                    <a:pt x="256" y="390"/>
                    <a:pt x="256" y="390"/>
                  </a:cubicBezTo>
                  <a:cubicBezTo>
                    <a:pt x="256" y="391"/>
                    <a:pt x="256" y="392"/>
                    <a:pt x="256" y="393"/>
                  </a:cubicBezTo>
                  <a:cubicBezTo>
                    <a:pt x="256" y="394"/>
                    <a:pt x="257" y="396"/>
                    <a:pt x="258" y="398"/>
                  </a:cubicBezTo>
                  <a:cubicBezTo>
                    <a:pt x="259" y="399"/>
                    <a:pt x="261" y="400"/>
                    <a:pt x="262" y="400"/>
                  </a:cubicBezTo>
                  <a:cubicBezTo>
                    <a:pt x="263" y="401"/>
                    <a:pt x="265" y="401"/>
                    <a:pt x="265" y="401"/>
                  </a:cubicBezTo>
                  <a:cubicBezTo>
                    <a:pt x="265" y="402"/>
                    <a:pt x="265" y="404"/>
                    <a:pt x="266" y="405"/>
                  </a:cubicBezTo>
                  <a:cubicBezTo>
                    <a:pt x="266" y="408"/>
                    <a:pt x="266" y="411"/>
                    <a:pt x="268" y="413"/>
                  </a:cubicBezTo>
                  <a:cubicBezTo>
                    <a:pt x="270" y="414"/>
                    <a:pt x="272" y="414"/>
                    <a:pt x="275" y="413"/>
                  </a:cubicBezTo>
                  <a:cubicBezTo>
                    <a:pt x="276" y="413"/>
                    <a:pt x="276" y="413"/>
                    <a:pt x="277" y="413"/>
                  </a:cubicBezTo>
                  <a:cubicBezTo>
                    <a:pt x="280" y="414"/>
                    <a:pt x="288" y="417"/>
                    <a:pt x="291" y="418"/>
                  </a:cubicBezTo>
                  <a:cubicBezTo>
                    <a:pt x="292" y="418"/>
                    <a:pt x="292" y="418"/>
                    <a:pt x="292" y="418"/>
                  </a:cubicBezTo>
                  <a:cubicBezTo>
                    <a:pt x="292" y="418"/>
                    <a:pt x="294" y="418"/>
                    <a:pt x="296" y="420"/>
                  </a:cubicBezTo>
                  <a:cubicBezTo>
                    <a:pt x="301" y="426"/>
                    <a:pt x="301" y="426"/>
                    <a:pt x="301" y="426"/>
                  </a:cubicBezTo>
                  <a:cubicBezTo>
                    <a:pt x="301" y="427"/>
                    <a:pt x="301" y="427"/>
                    <a:pt x="302" y="427"/>
                  </a:cubicBezTo>
                  <a:cubicBezTo>
                    <a:pt x="305" y="429"/>
                    <a:pt x="308" y="431"/>
                    <a:pt x="309" y="432"/>
                  </a:cubicBezTo>
                  <a:cubicBezTo>
                    <a:pt x="310" y="433"/>
                    <a:pt x="312" y="437"/>
                    <a:pt x="312" y="438"/>
                  </a:cubicBezTo>
                  <a:cubicBezTo>
                    <a:pt x="312" y="438"/>
                    <a:pt x="311" y="440"/>
                    <a:pt x="311" y="440"/>
                  </a:cubicBezTo>
                  <a:cubicBezTo>
                    <a:pt x="310" y="442"/>
                    <a:pt x="309" y="444"/>
                    <a:pt x="310" y="446"/>
                  </a:cubicBezTo>
                  <a:cubicBezTo>
                    <a:pt x="311" y="449"/>
                    <a:pt x="316" y="451"/>
                    <a:pt x="318" y="451"/>
                  </a:cubicBezTo>
                  <a:cubicBezTo>
                    <a:pt x="320" y="451"/>
                    <a:pt x="322" y="450"/>
                    <a:pt x="323" y="450"/>
                  </a:cubicBezTo>
                  <a:cubicBezTo>
                    <a:pt x="324" y="449"/>
                    <a:pt x="325" y="448"/>
                    <a:pt x="326" y="448"/>
                  </a:cubicBezTo>
                  <a:cubicBezTo>
                    <a:pt x="327" y="449"/>
                    <a:pt x="329" y="451"/>
                    <a:pt x="331" y="452"/>
                  </a:cubicBezTo>
                  <a:cubicBezTo>
                    <a:pt x="334" y="455"/>
                    <a:pt x="337" y="458"/>
                    <a:pt x="341" y="458"/>
                  </a:cubicBezTo>
                  <a:cubicBezTo>
                    <a:pt x="343" y="458"/>
                    <a:pt x="344" y="457"/>
                    <a:pt x="346" y="455"/>
                  </a:cubicBezTo>
                  <a:cubicBezTo>
                    <a:pt x="347" y="455"/>
                    <a:pt x="348" y="454"/>
                    <a:pt x="349" y="454"/>
                  </a:cubicBezTo>
                  <a:cubicBezTo>
                    <a:pt x="350" y="454"/>
                    <a:pt x="350" y="454"/>
                    <a:pt x="350" y="454"/>
                  </a:cubicBezTo>
                  <a:cubicBezTo>
                    <a:pt x="350" y="454"/>
                    <a:pt x="352" y="455"/>
                    <a:pt x="352" y="456"/>
                  </a:cubicBezTo>
                  <a:cubicBezTo>
                    <a:pt x="354" y="457"/>
                    <a:pt x="356" y="459"/>
                    <a:pt x="358" y="459"/>
                  </a:cubicBezTo>
                  <a:cubicBezTo>
                    <a:pt x="358" y="459"/>
                    <a:pt x="359" y="459"/>
                    <a:pt x="359" y="459"/>
                  </a:cubicBezTo>
                  <a:cubicBezTo>
                    <a:pt x="361" y="458"/>
                    <a:pt x="365" y="456"/>
                    <a:pt x="366" y="454"/>
                  </a:cubicBezTo>
                  <a:cubicBezTo>
                    <a:pt x="368" y="452"/>
                    <a:pt x="367" y="449"/>
                    <a:pt x="367" y="446"/>
                  </a:cubicBezTo>
                  <a:cubicBezTo>
                    <a:pt x="367" y="445"/>
                    <a:pt x="367" y="443"/>
                    <a:pt x="367" y="443"/>
                  </a:cubicBezTo>
                  <a:cubicBezTo>
                    <a:pt x="367" y="442"/>
                    <a:pt x="367" y="442"/>
                    <a:pt x="367" y="442"/>
                  </a:cubicBezTo>
                  <a:cubicBezTo>
                    <a:pt x="367" y="441"/>
                    <a:pt x="367" y="437"/>
                    <a:pt x="368" y="436"/>
                  </a:cubicBezTo>
                  <a:cubicBezTo>
                    <a:pt x="368" y="436"/>
                    <a:pt x="368" y="436"/>
                    <a:pt x="370" y="436"/>
                  </a:cubicBezTo>
                  <a:cubicBezTo>
                    <a:pt x="370" y="436"/>
                    <a:pt x="371" y="436"/>
                    <a:pt x="371" y="436"/>
                  </a:cubicBezTo>
                  <a:cubicBezTo>
                    <a:pt x="373" y="436"/>
                    <a:pt x="374" y="436"/>
                    <a:pt x="375" y="436"/>
                  </a:cubicBezTo>
                  <a:cubicBezTo>
                    <a:pt x="376" y="436"/>
                    <a:pt x="379" y="435"/>
                    <a:pt x="381" y="434"/>
                  </a:cubicBezTo>
                  <a:cubicBezTo>
                    <a:pt x="381" y="434"/>
                    <a:pt x="382" y="433"/>
                    <a:pt x="382" y="433"/>
                  </a:cubicBezTo>
                  <a:cubicBezTo>
                    <a:pt x="383" y="433"/>
                    <a:pt x="383" y="433"/>
                    <a:pt x="384" y="432"/>
                  </a:cubicBezTo>
                  <a:cubicBezTo>
                    <a:pt x="384" y="432"/>
                    <a:pt x="384" y="432"/>
                    <a:pt x="385" y="432"/>
                  </a:cubicBezTo>
                  <a:cubicBezTo>
                    <a:pt x="394" y="437"/>
                    <a:pt x="394" y="437"/>
                    <a:pt x="394" y="437"/>
                  </a:cubicBezTo>
                  <a:cubicBezTo>
                    <a:pt x="394" y="437"/>
                    <a:pt x="395" y="437"/>
                    <a:pt x="396" y="437"/>
                  </a:cubicBezTo>
                  <a:cubicBezTo>
                    <a:pt x="398" y="437"/>
                    <a:pt x="401" y="438"/>
                    <a:pt x="401" y="438"/>
                  </a:cubicBezTo>
                  <a:cubicBezTo>
                    <a:pt x="401" y="439"/>
                    <a:pt x="401" y="441"/>
                    <a:pt x="401" y="443"/>
                  </a:cubicBezTo>
                  <a:cubicBezTo>
                    <a:pt x="400" y="445"/>
                    <a:pt x="400" y="447"/>
                    <a:pt x="400" y="449"/>
                  </a:cubicBezTo>
                  <a:cubicBezTo>
                    <a:pt x="400" y="451"/>
                    <a:pt x="402" y="456"/>
                    <a:pt x="405" y="458"/>
                  </a:cubicBezTo>
                  <a:cubicBezTo>
                    <a:pt x="405" y="458"/>
                    <a:pt x="406" y="458"/>
                    <a:pt x="407" y="458"/>
                  </a:cubicBezTo>
                  <a:cubicBezTo>
                    <a:pt x="409" y="458"/>
                    <a:pt x="411" y="457"/>
                    <a:pt x="413" y="455"/>
                  </a:cubicBezTo>
                  <a:cubicBezTo>
                    <a:pt x="414" y="455"/>
                    <a:pt x="414" y="455"/>
                    <a:pt x="414" y="455"/>
                  </a:cubicBezTo>
                  <a:cubicBezTo>
                    <a:pt x="416" y="454"/>
                    <a:pt x="420" y="450"/>
                    <a:pt x="422" y="448"/>
                  </a:cubicBezTo>
                  <a:cubicBezTo>
                    <a:pt x="423" y="447"/>
                    <a:pt x="426" y="442"/>
                    <a:pt x="426" y="439"/>
                  </a:cubicBezTo>
                  <a:cubicBezTo>
                    <a:pt x="426" y="437"/>
                    <a:pt x="424" y="436"/>
                    <a:pt x="423" y="434"/>
                  </a:cubicBezTo>
                  <a:cubicBezTo>
                    <a:pt x="422" y="434"/>
                    <a:pt x="422" y="434"/>
                    <a:pt x="422" y="434"/>
                  </a:cubicBezTo>
                  <a:cubicBezTo>
                    <a:pt x="422" y="434"/>
                    <a:pt x="422" y="434"/>
                    <a:pt x="422" y="434"/>
                  </a:cubicBezTo>
                  <a:cubicBezTo>
                    <a:pt x="424" y="433"/>
                    <a:pt x="426" y="433"/>
                    <a:pt x="428" y="431"/>
                  </a:cubicBezTo>
                  <a:cubicBezTo>
                    <a:pt x="430" y="427"/>
                    <a:pt x="428" y="418"/>
                    <a:pt x="425" y="414"/>
                  </a:cubicBezTo>
                  <a:cubicBezTo>
                    <a:pt x="424" y="412"/>
                    <a:pt x="420" y="410"/>
                    <a:pt x="417" y="409"/>
                  </a:cubicBezTo>
                  <a:cubicBezTo>
                    <a:pt x="414" y="408"/>
                    <a:pt x="411" y="407"/>
                    <a:pt x="410" y="405"/>
                  </a:cubicBezTo>
                  <a:cubicBezTo>
                    <a:pt x="410" y="405"/>
                    <a:pt x="409" y="403"/>
                    <a:pt x="409" y="401"/>
                  </a:cubicBezTo>
                  <a:cubicBezTo>
                    <a:pt x="415" y="402"/>
                    <a:pt x="428" y="409"/>
                    <a:pt x="433" y="412"/>
                  </a:cubicBezTo>
                  <a:cubicBezTo>
                    <a:pt x="433" y="412"/>
                    <a:pt x="433" y="412"/>
                    <a:pt x="434" y="412"/>
                  </a:cubicBezTo>
                  <a:cubicBezTo>
                    <a:pt x="440" y="414"/>
                    <a:pt x="440" y="414"/>
                    <a:pt x="440" y="414"/>
                  </a:cubicBezTo>
                  <a:cubicBezTo>
                    <a:pt x="442" y="414"/>
                    <a:pt x="446" y="416"/>
                    <a:pt x="447" y="417"/>
                  </a:cubicBezTo>
                  <a:cubicBezTo>
                    <a:pt x="448" y="418"/>
                    <a:pt x="448" y="418"/>
                    <a:pt x="448" y="418"/>
                  </a:cubicBezTo>
                  <a:cubicBezTo>
                    <a:pt x="448" y="418"/>
                    <a:pt x="449" y="418"/>
                    <a:pt x="449" y="418"/>
                  </a:cubicBezTo>
                  <a:cubicBezTo>
                    <a:pt x="449" y="419"/>
                    <a:pt x="448" y="419"/>
                    <a:pt x="448" y="420"/>
                  </a:cubicBezTo>
                  <a:cubicBezTo>
                    <a:pt x="446" y="422"/>
                    <a:pt x="443" y="424"/>
                    <a:pt x="445" y="427"/>
                  </a:cubicBezTo>
                  <a:cubicBezTo>
                    <a:pt x="446" y="428"/>
                    <a:pt x="447" y="429"/>
                    <a:pt x="449" y="429"/>
                  </a:cubicBezTo>
                  <a:cubicBezTo>
                    <a:pt x="451" y="429"/>
                    <a:pt x="453" y="429"/>
                    <a:pt x="454" y="428"/>
                  </a:cubicBezTo>
                  <a:cubicBezTo>
                    <a:pt x="455" y="428"/>
                    <a:pt x="455" y="428"/>
                    <a:pt x="456" y="428"/>
                  </a:cubicBezTo>
                  <a:cubicBezTo>
                    <a:pt x="456" y="428"/>
                    <a:pt x="463" y="427"/>
                    <a:pt x="472" y="432"/>
                  </a:cubicBezTo>
                  <a:cubicBezTo>
                    <a:pt x="476" y="435"/>
                    <a:pt x="480" y="436"/>
                    <a:pt x="483" y="437"/>
                  </a:cubicBezTo>
                  <a:cubicBezTo>
                    <a:pt x="488" y="439"/>
                    <a:pt x="492" y="441"/>
                    <a:pt x="496" y="446"/>
                  </a:cubicBezTo>
                  <a:cubicBezTo>
                    <a:pt x="501" y="451"/>
                    <a:pt x="505" y="454"/>
                    <a:pt x="510" y="454"/>
                  </a:cubicBezTo>
                  <a:cubicBezTo>
                    <a:pt x="513" y="454"/>
                    <a:pt x="516" y="453"/>
                    <a:pt x="518" y="452"/>
                  </a:cubicBezTo>
                  <a:cubicBezTo>
                    <a:pt x="518" y="451"/>
                    <a:pt x="519" y="451"/>
                    <a:pt x="520" y="451"/>
                  </a:cubicBezTo>
                  <a:cubicBezTo>
                    <a:pt x="523" y="450"/>
                    <a:pt x="527" y="448"/>
                    <a:pt x="527" y="440"/>
                  </a:cubicBezTo>
                  <a:cubicBezTo>
                    <a:pt x="527" y="438"/>
                    <a:pt x="528" y="437"/>
                    <a:pt x="528" y="436"/>
                  </a:cubicBezTo>
                  <a:cubicBezTo>
                    <a:pt x="529" y="430"/>
                    <a:pt x="528" y="428"/>
                    <a:pt x="519" y="424"/>
                  </a:cubicBezTo>
                  <a:close/>
                  <a:moveTo>
                    <a:pt x="254" y="209"/>
                  </a:moveTo>
                  <a:cubicBezTo>
                    <a:pt x="254" y="209"/>
                    <a:pt x="254" y="209"/>
                    <a:pt x="254" y="209"/>
                  </a:cubicBezTo>
                  <a:cubicBezTo>
                    <a:pt x="254" y="209"/>
                    <a:pt x="254" y="209"/>
                    <a:pt x="254" y="209"/>
                  </a:cubicBezTo>
                  <a:close/>
                  <a:moveTo>
                    <a:pt x="296" y="103"/>
                  </a:moveTo>
                  <a:cubicBezTo>
                    <a:pt x="296" y="103"/>
                    <a:pt x="296" y="103"/>
                    <a:pt x="296" y="103"/>
                  </a:cubicBezTo>
                  <a:cubicBezTo>
                    <a:pt x="296" y="103"/>
                    <a:pt x="296" y="103"/>
                    <a:pt x="296" y="103"/>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29">
              <a:extLst>
                <a:ext uri="{FF2B5EF4-FFF2-40B4-BE49-F238E27FC236}">
                  <a16:creationId xmlns:a16="http://schemas.microsoft.com/office/drawing/2014/main" id="{7948EC0C-0F12-492C-8F7C-8526C009EE71}"/>
                </a:ext>
              </a:extLst>
            </p:cNvPr>
            <p:cNvSpPr>
              <a:spLocks/>
            </p:cNvSpPr>
            <p:nvPr/>
          </p:nvSpPr>
          <p:spPr bwMode="auto">
            <a:xfrm>
              <a:off x="7182328" y="3910201"/>
              <a:ext cx="568028" cy="583189"/>
            </a:xfrm>
            <a:custGeom>
              <a:avLst/>
              <a:gdLst>
                <a:gd name="T0" fmla="*/ 36 w 511"/>
                <a:gd name="T1" fmla="*/ 143 h 525"/>
                <a:gd name="T2" fmla="*/ 72 w 511"/>
                <a:gd name="T3" fmla="*/ 274 h 525"/>
                <a:gd name="T4" fmla="*/ 79 w 511"/>
                <a:gd name="T5" fmla="*/ 290 h 525"/>
                <a:gd name="T6" fmla="*/ 96 w 511"/>
                <a:gd name="T7" fmla="*/ 313 h 525"/>
                <a:gd name="T8" fmla="*/ 101 w 511"/>
                <a:gd name="T9" fmla="*/ 324 h 525"/>
                <a:gd name="T10" fmla="*/ 106 w 511"/>
                <a:gd name="T11" fmla="*/ 340 h 525"/>
                <a:gd name="T12" fmla="*/ 101 w 511"/>
                <a:gd name="T13" fmla="*/ 352 h 525"/>
                <a:gd name="T14" fmla="*/ 97 w 511"/>
                <a:gd name="T15" fmla="*/ 374 h 525"/>
                <a:gd name="T16" fmla="*/ 92 w 511"/>
                <a:gd name="T17" fmla="*/ 396 h 525"/>
                <a:gd name="T18" fmla="*/ 103 w 511"/>
                <a:gd name="T19" fmla="*/ 419 h 525"/>
                <a:gd name="T20" fmla="*/ 105 w 511"/>
                <a:gd name="T21" fmla="*/ 444 h 525"/>
                <a:gd name="T22" fmla="*/ 105 w 511"/>
                <a:gd name="T23" fmla="*/ 469 h 525"/>
                <a:gd name="T24" fmla="*/ 117 w 511"/>
                <a:gd name="T25" fmla="*/ 487 h 525"/>
                <a:gd name="T26" fmla="*/ 128 w 511"/>
                <a:gd name="T27" fmla="*/ 508 h 525"/>
                <a:gd name="T28" fmla="*/ 135 w 511"/>
                <a:gd name="T29" fmla="*/ 522 h 525"/>
                <a:gd name="T30" fmla="*/ 401 w 511"/>
                <a:gd name="T31" fmla="*/ 508 h 525"/>
                <a:gd name="T32" fmla="*/ 414 w 511"/>
                <a:gd name="T33" fmla="*/ 524 h 525"/>
                <a:gd name="T34" fmla="*/ 422 w 511"/>
                <a:gd name="T35" fmla="*/ 503 h 525"/>
                <a:gd name="T36" fmla="*/ 416 w 511"/>
                <a:gd name="T37" fmla="*/ 489 h 525"/>
                <a:gd name="T38" fmla="*/ 418 w 511"/>
                <a:gd name="T39" fmla="*/ 476 h 525"/>
                <a:gd name="T40" fmla="*/ 428 w 511"/>
                <a:gd name="T41" fmla="*/ 470 h 525"/>
                <a:gd name="T42" fmla="*/ 454 w 511"/>
                <a:gd name="T43" fmla="*/ 475 h 525"/>
                <a:gd name="T44" fmla="*/ 465 w 511"/>
                <a:gd name="T45" fmla="*/ 475 h 525"/>
                <a:gd name="T46" fmla="*/ 469 w 511"/>
                <a:gd name="T47" fmla="*/ 466 h 525"/>
                <a:gd name="T48" fmla="*/ 466 w 511"/>
                <a:gd name="T49" fmla="*/ 452 h 525"/>
                <a:gd name="T50" fmla="*/ 464 w 511"/>
                <a:gd name="T51" fmla="*/ 445 h 525"/>
                <a:gd name="T52" fmla="*/ 468 w 511"/>
                <a:gd name="T53" fmla="*/ 435 h 525"/>
                <a:gd name="T54" fmla="*/ 472 w 511"/>
                <a:gd name="T55" fmla="*/ 424 h 525"/>
                <a:gd name="T56" fmla="*/ 481 w 511"/>
                <a:gd name="T57" fmla="*/ 405 h 525"/>
                <a:gd name="T58" fmla="*/ 466 w 511"/>
                <a:gd name="T59" fmla="*/ 402 h 525"/>
                <a:gd name="T60" fmla="*/ 460 w 511"/>
                <a:gd name="T61" fmla="*/ 398 h 525"/>
                <a:gd name="T62" fmla="*/ 475 w 511"/>
                <a:gd name="T63" fmla="*/ 400 h 525"/>
                <a:gd name="T64" fmla="*/ 479 w 511"/>
                <a:gd name="T65" fmla="*/ 393 h 525"/>
                <a:gd name="T66" fmla="*/ 473 w 511"/>
                <a:gd name="T67" fmla="*/ 377 h 525"/>
                <a:gd name="T68" fmla="*/ 477 w 511"/>
                <a:gd name="T69" fmla="*/ 363 h 525"/>
                <a:gd name="T70" fmla="*/ 492 w 511"/>
                <a:gd name="T71" fmla="*/ 342 h 525"/>
                <a:gd name="T72" fmla="*/ 485 w 511"/>
                <a:gd name="T73" fmla="*/ 329 h 525"/>
                <a:gd name="T74" fmla="*/ 499 w 511"/>
                <a:gd name="T75" fmla="*/ 332 h 525"/>
                <a:gd name="T76" fmla="*/ 506 w 511"/>
                <a:gd name="T77" fmla="*/ 320 h 525"/>
                <a:gd name="T78" fmla="*/ 504 w 511"/>
                <a:gd name="T79" fmla="*/ 312 h 525"/>
                <a:gd name="T80" fmla="*/ 497 w 511"/>
                <a:gd name="T81" fmla="*/ 308 h 525"/>
                <a:gd name="T82" fmla="*/ 476 w 511"/>
                <a:gd name="T83" fmla="*/ 299 h 525"/>
                <a:gd name="T84" fmla="*/ 476 w 511"/>
                <a:gd name="T85" fmla="*/ 285 h 525"/>
                <a:gd name="T86" fmla="*/ 466 w 511"/>
                <a:gd name="T87" fmla="*/ 269 h 525"/>
                <a:gd name="T88" fmla="*/ 450 w 511"/>
                <a:gd name="T89" fmla="*/ 257 h 525"/>
                <a:gd name="T90" fmla="*/ 440 w 511"/>
                <a:gd name="T91" fmla="*/ 244 h 525"/>
                <a:gd name="T92" fmla="*/ 437 w 511"/>
                <a:gd name="T93" fmla="*/ 228 h 525"/>
                <a:gd name="T94" fmla="*/ 427 w 511"/>
                <a:gd name="T95" fmla="*/ 210 h 525"/>
                <a:gd name="T96" fmla="*/ 404 w 511"/>
                <a:gd name="T97" fmla="*/ 198 h 525"/>
                <a:gd name="T98" fmla="*/ 397 w 511"/>
                <a:gd name="T99" fmla="*/ 189 h 525"/>
                <a:gd name="T100" fmla="*/ 388 w 511"/>
                <a:gd name="T101" fmla="*/ 179 h 525"/>
                <a:gd name="T102" fmla="*/ 377 w 511"/>
                <a:gd name="T103" fmla="*/ 168 h 525"/>
                <a:gd name="T104" fmla="*/ 371 w 511"/>
                <a:gd name="T105" fmla="*/ 159 h 525"/>
                <a:gd name="T106" fmla="*/ 352 w 511"/>
                <a:gd name="T107" fmla="*/ 149 h 525"/>
                <a:gd name="T108" fmla="*/ 342 w 511"/>
                <a:gd name="T109" fmla="*/ 136 h 525"/>
                <a:gd name="T110" fmla="*/ 321 w 511"/>
                <a:gd name="T111" fmla="*/ 121 h 525"/>
                <a:gd name="T112" fmla="*/ 286 w 511"/>
                <a:gd name="T113" fmla="*/ 87 h 525"/>
                <a:gd name="T114" fmla="*/ 276 w 511"/>
                <a:gd name="T115" fmla="*/ 71 h 525"/>
                <a:gd name="T116" fmla="*/ 264 w 511"/>
                <a:gd name="T117" fmla="*/ 57 h 525"/>
                <a:gd name="T118" fmla="*/ 239 w 511"/>
                <a:gd name="T119" fmla="*/ 47 h 525"/>
                <a:gd name="T120" fmla="*/ 238 w 511"/>
                <a:gd name="T121" fmla="*/ 0 h 525"/>
                <a:gd name="T122" fmla="*/ 85 w 511"/>
                <a:gd name="T123" fmla="*/ 21 h 525"/>
                <a:gd name="T124" fmla="*/ 0 w 511"/>
                <a:gd name="T125" fmla="*/ 3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1" h="525">
                  <a:moveTo>
                    <a:pt x="2" y="38"/>
                  </a:moveTo>
                  <a:cubicBezTo>
                    <a:pt x="36" y="143"/>
                    <a:pt x="36" y="143"/>
                    <a:pt x="36" y="143"/>
                  </a:cubicBezTo>
                  <a:cubicBezTo>
                    <a:pt x="71" y="270"/>
                    <a:pt x="71" y="270"/>
                    <a:pt x="71" y="270"/>
                  </a:cubicBezTo>
                  <a:cubicBezTo>
                    <a:pt x="71" y="270"/>
                    <a:pt x="72" y="273"/>
                    <a:pt x="72" y="274"/>
                  </a:cubicBezTo>
                  <a:cubicBezTo>
                    <a:pt x="73" y="276"/>
                    <a:pt x="74" y="280"/>
                    <a:pt x="74" y="282"/>
                  </a:cubicBezTo>
                  <a:cubicBezTo>
                    <a:pt x="75" y="284"/>
                    <a:pt x="78" y="288"/>
                    <a:pt x="79" y="290"/>
                  </a:cubicBezTo>
                  <a:cubicBezTo>
                    <a:pt x="81" y="293"/>
                    <a:pt x="84" y="301"/>
                    <a:pt x="86" y="304"/>
                  </a:cubicBezTo>
                  <a:cubicBezTo>
                    <a:pt x="88" y="307"/>
                    <a:pt x="96" y="313"/>
                    <a:pt x="96" y="313"/>
                  </a:cubicBezTo>
                  <a:cubicBezTo>
                    <a:pt x="97" y="316"/>
                    <a:pt x="97" y="316"/>
                    <a:pt x="97" y="316"/>
                  </a:cubicBezTo>
                  <a:cubicBezTo>
                    <a:pt x="97" y="316"/>
                    <a:pt x="101" y="322"/>
                    <a:pt x="101" y="324"/>
                  </a:cubicBezTo>
                  <a:cubicBezTo>
                    <a:pt x="101" y="327"/>
                    <a:pt x="98" y="333"/>
                    <a:pt x="99" y="336"/>
                  </a:cubicBezTo>
                  <a:cubicBezTo>
                    <a:pt x="100" y="338"/>
                    <a:pt x="105" y="338"/>
                    <a:pt x="106" y="340"/>
                  </a:cubicBezTo>
                  <a:cubicBezTo>
                    <a:pt x="107" y="341"/>
                    <a:pt x="108" y="345"/>
                    <a:pt x="108" y="347"/>
                  </a:cubicBezTo>
                  <a:cubicBezTo>
                    <a:pt x="107" y="349"/>
                    <a:pt x="101" y="352"/>
                    <a:pt x="101" y="352"/>
                  </a:cubicBezTo>
                  <a:cubicBezTo>
                    <a:pt x="101" y="352"/>
                    <a:pt x="97" y="358"/>
                    <a:pt x="96" y="360"/>
                  </a:cubicBezTo>
                  <a:cubicBezTo>
                    <a:pt x="95" y="363"/>
                    <a:pt x="98" y="371"/>
                    <a:pt x="97" y="374"/>
                  </a:cubicBezTo>
                  <a:cubicBezTo>
                    <a:pt x="97" y="376"/>
                    <a:pt x="95" y="380"/>
                    <a:pt x="94" y="382"/>
                  </a:cubicBezTo>
                  <a:cubicBezTo>
                    <a:pt x="93" y="386"/>
                    <a:pt x="92" y="393"/>
                    <a:pt x="92" y="396"/>
                  </a:cubicBezTo>
                  <a:cubicBezTo>
                    <a:pt x="92" y="400"/>
                    <a:pt x="97" y="411"/>
                    <a:pt x="97" y="411"/>
                  </a:cubicBezTo>
                  <a:cubicBezTo>
                    <a:pt x="97" y="411"/>
                    <a:pt x="102" y="417"/>
                    <a:pt x="103" y="419"/>
                  </a:cubicBezTo>
                  <a:cubicBezTo>
                    <a:pt x="104" y="423"/>
                    <a:pt x="105" y="432"/>
                    <a:pt x="104" y="437"/>
                  </a:cubicBezTo>
                  <a:cubicBezTo>
                    <a:pt x="104" y="439"/>
                    <a:pt x="105" y="442"/>
                    <a:pt x="105" y="444"/>
                  </a:cubicBezTo>
                  <a:cubicBezTo>
                    <a:pt x="105" y="448"/>
                    <a:pt x="102" y="456"/>
                    <a:pt x="103" y="461"/>
                  </a:cubicBezTo>
                  <a:cubicBezTo>
                    <a:pt x="103" y="463"/>
                    <a:pt x="104" y="467"/>
                    <a:pt x="105" y="469"/>
                  </a:cubicBezTo>
                  <a:cubicBezTo>
                    <a:pt x="106" y="471"/>
                    <a:pt x="111" y="476"/>
                    <a:pt x="111" y="476"/>
                  </a:cubicBezTo>
                  <a:cubicBezTo>
                    <a:pt x="111" y="476"/>
                    <a:pt x="116" y="484"/>
                    <a:pt x="117" y="487"/>
                  </a:cubicBezTo>
                  <a:cubicBezTo>
                    <a:pt x="117" y="488"/>
                    <a:pt x="117" y="490"/>
                    <a:pt x="117" y="491"/>
                  </a:cubicBezTo>
                  <a:cubicBezTo>
                    <a:pt x="119" y="496"/>
                    <a:pt x="126" y="503"/>
                    <a:pt x="128" y="508"/>
                  </a:cubicBezTo>
                  <a:cubicBezTo>
                    <a:pt x="129" y="509"/>
                    <a:pt x="129" y="513"/>
                    <a:pt x="129" y="515"/>
                  </a:cubicBezTo>
                  <a:cubicBezTo>
                    <a:pt x="130" y="517"/>
                    <a:pt x="135" y="522"/>
                    <a:pt x="135" y="522"/>
                  </a:cubicBezTo>
                  <a:cubicBezTo>
                    <a:pt x="393" y="503"/>
                    <a:pt x="393" y="503"/>
                    <a:pt x="393" y="503"/>
                  </a:cubicBezTo>
                  <a:cubicBezTo>
                    <a:pt x="393" y="503"/>
                    <a:pt x="399" y="506"/>
                    <a:pt x="401" y="508"/>
                  </a:cubicBezTo>
                  <a:cubicBezTo>
                    <a:pt x="403" y="511"/>
                    <a:pt x="403" y="521"/>
                    <a:pt x="406" y="523"/>
                  </a:cubicBezTo>
                  <a:cubicBezTo>
                    <a:pt x="408" y="525"/>
                    <a:pt x="412" y="525"/>
                    <a:pt x="414" y="524"/>
                  </a:cubicBezTo>
                  <a:cubicBezTo>
                    <a:pt x="416" y="524"/>
                    <a:pt x="420" y="521"/>
                    <a:pt x="421" y="519"/>
                  </a:cubicBezTo>
                  <a:cubicBezTo>
                    <a:pt x="423" y="516"/>
                    <a:pt x="422" y="503"/>
                    <a:pt x="422" y="503"/>
                  </a:cubicBezTo>
                  <a:cubicBezTo>
                    <a:pt x="420" y="496"/>
                    <a:pt x="420" y="496"/>
                    <a:pt x="420" y="496"/>
                  </a:cubicBezTo>
                  <a:cubicBezTo>
                    <a:pt x="416" y="489"/>
                    <a:pt x="416" y="489"/>
                    <a:pt x="416" y="489"/>
                  </a:cubicBezTo>
                  <a:cubicBezTo>
                    <a:pt x="415" y="482"/>
                    <a:pt x="415" y="482"/>
                    <a:pt x="415" y="482"/>
                  </a:cubicBezTo>
                  <a:cubicBezTo>
                    <a:pt x="415" y="482"/>
                    <a:pt x="417" y="477"/>
                    <a:pt x="418" y="476"/>
                  </a:cubicBezTo>
                  <a:cubicBezTo>
                    <a:pt x="419" y="475"/>
                    <a:pt x="421" y="476"/>
                    <a:pt x="422" y="476"/>
                  </a:cubicBezTo>
                  <a:cubicBezTo>
                    <a:pt x="424" y="475"/>
                    <a:pt x="426" y="470"/>
                    <a:pt x="428" y="470"/>
                  </a:cubicBezTo>
                  <a:cubicBezTo>
                    <a:pt x="430" y="469"/>
                    <a:pt x="435" y="471"/>
                    <a:pt x="435" y="471"/>
                  </a:cubicBezTo>
                  <a:cubicBezTo>
                    <a:pt x="454" y="475"/>
                    <a:pt x="454" y="475"/>
                    <a:pt x="454" y="475"/>
                  </a:cubicBezTo>
                  <a:cubicBezTo>
                    <a:pt x="461" y="476"/>
                    <a:pt x="461" y="476"/>
                    <a:pt x="461" y="476"/>
                  </a:cubicBezTo>
                  <a:cubicBezTo>
                    <a:pt x="465" y="475"/>
                    <a:pt x="465" y="475"/>
                    <a:pt x="465" y="475"/>
                  </a:cubicBezTo>
                  <a:cubicBezTo>
                    <a:pt x="465" y="475"/>
                    <a:pt x="468" y="475"/>
                    <a:pt x="468" y="474"/>
                  </a:cubicBezTo>
                  <a:cubicBezTo>
                    <a:pt x="470" y="473"/>
                    <a:pt x="470" y="468"/>
                    <a:pt x="469" y="466"/>
                  </a:cubicBezTo>
                  <a:cubicBezTo>
                    <a:pt x="468" y="464"/>
                    <a:pt x="465" y="461"/>
                    <a:pt x="464" y="459"/>
                  </a:cubicBezTo>
                  <a:cubicBezTo>
                    <a:pt x="464" y="457"/>
                    <a:pt x="465" y="454"/>
                    <a:pt x="466" y="452"/>
                  </a:cubicBezTo>
                  <a:cubicBezTo>
                    <a:pt x="466" y="450"/>
                    <a:pt x="470" y="447"/>
                    <a:pt x="469" y="445"/>
                  </a:cubicBezTo>
                  <a:cubicBezTo>
                    <a:pt x="468" y="444"/>
                    <a:pt x="465" y="446"/>
                    <a:pt x="464" y="445"/>
                  </a:cubicBezTo>
                  <a:cubicBezTo>
                    <a:pt x="463" y="443"/>
                    <a:pt x="469" y="440"/>
                    <a:pt x="468" y="438"/>
                  </a:cubicBezTo>
                  <a:cubicBezTo>
                    <a:pt x="468" y="438"/>
                    <a:pt x="468" y="436"/>
                    <a:pt x="468" y="435"/>
                  </a:cubicBezTo>
                  <a:cubicBezTo>
                    <a:pt x="470" y="434"/>
                    <a:pt x="473" y="429"/>
                    <a:pt x="472" y="427"/>
                  </a:cubicBezTo>
                  <a:cubicBezTo>
                    <a:pt x="472" y="427"/>
                    <a:pt x="471" y="425"/>
                    <a:pt x="472" y="424"/>
                  </a:cubicBezTo>
                  <a:cubicBezTo>
                    <a:pt x="474" y="421"/>
                    <a:pt x="477" y="415"/>
                    <a:pt x="479" y="412"/>
                  </a:cubicBezTo>
                  <a:cubicBezTo>
                    <a:pt x="479" y="411"/>
                    <a:pt x="482" y="407"/>
                    <a:pt x="481" y="405"/>
                  </a:cubicBezTo>
                  <a:cubicBezTo>
                    <a:pt x="480" y="403"/>
                    <a:pt x="475" y="403"/>
                    <a:pt x="473" y="402"/>
                  </a:cubicBezTo>
                  <a:cubicBezTo>
                    <a:pt x="471" y="402"/>
                    <a:pt x="467" y="403"/>
                    <a:pt x="466" y="402"/>
                  </a:cubicBezTo>
                  <a:cubicBezTo>
                    <a:pt x="464" y="402"/>
                    <a:pt x="458" y="401"/>
                    <a:pt x="458" y="399"/>
                  </a:cubicBezTo>
                  <a:cubicBezTo>
                    <a:pt x="458" y="398"/>
                    <a:pt x="460" y="398"/>
                    <a:pt x="460" y="398"/>
                  </a:cubicBezTo>
                  <a:cubicBezTo>
                    <a:pt x="462" y="398"/>
                    <a:pt x="466" y="400"/>
                    <a:pt x="468" y="400"/>
                  </a:cubicBezTo>
                  <a:cubicBezTo>
                    <a:pt x="469" y="400"/>
                    <a:pt x="474" y="401"/>
                    <a:pt x="475" y="400"/>
                  </a:cubicBezTo>
                  <a:cubicBezTo>
                    <a:pt x="476" y="399"/>
                    <a:pt x="473" y="393"/>
                    <a:pt x="475" y="392"/>
                  </a:cubicBezTo>
                  <a:cubicBezTo>
                    <a:pt x="476" y="391"/>
                    <a:pt x="478" y="393"/>
                    <a:pt x="479" y="393"/>
                  </a:cubicBezTo>
                  <a:cubicBezTo>
                    <a:pt x="483" y="391"/>
                    <a:pt x="488" y="379"/>
                    <a:pt x="484" y="378"/>
                  </a:cubicBezTo>
                  <a:cubicBezTo>
                    <a:pt x="480" y="377"/>
                    <a:pt x="475" y="379"/>
                    <a:pt x="473" y="377"/>
                  </a:cubicBezTo>
                  <a:cubicBezTo>
                    <a:pt x="472" y="375"/>
                    <a:pt x="480" y="373"/>
                    <a:pt x="481" y="371"/>
                  </a:cubicBezTo>
                  <a:cubicBezTo>
                    <a:pt x="481" y="369"/>
                    <a:pt x="476" y="365"/>
                    <a:pt x="477" y="363"/>
                  </a:cubicBezTo>
                  <a:cubicBezTo>
                    <a:pt x="477" y="363"/>
                    <a:pt x="484" y="357"/>
                    <a:pt x="486" y="351"/>
                  </a:cubicBezTo>
                  <a:cubicBezTo>
                    <a:pt x="487" y="349"/>
                    <a:pt x="493" y="345"/>
                    <a:pt x="492" y="342"/>
                  </a:cubicBezTo>
                  <a:cubicBezTo>
                    <a:pt x="492" y="340"/>
                    <a:pt x="486" y="339"/>
                    <a:pt x="485" y="337"/>
                  </a:cubicBezTo>
                  <a:cubicBezTo>
                    <a:pt x="484" y="336"/>
                    <a:pt x="483" y="330"/>
                    <a:pt x="485" y="329"/>
                  </a:cubicBezTo>
                  <a:cubicBezTo>
                    <a:pt x="487" y="328"/>
                    <a:pt x="490" y="333"/>
                    <a:pt x="492" y="333"/>
                  </a:cubicBezTo>
                  <a:cubicBezTo>
                    <a:pt x="494" y="333"/>
                    <a:pt x="498" y="334"/>
                    <a:pt x="499" y="332"/>
                  </a:cubicBezTo>
                  <a:cubicBezTo>
                    <a:pt x="501" y="331"/>
                    <a:pt x="498" y="327"/>
                    <a:pt x="499" y="325"/>
                  </a:cubicBezTo>
                  <a:cubicBezTo>
                    <a:pt x="500" y="323"/>
                    <a:pt x="504" y="322"/>
                    <a:pt x="506" y="320"/>
                  </a:cubicBezTo>
                  <a:cubicBezTo>
                    <a:pt x="507" y="319"/>
                    <a:pt x="511" y="315"/>
                    <a:pt x="510" y="313"/>
                  </a:cubicBezTo>
                  <a:cubicBezTo>
                    <a:pt x="509" y="312"/>
                    <a:pt x="504" y="312"/>
                    <a:pt x="504" y="312"/>
                  </a:cubicBezTo>
                  <a:cubicBezTo>
                    <a:pt x="500" y="311"/>
                    <a:pt x="500" y="311"/>
                    <a:pt x="500" y="311"/>
                  </a:cubicBezTo>
                  <a:cubicBezTo>
                    <a:pt x="500" y="311"/>
                    <a:pt x="498" y="309"/>
                    <a:pt x="497" y="308"/>
                  </a:cubicBezTo>
                  <a:cubicBezTo>
                    <a:pt x="493" y="307"/>
                    <a:pt x="485" y="308"/>
                    <a:pt x="481" y="306"/>
                  </a:cubicBezTo>
                  <a:cubicBezTo>
                    <a:pt x="480" y="305"/>
                    <a:pt x="476" y="299"/>
                    <a:pt x="476" y="299"/>
                  </a:cubicBezTo>
                  <a:cubicBezTo>
                    <a:pt x="475" y="292"/>
                    <a:pt x="475" y="292"/>
                    <a:pt x="475" y="292"/>
                  </a:cubicBezTo>
                  <a:cubicBezTo>
                    <a:pt x="475" y="292"/>
                    <a:pt x="476" y="286"/>
                    <a:pt x="476" y="285"/>
                  </a:cubicBezTo>
                  <a:cubicBezTo>
                    <a:pt x="475" y="282"/>
                    <a:pt x="471" y="279"/>
                    <a:pt x="470" y="277"/>
                  </a:cubicBezTo>
                  <a:cubicBezTo>
                    <a:pt x="469" y="275"/>
                    <a:pt x="466" y="269"/>
                    <a:pt x="466" y="269"/>
                  </a:cubicBezTo>
                  <a:cubicBezTo>
                    <a:pt x="466" y="269"/>
                    <a:pt x="462" y="262"/>
                    <a:pt x="460" y="261"/>
                  </a:cubicBezTo>
                  <a:cubicBezTo>
                    <a:pt x="458" y="259"/>
                    <a:pt x="452" y="258"/>
                    <a:pt x="450" y="257"/>
                  </a:cubicBezTo>
                  <a:cubicBezTo>
                    <a:pt x="448" y="256"/>
                    <a:pt x="444" y="253"/>
                    <a:pt x="442" y="252"/>
                  </a:cubicBezTo>
                  <a:cubicBezTo>
                    <a:pt x="441" y="250"/>
                    <a:pt x="441" y="246"/>
                    <a:pt x="440" y="244"/>
                  </a:cubicBezTo>
                  <a:cubicBezTo>
                    <a:pt x="440" y="242"/>
                    <a:pt x="441" y="238"/>
                    <a:pt x="440" y="236"/>
                  </a:cubicBezTo>
                  <a:cubicBezTo>
                    <a:pt x="440" y="234"/>
                    <a:pt x="438" y="230"/>
                    <a:pt x="437" y="228"/>
                  </a:cubicBezTo>
                  <a:cubicBezTo>
                    <a:pt x="435" y="225"/>
                    <a:pt x="429" y="220"/>
                    <a:pt x="428" y="217"/>
                  </a:cubicBezTo>
                  <a:cubicBezTo>
                    <a:pt x="427" y="215"/>
                    <a:pt x="428" y="211"/>
                    <a:pt x="427" y="210"/>
                  </a:cubicBezTo>
                  <a:cubicBezTo>
                    <a:pt x="425" y="206"/>
                    <a:pt x="416" y="202"/>
                    <a:pt x="411" y="200"/>
                  </a:cubicBezTo>
                  <a:cubicBezTo>
                    <a:pt x="410" y="200"/>
                    <a:pt x="406" y="199"/>
                    <a:pt x="404" y="198"/>
                  </a:cubicBezTo>
                  <a:cubicBezTo>
                    <a:pt x="402" y="197"/>
                    <a:pt x="398" y="193"/>
                    <a:pt x="397" y="191"/>
                  </a:cubicBezTo>
                  <a:cubicBezTo>
                    <a:pt x="397" y="191"/>
                    <a:pt x="397" y="190"/>
                    <a:pt x="397" y="189"/>
                  </a:cubicBezTo>
                  <a:cubicBezTo>
                    <a:pt x="396" y="188"/>
                    <a:pt x="390" y="188"/>
                    <a:pt x="389" y="187"/>
                  </a:cubicBezTo>
                  <a:cubicBezTo>
                    <a:pt x="388" y="185"/>
                    <a:pt x="389" y="181"/>
                    <a:pt x="388" y="179"/>
                  </a:cubicBezTo>
                  <a:cubicBezTo>
                    <a:pt x="386" y="178"/>
                    <a:pt x="381" y="177"/>
                    <a:pt x="380" y="175"/>
                  </a:cubicBezTo>
                  <a:cubicBezTo>
                    <a:pt x="378" y="174"/>
                    <a:pt x="377" y="170"/>
                    <a:pt x="377" y="168"/>
                  </a:cubicBezTo>
                  <a:cubicBezTo>
                    <a:pt x="377" y="167"/>
                    <a:pt x="378" y="164"/>
                    <a:pt x="378" y="163"/>
                  </a:cubicBezTo>
                  <a:cubicBezTo>
                    <a:pt x="377" y="161"/>
                    <a:pt x="373" y="160"/>
                    <a:pt x="371" y="159"/>
                  </a:cubicBezTo>
                  <a:cubicBezTo>
                    <a:pt x="368" y="157"/>
                    <a:pt x="363" y="152"/>
                    <a:pt x="360" y="151"/>
                  </a:cubicBezTo>
                  <a:cubicBezTo>
                    <a:pt x="358" y="150"/>
                    <a:pt x="354" y="150"/>
                    <a:pt x="352" y="149"/>
                  </a:cubicBezTo>
                  <a:cubicBezTo>
                    <a:pt x="351" y="148"/>
                    <a:pt x="348" y="146"/>
                    <a:pt x="347" y="145"/>
                  </a:cubicBezTo>
                  <a:cubicBezTo>
                    <a:pt x="346" y="143"/>
                    <a:pt x="344" y="138"/>
                    <a:pt x="342" y="136"/>
                  </a:cubicBezTo>
                  <a:cubicBezTo>
                    <a:pt x="341" y="134"/>
                    <a:pt x="337" y="130"/>
                    <a:pt x="335" y="128"/>
                  </a:cubicBezTo>
                  <a:cubicBezTo>
                    <a:pt x="332" y="126"/>
                    <a:pt x="324" y="123"/>
                    <a:pt x="321" y="121"/>
                  </a:cubicBezTo>
                  <a:cubicBezTo>
                    <a:pt x="317" y="119"/>
                    <a:pt x="309" y="114"/>
                    <a:pt x="305" y="111"/>
                  </a:cubicBezTo>
                  <a:cubicBezTo>
                    <a:pt x="300" y="106"/>
                    <a:pt x="290" y="94"/>
                    <a:pt x="286" y="87"/>
                  </a:cubicBezTo>
                  <a:cubicBezTo>
                    <a:pt x="285" y="85"/>
                    <a:pt x="284" y="82"/>
                    <a:pt x="283" y="80"/>
                  </a:cubicBezTo>
                  <a:cubicBezTo>
                    <a:pt x="282" y="77"/>
                    <a:pt x="277" y="74"/>
                    <a:pt x="276" y="71"/>
                  </a:cubicBezTo>
                  <a:cubicBezTo>
                    <a:pt x="275" y="70"/>
                    <a:pt x="274" y="66"/>
                    <a:pt x="272" y="64"/>
                  </a:cubicBezTo>
                  <a:cubicBezTo>
                    <a:pt x="271" y="62"/>
                    <a:pt x="267" y="58"/>
                    <a:pt x="264" y="57"/>
                  </a:cubicBezTo>
                  <a:cubicBezTo>
                    <a:pt x="262" y="57"/>
                    <a:pt x="256" y="60"/>
                    <a:pt x="253" y="59"/>
                  </a:cubicBezTo>
                  <a:cubicBezTo>
                    <a:pt x="249" y="58"/>
                    <a:pt x="243" y="50"/>
                    <a:pt x="239" y="47"/>
                  </a:cubicBezTo>
                  <a:cubicBezTo>
                    <a:pt x="210" y="32"/>
                    <a:pt x="223" y="23"/>
                    <a:pt x="237" y="6"/>
                  </a:cubicBezTo>
                  <a:cubicBezTo>
                    <a:pt x="238" y="0"/>
                    <a:pt x="238" y="0"/>
                    <a:pt x="238" y="0"/>
                  </a:cubicBezTo>
                  <a:cubicBezTo>
                    <a:pt x="123" y="18"/>
                    <a:pt x="123" y="18"/>
                    <a:pt x="123" y="18"/>
                  </a:cubicBezTo>
                  <a:cubicBezTo>
                    <a:pt x="85" y="21"/>
                    <a:pt x="85" y="21"/>
                    <a:pt x="85" y="21"/>
                  </a:cubicBezTo>
                  <a:cubicBezTo>
                    <a:pt x="7" y="31"/>
                    <a:pt x="7" y="31"/>
                    <a:pt x="7" y="31"/>
                  </a:cubicBezTo>
                  <a:cubicBezTo>
                    <a:pt x="0" y="32"/>
                    <a:pt x="0" y="32"/>
                    <a:pt x="0" y="32"/>
                  </a:cubicBezTo>
                  <a:lnTo>
                    <a:pt x="2" y="38"/>
                  </a:ln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30">
              <a:extLst>
                <a:ext uri="{FF2B5EF4-FFF2-40B4-BE49-F238E27FC236}">
                  <a16:creationId xmlns:a16="http://schemas.microsoft.com/office/drawing/2014/main" id="{49E7EDDD-902B-4820-AFBB-6C96EF498993}"/>
                </a:ext>
              </a:extLst>
            </p:cNvPr>
            <p:cNvSpPr>
              <a:spLocks/>
            </p:cNvSpPr>
            <p:nvPr/>
          </p:nvSpPr>
          <p:spPr bwMode="auto">
            <a:xfrm>
              <a:off x="6686061" y="3675713"/>
              <a:ext cx="880343" cy="318379"/>
            </a:xfrm>
            <a:custGeom>
              <a:avLst/>
              <a:gdLst>
                <a:gd name="T0" fmla="*/ 778 w 792"/>
                <a:gd name="T1" fmla="*/ 1 h 287"/>
                <a:gd name="T2" fmla="*/ 634 w 792"/>
                <a:gd name="T3" fmla="*/ 24 h 287"/>
                <a:gd name="T4" fmla="*/ 561 w 792"/>
                <a:gd name="T5" fmla="*/ 35 h 287"/>
                <a:gd name="T6" fmla="*/ 460 w 792"/>
                <a:gd name="T7" fmla="*/ 44 h 287"/>
                <a:gd name="T8" fmla="*/ 344 w 792"/>
                <a:gd name="T9" fmla="*/ 55 h 287"/>
                <a:gd name="T10" fmla="*/ 221 w 792"/>
                <a:gd name="T11" fmla="*/ 69 h 287"/>
                <a:gd name="T12" fmla="*/ 196 w 792"/>
                <a:gd name="T13" fmla="*/ 66 h 287"/>
                <a:gd name="T14" fmla="*/ 199 w 792"/>
                <a:gd name="T15" fmla="*/ 83 h 287"/>
                <a:gd name="T16" fmla="*/ 71 w 792"/>
                <a:gd name="T17" fmla="*/ 100 h 287"/>
                <a:gd name="T18" fmla="*/ 67 w 792"/>
                <a:gd name="T19" fmla="*/ 99 h 287"/>
                <a:gd name="T20" fmla="*/ 58 w 792"/>
                <a:gd name="T21" fmla="*/ 103 h 287"/>
                <a:gd name="T22" fmla="*/ 56 w 792"/>
                <a:gd name="T23" fmla="*/ 118 h 287"/>
                <a:gd name="T24" fmla="*/ 58 w 792"/>
                <a:gd name="T25" fmla="*/ 128 h 287"/>
                <a:gd name="T26" fmla="*/ 49 w 792"/>
                <a:gd name="T27" fmla="*/ 138 h 287"/>
                <a:gd name="T28" fmla="*/ 47 w 792"/>
                <a:gd name="T29" fmla="*/ 162 h 287"/>
                <a:gd name="T30" fmla="*/ 50 w 792"/>
                <a:gd name="T31" fmla="*/ 172 h 287"/>
                <a:gd name="T32" fmla="*/ 43 w 792"/>
                <a:gd name="T33" fmla="*/ 178 h 287"/>
                <a:gd name="T34" fmla="*/ 34 w 792"/>
                <a:gd name="T35" fmla="*/ 192 h 287"/>
                <a:gd name="T36" fmla="*/ 28 w 792"/>
                <a:gd name="T37" fmla="*/ 199 h 287"/>
                <a:gd name="T38" fmla="*/ 33 w 792"/>
                <a:gd name="T39" fmla="*/ 207 h 287"/>
                <a:gd name="T40" fmla="*/ 22 w 792"/>
                <a:gd name="T41" fmla="*/ 217 h 287"/>
                <a:gd name="T42" fmla="*/ 25 w 792"/>
                <a:gd name="T43" fmla="*/ 227 h 287"/>
                <a:gd name="T44" fmla="*/ 21 w 792"/>
                <a:gd name="T45" fmla="*/ 226 h 287"/>
                <a:gd name="T46" fmla="*/ 10 w 792"/>
                <a:gd name="T47" fmla="*/ 238 h 287"/>
                <a:gd name="T48" fmla="*/ 17 w 792"/>
                <a:gd name="T49" fmla="*/ 240 h 287"/>
                <a:gd name="T50" fmla="*/ 20 w 792"/>
                <a:gd name="T51" fmla="*/ 265 h 287"/>
                <a:gd name="T52" fmla="*/ 12 w 792"/>
                <a:gd name="T53" fmla="*/ 270 h 287"/>
                <a:gd name="T54" fmla="*/ 1 w 792"/>
                <a:gd name="T55" fmla="*/ 281 h 287"/>
                <a:gd name="T56" fmla="*/ 3 w 792"/>
                <a:gd name="T57" fmla="*/ 287 h 287"/>
                <a:gd name="T58" fmla="*/ 202 w 792"/>
                <a:gd name="T59" fmla="*/ 270 h 287"/>
                <a:gd name="T60" fmla="*/ 206 w 792"/>
                <a:gd name="T61" fmla="*/ 268 h 287"/>
                <a:gd name="T62" fmla="*/ 532 w 792"/>
                <a:gd name="T63" fmla="*/ 234 h 287"/>
                <a:gd name="T64" fmla="*/ 571 w 792"/>
                <a:gd name="T65" fmla="*/ 201 h 287"/>
                <a:gd name="T66" fmla="*/ 595 w 792"/>
                <a:gd name="T67" fmla="*/ 177 h 287"/>
                <a:gd name="T68" fmla="*/ 617 w 792"/>
                <a:gd name="T69" fmla="*/ 156 h 287"/>
                <a:gd name="T70" fmla="*/ 639 w 792"/>
                <a:gd name="T71" fmla="*/ 152 h 287"/>
                <a:gd name="T72" fmla="*/ 674 w 792"/>
                <a:gd name="T73" fmla="*/ 121 h 287"/>
                <a:gd name="T74" fmla="*/ 687 w 792"/>
                <a:gd name="T75" fmla="*/ 113 h 287"/>
                <a:gd name="T76" fmla="*/ 695 w 792"/>
                <a:gd name="T77" fmla="*/ 101 h 287"/>
                <a:gd name="T78" fmla="*/ 700 w 792"/>
                <a:gd name="T79" fmla="*/ 92 h 287"/>
                <a:gd name="T80" fmla="*/ 713 w 792"/>
                <a:gd name="T81" fmla="*/ 92 h 287"/>
                <a:gd name="T82" fmla="*/ 722 w 792"/>
                <a:gd name="T83" fmla="*/ 92 h 287"/>
                <a:gd name="T84" fmla="*/ 732 w 792"/>
                <a:gd name="T85" fmla="*/ 77 h 287"/>
                <a:gd name="T86" fmla="*/ 756 w 792"/>
                <a:gd name="T87" fmla="*/ 71 h 287"/>
                <a:gd name="T88" fmla="*/ 768 w 792"/>
                <a:gd name="T89" fmla="*/ 62 h 287"/>
                <a:gd name="T90" fmla="*/ 785 w 792"/>
                <a:gd name="T91" fmla="*/ 37 h 287"/>
                <a:gd name="T92" fmla="*/ 789 w 792"/>
                <a:gd name="T93" fmla="*/ 21 h 287"/>
                <a:gd name="T94" fmla="*/ 792 w 792"/>
                <a:gd name="T95" fmla="*/ 2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2" h="287">
                  <a:moveTo>
                    <a:pt x="792" y="2"/>
                  </a:moveTo>
                  <a:cubicBezTo>
                    <a:pt x="791" y="1"/>
                    <a:pt x="790" y="0"/>
                    <a:pt x="789" y="1"/>
                  </a:cubicBezTo>
                  <a:cubicBezTo>
                    <a:pt x="778" y="1"/>
                    <a:pt x="778" y="1"/>
                    <a:pt x="778" y="1"/>
                  </a:cubicBezTo>
                  <a:cubicBezTo>
                    <a:pt x="749" y="9"/>
                    <a:pt x="749" y="9"/>
                    <a:pt x="749" y="9"/>
                  </a:cubicBezTo>
                  <a:cubicBezTo>
                    <a:pt x="649" y="24"/>
                    <a:pt x="649" y="24"/>
                    <a:pt x="649" y="24"/>
                  </a:cubicBezTo>
                  <a:cubicBezTo>
                    <a:pt x="634" y="24"/>
                    <a:pt x="634" y="24"/>
                    <a:pt x="634" y="24"/>
                  </a:cubicBezTo>
                  <a:cubicBezTo>
                    <a:pt x="604" y="29"/>
                    <a:pt x="604" y="29"/>
                    <a:pt x="604" y="29"/>
                  </a:cubicBezTo>
                  <a:cubicBezTo>
                    <a:pt x="594" y="32"/>
                    <a:pt x="594" y="32"/>
                    <a:pt x="594" y="32"/>
                  </a:cubicBezTo>
                  <a:cubicBezTo>
                    <a:pt x="561" y="35"/>
                    <a:pt x="561" y="35"/>
                    <a:pt x="561" y="35"/>
                  </a:cubicBezTo>
                  <a:cubicBezTo>
                    <a:pt x="532" y="39"/>
                    <a:pt x="532" y="39"/>
                    <a:pt x="532" y="39"/>
                  </a:cubicBezTo>
                  <a:cubicBezTo>
                    <a:pt x="502" y="42"/>
                    <a:pt x="502" y="42"/>
                    <a:pt x="502" y="42"/>
                  </a:cubicBezTo>
                  <a:cubicBezTo>
                    <a:pt x="460" y="44"/>
                    <a:pt x="460" y="44"/>
                    <a:pt x="460" y="44"/>
                  </a:cubicBezTo>
                  <a:cubicBezTo>
                    <a:pt x="435" y="48"/>
                    <a:pt x="435" y="48"/>
                    <a:pt x="435" y="48"/>
                  </a:cubicBezTo>
                  <a:cubicBezTo>
                    <a:pt x="389" y="53"/>
                    <a:pt x="389" y="53"/>
                    <a:pt x="389" y="53"/>
                  </a:cubicBezTo>
                  <a:cubicBezTo>
                    <a:pt x="344" y="55"/>
                    <a:pt x="344" y="55"/>
                    <a:pt x="344" y="55"/>
                  </a:cubicBezTo>
                  <a:cubicBezTo>
                    <a:pt x="297" y="61"/>
                    <a:pt x="297" y="61"/>
                    <a:pt x="297" y="61"/>
                  </a:cubicBezTo>
                  <a:cubicBezTo>
                    <a:pt x="259" y="64"/>
                    <a:pt x="259" y="64"/>
                    <a:pt x="259" y="64"/>
                  </a:cubicBezTo>
                  <a:cubicBezTo>
                    <a:pt x="221" y="69"/>
                    <a:pt x="221" y="69"/>
                    <a:pt x="221" y="69"/>
                  </a:cubicBezTo>
                  <a:cubicBezTo>
                    <a:pt x="213" y="66"/>
                    <a:pt x="213" y="66"/>
                    <a:pt x="213" y="66"/>
                  </a:cubicBezTo>
                  <a:cubicBezTo>
                    <a:pt x="212" y="66"/>
                    <a:pt x="212" y="66"/>
                    <a:pt x="212" y="66"/>
                  </a:cubicBezTo>
                  <a:cubicBezTo>
                    <a:pt x="196" y="66"/>
                    <a:pt x="196" y="66"/>
                    <a:pt x="196" y="66"/>
                  </a:cubicBezTo>
                  <a:cubicBezTo>
                    <a:pt x="195" y="66"/>
                    <a:pt x="195" y="67"/>
                    <a:pt x="194" y="67"/>
                  </a:cubicBezTo>
                  <a:cubicBezTo>
                    <a:pt x="194" y="68"/>
                    <a:pt x="193" y="69"/>
                    <a:pt x="194" y="70"/>
                  </a:cubicBezTo>
                  <a:cubicBezTo>
                    <a:pt x="199" y="83"/>
                    <a:pt x="199" y="83"/>
                    <a:pt x="199" y="83"/>
                  </a:cubicBezTo>
                  <a:cubicBezTo>
                    <a:pt x="198" y="89"/>
                    <a:pt x="198" y="89"/>
                    <a:pt x="198" y="89"/>
                  </a:cubicBezTo>
                  <a:cubicBezTo>
                    <a:pt x="73" y="99"/>
                    <a:pt x="73" y="99"/>
                    <a:pt x="73" y="99"/>
                  </a:cubicBezTo>
                  <a:cubicBezTo>
                    <a:pt x="72" y="99"/>
                    <a:pt x="72" y="100"/>
                    <a:pt x="71" y="100"/>
                  </a:cubicBezTo>
                  <a:cubicBezTo>
                    <a:pt x="69" y="101"/>
                    <a:pt x="69" y="101"/>
                    <a:pt x="69" y="101"/>
                  </a:cubicBezTo>
                  <a:cubicBezTo>
                    <a:pt x="69" y="101"/>
                    <a:pt x="69" y="101"/>
                    <a:pt x="69" y="100"/>
                  </a:cubicBezTo>
                  <a:cubicBezTo>
                    <a:pt x="68" y="100"/>
                    <a:pt x="68" y="99"/>
                    <a:pt x="67" y="99"/>
                  </a:cubicBezTo>
                  <a:cubicBezTo>
                    <a:pt x="60" y="100"/>
                    <a:pt x="60" y="100"/>
                    <a:pt x="60" y="100"/>
                  </a:cubicBezTo>
                  <a:cubicBezTo>
                    <a:pt x="60" y="100"/>
                    <a:pt x="59" y="101"/>
                    <a:pt x="58" y="101"/>
                  </a:cubicBezTo>
                  <a:cubicBezTo>
                    <a:pt x="58" y="102"/>
                    <a:pt x="58" y="102"/>
                    <a:pt x="58" y="103"/>
                  </a:cubicBezTo>
                  <a:cubicBezTo>
                    <a:pt x="60" y="111"/>
                    <a:pt x="60" y="111"/>
                    <a:pt x="60" y="111"/>
                  </a:cubicBezTo>
                  <a:cubicBezTo>
                    <a:pt x="62" y="116"/>
                    <a:pt x="62" y="116"/>
                    <a:pt x="62" y="116"/>
                  </a:cubicBezTo>
                  <a:cubicBezTo>
                    <a:pt x="56" y="118"/>
                    <a:pt x="56" y="118"/>
                    <a:pt x="56" y="118"/>
                  </a:cubicBezTo>
                  <a:cubicBezTo>
                    <a:pt x="55" y="119"/>
                    <a:pt x="55" y="119"/>
                    <a:pt x="55" y="120"/>
                  </a:cubicBezTo>
                  <a:cubicBezTo>
                    <a:pt x="54" y="120"/>
                    <a:pt x="54" y="121"/>
                    <a:pt x="55" y="122"/>
                  </a:cubicBezTo>
                  <a:cubicBezTo>
                    <a:pt x="58" y="128"/>
                    <a:pt x="58" y="128"/>
                    <a:pt x="58" y="128"/>
                  </a:cubicBezTo>
                  <a:cubicBezTo>
                    <a:pt x="50" y="134"/>
                    <a:pt x="50" y="134"/>
                    <a:pt x="50" y="134"/>
                  </a:cubicBezTo>
                  <a:cubicBezTo>
                    <a:pt x="49" y="134"/>
                    <a:pt x="49" y="135"/>
                    <a:pt x="49" y="136"/>
                  </a:cubicBezTo>
                  <a:cubicBezTo>
                    <a:pt x="49" y="136"/>
                    <a:pt x="49" y="137"/>
                    <a:pt x="49" y="138"/>
                  </a:cubicBezTo>
                  <a:cubicBezTo>
                    <a:pt x="55" y="143"/>
                    <a:pt x="55" y="143"/>
                    <a:pt x="55" y="143"/>
                  </a:cubicBezTo>
                  <a:cubicBezTo>
                    <a:pt x="52" y="149"/>
                    <a:pt x="52" y="149"/>
                    <a:pt x="52" y="149"/>
                  </a:cubicBezTo>
                  <a:cubicBezTo>
                    <a:pt x="47" y="162"/>
                    <a:pt x="47" y="162"/>
                    <a:pt x="47" y="162"/>
                  </a:cubicBezTo>
                  <a:cubicBezTo>
                    <a:pt x="46" y="162"/>
                    <a:pt x="46" y="163"/>
                    <a:pt x="47" y="164"/>
                  </a:cubicBezTo>
                  <a:cubicBezTo>
                    <a:pt x="49" y="168"/>
                    <a:pt x="49" y="168"/>
                    <a:pt x="49" y="168"/>
                  </a:cubicBezTo>
                  <a:cubicBezTo>
                    <a:pt x="50" y="172"/>
                    <a:pt x="50" y="172"/>
                    <a:pt x="50" y="172"/>
                  </a:cubicBezTo>
                  <a:cubicBezTo>
                    <a:pt x="44" y="175"/>
                    <a:pt x="44" y="175"/>
                    <a:pt x="44" y="175"/>
                  </a:cubicBezTo>
                  <a:cubicBezTo>
                    <a:pt x="44" y="175"/>
                    <a:pt x="43" y="175"/>
                    <a:pt x="43" y="176"/>
                  </a:cubicBezTo>
                  <a:cubicBezTo>
                    <a:pt x="43" y="177"/>
                    <a:pt x="43" y="177"/>
                    <a:pt x="43" y="178"/>
                  </a:cubicBezTo>
                  <a:cubicBezTo>
                    <a:pt x="46" y="184"/>
                    <a:pt x="46" y="184"/>
                    <a:pt x="46" y="184"/>
                  </a:cubicBezTo>
                  <a:cubicBezTo>
                    <a:pt x="41" y="188"/>
                    <a:pt x="41" y="188"/>
                    <a:pt x="41" y="188"/>
                  </a:cubicBezTo>
                  <a:cubicBezTo>
                    <a:pt x="34" y="192"/>
                    <a:pt x="34" y="192"/>
                    <a:pt x="34" y="192"/>
                  </a:cubicBezTo>
                  <a:cubicBezTo>
                    <a:pt x="34" y="192"/>
                    <a:pt x="34" y="192"/>
                    <a:pt x="33" y="192"/>
                  </a:cubicBezTo>
                  <a:cubicBezTo>
                    <a:pt x="29" y="197"/>
                    <a:pt x="29" y="197"/>
                    <a:pt x="29" y="197"/>
                  </a:cubicBezTo>
                  <a:cubicBezTo>
                    <a:pt x="29" y="197"/>
                    <a:pt x="28" y="198"/>
                    <a:pt x="28" y="199"/>
                  </a:cubicBezTo>
                  <a:cubicBezTo>
                    <a:pt x="28" y="200"/>
                    <a:pt x="28" y="200"/>
                    <a:pt x="28" y="200"/>
                  </a:cubicBezTo>
                  <a:cubicBezTo>
                    <a:pt x="28" y="201"/>
                    <a:pt x="29" y="201"/>
                    <a:pt x="29" y="202"/>
                  </a:cubicBezTo>
                  <a:cubicBezTo>
                    <a:pt x="33" y="207"/>
                    <a:pt x="33" y="207"/>
                    <a:pt x="33" y="207"/>
                  </a:cubicBezTo>
                  <a:cubicBezTo>
                    <a:pt x="30" y="210"/>
                    <a:pt x="30" y="210"/>
                    <a:pt x="30" y="210"/>
                  </a:cubicBezTo>
                  <a:cubicBezTo>
                    <a:pt x="26" y="215"/>
                    <a:pt x="26" y="215"/>
                    <a:pt x="26" y="215"/>
                  </a:cubicBezTo>
                  <a:cubicBezTo>
                    <a:pt x="22" y="217"/>
                    <a:pt x="22" y="217"/>
                    <a:pt x="22" y="217"/>
                  </a:cubicBezTo>
                  <a:cubicBezTo>
                    <a:pt x="21" y="218"/>
                    <a:pt x="21" y="218"/>
                    <a:pt x="21" y="219"/>
                  </a:cubicBezTo>
                  <a:cubicBezTo>
                    <a:pt x="20" y="219"/>
                    <a:pt x="21" y="220"/>
                    <a:pt x="21" y="221"/>
                  </a:cubicBezTo>
                  <a:cubicBezTo>
                    <a:pt x="25" y="227"/>
                    <a:pt x="25" y="227"/>
                    <a:pt x="25" y="227"/>
                  </a:cubicBezTo>
                  <a:cubicBezTo>
                    <a:pt x="24" y="228"/>
                    <a:pt x="24" y="228"/>
                    <a:pt x="24" y="228"/>
                  </a:cubicBezTo>
                  <a:cubicBezTo>
                    <a:pt x="24" y="227"/>
                    <a:pt x="24" y="227"/>
                    <a:pt x="24" y="227"/>
                  </a:cubicBezTo>
                  <a:cubicBezTo>
                    <a:pt x="23" y="226"/>
                    <a:pt x="22" y="225"/>
                    <a:pt x="21" y="226"/>
                  </a:cubicBezTo>
                  <a:cubicBezTo>
                    <a:pt x="13" y="229"/>
                    <a:pt x="13" y="229"/>
                    <a:pt x="13" y="229"/>
                  </a:cubicBezTo>
                  <a:cubicBezTo>
                    <a:pt x="13" y="229"/>
                    <a:pt x="12" y="230"/>
                    <a:pt x="12" y="231"/>
                  </a:cubicBezTo>
                  <a:cubicBezTo>
                    <a:pt x="10" y="238"/>
                    <a:pt x="10" y="238"/>
                    <a:pt x="10" y="238"/>
                  </a:cubicBezTo>
                  <a:cubicBezTo>
                    <a:pt x="10" y="239"/>
                    <a:pt x="11" y="240"/>
                    <a:pt x="11" y="241"/>
                  </a:cubicBezTo>
                  <a:cubicBezTo>
                    <a:pt x="12" y="241"/>
                    <a:pt x="13" y="242"/>
                    <a:pt x="14" y="241"/>
                  </a:cubicBezTo>
                  <a:cubicBezTo>
                    <a:pt x="17" y="240"/>
                    <a:pt x="17" y="240"/>
                    <a:pt x="17" y="240"/>
                  </a:cubicBezTo>
                  <a:cubicBezTo>
                    <a:pt x="16" y="246"/>
                    <a:pt x="16" y="246"/>
                    <a:pt x="16" y="246"/>
                  </a:cubicBezTo>
                  <a:cubicBezTo>
                    <a:pt x="16" y="246"/>
                    <a:pt x="16" y="246"/>
                    <a:pt x="16" y="247"/>
                  </a:cubicBezTo>
                  <a:cubicBezTo>
                    <a:pt x="20" y="265"/>
                    <a:pt x="20" y="265"/>
                    <a:pt x="20" y="265"/>
                  </a:cubicBezTo>
                  <a:cubicBezTo>
                    <a:pt x="20" y="266"/>
                    <a:pt x="20" y="266"/>
                    <a:pt x="20" y="266"/>
                  </a:cubicBezTo>
                  <a:cubicBezTo>
                    <a:pt x="14" y="268"/>
                    <a:pt x="14" y="268"/>
                    <a:pt x="14" y="268"/>
                  </a:cubicBezTo>
                  <a:cubicBezTo>
                    <a:pt x="13" y="268"/>
                    <a:pt x="12" y="269"/>
                    <a:pt x="12" y="270"/>
                  </a:cubicBezTo>
                  <a:cubicBezTo>
                    <a:pt x="9" y="276"/>
                    <a:pt x="9" y="276"/>
                    <a:pt x="9" y="276"/>
                  </a:cubicBezTo>
                  <a:cubicBezTo>
                    <a:pt x="2" y="280"/>
                    <a:pt x="2" y="280"/>
                    <a:pt x="2" y="280"/>
                  </a:cubicBezTo>
                  <a:cubicBezTo>
                    <a:pt x="2" y="280"/>
                    <a:pt x="1" y="281"/>
                    <a:pt x="1" y="281"/>
                  </a:cubicBezTo>
                  <a:cubicBezTo>
                    <a:pt x="0" y="284"/>
                    <a:pt x="0" y="284"/>
                    <a:pt x="0" y="284"/>
                  </a:cubicBezTo>
                  <a:cubicBezTo>
                    <a:pt x="0" y="284"/>
                    <a:pt x="0" y="285"/>
                    <a:pt x="1" y="286"/>
                  </a:cubicBezTo>
                  <a:cubicBezTo>
                    <a:pt x="1" y="287"/>
                    <a:pt x="2" y="287"/>
                    <a:pt x="3" y="287"/>
                  </a:cubicBezTo>
                  <a:cubicBezTo>
                    <a:pt x="3" y="287"/>
                    <a:pt x="3" y="287"/>
                    <a:pt x="3" y="287"/>
                  </a:cubicBezTo>
                  <a:cubicBezTo>
                    <a:pt x="134" y="277"/>
                    <a:pt x="134" y="277"/>
                    <a:pt x="134" y="277"/>
                  </a:cubicBezTo>
                  <a:cubicBezTo>
                    <a:pt x="202" y="270"/>
                    <a:pt x="202" y="270"/>
                    <a:pt x="202" y="270"/>
                  </a:cubicBezTo>
                  <a:cubicBezTo>
                    <a:pt x="203" y="271"/>
                    <a:pt x="203" y="271"/>
                    <a:pt x="203" y="271"/>
                  </a:cubicBezTo>
                  <a:cubicBezTo>
                    <a:pt x="204" y="271"/>
                    <a:pt x="205" y="271"/>
                    <a:pt x="206" y="270"/>
                  </a:cubicBezTo>
                  <a:cubicBezTo>
                    <a:pt x="206" y="270"/>
                    <a:pt x="207" y="269"/>
                    <a:pt x="206" y="268"/>
                  </a:cubicBezTo>
                  <a:cubicBezTo>
                    <a:pt x="341" y="257"/>
                    <a:pt x="341" y="257"/>
                    <a:pt x="341" y="257"/>
                  </a:cubicBezTo>
                  <a:cubicBezTo>
                    <a:pt x="447" y="245"/>
                    <a:pt x="447" y="245"/>
                    <a:pt x="447" y="245"/>
                  </a:cubicBezTo>
                  <a:cubicBezTo>
                    <a:pt x="532" y="234"/>
                    <a:pt x="532" y="234"/>
                    <a:pt x="532" y="234"/>
                  </a:cubicBezTo>
                  <a:cubicBezTo>
                    <a:pt x="569" y="231"/>
                    <a:pt x="569" y="231"/>
                    <a:pt x="569" y="231"/>
                  </a:cubicBezTo>
                  <a:cubicBezTo>
                    <a:pt x="570" y="231"/>
                    <a:pt x="571" y="230"/>
                    <a:pt x="571" y="229"/>
                  </a:cubicBezTo>
                  <a:cubicBezTo>
                    <a:pt x="571" y="201"/>
                    <a:pt x="571" y="201"/>
                    <a:pt x="571" y="201"/>
                  </a:cubicBezTo>
                  <a:cubicBezTo>
                    <a:pt x="575" y="200"/>
                    <a:pt x="583" y="198"/>
                    <a:pt x="585" y="196"/>
                  </a:cubicBezTo>
                  <a:cubicBezTo>
                    <a:pt x="588" y="195"/>
                    <a:pt x="592" y="191"/>
                    <a:pt x="593" y="188"/>
                  </a:cubicBezTo>
                  <a:cubicBezTo>
                    <a:pt x="594" y="186"/>
                    <a:pt x="594" y="179"/>
                    <a:pt x="595" y="177"/>
                  </a:cubicBezTo>
                  <a:cubicBezTo>
                    <a:pt x="597" y="170"/>
                    <a:pt x="597" y="170"/>
                    <a:pt x="597" y="170"/>
                  </a:cubicBezTo>
                  <a:cubicBezTo>
                    <a:pt x="603" y="164"/>
                    <a:pt x="603" y="164"/>
                    <a:pt x="603" y="164"/>
                  </a:cubicBezTo>
                  <a:cubicBezTo>
                    <a:pt x="617" y="156"/>
                    <a:pt x="617" y="156"/>
                    <a:pt x="617" y="156"/>
                  </a:cubicBezTo>
                  <a:cubicBezTo>
                    <a:pt x="632" y="155"/>
                    <a:pt x="632" y="155"/>
                    <a:pt x="632" y="155"/>
                  </a:cubicBezTo>
                  <a:cubicBezTo>
                    <a:pt x="632" y="155"/>
                    <a:pt x="632" y="155"/>
                    <a:pt x="633" y="155"/>
                  </a:cubicBezTo>
                  <a:cubicBezTo>
                    <a:pt x="639" y="152"/>
                    <a:pt x="639" y="152"/>
                    <a:pt x="639" y="152"/>
                  </a:cubicBezTo>
                  <a:cubicBezTo>
                    <a:pt x="640" y="152"/>
                    <a:pt x="640" y="151"/>
                    <a:pt x="640" y="151"/>
                  </a:cubicBezTo>
                  <a:cubicBezTo>
                    <a:pt x="661" y="131"/>
                    <a:pt x="661" y="131"/>
                    <a:pt x="661" y="131"/>
                  </a:cubicBezTo>
                  <a:cubicBezTo>
                    <a:pt x="674" y="121"/>
                    <a:pt x="674" y="121"/>
                    <a:pt x="674" y="121"/>
                  </a:cubicBezTo>
                  <a:cubicBezTo>
                    <a:pt x="681" y="121"/>
                    <a:pt x="681" y="121"/>
                    <a:pt x="681" y="121"/>
                  </a:cubicBezTo>
                  <a:cubicBezTo>
                    <a:pt x="682" y="121"/>
                    <a:pt x="682" y="121"/>
                    <a:pt x="683" y="120"/>
                  </a:cubicBezTo>
                  <a:cubicBezTo>
                    <a:pt x="687" y="113"/>
                    <a:pt x="687" y="113"/>
                    <a:pt x="687" y="113"/>
                  </a:cubicBezTo>
                  <a:cubicBezTo>
                    <a:pt x="687" y="112"/>
                    <a:pt x="687" y="112"/>
                    <a:pt x="688" y="112"/>
                  </a:cubicBezTo>
                  <a:cubicBezTo>
                    <a:pt x="690" y="99"/>
                    <a:pt x="690" y="99"/>
                    <a:pt x="690" y="99"/>
                  </a:cubicBezTo>
                  <a:cubicBezTo>
                    <a:pt x="695" y="101"/>
                    <a:pt x="695" y="101"/>
                    <a:pt x="695" y="101"/>
                  </a:cubicBezTo>
                  <a:cubicBezTo>
                    <a:pt x="696" y="101"/>
                    <a:pt x="697" y="101"/>
                    <a:pt x="697" y="100"/>
                  </a:cubicBezTo>
                  <a:cubicBezTo>
                    <a:pt x="698" y="100"/>
                    <a:pt x="698" y="99"/>
                    <a:pt x="698" y="99"/>
                  </a:cubicBezTo>
                  <a:cubicBezTo>
                    <a:pt x="700" y="92"/>
                    <a:pt x="700" y="92"/>
                    <a:pt x="700" y="92"/>
                  </a:cubicBezTo>
                  <a:cubicBezTo>
                    <a:pt x="702" y="89"/>
                    <a:pt x="702" y="89"/>
                    <a:pt x="702" y="89"/>
                  </a:cubicBezTo>
                  <a:cubicBezTo>
                    <a:pt x="707" y="86"/>
                    <a:pt x="707" y="86"/>
                    <a:pt x="707" y="86"/>
                  </a:cubicBezTo>
                  <a:cubicBezTo>
                    <a:pt x="713" y="92"/>
                    <a:pt x="713" y="92"/>
                    <a:pt x="713" y="92"/>
                  </a:cubicBezTo>
                  <a:cubicBezTo>
                    <a:pt x="713" y="93"/>
                    <a:pt x="714" y="93"/>
                    <a:pt x="715" y="93"/>
                  </a:cubicBezTo>
                  <a:cubicBezTo>
                    <a:pt x="720" y="93"/>
                    <a:pt x="720" y="93"/>
                    <a:pt x="720" y="93"/>
                  </a:cubicBezTo>
                  <a:cubicBezTo>
                    <a:pt x="720" y="93"/>
                    <a:pt x="721" y="93"/>
                    <a:pt x="722" y="92"/>
                  </a:cubicBezTo>
                  <a:cubicBezTo>
                    <a:pt x="729" y="84"/>
                    <a:pt x="729" y="84"/>
                    <a:pt x="729" y="84"/>
                  </a:cubicBezTo>
                  <a:cubicBezTo>
                    <a:pt x="729" y="84"/>
                    <a:pt x="729" y="84"/>
                    <a:pt x="729" y="83"/>
                  </a:cubicBezTo>
                  <a:cubicBezTo>
                    <a:pt x="732" y="77"/>
                    <a:pt x="732" y="77"/>
                    <a:pt x="732" y="77"/>
                  </a:cubicBezTo>
                  <a:cubicBezTo>
                    <a:pt x="738" y="72"/>
                    <a:pt x="738" y="72"/>
                    <a:pt x="738" y="72"/>
                  </a:cubicBezTo>
                  <a:cubicBezTo>
                    <a:pt x="751" y="67"/>
                    <a:pt x="751" y="67"/>
                    <a:pt x="751" y="67"/>
                  </a:cubicBezTo>
                  <a:cubicBezTo>
                    <a:pt x="756" y="71"/>
                    <a:pt x="756" y="71"/>
                    <a:pt x="756" y="71"/>
                  </a:cubicBezTo>
                  <a:cubicBezTo>
                    <a:pt x="757" y="72"/>
                    <a:pt x="759" y="71"/>
                    <a:pt x="760" y="70"/>
                  </a:cubicBezTo>
                  <a:cubicBezTo>
                    <a:pt x="767" y="62"/>
                    <a:pt x="767" y="62"/>
                    <a:pt x="767" y="62"/>
                  </a:cubicBezTo>
                  <a:cubicBezTo>
                    <a:pt x="767" y="62"/>
                    <a:pt x="767" y="62"/>
                    <a:pt x="768" y="62"/>
                  </a:cubicBezTo>
                  <a:cubicBezTo>
                    <a:pt x="772" y="46"/>
                    <a:pt x="772" y="46"/>
                    <a:pt x="772" y="46"/>
                  </a:cubicBezTo>
                  <a:cubicBezTo>
                    <a:pt x="778" y="40"/>
                    <a:pt x="778" y="40"/>
                    <a:pt x="778" y="40"/>
                  </a:cubicBezTo>
                  <a:cubicBezTo>
                    <a:pt x="785" y="37"/>
                    <a:pt x="785" y="37"/>
                    <a:pt x="785" y="37"/>
                  </a:cubicBezTo>
                  <a:cubicBezTo>
                    <a:pt x="786" y="37"/>
                    <a:pt x="786" y="36"/>
                    <a:pt x="786" y="35"/>
                  </a:cubicBezTo>
                  <a:cubicBezTo>
                    <a:pt x="789" y="22"/>
                    <a:pt x="789" y="22"/>
                    <a:pt x="789" y="22"/>
                  </a:cubicBezTo>
                  <a:cubicBezTo>
                    <a:pt x="789" y="21"/>
                    <a:pt x="789" y="21"/>
                    <a:pt x="789" y="21"/>
                  </a:cubicBezTo>
                  <a:cubicBezTo>
                    <a:pt x="789" y="14"/>
                    <a:pt x="789" y="14"/>
                    <a:pt x="789" y="14"/>
                  </a:cubicBezTo>
                  <a:cubicBezTo>
                    <a:pt x="792" y="4"/>
                    <a:pt x="792" y="4"/>
                    <a:pt x="792" y="4"/>
                  </a:cubicBezTo>
                  <a:cubicBezTo>
                    <a:pt x="792" y="3"/>
                    <a:pt x="792" y="2"/>
                    <a:pt x="792" y="2"/>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31">
              <a:extLst>
                <a:ext uri="{FF2B5EF4-FFF2-40B4-BE49-F238E27FC236}">
                  <a16:creationId xmlns:a16="http://schemas.microsoft.com/office/drawing/2014/main" id="{5A4A9C03-90D7-4FF0-839E-87711009ACF9}"/>
                </a:ext>
              </a:extLst>
            </p:cNvPr>
            <p:cNvSpPr>
              <a:spLocks/>
            </p:cNvSpPr>
            <p:nvPr/>
          </p:nvSpPr>
          <p:spPr bwMode="auto">
            <a:xfrm>
              <a:off x="7020612" y="4426682"/>
              <a:ext cx="949072" cy="719637"/>
            </a:xfrm>
            <a:custGeom>
              <a:avLst/>
              <a:gdLst>
                <a:gd name="T0" fmla="*/ 847 w 853"/>
                <a:gd name="T1" fmla="*/ 485 h 647"/>
                <a:gd name="T2" fmla="*/ 818 w 853"/>
                <a:gd name="T3" fmla="*/ 394 h 647"/>
                <a:gd name="T4" fmla="*/ 789 w 853"/>
                <a:gd name="T5" fmla="*/ 342 h 647"/>
                <a:gd name="T6" fmla="*/ 719 w 853"/>
                <a:gd name="T7" fmla="*/ 224 h 647"/>
                <a:gd name="T8" fmla="*/ 758 w 853"/>
                <a:gd name="T9" fmla="*/ 268 h 647"/>
                <a:gd name="T10" fmla="*/ 786 w 853"/>
                <a:gd name="T11" fmla="*/ 302 h 647"/>
                <a:gd name="T12" fmla="*/ 774 w 853"/>
                <a:gd name="T13" fmla="*/ 260 h 647"/>
                <a:gd name="T14" fmla="*/ 749 w 853"/>
                <a:gd name="T15" fmla="*/ 222 h 647"/>
                <a:gd name="T16" fmla="*/ 634 w 853"/>
                <a:gd name="T17" fmla="*/ 44 h 647"/>
                <a:gd name="T18" fmla="*/ 614 w 853"/>
                <a:gd name="T19" fmla="*/ 7 h 647"/>
                <a:gd name="T20" fmla="*/ 560 w 853"/>
                <a:gd name="T21" fmla="*/ 8 h 647"/>
                <a:gd name="T22" fmla="*/ 564 w 853"/>
                <a:gd name="T23" fmla="*/ 53 h 647"/>
                <a:gd name="T24" fmla="*/ 538 w 853"/>
                <a:gd name="T25" fmla="*/ 36 h 647"/>
                <a:gd name="T26" fmla="*/ 106 w 853"/>
                <a:gd name="T27" fmla="*/ 42 h 647"/>
                <a:gd name="T28" fmla="*/ 24 w 853"/>
                <a:gd name="T29" fmla="*/ 96 h 647"/>
                <a:gd name="T30" fmla="*/ 30 w 853"/>
                <a:gd name="T31" fmla="*/ 125 h 647"/>
                <a:gd name="T32" fmla="*/ 57 w 853"/>
                <a:gd name="T33" fmla="*/ 112 h 647"/>
                <a:gd name="T34" fmla="*/ 81 w 853"/>
                <a:gd name="T35" fmla="*/ 109 h 647"/>
                <a:gd name="T36" fmla="*/ 90 w 853"/>
                <a:gd name="T37" fmla="*/ 127 h 647"/>
                <a:gd name="T38" fmla="*/ 129 w 853"/>
                <a:gd name="T39" fmla="*/ 103 h 647"/>
                <a:gd name="T40" fmla="*/ 159 w 853"/>
                <a:gd name="T41" fmla="*/ 109 h 647"/>
                <a:gd name="T42" fmla="*/ 133 w 853"/>
                <a:gd name="T43" fmla="*/ 114 h 647"/>
                <a:gd name="T44" fmla="*/ 195 w 853"/>
                <a:gd name="T45" fmla="*/ 125 h 647"/>
                <a:gd name="T46" fmla="*/ 204 w 853"/>
                <a:gd name="T47" fmla="*/ 123 h 647"/>
                <a:gd name="T48" fmla="*/ 214 w 853"/>
                <a:gd name="T49" fmla="*/ 127 h 647"/>
                <a:gd name="T50" fmla="*/ 206 w 853"/>
                <a:gd name="T51" fmla="*/ 133 h 647"/>
                <a:gd name="T52" fmla="*/ 247 w 853"/>
                <a:gd name="T53" fmla="*/ 171 h 647"/>
                <a:gd name="T54" fmla="*/ 225 w 853"/>
                <a:gd name="T55" fmla="*/ 178 h 647"/>
                <a:gd name="T56" fmla="*/ 261 w 853"/>
                <a:gd name="T57" fmla="*/ 188 h 647"/>
                <a:gd name="T58" fmla="*/ 286 w 853"/>
                <a:gd name="T59" fmla="*/ 172 h 647"/>
                <a:gd name="T60" fmla="*/ 332 w 853"/>
                <a:gd name="T61" fmla="*/ 149 h 647"/>
                <a:gd name="T62" fmla="*/ 344 w 853"/>
                <a:gd name="T63" fmla="*/ 129 h 647"/>
                <a:gd name="T64" fmla="*/ 383 w 853"/>
                <a:gd name="T65" fmla="*/ 125 h 647"/>
                <a:gd name="T66" fmla="*/ 433 w 853"/>
                <a:gd name="T67" fmla="*/ 158 h 647"/>
                <a:gd name="T68" fmla="*/ 469 w 853"/>
                <a:gd name="T69" fmla="*/ 194 h 647"/>
                <a:gd name="T70" fmla="*/ 500 w 853"/>
                <a:gd name="T71" fmla="*/ 212 h 647"/>
                <a:gd name="T72" fmla="*/ 531 w 853"/>
                <a:gd name="T73" fmla="*/ 239 h 647"/>
                <a:gd name="T74" fmla="*/ 536 w 853"/>
                <a:gd name="T75" fmla="*/ 275 h 647"/>
                <a:gd name="T76" fmla="*/ 518 w 853"/>
                <a:gd name="T77" fmla="*/ 359 h 647"/>
                <a:gd name="T78" fmla="*/ 546 w 853"/>
                <a:gd name="T79" fmla="*/ 374 h 647"/>
                <a:gd name="T80" fmla="*/ 544 w 853"/>
                <a:gd name="T81" fmla="*/ 344 h 647"/>
                <a:gd name="T82" fmla="*/ 568 w 853"/>
                <a:gd name="T83" fmla="*/ 348 h 647"/>
                <a:gd name="T84" fmla="*/ 553 w 853"/>
                <a:gd name="T85" fmla="*/ 394 h 647"/>
                <a:gd name="T86" fmla="*/ 566 w 853"/>
                <a:gd name="T87" fmla="*/ 421 h 647"/>
                <a:gd name="T88" fmla="*/ 591 w 853"/>
                <a:gd name="T89" fmla="*/ 463 h 647"/>
                <a:gd name="T90" fmla="*/ 614 w 853"/>
                <a:gd name="T91" fmla="*/ 476 h 647"/>
                <a:gd name="T92" fmla="*/ 626 w 853"/>
                <a:gd name="T93" fmla="*/ 455 h 647"/>
                <a:gd name="T94" fmla="*/ 626 w 853"/>
                <a:gd name="T95" fmla="*/ 477 h 647"/>
                <a:gd name="T96" fmla="*/ 648 w 853"/>
                <a:gd name="T97" fmla="*/ 489 h 647"/>
                <a:gd name="T98" fmla="*/ 657 w 853"/>
                <a:gd name="T99" fmla="*/ 515 h 647"/>
                <a:gd name="T100" fmla="*/ 694 w 853"/>
                <a:gd name="T101" fmla="*/ 564 h 647"/>
                <a:gd name="T102" fmla="*/ 720 w 853"/>
                <a:gd name="T103" fmla="*/ 578 h 647"/>
                <a:gd name="T104" fmla="*/ 766 w 853"/>
                <a:gd name="T105" fmla="*/ 616 h 647"/>
                <a:gd name="T106" fmla="*/ 748 w 853"/>
                <a:gd name="T107" fmla="*/ 634 h 647"/>
                <a:gd name="T108" fmla="*/ 786 w 853"/>
                <a:gd name="T109" fmla="*/ 636 h 647"/>
                <a:gd name="T110" fmla="*/ 824 w 853"/>
                <a:gd name="T111" fmla="*/ 623 h 647"/>
                <a:gd name="T112" fmla="*/ 838 w 853"/>
                <a:gd name="T113" fmla="*/ 584 h 647"/>
                <a:gd name="T114" fmla="*/ 843 w 853"/>
                <a:gd name="T115" fmla="*/ 56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53" h="647">
                  <a:moveTo>
                    <a:pt x="852" y="541"/>
                  </a:moveTo>
                  <a:cubicBezTo>
                    <a:pt x="852" y="540"/>
                    <a:pt x="852" y="540"/>
                    <a:pt x="852" y="540"/>
                  </a:cubicBezTo>
                  <a:cubicBezTo>
                    <a:pt x="852" y="538"/>
                    <a:pt x="851" y="536"/>
                    <a:pt x="850" y="534"/>
                  </a:cubicBezTo>
                  <a:cubicBezTo>
                    <a:pt x="850" y="533"/>
                    <a:pt x="850" y="531"/>
                    <a:pt x="850" y="530"/>
                  </a:cubicBezTo>
                  <a:cubicBezTo>
                    <a:pt x="849" y="527"/>
                    <a:pt x="848" y="520"/>
                    <a:pt x="848" y="516"/>
                  </a:cubicBezTo>
                  <a:cubicBezTo>
                    <a:pt x="848" y="510"/>
                    <a:pt x="848" y="493"/>
                    <a:pt x="848" y="493"/>
                  </a:cubicBezTo>
                  <a:cubicBezTo>
                    <a:pt x="847" y="485"/>
                    <a:pt x="847" y="485"/>
                    <a:pt x="847" y="485"/>
                  </a:cubicBezTo>
                  <a:cubicBezTo>
                    <a:pt x="847" y="484"/>
                    <a:pt x="847" y="459"/>
                    <a:pt x="845" y="450"/>
                  </a:cubicBezTo>
                  <a:cubicBezTo>
                    <a:pt x="843" y="435"/>
                    <a:pt x="840" y="426"/>
                    <a:pt x="836" y="421"/>
                  </a:cubicBezTo>
                  <a:cubicBezTo>
                    <a:pt x="835" y="420"/>
                    <a:pt x="834" y="420"/>
                    <a:pt x="833" y="419"/>
                  </a:cubicBezTo>
                  <a:cubicBezTo>
                    <a:pt x="833" y="419"/>
                    <a:pt x="833" y="419"/>
                    <a:pt x="833" y="419"/>
                  </a:cubicBezTo>
                  <a:cubicBezTo>
                    <a:pt x="832" y="419"/>
                    <a:pt x="832" y="416"/>
                    <a:pt x="832" y="415"/>
                  </a:cubicBezTo>
                  <a:cubicBezTo>
                    <a:pt x="832" y="413"/>
                    <a:pt x="832" y="411"/>
                    <a:pt x="831" y="410"/>
                  </a:cubicBezTo>
                  <a:cubicBezTo>
                    <a:pt x="829" y="405"/>
                    <a:pt x="822" y="397"/>
                    <a:pt x="818" y="394"/>
                  </a:cubicBezTo>
                  <a:cubicBezTo>
                    <a:pt x="817" y="393"/>
                    <a:pt x="815" y="392"/>
                    <a:pt x="813" y="391"/>
                  </a:cubicBezTo>
                  <a:cubicBezTo>
                    <a:pt x="813" y="391"/>
                    <a:pt x="812" y="391"/>
                    <a:pt x="811" y="390"/>
                  </a:cubicBezTo>
                  <a:cubicBezTo>
                    <a:pt x="811" y="390"/>
                    <a:pt x="811" y="389"/>
                    <a:pt x="811" y="388"/>
                  </a:cubicBezTo>
                  <a:cubicBezTo>
                    <a:pt x="812" y="386"/>
                    <a:pt x="812" y="384"/>
                    <a:pt x="811" y="383"/>
                  </a:cubicBezTo>
                  <a:cubicBezTo>
                    <a:pt x="810" y="380"/>
                    <a:pt x="808" y="376"/>
                    <a:pt x="805" y="373"/>
                  </a:cubicBezTo>
                  <a:cubicBezTo>
                    <a:pt x="804" y="371"/>
                    <a:pt x="802" y="369"/>
                    <a:pt x="802" y="368"/>
                  </a:cubicBezTo>
                  <a:cubicBezTo>
                    <a:pt x="798" y="362"/>
                    <a:pt x="790" y="342"/>
                    <a:pt x="789" y="342"/>
                  </a:cubicBezTo>
                  <a:cubicBezTo>
                    <a:pt x="789" y="342"/>
                    <a:pt x="767" y="311"/>
                    <a:pt x="760" y="301"/>
                  </a:cubicBezTo>
                  <a:cubicBezTo>
                    <a:pt x="756" y="293"/>
                    <a:pt x="747" y="280"/>
                    <a:pt x="741" y="270"/>
                  </a:cubicBezTo>
                  <a:cubicBezTo>
                    <a:pt x="737" y="263"/>
                    <a:pt x="737" y="263"/>
                    <a:pt x="737" y="263"/>
                  </a:cubicBezTo>
                  <a:cubicBezTo>
                    <a:pt x="736" y="261"/>
                    <a:pt x="735" y="259"/>
                    <a:pt x="734" y="258"/>
                  </a:cubicBezTo>
                  <a:cubicBezTo>
                    <a:pt x="731" y="253"/>
                    <a:pt x="727" y="242"/>
                    <a:pt x="725" y="236"/>
                  </a:cubicBezTo>
                  <a:cubicBezTo>
                    <a:pt x="724" y="235"/>
                    <a:pt x="723" y="233"/>
                    <a:pt x="723" y="231"/>
                  </a:cubicBezTo>
                  <a:cubicBezTo>
                    <a:pt x="722" y="230"/>
                    <a:pt x="720" y="226"/>
                    <a:pt x="719" y="224"/>
                  </a:cubicBezTo>
                  <a:cubicBezTo>
                    <a:pt x="719" y="224"/>
                    <a:pt x="719" y="224"/>
                    <a:pt x="719" y="224"/>
                  </a:cubicBezTo>
                  <a:cubicBezTo>
                    <a:pt x="722" y="225"/>
                    <a:pt x="725" y="226"/>
                    <a:pt x="725" y="226"/>
                  </a:cubicBezTo>
                  <a:cubicBezTo>
                    <a:pt x="726" y="231"/>
                    <a:pt x="734" y="239"/>
                    <a:pt x="738" y="242"/>
                  </a:cubicBezTo>
                  <a:cubicBezTo>
                    <a:pt x="740" y="242"/>
                    <a:pt x="743" y="244"/>
                    <a:pt x="743" y="246"/>
                  </a:cubicBezTo>
                  <a:cubicBezTo>
                    <a:pt x="744" y="246"/>
                    <a:pt x="744" y="249"/>
                    <a:pt x="744" y="252"/>
                  </a:cubicBezTo>
                  <a:cubicBezTo>
                    <a:pt x="745" y="255"/>
                    <a:pt x="748" y="258"/>
                    <a:pt x="752" y="262"/>
                  </a:cubicBezTo>
                  <a:cubicBezTo>
                    <a:pt x="754" y="264"/>
                    <a:pt x="758" y="267"/>
                    <a:pt x="758" y="268"/>
                  </a:cubicBezTo>
                  <a:cubicBezTo>
                    <a:pt x="759" y="274"/>
                    <a:pt x="763" y="285"/>
                    <a:pt x="765" y="289"/>
                  </a:cubicBezTo>
                  <a:cubicBezTo>
                    <a:pt x="768" y="295"/>
                    <a:pt x="776" y="307"/>
                    <a:pt x="781" y="313"/>
                  </a:cubicBezTo>
                  <a:cubicBezTo>
                    <a:pt x="781" y="314"/>
                    <a:pt x="782" y="314"/>
                    <a:pt x="782" y="315"/>
                  </a:cubicBezTo>
                  <a:cubicBezTo>
                    <a:pt x="785" y="319"/>
                    <a:pt x="787" y="322"/>
                    <a:pt x="790" y="322"/>
                  </a:cubicBezTo>
                  <a:cubicBezTo>
                    <a:pt x="791" y="322"/>
                    <a:pt x="792" y="322"/>
                    <a:pt x="792" y="322"/>
                  </a:cubicBezTo>
                  <a:cubicBezTo>
                    <a:pt x="793" y="321"/>
                    <a:pt x="794" y="319"/>
                    <a:pt x="794" y="318"/>
                  </a:cubicBezTo>
                  <a:cubicBezTo>
                    <a:pt x="795" y="314"/>
                    <a:pt x="791" y="308"/>
                    <a:pt x="786" y="302"/>
                  </a:cubicBezTo>
                  <a:cubicBezTo>
                    <a:pt x="785" y="300"/>
                    <a:pt x="783" y="297"/>
                    <a:pt x="782" y="296"/>
                  </a:cubicBezTo>
                  <a:cubicBezTo>
                    <a:pt x="782" y="295"/>
                    <a:pt x="781" y="295"/>
                    <a:pt x="781" y="294"/>
                  </a:cubicBezTo>
                  <a:cubicBezTo>
                    <a:pt x="780" y="292"/>
                    <a:pt x="779" y="290"/>
                    <a:pt x="779" y="289"/>
                  </a:cubicBezTo>
                  <a:cubicBezTo>
                    <a:pt x="777" y="286"/>
                    <a:pt x="775" y="279"/>
                    <a:pt x="774" y="276"/>
                  </a:cubicBezTo>
                  <a:cubicBezTo>
                    <a:pt x="774" y="273"/>
                    <a:pt x="774" y="273"/>
                    <a:pt x="774" y="273"/>
                  </a:cubicBezTo>
                  <a:cubicBezTo>
                    <a:pt x="773" y="270"/>
                    <a:pt x="772" y="264"/>
                    <a:pt x="772" y="262"/>
                  </a:cubicBezTo>
                  <a:cubicBezTo>
                    <a:pt x="772" y="261"/>
                    <a:pt x="774" y="260"/>
                    <a:pt x="774" y="260"/>
                  </a:cubicBezTo>
                  <a:cubicBezTo>
                    <a:pt x="776" y="258"/>
                    <a:pt x="778" y="256"/>
                    <a:pt x="778" y="254"/>
                  </a:cubicBezTo>
                  <a:cubicBezTo>
                    <a:pt x="778" y="251"/>
                    <a:pt x="775" y="248"/>
                    <a:pt x="772" y="246"/>
                  </a:cubicBezTo>
                  <a:cubicBezTo>
                    <a:pt x="771" y="246"/>
                    <a:pt x="769" y="245"/>
                    <a:pt x="769" y="244"/>
                  </a:cubicBezTo>
                  <a:cubicBezTo>
                    <a:pt x="768" y="243"/>
                    <a:pt x="767" y="242"/>
                    <a:pt x="766" y="241"/>
                  </a:cubicBezTo>
                  <a:cubicBezTo>
                    <a:pt x="765" y="239"/>
                    <a:pt x="765" y="238"/>
                    <a:pt x="764" y="237"/>
                  </a:cubicBezTo>
                  <a:cubicBezTo>
                    <a:pt x="762" y="235"/>
                    <a:pt x="759" y="232"/>
                    <a:pt x="756" y="229"/>
                  </a:cubicBezTo>
                  <a:cubicBezTo>
                    <a:pt x="753" y="226"/>
                    <a:pt x="751" y="224"/>
                    <a:pt x="749" y="222"/>
                  </a:cubicBezTo>
                  <a:cubicBezTo>
                    <a:pt x="738" y="209"/>
                    <a:pt x="708" y="170"/>
                    <a:pt x="707" y="169"/>
                  </a:cubicBezTo>
                  <a:cubicBezTo>
                    <a:pt x="669" y="130"/>
                    <a:pt x="669" y="130"/>
                    <a:pt x="669" y="130"/>
                  </a:cubicBezTo>
                  <a:cubicBezTo>
                    <a:pt x="658" y="108"/>
                    <a:pt x="658" y="108"/>
                    <a:pt x="658" y="108"/>
                  </a:cubicBezTo>
                  <a:cubicBezTo>
                    <a:pt x="646" y="81"/>
                    <a:pt x="646" y="81"/>
                    <a:pt x="646" y="81"/>
                  </a:cubicBezTo>
                  <a:cubicBezTo>
                    <a:pt x="644" y="72"/>
                    <a:pt x="644" y="72"/>
                    <a:pt x="644" y="72"/>
                  </a:cubicBezTo>
                  <a:cubicBezTo>
                    <a:pt x="636" y="58"/>
                    <a:pt x="636" y="58"/>
                    <a:pt x="636" y="58"/>
                  </a:cubicBezTo>
                  <a:cubicBezTo>
                    <a:pt x="634" y="44"/>
                    <a:pt x="634" y="44"/>
                    <a:pt x="634" y="44"/>
                  </a:cubicBezTo>
                  <a:cubicBezTo>
                    <a:pt x="634" y="44"/>
                    <a:pt x="634" y="44"/>
                    <a:pt x="634" y="44"/>
                  </a:cubicBezTo>
                  <a:cubicBezTo>
                    <a:pt x="630" y="36"/>
                    <a:pt x="630" y="36"/>
                    <a:pt x="630" y="36"/>
                  </a:cubicBezTo>
                  <a:cubicBezTo>
                    <a:pt x="630" y="36"/>
                    <a:pt x="630" y="36"/>
                    <a:pt x="630" y="36"/>
                  </a:cubicBezTo>
                  <a:cubicBezTo>
                    <a:pt x="625" y="31"/>
                    <a:pt x="623" y="29"/>
                    <a:pt x="623" y="27"/>
                  </a:cubicBezTo>
                  <a:cubicBezTo>
                    <a:pt x="623" y="26"/>
                    <a:pt x="624" y="24"/>
                    <a:pt x="624" y="22"/>
                  </a:cubicBezTo>
                  <a:cubicBezTo>
                    <a:pt x="625" y="18"/>
                    <a:pt x="626" y="14"/>
                    <a:pt x="624" y="11"/>
                  </a:cubicBezTo>
                  <a:cubicBezTo>
                    <a:pt x="623" y="8"/>
                    <a:pt x="618" y="7"/>
                    <a:pt x="614" y="7"/>
                  </a:cubicBezTo>
                  <a:cubicBezTo>
                    <a:pt x="613" y="7"/>
                    <a:pt x="613" y="7"/>
                    <a:pt x="613" y="7"/>
                  </a:cubicBezTo>
                  <a:cubicBezTo>
                    <a:pt x="606" y="8"/>
                    <a:pt x="606" y="8"/>
                    <a:pt x="606" y="8"/>
                  </a:cubicBezTo>
                  <a:cubicBezTo>
                    <a:pt x="600" y="8"/>
                    <a:pt x="600" y="8"/>
                    <a:pt x="600" y="8"/>
                  </a:cubicBezTo>
                  <a:cubicBezTo>
                    <a:pt x="580" y="3"/>
                    <a:pt x="580" y="3"/>
                    <a:pt x="580" y="3"/>
                  </a:cubicBezTo>
                  <a:cubicBezTo>
                    <a:pt x="572" y="1"/>
                    <a:pt x="572" y="1"/>
                    <a:pt x="572" y="1"/>
                  </a:cubicBezTo>
                  <a:cubicBezTo>
                    <a:pt x="572" y="0"/>
                    <a:pt x="572" y="0"/>
                    <a:pt x="572" y="0"/>
                  </a:cubicBezTo>
                  <a:cubicBezTo>
                    <a:pt x="563" y="1"/>
                    <a:pt x="560" y="7"/>
                    <a:pt x="560" y="8"/>
                  </a:cubicBezTo>
                  <a:cubicBezTo>
                    <a:pt x="558" y="16"/>
                    <a:pt x="558" y="16"/>
                    <a:pt x="558" y="16"/>
                  </a:cubicBezTo>
                  <a:cubicBezTo>
                    <a:pt x="558" y="16"/>
                    <a:pt x="558" y="17"/>
                    <a:pt x="558" y="17"/>
                  </a:cubicBezTo>
                  <a:cubicBezTo>
                    <a:pt x="558" y="24"/>
                    <a:pt x="558" y="24"/>
                    <a:pt x="558" y="24"/>
                  </a:cubicBezTo>
                  <a:cubicBezTo>
                    <a:pt x="558" y="24"/>
                    <a:pt x="558" y="25"/>
                    <a:pt x="559" y="25"/>
                  </a:cubicBezTo>
                  <a:cubicBezTo>
                    <a:pt x="563" y="32"/>
                    <a:pt x="563" y="32"/>
                    <a:pt x="563" y="32"/>
                  </a:cubicBezTo>
                  <a:cubicBezTo>
                    <a:pt x="564" y="38"/>
                    <a:pt x="564" y="38"/>
                    <a:pt x="564" y="38"/>
                  </a:cubicBezTo>
                  <a:cubicBezTo>
                    <a:pt x="564" y="43"/>
                    <a:pt x="565" y="51"/>
                    <a:pt x="564" y="53"/>
                  </a:cubicBezTo>
                  <a:cubicBezTo>
                    <a:pt x="563" y="54"/>
                    <a:pt x="560" y="56"/>
                    <a:pt x="558" y="57"/>
                  </a:cubicBezTo>
                  <a:cubicBezTo>
                    <a:pt x="558" y="57"/>
                    <a:pt x="557" y="57"/>
                    <a:pt x="556" y="57"/>
                  </a:cubicBezTo>
                  <a:cubicBezTo>
                    <a:pt x="554" y="57"/>
                    <a:pt x="553" y="57"/>
                    <a:pt x="553" y="57"/>
                  </a:cubicBezTo>
                  <a:cubicBezTo>
                    <a:pt x="552" y="55"/>
                    <a:pt x="549" y="48"/>
                    <a:pt x="548" y="43"/>
                  </a:cubicBezTo>
                  <a:cubicBezTo>
                    <a:pt x="548" y="42"/>
                    <a:pt x="548" y="42"/>
                    <a:pt x="547" y="41"/>
                  </a:cubicBezTo>
                  <a:cubicBezTo>
                    <a:pt x="539" y="36"/>
                    <a:pt x="539" y="36"/>
                    <a:pt x="539" y="36"/>
                  </a:cubicBezTo>
                  <a:cubicBezTo>
                    <a:pt x="539" y="36"/>
                    <a:pt x="538" y="36"/>
                    <a:pt x="538" y="36"/>
                  </a:cubicBezTo>
                  <a:cubicBezTo>
                    <a:pt x="281" y="54"/>
                    <a:pt x="281" y="54"/>
                    <a:pt x="281" y="54"/>
                  </a:cubicBezTo>
                  <a:cubicBezTo>
                    <a:pt x="277" y="49"/>
                    <a:pt x="277" y="49"/>
                    <a:pt x="277" y="49"/>
                  </a:cubicBezTo>
                  <a:cubicBezTo>
                    <a:pt x="275" y="42"/>
                    <a:pt x="275" y="42"/>
                    <a:pt x="275" y="42"/>
                  </a:cubicBezTo>
                  <a:cubicBezTo>
                    <a:pt x="275" y="42"/>
                    <a:pt x="275" y="41"/>
                    <a:pt x="275" y="41"/>
                  </a:cubicBezTo>
                  <a:cubicBezTo>
                    <a:pt x="264" y="25"/>
                    <a:pt x="264" y="25"/>
                    <a:pt x="264" y="25"/>
                  </a:cubicBezTo>
                  <a:cubicBezTo>
                    <a:pt x="264" y="24"/>
                    <a:pt x="263" y="23"/>
                    <a:pt x="262" y="23"/>
                  </a:cubicBezTo>
                  <a:cubicBezTo>
                    <a:pt x="106" y="42"/>
                    <a:pt x="106" y="42"/>
                    <a:pt x="106" y="42"/>
                  </a:cubicBezTo>
                  <a:cubicBezTo>
                    <a:pt x="103" y="42"/>
                    <a:pt x="34" y="44"/>
                    <a:pt x="12" y="52"/>
                  </a:cubicBezTo>
                  <a:cubicBezTo>
                    <a:pt x="9" y="53"/>
                    <a:pt x="5" y="56"/>
                    <a:pt x="3" y="58"/>
                  </a:cubicBezTo>
                  <a:cubicBezTo>
                    <a:pt x="2" y="61"/>
                    <a:pt x="0" y="66"/>
                    <a:pt x="1" y="70"/>
                  </a:cubicBezTo>
                  <a:cubicBezTo>
                    <a:pt x="2" y="75"/>
                    <a:pt x="10" y="84"/>
                    <a:pt x="13" y="86"/>
                  </a:cubicBezTo>
                  <a:cubicBezTo>
                    <a:pt x="14" y="87"/>
                    <a:pt x="16" y="88"/>
                    <a:pt x="18" y="89"/>
                  </a:cubicBezTo>
                  <a:cubicBezTo>
                    <a:pt x="19" y="89"/>
                    <a:pt x="20" y="90"/>
                    <a:pt x="21" y="90"/>
                  </a:cubicBezTo>
                  <a:cubicBezTo>
                    <a:pt x="22" y="91"/>
                    <a:pt x="23" y="93"/>
                    <a:pt x="24" y="96"/>
                  </a:cubicBezTo>
                  <a:cubicBezTo>
                    <a:pt x="24" y="97"/>
                    <a:pt x="22" y="101"/>
                    <a:pt x="21" y="105"/>
                  </a:cubicBezTo>
                  <a:cubicBezTo>
                    <a:pt x="20" y="105"/>
                    <a:pt x="20" y="107"/>
                    <a:pt x="20" y="108"/>
                  </a:cubicBezTo>
                  <a:cubicBezTo>
                    <a:pt x="21" y="111"/>
                    <a:pt x="23" y="113"/>
                    <a:pt x="27" y="115"/>
                  </a:cubicBezTo>
                  <a:cubicBezTo>
                    <a:pt x="28" y="116"/>
                    <a:pt x="29" y="116"/>
                    <a:pt x="31" y="117"/>
                  </a:cubicBezTo>
                  <a:cubicBezTo>
                    <a:pt x="32" y="117"/>
                    <a:pt x="33" y="117"/>
                    <a:pt x="34" y="118"/>
                  </a:cubicBezTo>
                  <a:cubicBezTo>
                    <a:pt x="34" y="118"/>
                    <a:pt x="34" y="119"/>
                    <a:pt x="34" y="119"/>
                  </a:cubicBezTo>
                  <a:cubicBezTo>
                    <a:pt x="34" y="120"/>
                    <a:pt x="31" y="124"/>
                    <a:pt x="30" y="125"/>
                  </a:cubicBezTo>
                  <a:cubicBezTo>
                    <a:pt x="27" y="130"/>
                    <a:pt x="25" y="133"/>
                    <a:pt x="26" y="135"/>
                  </a:cubicBezTo>
                  <a:cubicBezTo>
                    <a:pt x="28" y="138"/>
                    <a:pt x="32" y="137"/>
                    <a:pt x="33" y="137"/>
                  </a:cubicBezTo>
                  <a:cubicBezTo>
                    <a:pt x="36" y="137"/>
                    <a:pt x="38" y="135"/>
                    <a:pt x="39" y="134"/>
                  </a:cubicBezTo>
                  <a:cubicBezTo>
                    <a:pt x="41" y="133"/>
                    <a:pt x="45" y="131"/>
                    <a:pt x="47" y="129"/>
                  </a:cubicBezTo>
                  <a:cubicBezTo>
                    <a:pt x="49" y="127"/>
                    <a:pt x="52" y="123"/>
                    <a:pt x="54" y="119"/>
                  </a:cubicBezTo>
                  <a:cubicBezTo>
                    <a:pt x="54" y="118"/>
                    <a:pt x="54" y="118"/>
                    <a:pt x="54" y="118"/>
                  </a:cubicBezTo>
                  <a:cubicBezTo>
                    <a:pt x="54" y="116"/>
                    <a:pt x="55" y="112"/>
                    <a:pt x="57" y="112"/>
                  </a:cubicBezTo>
                  <a:cubicBezTo>
                    <a:pt x="57" y="112"/>
                    <a:pt x="58" y="112"/>
                    <a:pt x="58" y="112"/>
                  </a:cubicBezTo>
                  <a:cubicBezTo>
                    <a:pt x="58" y="112"/>
                    <a:pt x="63" y="112"/>
                    <a:pt x="67" y="106"/>
                  </a:cubicBezTo>
                  <a:cubicBezTo>
                    <a:pt x="68" y="105"/>
                    <a:pt x="69" y="103"/>
                    <a:pt x="69" y="101"/>
                  </a:cubicBezTo>
                  <a:cubicBezTo>
                    <a:pt x="69" y="100"/>
                    <a:pt x="69" y="100"/>
                    <a:pt x="69" y="99"/>
                  </a:cubicBezTo>
                  <a:cubicBezTo>
                    <a:pt x="71" y="100"/>
                    <a:pt x="73" y="102"/>
                    <a:pt x="73" y="103"/>
                  </a:cubicBezTo>
                  <a:cubicBezTo>
                    <a:pt x="74" y="105"/>
                    <a:pt x="76" y="106"/>
                    <a:pt x="78" y="107"/>
                  </a:cubicBezTo>
                  <a:cubicBezTo>
                    <a:pt x="79" y="108"/>
                    <a:pt x="81" y="109"/>
                    <a:pt x="81" y="109"/>
                  </a:cubicBezTo>
                  <a:cubicBezTo>
                    <a:pt x="81" y="111"/>
                    <a:pt x="78" y="114"/>
                    <a:pt x="76" y="115"/>
                  </a:cubicBezTo>
                  <a:cubicBezTo>
                    <a:pt x="76" y="116"/>
                    <a:pt x="73" y="116"/>
                    <a:pt x="71" y="117"/>
                  </a:cubicBezTo>
                  <a:cubicBezTo>
                    <a:pt x="69" y="117"/>
                    <a:pt x="67" y="117"/>
                    <a:pt x="65" y="118"/>
                  </a:cubicBezTo>
                  <a:cubicBezTo>
                    <a:pt x="64" y="119"/>
                    <a:pt x="61" y="120"/>
                    <a:pt x="62" y="122"/>
                  </a:cubicBezTo>
                  <a:cubicBezTo>
                    <a:pt x="62" y="125"/>
                    <a:pt x="68" y="133"/>
                    <a:pt x="72" y="133"/>
                  </a:cubicBezTo>
                  <a:cubicBezTo>
                    <a:pt x="76" y="133"/>
                    <a:pt x="79" y="131"/>
                    <a:pt x="83" y="129"/>
                  </a:cubicBezTo>
                  <a:cubicBezTo>
                    <a:pt x="85" y="128"/>
                    <a:pt x="87" y="127"/>
                    <a:pt x="90" y="127"/>
                  </a:cubicBezTo>
                  <a:cubicBezTo>
                    <a:pt x="95" y="126"/>
                    <a:pt x="109" y="121"/>
                    <a:pt x="109" y="121"/>
                  </a:cubicBezTo>
                  <a:cubicBezTo>
                    <a:pt x="110" y="120"/>
                    <a:pt x="110" y="120"/>
                    <a:pt x="110" y="120"/>
                  </a:cubicBezTo>
                  <a:cubicBezTo>
                    <a:pt x="110" y="120"/>
                    <a:pt x="113" y="118"/>
                    <a:pt x="113" y="118"/>
                  </a:cubicBezTo>
                  <a:cubicBezTo>
                    <a:pt x="116" y="116"/>
                    <a:pt x="118" y="112"/>
                    <a:pt x="121" y="106"/>
                  </a:cubicBezTo>
                  <a:cubicBezTo>
                    <a:pt x="122" y="103"/>
                    <a:pt x="124" y="99"/>
                    <a:pt x="126" y="97"/>
                  </a:cubicBezTo>
                  <a:cubicBezTo>
                    <a:pt x="126" y="97"/>
                    <a:pt x="126" y="97"/>
                    <a:pt x="126" y="97"/>
                  </a:cubicBezTo>
                  <a:cubicBezTo>
                    <a:pt x="126" y="99"/>
                    <a:pt x="126" y="102"/>
                    <a:pt x="129" y="103"/>
                  </a:cubicBezTo>
                  <a:cubicBezTo>
                    <a:pt x="129" y="103"/>
                    <a:pt x="130" y="103"/>
                    <a:pt x="130" y="103"/>
                  </a:cubicBezTo>
                  <a:cubicBezTo>
                    <a:pt x="132" y="103"/>
                    <a:pt x="134" y="102"/>
                    <a:pt x="136" y="100"/>
                  </a:cubicBezTo>
                  <a:cubicBezTo>
                    <a:pt x="136" y="100"/>
                    <a:pt x="137" y="99"/>
                    <a:pt x="138" y="99"/>
                  </a:cubicBezTo>
                  <a:cubicBezTo>
                    <a:pt x="140" y="98"/>
                    <a:pt x="143" y="97"/>
                    <a:pt x="144" y="97"/>
                  </a:cubicBezTo>
                  <a:cubicBezTo>
                    <a:pt x="144" y="97"/>
                    <a:pt x="144" y="97"/>
                    <a:pt x="144" y="97"/>
                  </a:cubicBezTo>
                  <a:cubicBezTo>
                    <a:pt x="147" y="97"/>
                    <a:pt x="154" y="100"/>
                    <a:pt x="156" y="102"/>
                  </a:cubicBezTo>
                  <a:cubicBezTo>
                    <a:pt x="157" y="103"/>
                    <a:pt x="158" y="107"/>
                    <a:pt x="159" y="109"/>
                  </a:cubicBezTo>
                  <a:cubicBezTo>
                    <a:pt x="158" y="109"/>
                    <a:pt x="158" y="109"/>
                    <a:pt x="157" y="109"/>
                  </a:cubicBezTo>
                  <a:cubicBezTo>
                    <a:pt x="157" y="108"/>
                    <a:pt x="156" y="108"/>
                    <a:pt x="156" y="108"/>
                  </a:cubicBezTo>
                  <a:cubicBezTo>
                    <a:pt x="155" y="108"/>
                    <a:pt x="154" y="107"/>
                    <a:pt x="153" y="107"/>
                  </a:cubicBezTo>
                  <a:cubicBezTo>
                    <a:pt x="151" y="106"/>
                    <a:pt x="149" y="104"/>
                    <a:pt x="147" y="104"/>
                  </a:cubicBezTo>
                  <a:cubicBezTo>
                    <a:pt x="147" y="104"/>
                    <a:pt x="146" y="104"/>
                    <a:pt x="146" y="104"/>
                  </a:cubicBezTo>
                  <a:cubicBezTo>
                    <a:pt x="145" y="104"/>
                    <a:pt x="140" y="104"/>
                    <a:pt x="138" y="106"/>
                  </a:cubicBezTo>
                  <a:cubicBezTo>
                    <a:pt x="137" y="107"/>
                    <a:pt x="133" y="110"/>
                    <a:pt x="133" y="114"/>
                  </a:cubicBezTo>
                  <a:cubicBezTo>
                    <a:pt x="133" y="115"/>
                    <a:pt x="134" y="117"/>
                    <a:pt x="136" y="119"/>
                  </a:cubicBezTo>
                  <a:cubicBezTo>
                    <a:pt x="140" y="122"/>
                    <a:pt x="149" y="123"/>
                    <a:pt x="157" y="124"/>
                  </a:cubicBezTo>
                  <a:cubicBezTo>
                    <a:pt x="161" y="125"/>
                    <a:pt x="165" y="125"/>
                    <a:pt x="167" y="126"/>
                  </a:cubicBezTo>
                  <a:cubicBezTo>
                    <a:pt x="171" y="127"/>
                    <a:pt x="178" y="130"/>
                    <a:pt x="178" y="130"/>
                  </a:cubicBezTo>
                  <a:cubicBezTo>
                    <a:pt x="180" y="131"/>
                    <a:pt x="188" y="137"/>
                    <a:pt x="193" y="137"/>
                  </a:cubicBezTo>
                  <a:cubicBezTo>
                    <a:pt x="194" y="137"/>
                    <a:pt x="195" y="136"/>
                    <a:pt x="196" y="135"/>
                  </a:cubicBezTo>
                  <a:cubicBezTo>
                    <a:pt x="200" y="133"/>
                    <a:pt x="196" y="126"/>
                    <a:pt x="195" y="125"/>
                  </a:cubicBezTo>
                  <a:cubicBezTo>
                    <a:pt x="194" y="123"/>
                    <a:pt x="192" y="123"/>
                    <a:pt x="190" y="122"/>
                  </a:cubicBezTo>
                  <a:cubicBezTo>
                    <a:pt x="189" y="121"/>
                    <a:pt x="188" y="121"/>
                    <a:pt x="188" y="120"/>
                  </a:cubicBezTo>
                  <a:cubicBezTo>
                    <a:pt x="186" y="119"/>
                    <a:pt x="186" y="118"/>
                    <a:pt x="185" y="117"/>
                  </a:cubicBezTo>
                  <a:cubicBezTo>
                    <a:pt x="186" y="117"/>
                    <a:pt x="188" y="117"/>
                    <a:pt x="189" y="117"/>
                  </a:cubicBezTo>
                  <a:cubicBezTo>
                    <a:pt x="190" y="117"/>
                    <a:pt x="192" y="119"/>
                    <a:pt x="194" y="120"/>
                  </a:cubicBezTo>
                  <a:cubicBezTo>
                    <a:pt x="199" y="122"/>
                    <a:pt x="202" y="123"/>
                    <a:pt x="204" y="123"/>
                  </a:cubicBezTo>
                  <a:cubicBezTo>
                    <a:pt x="204" y="123"/>
                    <a:pt x="204" y="123"/>
                    <a:pt x="204" y="123"/>
                  </a:cubicBezTo>
                  <a:cubicBezTo>
                    <a:pt x="207" y="123"/>
                    <a:pt x="209" y="120"/>
                    <a:pt x="211" y="118"/>
                  </a:cubicBezTo>
                  <a:cubicBezTo>
                    <a:pt x="212" y="117"/>
                    <a:pt x="213" y="115"/>
                    <a:pt x="214" y="114"/>
                  </a:cubicBezTo>
                  <a:cubicBezTo>
                    <a:pt x="214" y="115"/>
                    <a:pt x="214" y="117"/>
                    <a:pt x="214" y="117"/>
                  </a:cubicBezTo>
                  <a:cubicBezTo>
                    <a:pt x="213" y="118"/>
                    <a:pt x="213" y="119"/>
                    <a:pt x="212" y="120"/>
                  </a:cubicBezTo>
                  <a:cubicBezTo>
                    <a:pt x="212" y="121"/>
                    <a:pt x="212" y="122"/>
                    <a:pt x="211" y="122"/>
                  </a:cubicBezTo>
                  <a:cubicBezTo>
                    <a:pt x="210" y="123"/>
                    <a:pt x="210" y="125"/>
                    <a:pt x="211" y="126"/>
                  </a:cubicBezTo>
                  <a:cubicBezTo>
                    <a:pt x="212" y="126"/>
                    <a:pt x="213" y="127"/>
                    <a:pt x="214" y="127"/>
                  </a:cubicBezTo>
                  <a:cubicBezTo>
                    <a:pt x="214" y="127"/>
                    <a:pt x="217" y="127"/>
                    <a:pt x="226" y="132"/>
                  </a:cubicBezTo>
                  <a:cubicBezTo>
                    <a:pt x="227" y="133"/>
                    <a:pt x="229" y="136"/>
                    <a:pt x="229" y="138"/>
                  </a:cubicBezTo>
                  <a:cubicBezTo>
                    <a:pt x="229" y="139"/>
                    <a:pt x="227" y="139"/>
                    <a:pt x="227" y="139"/>
                  </a:cubicBezTo>
                  <a:cubicBezTo>
                    <a:pt x="226" y="139"/>
                    <a:pt x="225" y="138"/>
                    <a:pt x="224" y="138"/>
                  </a:cubicBezTo>
                  <a:cubicBezTo>
                    <a:pt x="223" y="138"/>
                    <a:pt x="221" y="137"/>
                    <a:pt x="219" y="136"/>
                  </a:cubicBezTo>
                  <a:cubicBezTo>
                    <a:pt x="216" y="133"/>
                    <a:pt x="212" y="132"/>
                    <a:pt x="210" y="132"/>
                  </a:cubicBezTo>
                  <a:cubicBezTo>
                    <a:pt x="208" y="132"/>
                    <a:pt x="207" y="132"/>
                    <a:pt x="206" y="133"/>
                  </a:cubicBezTo>
                  <a:cubicBezTo>
                    <a:pt x="204" y="137"/>
                    <a:pt x="208" y="146"/>
                    <a:pt x="211" y="148"/>
                  </a:cubicBezTo>
                  <a:cubicBezTo>
                    <a:pt x="212" y="149"/>
                    <a:pt x="213" y="149"/>
                    <a:pt x="215" y="150"/>
                  </a:cubicBezTo>
                  <a:cubicBezTo>
                    <a:pt x="216" y="151"/>
                    <a:pt x="217" y="151"/>
                    <a:pt x="218" y="152"/>
                  </a:cubicBezTo>
                  <a:cubicBezTo>
                    <a:pt x="218" y="152"/>
                    <a:pt x="219" y="152"/>
                    <a:pt x="219" y="152"/>
                  </a:cubicBezTo>
                  <a:cubicBezTo>
                    <a:pt x="236" y="157"/>
                    <a:pt x="236" y="157"/>
                    <a:pt x="236" y="157"/>
                  </a:cubicBezTo>
                  <a:cubicBezTo>
                    <a:pt x="238" y="159"/>
                    <a:pt x="242" y="162"/>
                    <a:pt x="243" y="164"/>
                  </a:cubicBezTo>
                  <a:cubicBezTo>
                    <a:pt x="244" y="165"/>
                    <a:pt x="246" y="169"/>
                    <a:pt x="247" y="171"/>
                  </a:cubicBezTo>
                  <a:cubicBezTo>
                    <a:pt x="247" y="171"/>
                    <a:pt x="247" y="172"/>
                    <a:pt x="247" y="172"/>
                  </a:cubicBezTo>
                  <a:cubicBezTo>
                    <a:pt x="248" y="173"/>
                    <a:pt x="248" y="174"/>
                    <a:pt x="249" y="175"/>
                  </a:cubicBezTo>
                  <a:cubicBezTo>
                    <a:pt x="244" y="176"/>
                    <a:pt x="241" y="171"/>
                    <a:pt x="241" y="171"/>
                  </a:cubicBezTo>
                  <a:cubicBezTo>
                    <a:pt x="238" y="165"/>
                    <a:pt x="231" y="162"/>
                    <a:pt x="230" y="162"/>
                  </a:cubicBezTo>
                  <a:cubicBezTo>
                    <a:pt x="229" y="162"/>
                    <a:pt x="229" y="162"/>
                    <a:pt x="229" y="162"/>
                  </a:cubicBezTo>
                  <a:cubicBezTo>
                    <a:pt x="228" y="162"/>
                    <a:pt x="226" y="162"/>
                    <a:pt x="226" y="163"/>
                  </a:cubicBezTo>
                  <a:cubicBezTo>
                    <a:pt x="224" y="166"/>
                    <a:pt x="224" y="170"/>
                    <a:pt x="225" y="178"/>
                  </a:cubicBezTo>
                  <a:cubicBezTo>
                    <a:pt x="226" y="179"/>
                    <a:pt x="226" y="179"/>
                    <a:pt x="226" y="179"/>
                  </a:cubicBezTo>
                  <a:cubicBezTo>
                    <a:pt x="226" y="180"/>
                    <a:pt x="227" y="185"/>
                    <a:pt x="229" y="187"/>
                  </a:cubicBezTo>
                  <a:cubicBezTo>
                    <a:pt x="230" y="189"/>
                    <a:pt x="233" y="189"/>
                    <a:pt x="246" y="191"/>
                  </a:cubicBezTo>
                  <a:cubicBezTo>
                    <a:pt x="248" y="191"/>
                    <a:pt x="248" y="191"/>
                    <a:pt x="249" y="191"/>
                  </a:cubicBezTo>
                  <a:cubicBezTo>
                    <a:pt x="251" y="191"/>
                    <a:pt x="256" y="191"/>
                    <a:pt x="258" y="190"/>
                  </a:cubicBezTo>
                  <a:cubicBezTo>
                    <a:pt x="259" y="190"/>
                    <a:pt x="260" y="189"/>
                    <a:pt x="261" y="188"/>
                  </a:cubicBezTo>
                  <a:cubicBezTo>
                    <a:pt x="261" y="188"/>
                    <a:pt x="261" y="188"/>
                    <a:pt x="261" y="188"/>
                  </a:cubicBezTo>
                  <a:cubicBezTo>
                    <a:pt x="262" y="187"/>
                    <a:pt x="264" y="186"/>
                    <a:pt x="265" y="185"/>
                  </a:cubicBezTo>
                  <a:cubicBezTo>
                    <a:pt x="269" y="182"/>
                    <a:pt x="273" y="179"/>
                    <a:pt x="276" y="178"/>
                  </a:cubicBezTo>
                  <a:cubicBezTo>
                    <a:pt x="276" y="178"/>
                    <a:pt x="276" y="178"/>
                    <a:pt x="277" y="178"/>
                  </a:cubicBezTo>
                  <a:cubicBezTo>
                    <a:pt x="280" y="178"/>
                    <a:pt x="280" y="178"/>
                    <a:pt x="280" y="178"/>
                  </a:cubicBezTo>
                  <a:cubicBezTo>
                    <a:pt x="281" y="178"/>
                    <a:pt x="283" y="177"/>
                    <a:pt x="284" y="177"/>
                  </a:cubicBezTo>
                  <a:cubicBezTo>
                    <a:pt x="285" y="176"/>
                    <a:pt x="285" y="174"/>
                    <a:pt x="286" y="173"/>
                  </a:cubicBezTo>
                  <a:cubicBezTo>
                    <a:pt x="286" y="173"/>
                    <a:pt x="286" y="172"/>
                    <a:pt x="286" y="172"/>
                  </a:cubicBezTo>
                  <a:cubicBezTo>
                    <a:pt x="288" y="170"/>
                    <a:pt x="289" y="168"/>
                    <a:pt x="290" y="167"/>
                  </a:cubicBezTo>
                  <a:cubicBezTo>
                    <a:pt x="290" y="168"/>
                    <a:pt x="291" y="170"/>
                    <a:pt x="292" y="170"/>
                  </a:cubicBezTo>
                  <a:cubicBezTo>
                    <a:pt x="294" y="171"/>
                    <a:pt x="299" y="171"/>
                    <a:pt x="301" y="170"/>
                  </a:cubicBezTo>
                  <a:cubicBezTo>
                    <a:pt x="305" y="168"/>
                    <a:pt x="310" y="164"/>
                    <a:pt x="314" y="159"/>
                  </a:cubicBezTo>
                  <a:cubicBezTo>
                    <a:pt x="318" y="156"/>
                    <a:pt x="321" y="152"/>
                    <a:pt x="324" y="151"/>
                  </a:cubicBezTo>
                  <a:cubicBezTo>
                    <a:pt x="325" y="150"/>
                    <a:pt x="327" y="150"/>
                    <a:pt x="328" y="150"/>
                  </a:cubicBezTo>
                  <a:cubicBezTo>
                    <a:pt x="329" y="149"/>
                    <a:pt x="331" y="149"/>
                    <a:pt x="332" y="149"/>
                  </a:cubicBezTo>
                  <a:cubicBezTo>
                    <a:pt x="332" y="149"/>
                    <a:pt x="333" y="148"/>
                    <a:pt x="334" y="148"/>
                  </a:cubicBezTo>
                  <a:cubicBezTo>
                    <a:pt x="334" y="147"/>
                    <a:pt x="336" y="147"/>
                    <a:pt x="336" y="147"/>
                  </a:cubicBezTo>
                  <a:cubicBezTo>
                    <a:pt x="336" y="147"/>
                    <a:pt x="337" y="147"/>
                    <a:pt x="338" y="148"/>
                  </a:cubicBezTo>
                  <a:cubicBezTo>
                    <a:pt x="341" y="149"/>
                    <a:pt x="344" y="150"/>
                    <a:pt x="346" y="148"/>
                  </a:cubicBezTo>
                  <a:cubicBezTo>
                    <a:pt x="348" y="145"/>
                    <a:pt x="344" y="139"/>
                    <a:pt x="343" y="138"/>
                  </a:cubicBezTo>
                  <a:cubicBezTo>
                    <a:pt x="341" y="134"/>
                    <a:pt x="341" y="134"/>
                    <a:pt x="341" y="134"/>
                  </a:cubicBezTo>
                  <a:cubicBezTo>
                    <a:pt x="341" y="133"/>
                    <a:pt x="343" y="131"/>
                    <a:pt x="344" y="129"/>
                  </a:cubicBezTo>
                  <a:cubicBezTo>
                    <a:pt x="346" y="127"/>
                    <a:pt x="349" y="124"/>
                    <a:pt x="350" y="124"/>
                  </a:cubicBezTo>
                  <a:cubicBezTo>
                    <a:pt x="352" y="123"/>
                    <a:pt x="355" y="123"/>
                    <a:pt x="358" y="123"/>
                  </a:cubicBezTo>
                  <a:cubicBezTo>
                    <a:pt x="360" y="123"/>
                    <a:pt x="363" y="123"/>
                    <a:pt x="364" y="122"/>
                  </a:cubicBezTo>
                  <a:cubicBezTo>
                    <a:pt x="365" y="122"/>
                    <a:pt x="366" y="122"/>
                    <a:pt x="368" y="121"/>
                  </a:cubicBezTo>
                  <a:cubicBezTo>
                    <a:pt x="369" y="121"/>
                    <a:pt x="371" y="120"/>
                    <a:pt x="372" y="120"/>
                  </a:cubicBezTo>
                  <a:cubicBezTo>
                    <a:pt x="373" y="120"/>
                    <a:pt x="375" y="120"/>
                    <a:pt x="375" y="121"/>
                  </a:cubicBezTo>
                  <a:cubicBezTo>
                    <a:pt x="377" y="121"/>
                    <a:pt x="380" y="123"/>
                    <a:pt x="383" y="125"/>
                  </a:cubicBezTo>
                  <a:cubicBezTo>
                    <a:pt x="386" y="127"/>
                    <a:pt x="389" y="129"/>
                    <a:pt x="392" y="129"/>
                  </a:cubicBezTo>
                  <a:cubicBezTo>
                    <a:pt x="393" y="130"/>
                    <a:pt x="395" y="130"/>
                    <a:pt x="396" y="130"/>
                  </a:cubicBezTo>
                  <a:cubicBezTo>
                    <a:pt x="397" y="130"/>
                    <a:pt x="399" y="130"/>
                    <a:pt x="399" y="130"/>
                  </a:cubicBezTo>
                  <a:cubicBezTo>
                    <a:pt x="403" y="131"/>
                    <a:pt x="410" y="136"/>
                    <a:pt x="413" y="139"/>
                  </a:cubicBezTo>
                  <a:cubicBezTo>
                    <a:pt x="415" y="140"/>
                    <a:pt x="416" y="143"/>
                    <a:pt x="418" y="145"/>
                  </a:cubicBezTo>
                  <a:cubicBezTo>
                    <a:pt x="420" y="149"/>
                    <a:pt x="422" y="152"/>
                    <a:pt x="424" y="154"/>
                  </a:cubicBezTo>
                  <a:cubicBezTo>
                    <a:pt x="426" y="156"/>
                    <a:pt x="429" y="157"/>
                    <a:pt x="433" y="158"/>
                  </a:cubicBezTo>
                  <a:cubicBezTo>
                    <a:pt x="436" y="159"/>
                    <a:pt x="439" y="160"/>
                    <a:pt x="440" y="161"/>
                  </a:cubicBezTo>
                  <a:cubicBezTo>
                    <a:pt x="441" y="162"/>
                    <a:pt x="442" y="165"/>
                    <a:pt x="443" y="168"/>
                  </a:cubicBezTo>
                  <a:cubicBezTo>
                    <a:pt x="443" y="168"/>
                    <a:pt x="443" y="169"/>
                    <a:pt x="443" y="170"/>
                  </a:cubicBezTo>
                  <a:cubicBezTo>
                    <a:pt x="443" y="172"/>
                    <a:pt x="443" y="174"/>
                    <a:pt x="444" y="176"/>
                  </a:cubicBezTo>
                  <a:cubicBezTo>
                    <a:pt x="446" y="180"/>
                    <a:pt x="452" y="183"/>
                    <a:pt x="457" y="185"/>
                  </a:cubicBezTo>
                  <a:cubicBezTo>
                    <a:pt x="461" y="187"/>
                    <a:pt x="464" y="189"/>
                    <a:pt x="466" y="191"/>
                  </a:cubicBezTo>
                  <a:cubicBezTo>
                    <a:pt x="467" y="191"/>
                    <a:pt x="468" y="193"/>
                    <a:pt x="469" y="194"/>
                  </a:cubicBezTo>
                  <a:cubicBezTo>
                    <a:pt x="470" y="196"/>
                    <a:pt x="471" y="198"/>
                    <a:pt x="473" y="200"/>
                  </a:cubicBezTo>
                  <a:cubicBezTo>
                    <a:pt x="474" y="200"/>
                    <a:pt x="475" y="201"/>
                    <a:pt x="477" y="201"/>
                  </a:cubicBezTo>
                  <a:cubicBezTo>
                    <a:pt x="478" y="202"/>
                    <a:pt x="479" y="202"/>
                    <a:pt x="480" y="202"/>
                  </a:cubicBezTo>
                  <a:cubicBezTo>
                    <a:pt x="480" y="203"/>
                    <a:pt x="481" y="204"/>
                    <a:pt x="481" y="205"/>
                  </a:cubicBezTo>
                  <a:cubicBezTo>
                    <a:pt x="482" y="207"/>
                    <a:pt x="483" y="209"/>
                    <a:pt x="484" y="210"/>
                  </a:cubicBezTo>
                  <a:cubicBezTo>
                    <a:pt x="486" y="211"/>
                    <a:pt x="491" y="212"/>
                    <a:pt x="493" y="212"/>
                  </a:cubicBezTo>
                  <a:cubicBezTo>
                    <a:pt x="495" y="213"/>
                    <a:pt x="497" y="212"/>
                    <a:pt x="500" y="212"/>
                  </a:cubicBezTo>
                  <a:cubicBezTo>
                    <a:pt x="503" y="211"/>
                    <a:pt x="507" y="211"/>
                    <a:pt x="507" y="211"/>
                  </a:cubicBezTo>
                  <a:cubicBezTo>
                    <a:pt x="510" y="212"/>
                    <a:pt x="516" y="217"/>
                    <a:pt x="517" y="220"/>
                  </a:cubicBezTo>
                  <a:cubicBezTo>
                    <a:pt x="517" y="221"/>
                    <a:pt x="517" y="222"/>
                    <a:pt x="517" y="223"/>
                  </a:cubicBezTo>
                  <a:cubicBezTo>
                    <a:pt x="517" y="224"/>
                    <a:pt x="517" y="226"/>
                    <a:pt x="517" y="227"/>
                  </a:cubicBezTo>
                  <a:cubicBezTo>
                    <a:pt x="518" y="230"/>
                    <a:pt x="522" y="234"/>
                    <a:pt x="524" y="236"/>
                  </a:cubicBezTo>
                  <a:cubicBezTo>
                    <a:pt x="525" y="236"/>
                    <a:pt x="527" y="237"/>
                    <a:pt x="528" y="237"/>
                  </a:cubicBezTo>
                  <a:cubicBezTo>
                    <a:pt x="529" y="238"/>
                    <a:pt x="531" y="238"/>
                    <a:pt x="531" y="239"/>
                  </a:cubicBezTo>
                  <a:cubicBezTo>
                    <a:pt x="532" y="239"/>
                    <a:pt x="531" y="241"/>
                    <a:pt x="531" y="242"/>
                  </a:cubicBezTo>
                  <a:cubicBezTo>
                    <a:pt x="531" y="243"/>
                    <a:pt x="531" y="245"/>
                    <a:pt x="532" y="246"/>
                  </a:cubicBezTo>
                  <a:cubicBezTo>
                    <a:pt x="532" y="246"/>
                    <a:pt x="532" y="247"/>
                    <a:pt x="533" y="248"/>
                  </a:cubicBezTo>
                  <a:cubicBezTo>
                    <a:pt x="533" y="248"/>
                    <a:pt x="533" y="249"/>
                    <a:pt x="533" y="249"/>
                  </a:cubicBezTo>
                  <a:cubicBezTo>
                    <a:pt x="534" y="252"/>
                    <a:pt x="534" y="256"/>
                    <a:pt x="534" y="261"/>
                  </a:cubicBezTo>
                  <a:cubicBezTo>
                    <a:pt x="534" y="265"/>
                    <a:pt x="534" y="269"/>
                    <a:pt x="535" y="272"/>
                  </a:cubicBezTo>
                  <a:cubicBezTo>
                    <a:pt x="535" y="273"/>
                    <a:pt x="535" y="274"/>
                    <a:pt x="536" y="275"/>
                  </a:cubicBezTo>
                  <a:cubicBezTo>
                    <a:pt x="536" y="276"/>
                    <a:pt x="537" y="278"/>
                    <a:pt x="537" y="279"/>
                  </a:cubicBezTo>
                  <a:cubicBezTo>
                    <a:pt x="537" y="280"/>
                    <a:pt x="536" y="285"/>
                    <a:pt x="536" y="286"/>
                  </a:cubicBezTo>
                  <a:cubicBezTo>
                    <a:pt x="536" y="288"/>
                    <a:pt x="522" y="324"/>
                    <a:pt x="521" y="331"/>
                  </a:cubicBezTo>
                  <a:cubicBezTo>
                    <a:pt x="521" y="334"/>
                    <a:pt x="521" y="336"/>
                    <a:pt x="521" y="340"/>
                  </a:cubicBezTo>
                  <a:cubicBezTo>
                    <a:pt x="521" y="342"/>
                    <a:pt x="521" y="345"/>
                    <a:pt x="521" y="347"/>
                  </a:cubicBezTo>
                  <a:cubicBezTo>
                    <a:pt x="521" y="348"/>
                    <a:pt x="520" y="349"/>
                    <a:pt x="520" y="351"/>
                  </a:cubicBezTo>
                  <a:cubicBezTo>
                    <a:pt x="518" y="354"/>
                    <a:pt x="517" y="357"/>
                    <a:pt x="518" y="359"/>
                  </a:cubicBezTo>
                  <a:cubicBezTo>
                    <a:pt x="518" y="360"/>
                    <a:pt x="517" y="362"/>
                    <a:pt x="517" y="364"/>
                  </a:cubicBezTo>
                  <a:cubicBezTo>
                    <a:pt x="515" y="369"/>
                    <a:pt x="514" y="373"/>
                    <a:pt x="516" y="375"/>
                  </a:cubicBezTo>
                  <a:cubicBezTo>
                    <a:pt x="518" y="377"/>
                    <a:pt x="529" y="383"/>
                    <a:pt x="534" y="383"/>
                  </a:cubicBezTo>
                  <a:cubicBezTo>
                    <a:pt x="535" y="383"/>
                    <a:pt x="536" y="383"/>
                    <a:pt x="537" y="382"/>
                  </a:cubicBezTo>
                  <a:cubicBezTo>
                    <a:pt x="539" y="380"/>
                    <a:pt x="538" y="376"/>
                    <a:pt x="537" y="371"/>
                  </a:cubicBezTo>
                  <a:cubicBezTo>
                    <a:pt x="537" y="369"/>
                    <a:pt x="536" y="366"/>
                    <a:pt x="536" y="365"/>
                  </a:cubicBezTo>
                  <a:cubicBezTo>
                    <a:pt x="538" y="365"/>
                    <a:pt x="544" y="371"/>
                    <a:pt x="546" y="374"/>
                  </a:cubicBezTo>
                  <a:cubicBezTo>
                    <a:pt x="546" y="375"/>
                    <a:pt x="546" y="378"/>
                    <a:pt x="549" y="378"/>
                  </a:cubicBezTo>
                  <a:cubicBezTo>
                    <a:pt x="549" y="378"/>
                    <a:pt x="549" y="378"/>
                    <a:pt x="549" y="378"/>
                  </a:cubicBezTo>
                  <a:cubicBezTo>
                    <a:pt x="552" y="378"/>
                    <a:pt x="553" y="377"/>
                    <a:pt x="554" y="375"/>
                  </a:cubicBezTo>
                  <a:cubicBezTo>
                    <a:pt x="556" y="373"/>
                    <a:pt x="557" y="370"/>
                    <a:pt x="557" y="368"/>
                  </a:cubicBezTo>
                  <a:cubicBezTo>
                    <a:pt x="555" y="363"/>
                    <a:pt x="547" y="354"/>
                    <a:pt x="544" y="351"/>
                  </a:cubicBezTo>
                  <a:cubicBezTo>
                    <a:pt x="544" y="350"/>
                    <a:pt x="544" y="349"/>
                    <a:pt x="544" y="349"/>
                  </a:cubicBezTo>
                  <a:cubicBezTo>
                    <a:pt x="544" y="347"/>
                    <a:pt x="545" y="345"/>
                    <a:pt x="544" y="344"/>
                  </a:cubicBezTo>
                  <a:cubicBezTo>
                    <a:pt x="543" y="342"/>
                    <a:pt x="543" y="341"/>
                    <a:pt x="543" y="341"/>
                  </a:cubicBezTo>
                  <a:cubicBezTo>
                    <a:pt x="543" y="340"/>
                    <a:pt x="544" y="340"/>
                    <a:pt x="544" y="340"/>
                  </a:cubicBezTo>
                  <a:cubicBezTo>
                    <a:pt x="544" y="340"/>
                    <a:pt x="545" y="340"/>
                    <a:pt x="545" y="340"/>
                  </a:cubicBezTo>
                  <a:cubicBezTo>
                    <a:pt x="547" y="340"/>
                    <a:pt x="550" y="342"/>
                    <a:pt x="552" y="344"/>
                  </a:cubicBezTo>
                  <a:cubicBezTo>
                    <a:pt x="554" y="346"/>
                    <a:pt x="557" y="347"/>
                    <a:pt x="558" y="348"/>
                  </a:cubicBezTo>
                  <a:cubicBezTo>
                    <a:pt x="560" y="348"/>
                    <a:pt x="564" y="348"/>
                    <a:pt x="567" y="348"/>
                  </a:cubicBezTo>
                  <a:cubicBezTo>
                    <a:pt x="567" y="348"/>
                    <a:pt x="567" y="348"/>
                    <a:pt x="568" y="348"/>
                  </a:cubicBezTo>
                  <a:cubicBezTo>
                    <a:pt x="570" y="350"/>
                    <a:pt x="572" y="353"/>
                    <a:pt x="573" y="354"/>
                  </a:cubicBezTo>
                  <a:cubicBezTo>
                    <a:pt x="574" y="355"/>
                    <a:pt x="574" y="358"/>
                    <a:pt x="574" y="359"/>
                  </a:cubicBezTo>
                  <a:cubicBezTo>
                    <a:pt x="574" y="362"/>
                    <a:pt x="570" y="366"/>
                    <a:pt x="568" y="370"/>
                  </a:cubicBezTo>
                  <a:cubicBezTo>
                    <a:pt x="565" y="374"/>
                    <a:pt x="562" y="378"/>
                    <a:pt x="561" y="381"/>
                  </a:cubicBezTo>
                  <a:cubicBezTo>
                    <a:pt x="561" y="382"/>
                    <a:pt x="561" y="384"/>
                    <a:pt x="561" y="386"/>
                  </a:cubicBezTo>
                  <a:cubicBezTo>
                    <a:pt x="560" y="388"/>
                    <a:pt x="560" y="391"/>
                    <a:pt x="560" y="392"/>
                  </a:cubicBezTo>
                  <a:cubicBezTo>
                    <a:pt x="558" y="394"/>
                    <a:pt x="555" y="394"/>
                    <a:pt x="553" y="394"/>
                  </a:cubicBezTo>
                  <a:cubicBezTo>
                    <a:pt x="550" y="394"/>
                    <a:pt x="548" y="394"/>
                    <a:pt x="548" y="394"/>
                  </a:cubicBezTo>
                  <a:cubicBezTo>
                    <a:pt x="547" y="393"/>
                    <a:pt x="546" y="393"/>
                    <a:pt x="546" y="394"/>
                  </a:cubicBezTo>
                  <a:cubicBezTo>
                    <a:pt x="545" y="394"/>
                    <a:pt x="544" y="395"/>
                    <a:pt x="544" y="397"/>
                  </a:cubicBezTo>
                  <a:cubicBezTo>
                    <a:pt x="543" y="401"/>
                    <a:pt x="547" y="407"/>
                    <a:pt x="548" y="409"/>
                  </a:cubicBezTo>
                  <a:cubicBezTo>
                    <a:pt x="550" y="411"/>
                    <a:pt x="553" y="412"/>
                    <a:pt x="557" y="413"/>
                  </a:cubicBezTo>
                  <a:cubicBezTo>
                    <a:pt x="559" y="414"/>
                    <a:pt x="562" y="415"/>
                    <a:pt x="563" y="416"/>
                  </a:cubicBezTo>
                  <a:cubicBezTo>
                    <a:pt x="564" y="417"/>
                    <a:pt x="566" y="420"/>
                    <a:pt x="566" y="421"/>
                  </a:cubicBezTo>
                  <a:cubicBezTo>
                    <a:pt x="566" y="421"/>
                    <a:pt x="566" y="421"/>
                    <a:pt x="566" y="422"/>
                  </a:cubicBezTo>
                  <a:cubicBezTo>
                    <a:pt x="566" y="422"/>
                    <a:pt x="565" y="423"/>
                    <a:pt x="565" y="425"/>
                  </a:cubicBezTo>
                  <a:cubicBezTo>
                    <a:pt x="566" y="431"/>
                    <a:pt x="572" y="437"/>
                    <a:pt x="578" y="443"/>
                  </a:cubicBezTo>
                  <a:cubicBezTo>
                    <a:pt x="580" y="445"/>
                    <a:pt x="583" y="448"/>
                    <a:pt x="584" y="449"/>
                  </a:cubicBezTo>
                  <a:cubicBezTo>
                    <a:pt x="585" y="450"/>
                    <a:pt x="585" y="451"/>
                    <a:pt x="586" y="452"/>
                  </a:cubicBezTo>
                  <a:cubicBezTo>
                    <a:pt x="587" y="454"/>
                    <a:pt x="588" y="456"/>
                    <a:pt x="589" y="457"/>
                  </a:cubicBezTo>
                  <a:cubicBezTo>
                    <a:pt x="590" y="458"/>
                    <a:pt x="590" y="460"/>
                    <a:pt x="591" y="463"/>
                  </a:cubicBezTo>
                  <a:cubicBezTo>
                    <a:pt x="592" y="467"/>
                    <a:pt x="592" y="471"/>
                    <a:pt x="595" y="472"/>
                  </a:cubicBezTo>
                  <a:cubicBezTo>
                    <a:pt x="597" y="474"/>
                    <a:pt x="601" y="475"/>
                    <a:pt x="604" y="475"/>
                  </a:cubicBezTo>
                  <a:cubicBezTo>
                    <a:pt x="604" y="475"/>
                    <a:pt x="604" y="475"/>
                    <a:pt x="604" y="475"/>
                  </a:cubicBezTo>
                  <a:cubicBezTo>
                    <a:pt x="605" y="475"/>
                    <a:pt x="606" y="475"/>
                    <a:pt x="608" y="475"/>
                  </a:cubicBezTo>
                  <a:cubicBezTo>
                    <a:pt x="609" y="474"/>
                    <a:pt x="610" y="474"/>
                    <a:pt x="610" y="474"/>
                  </a:cubicBezTo>
                  <a:cubicBezTo>
                    <a:pt x="610" y="474"/>
                    <a:pt x="611" y="474"/>
                    <a:pt x="611" y="474"/>
                  </a:cubicBezTo>
                  <a:cubicBezTo>
                    <a:pt x="611" y="475"/>
                    <a:pt x="612" y="476"/>
                    <a:pt x="614" y="476"/>
                  </a:cubicBezTo>
                  <a:cubicBezTo>
                    <a:pt x="614" y="476"/>
                    <a:pt x="615" y="476"/>
                    <a:pt x="616" y="475"/>
                  </a:cubicBezTo>
                  <a:cubicBezTo>
                    <a:pt x="617" y="474"/>
                    <a:pt x="621" y="467"/>
                    <a:pt x="621" y="464"/>
                  </a:cubicBezTo>
                  <a:cubicBezTo>
                    <a:pt x="621" y="462"/>
                    <a:pt x="620" y="461"/>
                    <a:pt x="619" y="461"/>
                  </a:cubicBezTo>
                  <a:cubicBezTo>
                    <a:pt x="618" y="460"/>
                    <a:pt x="617" y="459"/>
                    <a:pt x="616" y="459"/>
                  </a:cubicBezTo>
                  <a:cubicBezTo>
                    <a:pt x="617" y="459"/>
                    <a:pt x="617" y="459"/>
                    <a:pt x="617" y="459"/>
                  </a:cubicBezTo>
                  <a:cubicBezTo>
                    <a:pt x="617" y="459"/>
                    <a:pt x="618" y="459"/>
                    <a:pt x="618" y="459"/>
                  </a:cubicBezTo>
                  <a:cubicBezTo>
                    <a:pt x="621" y="459"/>
                    <a:pt x="624" y="457"/>
                    <a:pt x="626" y="455"/>
                  </a:cubicBezTo>
                  <a:cubicBezTo>
                    <a:pt x="628" y="454"/>
                    <a:pt x="630" y="452"/>
                    <a:pt x="631" y="452"/>
                  </a:cubicBezTo>
                  <a:cubicBezTo>
                    <a:pt x="631" y="452"/>
                    <a:pt x="632" y="452"/>
                    <a:pt x="632" y="453"/>
                  </a:cubicBezTo>
                  <a:cubicBezTo>
                    <a:pt x="632" y="453"/>
                    <a:pt x="632" y="453"/>
                    <a:pt x="631" y="454"/>
                  </a:cubicBezTo>
                  <a:cubicBezTo>
                    <a:pt x="631" y="455"/>
                    <a:pt x="627" y="460"/>
                    <a:pt x="628" y="463"/>
                  </a:cubicBezTo>
                  <a:cubicBezTo>
                    <a:pt x="628" y="464"/>
                    <a:pt x="628" y="464"/>
                    <a:pt x="627" y="464"/>
                  </a:cubicBezTo>
                  <a:cubicBezTo>
                    <a:pt x="626" y="465"/>
                    <a:pt x="625" y="466"/>
                    <a:pt x="625" y="469"/>
                  </a:cubicBezTo>
                  <a:cubicBezTo>
                    <a:pt x="625" y="471"/>
                    <a:pt x="626" y="475"/>
                    <a:pt x="626" y="477"/>
                  </a:cubicBezTo>
                  <a:cubicBezTo>
                    <a:pt x="626" y="479"/>
                    <a:pt x="625" y="486"/>
                    <a:pt x="630" y="491"/>
                  </a:cubicBezTo>
                  <a:cubicBezTo>
                    <a:pt x="631" y="492"/>
                    <a:pt x="632" y="492"/>
                    <a:pt x="634" y="492"/>
                  </a:cubicBezTo>
                  <a:cubicBezTo>
                    <a:pt x="636" y="492"/>
                    <a:pt x="638" y="492"/>
                    <a:pt x="640" y="491"/>
                  </a:cubicBezTo>
                  <a:cubicBezTo>
                    <a:pt x="643" y="489"/>
                    <a:pt x="647" y="484"/>
                    <a:pt x="648" y="482"/>
                  </a:cubicBezTo>
                  <a:cubicBezTo>
                    <a:pt x="649" y="481"/>
                    <a:pt x="650" y="480"/>
                    <a:pt x="650" y="479"/>
                  </a:cubicBezTo>
                  <a:cubicBezTo>
                    <a:pt x="650" y="481"/>
                    <a:pt x="649" y="482"/>
                    <a:pt x="649" y="485"/>
                  </a:cubicBezTo>
                  <a:cubicBezTo>
                    <a:pt x="648" y="486"/>
                    <a:pt x="648" y="487"/>
                    <a:pt x="648" y="489"/>
                  </a:cubicBezTo>
                  <a:cubicBezTo>
                    <a:pt x="648" y="490"/>
                    <a:pt x="648" y="492"/>
                    <a:pt x="648" y="492"/>
                  </a:cubicBezTo>
                  <a:cubicBezTo>
                    <a:pt x="648" y="493"/>
                    <a:pt x="646" y="494"/>
                    <a:pt x="646" y="495"/>
                  </a:cubicBezTo>
                  <a:cubicBezTo>
                    <a:pt x="644" y="496"/>
                    <a:pt x="642" y="498"/>
                    <a:pt x="642" y="500"/>
                  </a:cubicBezTo>
                  <a:cubicBezTo>
                    <a:pt x="642" y="502"/>
                    <a:pt x="642" y="505"/>
                    <a:pt x="643" y="506"/>
                  </a:cubicBezTo>
                  <a:cubicBezTo>
                    <a:pt x="645" y="508"/>
                    <a:pt x="647" y="508"/>
                    <a:pt x="649" y="509"/>
                  </a:cubicBezTo>
                  <a:cubicBezTo>
                    <a:pt x="650" y="509"/>
                    <a:pt x="651" y="509"/>
                    <a:pt x="651" y="509"/>
                  </a:cubicBezTo>
                  <a:cubicBezTo>
                    <a:pt x="653" y="510"/>
                    <a:pt x="656" y="513"/>
                    <a:pt x="657" y="515"/>
                  </a:cubicBezTo>
                  <a:cubicBezTo>
                    <a:pt x="659" y="518"/>
                    <a:pt x="660" y="523"/>
                    <a:pt x="661" y="529"/>
                  </a:cubicBezTo>
                  <a:cubicBezTo>
                    <a:pt x="663" y="534"/>
                    <a:pt x="664" y="539"/>
                    <a:pt x="665" y="543"/>
                  </a:cubicBezTo>
                  <a:cubicBezTo>
                    <a:pt x="668" y="547"/>
                    <a:pt x="674" y="555"/>
                    <a:pt x="678" y="559"/>
                  </a:cubicBezTo>
                  <a:cubicBezTo>
                    <a:pt x="679" y="559"/>
                    <a:pt x="679" y="559"/>
                    <a:pt x="679" y="560"/>
                  </a:cubicBezTo>
                  <a:cubicBezTo>
                    <a:pt x="680" y="561"/>
                    <a:pt x="681" y="562"/>
                    <a:pt x="684" y="566"/>
                  </a:cubicBezTo>
                  <a:cubicBezTo>
                    <a:pt x="685" y="568"/>
                    <a:pt x="689" y="567"/>
                    <a:pt x="692" y="565"/>
                  </a:cubicBezTo>
                  <a:cubicBezTo>
                    <a:pt x="692" y="565"/>
                    <a:pt x="693" y="564"/>
                    <a:pt x="694" y="564"/>
                  </a:cubicBezTo>
                  <a:cubicBezTo>
                    <a:pt x="696" y="564"/>
                    <a:pt x="698" y="565"/>
                    <a:pt x="700" y="565"/>
                  </a:cubicBezTo>
                  <a:cubicBezTo>
                    <a:pt x="701" y="565"/>
                    <a:pt x="701" y="565"/>
                    <a:pt x="701" y="565"/>
                  </a:cubicBezTo>
                  <a:cubicBezTo>
                    <a:pt x="702" y="565"/>
                    <a:pt x="704" y="565"/>
                    <a:pt x="705" y="566"/>
                  </a:cubicBezTo>
                  <a:cubicBezTo>
                    <a:pt x="707" y="566"/>
                    <a:pt x="707" y="566"/>
                    <a:pt x="707" y="566"/>
                  </a:cubicBezTo>
                  <a:cubicBezTo>
                    <a:pt x="710" y="567"/>
                    <a:pt x="717" y="569"/>
                    <a:pt x="718" y="571"/>
                  </a:cubicBezTo>
                  <a:cubicBezTo>
                    <a:pt x="719" y="571"/>
                    <a:pt x="719" y="572"/>
                    <a:pt x="719" y="573"/>
                  </a:cubicBezTo>
                  <a:cubicBezTo>
                    <a:pt x="719" y="575"/>
                    <a:pt x="719" y="576"/>
                    <a:pt x="720" y="578"/>
                  </a:cubicBezTo>
                  <a:cubicBezTo>
                    <a:pt x="721" y="579"/>
                    <a:pt x="723" y="580"/>
                    <a:pt x="725" y="582"/>
                  </a:cubicBezTo>
                  <a:cubicBezTo>
                    <a:pt x="726" y="582"/>
                    <a:pt x="727" y="583"/>
                    <a:pt x="728" y="584"/>
                  </a:cubicBezTo>
                  <a:cubicBezTo>
                    <a:pt x="730" y="586"/>
                    <a:pt x="735" y="593"/>
                    <a:pt x="737" y="596"/>
                  </a:cubicBezTo>
                  <a:cubicBezTo>
                    <a:pt x="738" y="598"/>
                    <a:pt x="740" y="598"/>
                    <a:pt x="740" y="598"/>
                  </a:cubicBezTo>
                  <a:cubicBezTo>
                    <a:pt x="743" y="602"/>
                    <a:pt x="749" y="610"/>
                    <a:pt x="754" y="613"/>
                  </a:cubicBezTo>
                  <a:cubicBezTo>
                    <a:pt x="756" y="615"/>
                    <a:pt x="760" y="616"/>
                    <a:pt x="762" y="616"/>
                  </a:cubicBezTo>
                  <a:cubicBezTo>
                    <a:pt x="763" y="616"/>
                    <a:pt x="764" y="616"/>
                    <a:pt x="766" y="616"/>
                  </a:cubicBezTo>
                  <a:cubicBezTo>
                    <a:pt x="767" y="616"/>
                    <a:pt x="769" y="616"/>
                    <a:pt x="769" y="616"/>
                  </a:cubicBezTo>
                  <a:cubicBezTo>
                    <a:pt x="771" y="617"/>
                    <a:pt x="774" y="619"/>
                    <a:pt x="775" y="620"/>
                  </a:cubicBezTo>
                  <a:cubicBezTo>
                    <a:pt x="775" y="621"/>
                    <a:pt x="773" y="624"/>
                    <a:pt x="772" y="624"/>
                  </a:cubicBezTo>
                  <a:cubicBezTo>
                    <a:pt x="768" y="625"/>
                    <a:pt x="765" y="625"/>
                    <a:pt x="765" y="625"/>
                  </a:cubicBezTo>
                  <a:cubicBezTo>
                    <a:pt x="764" y="625"/>
                    <a:pt x="763" y="624"/>
                    <a:pt x="763" y="623"/>
                  </a:cubicBezTo>
                  <a:cubicBezTo>
                    <a:pt x="761" y="621"/>
                    <a:pt x="759" y="619"/>
                    <a:pt x="756" y="619"/>
                  </a:cubicBezTo>
                  <a:cubicBezTo>
                    <a:pt x="751" y="619"/>
                    <a:pt x="748" y="634"/>
                    <a:pt x="748" y="634"/>
                  </a:cubicBezTo>
                  <a:cubicBezTo>
                    <a:pt x="748" y="635"/>
                    <a:pt x="748" y="638"/>
                    <a:pt x="751" y="638"/>
                  </a:cubicBezTo>
                  <a:cubicBezTo>
                    <a:pt x="755" y="644"/>
                    <a:pt x="757" y="646"/>
                    <a:pt x="760" y="647"/>
                  </a:cubicBezTo>
                  <a:cubicBezTo>
                    <a:pt x="761" y="647"/>
                    <a:pt x="761" y="647"/>
                    <a:pt x="762" y="647"/>
                  </a:cubicBezTo>
                  <a:cubicBezTo>
                    <a:pt x="766" y="647"/>
                    <a:pt x="771" y="645"/>
                    <a:pt x="775" y="643"/>
                  </a:cubicBezTo>
                  <a:cubicBezTo>
                    <a:pt x="777" y="642"/>
                    <a:pt x="777" y="642"/>
                    <a:pt x="777" y="642"/>
                  </a:cubicBezTo>
                  <a:cubicBezTo>
                    <a:pt x="778" y="641"/>
                    <a:pt x="779" y="640"/>
                    <a:pt x="781" y="639"/>
                  </a:cubicBezTo>
                  <a:cubicBezTo>
                    <a:pt x="782" y="638"/>
                    <a:pt x="784" y="637"/>
                    <a:pt x="786" y="636"/>
                  </a:cubicBezTo>
                  <a:cubicBezTo>
                    <a:pt x="787" y="636"/>
                    <a:pt x="788" y="637"/>
                    <a:pt x="789" y="637"/>
                  </a:cubicBezTo>
                  <a:cubicBezTo>
                    <a:pt x="790" y="637"/>
                    <a:pt x="791" y="638"/>
                    <a:pt x="792" y="638"/>
                  </a:cubicBezTo>
                  <a:cubicBezTo>
                    <a:pt x="794" y="638"/>
                    <a:pt x="799" y="638"/>
                    <a:pt x="801" y="638"/>
                  </a:cubicBezTo>
                  <a:cubicBezTo>
                    <a:pt x="803" y="637"/>
                    <a:pt x="807" y="635"/>
                    <a:pt x="809" y="634"/>
                  </a:cubicBezTo>
                  <a:cubicBezTo>
                    <a:pt x="811" y="632"/>
                    <a:pt x="814" y="628"/>
                    <a:pt x="815" y="626"/>
                  </a:cubicBezTo>
                  <a:cubicBezTo>
                    <a:pt x="817" y="624"/>
                    <a:pt x="819" y="624"/>
                    <a:pt x="822" y="624"/>
                  </a:cubicBezTo>
                  <a:cubicBezTo>
                    <a:pt x="823" y="624"/>
                    <a:pt x="824" y="624"/>
                    <a:pt x="824" y="623"/>
                  </a:cubicBezTo>
                  <a:cubicBezTo>
                    <a:pt x="827" y="623"/>
                    <a:pt x="831" y="621"/>
                    <a:pt x="832" y="619"/>
                  </a:cubicBezTo>
                  <a:cubicBezTo>
                    <a:pt x="834" y="617"/>
                    <a:pt x="835" y="613"/>
                    <a:pt x="836" y="611"/>
                  </a:cubicBezTo>
                  <a:cubicBezTo>
                    <a:pt x="837" y="609"/>
                    <a:pt x="841" y="605"/>
                    <a:pt x="841" y="603"/>
                  </a:cubicBezTo>
                  <a:cubicBezTo>
                    <a:pt x="841" y="600"/>
                    <a:pt x="840" y="597"/>
                    <a:pt x="838" y="594"/>
                  </a:cubicBezTo>
                  <a:cubicBezTo>
                    <a:pt x="837" y="592"/>
                    <a:pt x="836" y="589"/>
                    <a:pt x="836" y="588"/>
                  </a:cubicBezTo>
                  <a:cubicBezTo>
                    <a:pt x="836" y="588"/>
                    <a:pt x="836" y="587"/>
                    <a:pt x="837" y="587"/>
                  </a:cubicBezTo>
                  <a:cubicBezTo>
                    <a:pt x="837" y="586"/>
                    <a:pt x="838" y="585"/>
                    <a:pt x="838" y="584"/>
                  </a:cubicBezTo>
                  <a:cubicBezTo>
                    <a:pt x="838" y="582"/>
                    <a:pt x="838" y="581"/>
                    <a:pt x="837" y="579"/>
                  </a:cubicBezTo>
                  <a:cubicBezTo>
                    <a:pt x="837" y="578"/>
                    <a:pt x="837" y="577"/>
                    <a:pt x="837" y="577"/>
                  </a:cubicBezTo>
                  <a:cubicBezTo>
                    <a:pt x="837" y="576"/>
                    <a:pt x="838" y="574"/>
                    <a:pt x="838" y="573"/>
                  </a:cubicBezTo>
                  <a:cubicBezTo>
                    <a:pt x="839" y="572"/>
                    <a:pt x="840" y="570"/>
                    <a:pt x="840" y="569"/>
                  </a:cubicBezTo>
                  <a:cubicBezTo>
                    <a:pt x="840" y="568"/>
                    <a:pt x="840" y="567"/>
                    <a:pt x="840" y="565"/>
                  </a:cubicBezTo>
                  <a:cubicBezTo>
                    <a:pt x="840" y="564"/>
                    <a:pt x="841" y="563"/>
                    <a:pt x="841" y="562"/>
                  </a:cubicBezTo>
                  <a:cubicBezTo>
                    <a:pt x="841" y="562"/>
                    <a:pt x="842" y="561"/>
                    <a:pt x="843" y="560"/>
                  </a:cubicBezTo>
                  <a:cubicBezTo>
                    <a:pt x="844" y="559"/>
                    <a:pt x="846" y="557"/>
                    <a:pt x="847" y="555"/>
                  </a:cubicBezTo>
                  <a:cubicBezTo>
                    <a:pt x="847" y="554"/>
                    <a:pt x="847" y="552"/>
                    <a:pt x="846" y="550"/>
                  </a:cubicBezTo>
                  <a:cubicBezTo>
                    <a:pt x="846" y="550"/>
                    <a:pt x="846" y="549"/>
                    <a:pt x="846" y="549"/>
                  </a:cubicBezTo>
                  <a:cubicBezTo>
                    <a:pt x="847" y="549"/>
                    <a:pt x="848" y="550"/>
                    <a:pt x="849" y="550"/>
                  </a:cubicBezTo>
                  <a:cubicBezTo>
                    <a:pt x="849" y="550"/>
                    <a:pt x="849" y="550"/>
                    <a:pt x="849" y="550"/>
                  </a:cubicBezTo>
                  <a:cubicBezTo>
                    <a:pt x="853" y="549"/>
                    <a:pt x="852" y="544"/>
                    <a:pt x="852" y="541"/>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32">
              <a:extLst>
                <a:ext uri="{FF2B5EF4-FFF2-40B4-BE49-F238E27FC236}">
                  <a16:creationId xmlns:a16="http://schemas.microsoft.com/office/drawing/2014/main" id="{8B98B2BA-9B22-41C5-9C4C-368B6FD4867F}"/>
                </a:ext>
              </a:extLst>
            </p:cNvPr>
            <p:cNvSpPr>
              <a:spLocks/>
            </p:cNvSpPr>
            <p:nvPr/>
          </p:nvSpPr>
          <p:spPr bwMode="auto">
            <a:xfrm>
              <a:off x="6907410" y="3942544"/>
              <a:ext cx="408333" cy="660004"/>
            </a:xfrm>
            <a:custGeom>
              <a:avLst/>
              <a:gdLst>
                <a:gd name="T0" fmla="*/ 360 w 367"/>
                <a:gd name="T1" fmla="*/ 445 h 594"/>
                <a:gd name="T2" fmla="*/ 352 w 367"/>
                <a:gd name="T3" fmla="*/ 431 h 594"/>
                <a:gd name="T4" fmla="*/ 354 w 367"/>
                <a:gd name="T5" fmla="*/ 415 h 594"/>
                <a:gd name="T6" fmla="*/ 355 w 367"/>
                <a:gd name="T7" fmla="*/ 406 h 594"/>
                <a:gd name="T8" fmla="*/ 352 w 367"/>
                <a:gd name="T9" fmla="*/ 388 h 594"/>
                <a:gd name="T10" fmla="*/ 342 w 367"/>
                <a:gd name="T11" fmla="*/ 367 h 594"/>
                <a:gd name="T12" fmla="*/ 346 w 367"/>
                <a:gd name="T13" fmla="*/ 346 h 594"/>
                <a:gd name="T14" fmla="*/ 346 w 367"/>
                <a:gd name="T15" fmla="*/ 331 h 594"/>
                <a:gd name="T16" fmla="*/ 357 w 367"/>
                <a:gd name="T17" fmla="*/ 319 h 594"/>
                <a:gd name="T18" fmla="*/ 351 w 367"/>
                <a:gd name="T19" fmla="*/ 307 h 594"/>
                <a:gd name="T20" fmla="*/ 349 w 367"/>
                <a:gd name="T21" fmla="*/ 301 h 594"/>
                <a:gd name="T22" fmla="*/ 346 w 367"/>
                <a:gd name="T23" fmla="*/ 286 h 594"/>
                <a:gd name="T24" fmla="*/ 340 w 367"/>
                <a:gd name="T25" fmla="*/ 278 h 594"/>
                <a:gd name="T26" fmla="*/ 330 w 367"/>
                <a:gd name="T27" fmla="*/ 260 h 594"/>
                <a:gd name="T28" fmla="*/ 325 w 367"/>
                <a:gd name="T29" fmla="*/ 252 h 594"/>
                <a:gd name="T30" fmla="*/ 322 w 367"/>
                <a:gd name="T31" fmla="*/ 244 h 594"/>
                <a:gd name="T32" fmla="*/ 285 w 367"/>
                <a:gd name="T33" fmla="*/ 113 h 594"/>
                <a:gd name="T34" fmla="*/ 247 w 367"/>
                <a:gd name="T35" fmla="*/ 0 h 594"/>
                <a:gd name="T36" fmla="*/ 4 w 367"/>
                <a:gd name="T37" fmla="*/ 23 h 594"/>
                <a:gd name="T38" fmla="*/ 1 w 367"/>
                <a:gd name="T39" fmla="*/ 31 h 594"/>
                <a:gd name="T40" fmla="*/ 13 w 367"/>
                <a:gd name="T41" fmla="*/ 39 h 594"/>
                <a:gd name="T42" fmla="*/ 30 w 367"/>
                <a:gd name="T43" fmla="*/ 566 h 594"/>
                <a:gd name="T44" fmla="*/ 32 w 367"/>
                <a:gd name="T45" fmla="*/ 572 h 594"/>
                <a:gd name="T46" fmla="*/ 40 w 367"/>
                <a:gd name="T47" fmla="*/ 570 h 594"/>
                <a:gd name="T48" fmla="*/ 54 w 367"/>
                <a:gd name="T49" fmla="*/ 573 h 594"/>
                <a:gd name="T50" fmla="*/ 64 w 367"/>
                <a:gd name="T51" fmla="*/ 573 h 594"/>
                <a:gd name="T52" fmla="*/ 67 w 367"/>
                <a:gd name="T53" fmla="*/ 536 h 594"/>
                <a:gd name="T54" fmla="*/ 74 w 367"/>
                <a:gd name="T55" fmla="*/ 535 h 594"/>
                <a:gd name="T56" fmla="*/ 78 w 367"/>
                <a:gd name="T57" fmla="*/ 547 h 594"/>
                <a:gd name="T58" fmla="*/ 75 w 367"/>
                <a:gd name="T59" fmla="*/ 554 h 594"/>
                <a:gd name="T60" fmla="*/ 90 w 367"/>
                <a:gd name="T61" fmla="*/ 568 h 594"/>
                <a:gd name="T62" fmla="*/ 92 w 367"/>
                <a:gd name="T63" fmla="*/ 567 h 594"/>
                <a:gd name="T64" fmla="*/ 93 w 367"/>
                <a:gd name="T65" fmla="*/ 575 h 594"/>
                <a:gd name="T66" fmla="*/ 85 w 367"/>
                <a:gd name="T67" fmla="*/ 577 h 594"/>
                <a:gd name="T68" fmla="*/ 73 w 367"/>
                <a:gd name="T69" fmla="*/ 586 h 594"/>
                <a:gd name="T70" fmla="*/ 81 w 367"/>
                <a:gd name="T71" fmla="*/ 594 h 594"/>
                <a:gd name="T72" fmla="*/ 105 w 367"/>
                <a:gd name="T73" fmla="*/ 587 h 594"/>
                <a:gd name="T74" fmla="*/ 114 w 367"/>
                <a:gd name="T75" fmla="*/ 583 h 594"/>
                <a:gd name="T76" fmla="*/ 117 w 367"/>
                <a:gd name="T77" fmla="*/ 570 h 594"/>
                <a:gd name="T78" fmla="*/ 128 w 367"/>
                <a:gd name="T79" fmla="*/ 562 h 594"/>
                <a:gd name="T80" fmla="*/ 131 w 367"/>
                <a:gd name="T81" fmla="*/ 548 h 594"/>
                <a:gd name="T82" fmla="*/ 129 w 367"/>
                <a:gd name="T83" fmla="*/ 542 h 594"/>
                <a:gd name="T84" fmla="*/ 130 w 367"/>
                <a:gd name="T85" fmla="*/ 538 h 594"/>
                <a:gd name="T86" fmla="*/ 126 w 367"/>
                <a:gd name="T87" fmla="*/ 522 h 594"/>
                <a:gd name="T88" fmla="*/ 118 w 367"/>
                <a:gd name="T89" fmla="*/ 518 h 594"/>
                <a:gd name="T90" fmla="*/ 110 w 367"/>
                <a:gd name="T91" fmla="*/ 497 h 594"/>
                <a:gd name="T92" fmla="*/ 119 w 367"/>
                <a:gd name="T93" fmla="*/ 492 h 594"/>
                <a:gd name="T94" fmla="*/ 364 w 367"/>
                <a:gd name="T95" fmla="*/ 464 h 594"/>
                <a:gd name="T96" fmla="*/ 367 w 367"/>
                <a:gd name="T97" fmla="*/ 45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7" h="594">
                  <a:moveTo>
                    <a:pt x="366" y="457"/>
                  </a:moveTo>
                  <a:cubicBezTo>
                    <a:pt x="360" y="445"/>
                    <a:pt x="360" y="445"/>
                    <a:pt x="360" y="445"/>
                  </a:cubicBezTo>
                  <a:cubicBezTo>
                    <a:pt x="354" y="438"/>
                    <a:pt x="354" y="438"/>
                    <a:pt x="354" y="438"/>
                  </a:cubicBezTo>
                  <a:cubicBezTo>
                    <a:pt x="352" y="431"/>
                    <a:pt x="352" y="431"/>
                    <a:pt x="352" y="431"/>
                  </a:cubicBezTo>
                  <a:cubicBezTo>
                    <a:pt x="354" y="415"/>
                    <a:pt x="354" y="415"/>
                    <a:pt x="354" y="415"/>
                  </a:cubicBezTo>
                  <a:cubicBezTo>
                    <a:pt x="354" y="415"/>
                    <a:pt x="354" y="415"/>
                    <a:pt x="354" y="415"/>
                  </a:cubicBezTo>
                  <a:cubicBezTo>
                    <a:pt x="354" y="412"/>
                    <a:pt x="354" y="409"/>
                    <a:pt x="354" y="408"/>
                  </a:cubicBezTo>
                  <a:cubicBezTo>
                    <a:pt x="354" y="408"/>
                    <a:pt x="354" y="407"/>
                    <a:pt x="355" y="406"/>
                  </a:cubicBezTo>
                  <a:cubicBezTo>
                    <a:pt x="355" y="404"/>
                    <a:pt x="356" y="402"/>
                    <a:pt x="356" y="401"/>
                  </a:cubicBezTo>
                  <a:cubicBezTo>
                    <a:pt x="356" y="397"/>
                    <a:pt x="353" y="390"/>
                    <a:pt x="352" y="388"/>
                  </a:cubicBezTo>
                  <a:cubicBezTo>
                    <a:pt x="346" y="381"/>
                    <a:pt x="346" y="381"/>
                    <a:pt x="346" y="381"/>
                  </a:cubicBezTo>
                  <a:cubicBezTo>
                    <a:pt x="342" y="367"/>
                    <a:pt x="342" y="367"/>
                    <a:pt x="342" y="367"/>
                  </a:cubicBezTo>
                  <a:cubicBezTo>
                    <a:pt x="343" y="354"/>
                    <a:pt x="343" y="354"/>
                    <a:pt x="343" y="354"/>
                  </a:cubicBezTo>
                  <a:cubicBezTo>
                    <a:pt x="346" y="346"/>
                    <a:pt x="346" y="346"/>
                    <a:pt x="346" y="346"/>
                  </a:cubicBezTo>
                  <a:cubicBezTo>
                    <a:pt x="346" y="346"/>
                    <a:pt x="347" y="345"/>
                    <a:pt x="346" y="345"/>
                  </a:cubicBezTo>
                  <a:cubicBezTo>
                    <a:pt x="346" y="331"/>
                    <a:pt x="346" y="331"/>
                    <a:pt x="346" y="331"/>
                  </a:cubicBezTo>
                  <a:cubicBezTo>
                    <a:pt x="349" y="325"/>
                    <a:pt x="349" y="325"/>
                    <a:pt x="349" y="325"/>
                  </a:cubicBezTo>
                  <a:cubicBezTo>
                    <a:pt x="352" y="324"/>
                    <a:pt x="356" y="321"/>
                    <a:pt x="357" y="319"/>
                  </a:cubicBezTo>
                  <a:cubicBezTo>
                    <a:pt x="358" y="316"/>
                    <a:pt x="357" y="311"/>
                    <a:pt x="355" y="309"/>
                  </a:cubicBezTo>
                  <a:cubicBezTo>
                    <a:pt x="354" y="308"/>
                    <a:pt x="353" y="307"/>
                    <a:pt x="351" y="307"/>
                  </a:cubicBezTo>
                  <a:cubicBezTo>
                    <a:pt x="350" y="306"/>
                    <a:pt x="349" y="306"/>
                    <a:pt x="348" y="306"/>
                  </a:cubicBezTo>
                  <a:cubicBezTo>
                    <a:pt x="348" y="305"/>
                    <a:pt x="349" y="302"/>
                    <a:pt x="349" y="301"/>
                  </a:cubicBezTo>
                  <a:cubicBezTo>
                    <a:pt x="350" y="299"/>
                    <a:pt x="350" y="297"/>
                    <a:pt x="350" y="295"/>
                  </a:cubicBezTo>
                  <a:cubicBezTo>
                    <a:pt x="350" y="293"/>
                    <a:pt x="347" y="287"/>
                    <a:pt x="346" y="286"/>
                  </a:cubicBezTo>
                  <a:cubicBezTo>
                    <a:pt x="346" y="285"/>
                    <a:pt x="345" y="283"/>
                    <a:pt x="345" y="282"/>
                  </a:cubicBezTo>
                  <a:cubicBezTo>
                    <a:pt x="343" y="281"/>
                    <a:pt x="342" y="279"/>
                    <a:pt x="340" y="278"/>
                  </a:cubicBezTo>
                  <a:cubicBezTo>
                    <a:pt x="338" y="276"/>
                    <a:pt x="336" y="275"/>
                    <a:pt x="335" y="274"/>
                  </a:cubicBezTo>
                  <a:cubicBezTo>
                    <a:pt x="334" y="272"/>
                    <a:pt x="331" y="264"/>
                    <a:pt x="330" y="260"/>
                  </a:cubicBezTo>
                  <a:cubicBezTo>
                    <a:pt x="330" y="260"/>
                    <a:pt x="330" y="259"/>
                    <a:pt x="329" y="259"/>
                  </a:cubicBezTo>
                  <a:cubicBezTo>
                    <a:pt x="328" y="257"/>
                    <a:pt x="325" y="253"/>
                    <a:pt x="325" y="252"/>
                  </a:cubicBezTo>
                  <a:cubicBezTo>
                    <a:pt x="324" y="251"/>
                    <a:pt x="323" y="247"/>
                    <a:pt x="323" y="244"/>
                  </a:cubicBezTo>
                  <a:cubicBezTo>
                    <a:pt x="323" y="244"/>
                    <a:pt x="322" y="244"/>
                    <a:pt x="322" y="244"/>
                  </a:cubicBezTo>
                  <a:cubicBezTo>
                    <a:pt x="320" y="240"/>
                    <a:pt x="320" y="240"/>
                    <a:pt x="320" y="240"/>
                  </a:cubicBezTo>
                  <a:cubicBezTo>
                    <a:pt x="285" y="113"/>
                    <a:pt x="285" y="113"/>
                    <a:pt x="285" y="113"/>
                  </a:cubicBezTo>
                  <a:cubicBezTo>
                    <a:pt x="250" y="2"/>
                    <a:pt x="250" y="2"/>
                    <a:pt x="250" y="2"/>
                  </a:cubicBezTo>
                  <a:cubicBezTo>
                    <a:pt x="249" y="1"/>
                    <a:pt x="248" y="0"/>
                    <a:pt x="247" y="0"/>
                  </a:cubicBezTo>
                  <a:cubicBezTo>
                    <a:pt x="141" y="12"/>
                    <a:pt x="141" y="12"/>
                    <a:pt x="141" y="12"/>
                  </a:cubicBezTo>
                  <a:cubicBezTo>
                    <a:pt x="4" y="23"/>
                    <a:pt x="4" y="23"/>
                    <a:pt x="4" y="23"/>
                  </a:cubicBezTo>
                  <a:cubicBezTo>
                    <a:pt x="3" y="23"/>
                    <a:pt x="3" y="24"/>
                    <a:pt x="2" y="24"/>
                  </a:cubicBezTo>
                  <a:cubicBezTo>
                    <a:pt x="2" y="24"/>
                    <a:pt x="0" y="28"/>
                    <a:pt x="1" y="31"/>
                  </a:cubicBezTo>
                  <a:cubicBezTo>
                    <a:pt x="2" y="33"/>
                    <a:pt x="4" y="35"/>
                    <a:pt x="8" y="36"/>
                  </a:cubicBezTo>
                  <a:cubicBezTo>
                    <a:pt x="13" y="39"/>
                    <a:pt x="13" y="39"/>
                    <a:pt x="13" y="39"/>
                  </a:cubicBezTo>
                  <a:cubicBezTo>
                    <a:pt x="7" y="392"/>
                    <a:pt x="7" y="392"/>
                    <a:pt x="7" y="392"/>
                  </a:cubicBezTo>
                  <a:cubicBezTo>
                    <a:pt x="30" y="566"/>
                    <a:pt x="30" y="566"/>
                    <a:pt x="30" y="566"/>
                  </a:cubicBezTo>
                  <a:cubicBezTo>
                    <a:pt x="31" y="570"/>
                    <a:pt x="31" y="570"/>
                    <a:pt x="31" y="570"/>
                  </a:cubicBezTo>
                  <a:cubicBezTo>
                    <a:pt x="31" y="571"/>
                    <a:pt x="31" y="571"/>
                    <a:pt x="32" y="572"/>
                  </a:cubicBezTo>
                  <a:cubicBezTo>
                    <a:pt x="32" y="572"/>
                    <a:pt x="33" y="572"/>
                    <a:pt x="34" y="572"/>
                  </a:cubicBezTo>
                  <a:cubicBezTo>
                    <a:pt x="36" y="571"/>
                    <a:pt x="39" y="570"/>
                    <a:pt x="40" y="570"/>
                  </a:cubicBezTo>
                  <a:cubicBezTo>
                    <a:pt x="42" y="570"/>
                    <a:pt x="46" y="571"/>
                    <a:pt x="48" y="572"/>
                  </a:cubicBezTo>
                  <a:cubicBezTo>
                    <a:pt x="51" y="573"/>
                    <a:pt x="53" y="573"/>
                    <a:pt x="54" y="573"/>
                  </a:cubicBezTo>
                  <a:cubicBezTo>
                    <a:pt x="56" y="574"/>
                    <a:pt x="56" y="574"/>
                    <a:pt x="56" y="574"/>
                  </a:cubicBezTo>
                  <a:cubicBezTo>
                    <a:pt x="58" y="574"/>
                    <a:pt x="62" y="574"/>
                    <a:pt x="64" y="573"/>
                  </a:cubicBezTo>
                  <a:cubicBezTo>
                    <a:pt x="69" y="568"/>
                    <a:pt x="67" y="549"/>
                    <a:pt x="66" y="544"/>
                  </a:cubicBezTo>
                  <a:cubicBezTo>
                    <a:pt x="66" y="543"/>
                    <a:pt x="67" y="538"/>
                    <a:pt x="67" y="536"/>
                  </a:cubicBezTo>
                  <a:cubicBezTo>
                    <a:pt x="67" y="535"/>
                    <a:pt x="68" y="532"/>
                    <a:pt x="69" y="532"/>
                  </a:cubicBezTo>
                  <a:cubicBezTo>
                    <a:pt x="70" y="532"/>
                    <a:pt x="72" y="534"/>
                    <a:pt x="74" y="535"/>
                  </a:cubicBezTo>
                  <a:cubicBezTo>
                    <a:pt x="74" y="535"/>
                    <a:pt x="76" y="538"/>
                    <a:pt x="77" y="541"/>
                  </a:cubicBezTo>
                  <a:cubicBezTo>
                    <a:pt x="78" y="543"/>
                    <a:pt x="78" y="546"/>
                    <a:pt x="78" y="547"/>
                  </a:cubicBezTo>
                  <a:cubicBezTo>
                    <a:pt x="78" y="547"/>
                    <a:pt x="78" y="548"/>
                    <a:pt x="77" y="549"/>
                  </a:cubicBezTo>
                  <a:cubicBezTo>
                    <a:pt x="76" y="551"/>
                    <a:pt x="75" y="553"/>
                    <a:pt x="75" y="554"/>
                  </a:cubicBezTo>
                  <a:cubicBezTo>
                    <a:pt x="75" y="557"/>
                    <a:pt x="78" y="561"/>
                    <a:pt x="80" y="563"/>
                  </a:cubicBezTo>
                  <a:cubicBezTo>
                    <a:pt x="81" y="565"/>
                    <a:pt x="86" y="568"/>
                    <a:pt x="90" y="568"/>
                  </a:cubicBezTo>
                  <a:cubicBezTo>
                    <a:pt x="90" y="568"/>
                    <a:pt x="90" y="568"/>
                    <a:pt x="90" y="568"/>
                  </a:cubicBezTo>
                  <a:cubicBezTo>
                    <a:pt x="90" y="568"/>
                    <a:pt x="91" y="568"/>
                    <a:pt x="92" y="567"/>
                  </a:cubicBezTo>
                  <a:cubicBezTo>
                    <a:pt x="93" y="568"/>
                    <a:pt x="94" y="571"/>
                    <a:pt x="94" y="573"/>
                  </a:cubicBezTo>
                  <a:cubicBezTo>
                    <a:pt x="94" y="573"/>
                    <a:pt x="94" y="574"/>
                    <a:pt x="93" y="575"/>
                  </a:cubicBezTo>
                  <a:cubicBezTo>
                    <a:pt x="93" y="576"/>
                    <a:pt x="90" y="577"/>
                    <a:pt x="87" y="577"/>
                  </a:cubicBezTo>
                  <a:cubicBezTo>
                    <a:pt x="86" y="577"/>
                    <a:pt x="86" y="577"/>
                    <a:pt x="85" y="577"/>
                  </a:cubicBezTo>
                  <a:cubicBezTo>
                    <a:pt x="83" y="576"/>
                    <a:pt x="80" y="576"/>
                    <a:pt x="79" y="576"/>
                  </a:cubicBezTo>
                  <a:cubicBezTo>
                    <a:pt x="76" y="578"/>
                    <a:pt x="73" y="583"/>
                    <a:pt x="73" y="586"/>
                  </a:cubicBezTo>
                  <a:cubicBezTo>
                    <a:pt x="72" y="588"/>
                    <a:pt x="72" y="590"/>
                    <a:pt x="73" y="591"/>
                  </a:cubicBezTo>
                  <a:cubicBezTo>
                    <a:pt x="74" y="593"/>
                    <a:pt x="77" y="594"/>
                    <a:pt x="81" y="594"/>
                  </a:cubicBezTo>
                  <a:cubicBezTo>
                    <a:pt x="87" y="594"/>
                    <a:pt x="97" y="590"/>
                    <a:pt x="103" y="587"/>
                  </a:cubicBezTo>
                  <a:cubicBezTo>
                    <a:pt x="105" y="587"/>
                    <a:pt x="105" y="587"/>
                    <a:pt x="105" y="587"/>
                  </a:cubicBezTo>
                  <a:cubicBezTo>
                    <a:pt x="106" y="586"/>
                    <a:pt x="107" y="586"/>
                    <a:pt x="108" y="586"/>
                  </a:cubicBezTo>
                  <a:cubicBezTo>
                    <a:pt x="110" y="585"/>
                    <a:pt x="113" y="585"/>
                    <a:pt x="114" y="583"/>
                  </a:cubicBezTo>
                  <a:cubicBezTo>
                    <a:pt x="117" y="580"/>
                    <a:pt x="118" y="574"/>
                    <a:pt x="117" y="570"/>
                  </a:cubicBezTo>
                  <a:cubicBezTo>
                    <a:pt x="117" y="570"/>
                    <a:pt x="117" y="570"/>
                    <a:pt x="117" y="570"/>
                  </a:cubicBezTo>
                  <a:cubicBezTo>
                    <a:pt x="118" y="570"/>
                    <a:pt x="118" y="570"/>
                    <a:pt x="119" y="570"/>
                  </a:cubicBezTo>
                  <a:cubicBezTo>
                    <a:pt x="122" y="569"/>
                    <a:pt x="126" y="565"/>
                    <a:pt x="128" y="562"/>
                  </a:cubicBezTo>
                  <a:cubicBezTo>
                    <a:pt x="130" y="558"/>
                    <a:pt x="132" y="553"/>
                    <a:pt x="131" y="549"/>
                  </a:cubicBezTo>
                  <a:cubicBezTo>
                    <a:pt x="131" y="549"/>
                    <a:pt x="131" y="548"/>
                    <a:pt x="131" y="548"/>
                  </a:cubicBezTo>
                  <a:cubicBezTo>
                    <a:pt x="131" y="547"/>
                    <a:pt x="132" y="546"/>
                    <a:pt x="131" y="545"/>
                  </a:cubicBezTo>
                  <a:cubicBezTo>
                    <a:pt x="131" y="544"/>
                    <a:pt x="130" y="543"/>
                    <a:pt x="129" y="542"/>
                  </a:cubicBezTo>
                  <a:cubicBezTo>
                    <a:pt x="129" y="542"/>
                    <a:pt x="128" y="541"/>
                    <a:pt x="128" y="541"/>
                  </a:cubicBezTo>
                  <a:cubicBezTo>
                    <a:pt x="128" y="540"/>
                    <a:pt x="129" y="539"/>
                    <a:pt x="130" y="538"/>
                  </a:cubicBezTo>
                  <a:cubicBezTo>
                    <a:pt x="131" y="536"/>
                    <a:pt x="132" y="533"/>
                    <a:pt x="132" y="531"/>
                  </a:cubicBezTo>
                  <a:cubicBezTo>
                    <a:pt x="131" y="528"/>
                    <a:pt x="127" y="523"/>
                    <a:pt x="126" y="522"/>
                  </a:cubicBezTo>
                  <a:cubicBezTo>
                    <a:pt x="126" y="522"/>
                    <a:pt x="125" y="522"/>
                    <a:pt x="125" y="522"/>
                  </a:cubicBezTo>
                  <a:cubicBezTo>
                    <a:pt x="122" y="521"/>
                    <a:pt x="119" y="519"/>
                    <a:pt x="118" y="518"/>
                  </a:cubicBezTo>
                  <a:cubicBezTo>
                    <a:pt x="115" y="515"/>
                    <a:pt x="108" y="508"/>
                    <a:pt x="108" y="505"/>
                  </a:cubicBezTo>
                  <a:cubicBezTo>
                    <a:pt x="107" y="503"/>
                    <a:pt x="108" y="499"/>
                    <a:pt x="110" y="497"/>
                  </a:cubicBezTo>
                  <a:cubicBezTo>
                    <a:pt x="110" y="496"/>
                    <a:pt x="114" y="493"/>
                    <a:pt x="115" y="492"/>
                  </a:cubicBezTo>
                  <a:cubicBezTo>
                    <a:pt x="116" y="492"/>
                    <a:pt x="118" y="492"/>
                    <a:pt x="119" y="492"/>
                  </a:cubicBezTo>
                  <a:cubicBezTo>
                    <a:pt x="208" y="483"/>
                    <a:pt x="208" y="483"/>
                    <a:pt x="208" y="483"/>
                  </a:cubicBezTo>
                  <a:cubicBezTo>
                    <a:pt x="364" y="464"/>
                    <a:pt x="364" y="464"/>
                    <a:pt x="364" y="464"/>
                  </a:cubicBezTo>
                  <a:cubicBezTo>
                    <a:pt x="366" y="464"/>
                    <a:pt x="367" y="463"/>
                    <a:pt x="367" y="462"/>
                  </a:cubicBezTo>
                  <a:cubicBezTo>
                    <a:pt x="367" y="458"/>
                    <a:pt x="367" y="458"/>
                    <a:pt x="367" y="458"/>
                  </a:cubicBezTo>
                  <a:cubicBezTo>
                    <a:pt x="367" y="458"/>
                    <a:pt x="367" y="457"/>
                    <a:pt x="366" y="457"/>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33">
              <a:extLst>
                <a:ext uri="{FF2B5EF4-FFF2-40B4-BE49-F238E27FC236}">
                  <a16:creationId xmlns:a16="http://schemas.microsoft.com/office/drawing/2014/main" id="{5B49049C-0FE3-4F2E-8954-D62C36376315}"/>
                </a:ext>
              </a:extLst>
            </p:cNvPr>
            <p:cNvSpPr>
              <a:spLocks/>
            </p:cNvSpPr>
            <p:nvPr/>
          </p:nvSpPr>
          <p:spPr bwMode="auto">
            <a:xfrm>
              <a:off x="7419849" y="3854611"/>
              <a:ext cx="530631" cy="405301"/>
            </a:xfrm>
            <a:custGeom>
              <a:avLst/>
              <a:gdLst>
                <a:gd name="T0" fmla="*/ 352 w 477"/>
                <a:gd name="T1" fmla="*/ 17 h 365"/>
                <a:gd name="T2" fmla="*/ 246 w 477"/>
                <a:gd name="T3" fmla="*/ 33 h 365"/>
                <a:gd name="T4" fmla="*/ 242 w 477"/>
                <a:gd name="T5" fmla="*/ 18 h 365"/>
                <a:gd name="T6" fmla="*/ 221 w 477"/>
                <a:gd name="T7" fmla="*/ 8 h 365"/>
                <a:gd name="T8" fmla="*/ 206 w 477"/>
                <a:gd name="T9" fmla="*/ 0 h 365"/>
                <a:gd name="T10" fmla="*/ 89 w 477"/>
                <a:gd name="T11" fmla="*/ 14 h 365"/>
                <a:gd name="T12" fmla="*/ 61 w 477"/>
                <a:gd name="T13" fmla="*/ 29 h 365"/>
                <a:gd name="T14" fmla="*/ 48 w 477"/>
                <a:gd name="T15" fmla="*/ 35 h 365"/>
                <a:gd name="T16" fmla="*/ 21 w 477"/>
                <a:gd name="T17" fmla="*/ 54 h 365"/>
                <a:gd name="T18" fmla="*/ 12 w 477"/>
                <a:gd name="T19" fmla="*/ 93 h 365"/>
                <a:gd name="T20" fmla="*/ 29 w 477"/>
                <a:gd name="T21" fmla="*/ 104 h 365"/>
                <a:gd name="T22" fmla="*/ 50 w 477"/>
                <a:gd name="T23" fmla="*/ 110 h 365"/>
                <a:gd name="T24" fmla="*/ 60 w 477"/>
                <a:gd name="T25" fmla="*/ 123 h 365"/>
                <a:gd name="T26" fmla="*/ 68 w 477"/>
                <a:gd name="T27" fmla="*/ 134 h 365"/>
                <a:gd name="T28" fmla="*/ 105 w 477"/>
                <a:gd name="T29" fmla="*/ 173 h 365"/>
                <a:gd name="T30" fmla="*/ 126 w 477"/>
                <a:gd name="T31" fmla="*/ 188 h 365"/>
                <a:gd name="T32" fmla="*/ 137 w 477"/>
                <a:gd name="T33" fmla="*/ 201 h 365"/>
                <a:gd name="T34" fmla="*/ 161 w 477"/>
                <a:gd name="T35" fmla="*/ 216 h 365"/>
                <a:gd name="T36" fmla="*/ 164 w 477"/>
                <a:gd name="T37" fmla="*/ 227 h 365"/>
                <a:gd name="T38" fmla="*/ 172 w 477"/>
                <a:gd name="T39" fmla="*/ 233 h 365"/>
                <a:gd name="T40" fmla="*/ 181 w 477"/>
                <a:gd name="T41" fmla="*/ 241 h 365"/>
                <a:gd name="T42" fmla="*/ 197 w 477"/>
                <a:gd name="T43" fmla="*/ 254 h 365"/>
                <a:gd name="T44" fmla="*/ 212 w 477"/>
                <a:gd name="T45" fmla="*/ 268 h 365"/>
                <a:gd name="T46" fmla="*/ 224 w 477"/>
                <a:gd name="T47" fmla="*/ 290 h 365"/>
                <a:gd name="T48" fmla="*/ 235 w 477"/>
                <a:gd name="T49" fmla="*/ 309 h 365"/>
                <a:gd name="T50" fmla="*/ 254 w 477"/>
                <a:gd name="T51" fmla="*/ 328 h 365"/>
                <a:gd name="T52" fmla="*/ 259 w 477"/>
                <a:gd name="T53" fmla="*/ 338 h 365"/>
                <a:gd name="T54" fmla="*/ 266 w 477"/>
                <a:gd name="T55" fmla="*/ 358 h 365"/>
                <a:gd name="T56" fmla="*/ 285 w 477"/>
                <a:gd name="T57" fmla="*/ 363 h 365"/>
                <a:gd name="T58" fmla="*/ 296 w 477"/>
                <a:gd name="T59" fmla="*/ 347 h 365"/>
                <a:gd name="T60" fmla="*/ 303 w 477"/>
                <a:gd name="T61" fmla="*/ 348 h 365"/>
                <a:gd name="T62" fmla="*/ 301 w 477"/>
                <a:gd name="T63" fmla="*/ 332 h 365"/>
                <a:gd name="T64" fmla="*/ 293 w 477"/>
                <a:gd name="T65" fmla="*/ 324 h 365"/>
                <a:gd name="T66" fmla="*/ 288 w 477"/>
                <a:gd name="T67" fmla="*/ 311 h 365"/>
                <a:gd name="T68" fmla="*/ 291 w 477"/>
                <a:gd name="T69" fmla="*/ 317 h 365"/>
                <a:gd name="T70" fmla="*/ 302 w 477"/>
                <a:gd name="T71" fmla="*/ 329 h 365"/>
                <a:gd name="T72" fmla="*/ 306 w 477"/>
                <a:gd name="T73" fmla="*/ 325 h 365"/>
                <a:gd name="T74" fmla="*/ 316 w 477"/>
                <a:gd name="T75" fmla="*/ 331 h 365"/>
                <a:gd name="T76" fmla="*/ 327 w 477"/>
                <a:gd name="T77" fmla="*/ 308 h 365"/>
                <a:gd name="T78" fmla="*/ 321 w 477"/>
                <a:gd name="T79" fmla="*/ 304 h 365"/>
                <a:gd name="T80" fmla="*/ 312 w 477"/>
                <a:gd name="T81" fmla="*/ 303 h 365"/>
                <a:gd name="T82" fmla="*/ 320 w 477"/>
                <a:gd name="T83" fmla="*/ 301 h 365"/>
                <a:gd name="T84" fmla="*/ 331 w 477"/>
                <a:gd name="T85" fmla="*/ 300 h 365"/>
                <a:gd name="T86" fmla="*/ 341 w 477"/>
                <a:gd name="T87" fmla="*/ 298 h 365"/>
                <a:gd name="T88" fmla="*/ 355 w 477"/>
                <a:gd name="T89" fmla="*/ 285 h 365"/>
                <a:gd name="T90" fmla="*/ 367 w 477"/>
                <a:gd name="T91" fmla="*/ 278 h 365"/>
                <a:gd name="T92" fmla="*/ 373 w 477"/>
                <a:gd name="T93" fmla="*/ 274 h 365"/>
                <a:gd name="T94" fmla="*/ 370 w 477"/>
                <a:gd name="T95" fmla="*/ 260 h 365"/>
                <a:gd name="T96" fmla="*/ 370 w 477"/>
                <a:gd name="T97" fmla="*/ 253 h 365"/>
                <a:gd name="T98" fmla="*/ 383 w 477"/>
                <a:gd name="T99" fmla="*/ 259 h 365"/>
                <a:gd name="T100" fmla="*/ 394 w 477"/>
                <a:gd name="T101" fmla="*/ 244 h 365"/>
                <a:gd name="T102" fmla="*/ 398 w 477"/>
                <a:gd name="T103" fmla="*/ 233 h 365"/>
                <a:gd name="T104" fmla="*/ 402 w 477"/>
                <a:gd name="T105" fmla="*/ 227 h 365"/>
                <a:gd name="T106" fmla="*/ 418 w 477"/>
                <a:gd name="T107" fmla="*/ 220 h 365"/>
                <a:gd name="T108" fmla="*/ 425 w 477"/>
                <a:gd name="T109" fmla="*/ 210 h 365"/>
                <a:gd name="T110" fmla="*/ 426 w 477"/>
                <a:gd name="T111" fmla="*/ 191 h 365"/>
                <a:gd name="T112" fmla="*/ 421 w 477"/>
                <a:gd name="T113" fmla="*/ 180 h 365"/>
                <a:gd name="T114" fmla="*/ 424 w 477"/>
                <a:gd name="T115" fmla="*/ 186 h 365"/>
                <a:gd name="T116" fmla="*/ 432 w 477"/>
                <a:gd name="T117" fmla="*/ 192 h 365"/>
                <a:gd name="T118" fmla="*/ 441 w 477"/>
                <a:gd name="T119" fmla="*/ 181 h 365"/>
                <a:gd name="T120" fmla="*/ 443 w 477"/>
                <a:gd name="T121" fmla="*/ 164 h 365"/>
                <a:gd name="T122" fmla="*/ 468 w 477"/>
                <a:gd name="T123" fmla="*/ 118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7" h="365">
                  <a:moveTo>
                    <a:pt x="476" y="107"/>
                  </a:moveTo>
                  <a:cubicBezTo>
                    <a:pt x="476" y="106"/>
                    <a:pt x="476" y="106"/>
                    <a:pt x="475" y="106"/>
                  </a:cubicBezTo>
                  <a:cubicBezTo>
                    <a:pt x="352" y="17"/>
                    <a:pt x="352" y="17"/>
                    <a:pt x="352" y="17"/>
                  </a:cubicBezTo>
                  <a:cubicBezTo>
                    <a:pt x="351" y="17"/>
                    <a:pt x="351" y="17"/>
                    <a:pt x="350" y="17"/>
                  </a:cubicBezTo>
                  <a:cubicBezTo>
                    <a:pt x="247" y="33"/>
                    <a:pt x="247" y="33"/>
                    <a:pt x="247" y="33"/>
                  </a:cubicBezTo>
                  <a:cubicBezTo>
                    <a:pt x="246" y="33"/>
                    <a:pt x="246" y="33"/>
                    <a:pt x="246" y="33"/>
                  </a:cubicBezTo>
                  <a:cubicBezTo>
                    <a:pt x="246" y="32"/>
                    <a:pt x="246" y="31"/>
                    <a:pt x="246" y="30"/>
                  </a:cubicBezTo>
                  <a:cubicBezTo>
                    <a:pt x="246" y="28"/>
                    <a:pt x="246" y="27"/>
                    <a:pt x="245" y="26"/>
                  </a:cubicBezTo>
                  <a:cubicBezTo>
                    <a:pt x="245" y="24"/>
                    <a:pt x="243" y="20"/>
                    <a:pt x="242" y="18"/>
                  </a:cubicBezTo>
                  <a:cubicBezTo>
                    <a:pt x="240" y="14"/>
                    <a:pt x="234" y="6"/>
                    <a:pt x="228" y="5"/>
                  </a:cubicBezTo>
                  <a:cubicBezTo>
                    <a:pt x="226" y="4"/>
                    <a:pt x="224" y="6"/>
                    <a:pt x="223" y="7"/>
                  </a:cubicBezTo>
                  <a:cubicBezTo>
                    <a:pt x="222" y="7"/>
                    <a:pt x="221" y="8"/>
                    <a:pt x="221" y="8"/>
                  </a:cubicBezTo>
                  <a:cubicBezTo>
                    <a:pt x="221" y="7"/>
                    <a:pt x="219" y="6"/>
                    <a:pt x="219" y="5"/>
                  </a:cubicBezTo>
                  <a:cubicBezTo>
                    <a:pt x="217" y="3"/>
                    <a:pt x="216" y="1"/>
                    <a:pt x="214" y="1"/>
                  </a:cubicBezTo>
                  <a:cubicBezTo>
                    <a:pt x="212" y="0"/>
                    <a:pt x="210" y="0"/>
                    <a:pt x="206" y="0"/>
                  </a:cubicBezTo>
                  <a:cubicBezTo>
                    <a:pt x="196" y="0"/>
                    <a:pt x="182" y="3"/>
                    <a:pt x="181" y="3"/>
                  </a:cubicBezTo>
                  <a:cubicBezTo>
                    <a:pt x="96" y="12"/>
                    <a:pt x="96" y="12"/>
                    <a:pt x="96" y="12"/>
                  </a:cubicBezTo>
                  <a:cubicBezTo>
                    <a:pt x="89" y="14"/>
                    <a:pt x="89" y="14"/>
                    <a:pt x="89" y="14"/>
                  </a:cubicBezTo>
                  <a:cubicBezTo>
                    <a:pt x="82" y="19"/>
                    <a:pt x="82" y="19"/>
                    <a:pt x="82" y="19"/>
                  </a:cubicBezTo>
                  <a:cubicBezTo>
                    <a:pt x="80" y="19"/>
                    <a:pt x="70" y="22"/>
                    <a:pt x="66" y="24"/>
                  </a:cubicBezTo>
                  <a:cubicBezTo>
                    <a:pt x="64" y="25"/>
                    <a:pt x="63" y="27"/>
                    <a:pt x="61" y="29"/>
                  </a:cubicBezTo>
                  <a:cubicBezTo>
                    <a:pt x="59" y="31"/>
                    <a:pt x="57" y="34"/>
                    <a:pt x="55" y="35"/>
                  </a:cubicBezTo>
                  <a:cubicBezTo>
                    <a:pt x="54" y="35"/>
                    <a:pt x="52" y="35"/>
                    <a:pt x="51" y="35"/>
                  </a:cubicBezTo>
                  <a:cubicBezTo>
                    <a:pt x="50" y="35"/>
                    <a:pt x="49" y="35"/>
                    <a:pt x="48" y="35"/>
                  </a:cubicBezTo>
                  <a:cubicBezTo>
                    <a:pt x="37" y="36"/>
                    <a:pt x="26" y="42"/>
                    <a:pt x="22" y="48"/>
                  </a:cubicBezTo>
                  <a:cubicBezTo>
                    <a:pt x="22" y="50"/>
                    <a:pt x="21" y="51"/>
                    <a:pt x="21" y="53"/>
                  </a:cubicBezTo>
                  <a:cubicBezTo>
                    <a:pt x="21" y="53"/>
                    <a:pt x="21" y="54"/>
                    <a:pt x="21" y="54"/>
                  </a:cubicBezTo>
                  <a:cubicBezTo>
                    <a:pt x="20" y="57"/>
                    <a:pt x="17" y="59"/>
                    <a:pt x="15" y="61"/>
                  </a:cubicBezTo>
                  <a:cubicBezTo>
                    <a:pt x="14" y="62"/>
                    <a:pt x="12" y="64"/>
                    <a:pt x="11" y="65"/>
                  </a:cubicBezTo>
                  <a:cubicBezTo>
                    <a:pt x="4" y="75"/>
                    <a:pt x="0" y="83"/>
                    <a:pt x="12" y="93"/>
                  </a:cubicBezTo>
                  <a:cubicBezTo>
                    <a:pt x="14" y="95"/>
                    <a:pt x="16" y="95"/>
                    <a:pt x="18" y="96"/>
                  </a:cubicBezTo>
                  <a:cubicBezTo>
                    <a:pt x="19" y="97"/>
                    <a:pt x="21" y="98"/>
                    <a:pt x="24" y="100"/>
                  </a:cubicBezTo>
                  <a:cubicBezTo>
                    <a:pt x="25" y="100"/>
                    <a:pt x="27" y="102"/>
                    <a:pt x="29" y="104"/>
                  </a:cubicBezTo>
                  <a:cubicBezTo>
                    <a:pt x="32" y="107"/>
                    <a:pt x="36" y="110"/>
                    <a:pt x="39" y="111"/>
                  </a:cubicBezTo>
                  <a:cubicBezTo>
                    <a:pt x="41" y="112"/>
                    <a:pt x="43" y="111"/>
                    <a:pt x="46" y="111"/>
                  </a:cubicBezTo>
                  <a:cubicBezTo>
                    <a:pt x="47" y="110"/>
                    <a:pt x="48" y="110"/>
                    <a:pt x="50" y="110"/>
                  </a:cubicBezTo>
                  <a:cubicBezTo>
                    <a:pt x="51" y="110"/>
                    <a:pt x="54" y="113"/>
                    <a:pt x="56" y="116"/>
                  </a:cubicBezTo>
                  <a:cubicBezTo>
                    <a:pt x="57" y="116"/>
                    <a:pt x="57" y="118"/>
                    <a:pt x="58" y="119"/>
                  </a:cubicBezTo>
                  <a:cubicBezTo>
                    <a:pt x="59" y="120"/>
                    <a:pt x="59" y="122"/>
                    <a:pt x="60" y="123"/>
                  </a:cubicBezTo>
                  <a:cubicBezTo>
                    <a:pt x="61" y="124"/>
                    <a:pt x="62" y="125"/>
                    <a:pt x="63" y="127"/>
                  </a:cubicBezTo>
                  <a:cubicBezTo>
                    <a:pt x="65" y="128"/>
                    <a:pt x="66" y="130"/>
                    <a:pt x="67" y="131"/>
                  </a:cubicBezTo>
                  <a:cubicBezTo>
                    <a:pt x="67" y="132"/>
                    <a:pt x="68" y="133"/>
                    <a:pt x="68" y="134"/>
                  </a:cubicBezTo>
                  <a:cubicBezTo>
                    <a:pt x="69" y="136"/>
                    <a:pt x="69" y="137"/>
                    <a:pt x="70" y="138"/>
                  </a:cubicBezTo>
                  <a:cubicBezTo>
                    <a:pt x="74" y="145"/>
                    <a:pt x="84" y="157"/>
                    <a:pt x="90" y="163"/>
                  </a:cubicBezTo>
                  <a:cubicBezTo>
                    <a:pt x="94" y="166"/>
                    <a:pt x="102" y="171"/>
                    <a:pt x="105" y="173"/>
                  </a:cubicBezTo>
                  <a:cubicBezTo>
                    <a:pt x="107" y="174"/>
                    <a:pt x="109" y="175"/>
                    <a:pt x="111" y="176"/>
                  </a:cubicBezTo>
                  <a:cubicBezTo>
                    <a:pt x="114" y="177"/>
                    <a:pt x="118" y="179"/>
                    <a:pt x="120" y="180"/>
                  </a:cubicBezTo>
                  <a:cubicBezTo>
                    <a:pt x="121" y="182"/>
                    <a:pt x="125" y="185"/>
                    <a:pt x="126" y="188"/>
                  </a:cubicBezTo>
                  <a:cubicBezTo>
                    <a:pt x="127" y="188"/>
                    <a:pt x="128" y="190"/>
                    <a:pt x="128" y="191"/>
                  </a:cubicBezTo>
                  <a:cubicBezTo>
                    <a:pt x="129" y="193"/>
                    <a:pt x="130" y="195"/>
                    <a:pt x="131" y="196"/>
                  </a:cubicBezTo>
                  <a:cubicBezTo>
                    <a:pt x="132" y="198"/>
                    <a:pt x="135" y="200"/>
                    <a:pt x="137" y="201"/>
                  </a:cubicBezTo>
                  <a:cubicBezTo>
                    <a:pt x="139" y="202"/>
                    <a:pt x="143" y="204"/>
                    <a:pt x="145" y="205"/>
                  </a:cubicBezTo>
                  <a:cubicBezTo>
                    <a:pt x="148" y="206"/>
                    <a:pt x="154" y="210"/>
                    <a:pt x="156" y="211"/>
                  </a:cubicBezTo>
                  <a:cubicBezTo>
                    <a:pt x="158" y="213"/>
                    <a:pt x="160" y="215"/>
                    <a:pt x="161" y="216"/>
                  </a:cubicBezTo>
                  <a:cubicBezTo>
                    <a:pt x="161" y="216"/>
                    <a:pt x="161" y="216"/>
                    <a:pt x="161" y="216"/>
                  </a:cubicBezTo>
                  <a:cubicBezTo>
                    <a:pt x="161" y="216"/>
                    <a:pt x="160" y="217"/>
                    <a:pt x="160" y="218"/>
                  </a:cubicBezTo>
                  <a:cubicBezTo>
                    <a:pt x="160" y="221"/>
                    <a:pt x="162" y="225"/>
                    <a:pt x="164" y="227"/>
                  </a:cubicBezTo>
                  <a:cubicBezTo>
                    <a:pt x="165" y="228"/>
                    <a:pt x="167" y="229"/>
                    <a:pt x="169" y="229"/>
                  </a:cubicBezTo>
                  <a:cubicBezTo>
                    <a:pt x="170" y="230"/>
                    <a:pt x="171" y="230"/>
                    <a:pt x="172" y="231"/>
                  </a:cubicBezTo>
                  <a:cubicBezTo>
                    <a:pt x="172" y="231"/>
                    <a:pt x="172" y="232"/>
                    <a:pt x="172" y="233"/>
                  </a:cubicBezTo>
                  <a:cubicBezTo>
                    <a:pt x="172" y="235"/>
                    <a:pt x="172" y="237"/>
                    <a:pt x="173" y="238"/>
                  </a:cubicBezTo>
                  <a:cubicBezTo>
                    <a:pt x="174" y="240"/>
                    <a:pt x="177" y="240"/>
                    <a:pt x="179" y="240"/>
                  </a:cubicBezTo>
                  <a:cubicBezTo>
                    <a:pt x="179" y="241"/>
                    <a:pt x="180" y="241"/>
                    <a:pt x="181" y="241"/>
                  </a:cubicBezTo>
                  <a:cubicBezTo>
                    <a:pt x="181" y="241"/>
                    <a:pt x="181" y="241"/>
                    <a:pt x="181" y="242"/>
                  </a:cubicBezTo>
                  <a:cubicBezTo>
                    <a:pt x="182" y="245"/>
                    <a:pt x="187" y="249"/>
                    <a:pt x="189" y="250"/>
                  </a:cubicBezTo>
                  <a:cubicBezTo>
                    <a:pt x="191" y="251"/>
                    <a:pt x="194" y="253"/>
                    <a:pt x="197" y="254"/>
                  </a:cubicBezTo>
                  <a:cubicBezTo>
                    <a:pt x="208" y="258"/>
                    <a:pt x="211" y="261"/>
                    <a:pt x="211" y="262"/>
                  </a:cubicBezTo>
                  <a:cubicBezTo>
                    <a:pt x="211" y="262"/>
                    <a:pt x="211" y="264"/>
                    <a:pt x="211" y="264"/>
                  </a:cubicBezTo>
                  <a:cubicBezTo>
                    <a:pt x="211" y="266"/>
                    <a:pt x="211" y="267"/>
                    <a:pt x="212" y="268"/>
                  </a:cubicBezTo>
                  <a:cubicBezTo>
                    <a:pt x="213" y="271"/>
                    <a:pt x="219" y="278"/>
                    <a:pt x="221" y="280"/>
                  </a:cubicBezTo>
                  <a:cubicBezTo>
                    <a:pt x="222" y="282"/>
                    <a:pt x="224" y="286"/>
                    <a:pt x="224" y="287"/>
                  </a:cubicBezTo>
                  <a:cubicBezTo>
                    <a:pt x="224" y="288"/>
                    <a:pt x="224" y="289"/>
                    <a:pt x="224" y="290"/>
                  </a:cubicBezTo>
                  <a:cubicBezTo>
                    <a:pt x="224" y="292"/>
                    <a:pt x="224" y="293"/>
                    <a:pt x="224" y="294"/>
                  </a:cubicBezTo>
                  <a:cubicBezTo>
                    <a:pt x="224" y="297"/>
                    <a:pt x="225" y="301"/>
                    <a:pt x="226" y="303"/>
                  </a:cubicBezTo>
                  <a:cubicBezTo>
                    <a:pt x="228" y="305"/>
                    <a:pt x="233" y="308"/>
                    <a:pt x="235" y="309"/>
                  </a:cubicBezTo>
                  <a:cubicBezTo>
                    <a:pt x="238" y="310"/>
                    <a:pt x="243" y="313"/>
                    <a:pt x="245" y="314"/>
                  </a:cubicBezTo>
                  <a:cubicBezTo>
                    <a:pt x="246" y="315"/>
                    <a:pt x="249" y="318"/>
                    <a:pt x="250" y="320"/>
                  </a:cubicBezTo>
                  <a:cubicBezTo>
                    <a:pt x="250" y="320"/>
                    <a:pt x="253" y="326"/>
                    <a:pt x="254" y="328"/>
                  </a:cubicBezTo>
                  <a:cubicBezTo>
                    <a:pt x="254" y="329"/>
                    <a:pt x="255" y="330"/>
                    <a:pt x="256" y="331"/>
                  </a:cubicBezTo>
                  <a:cubicBezTo>
                    <a:pt x="257" y="333"/>
                    <a:pt x="259" y="334"/>
                    <a:pt x="259" y="335"/>
                  </a:cubicBezTo>
                  <a:cubicBezTo>
                    <a:pt x="259" y="336"/>
                    <a:pt x="259" y="337"/>
                    <a:pt x="259" y="338"/>
                  </a:cubicBezTo>
                  <a:cubicBezTo>
                    <a:pt x="259" y="340"/>
                    <a:pt x="258" y="341"/>
                    <a:pt x="258" y="342"/>
                  </a:cubicBezTo>
                  <a:cubicBezTo>
                    <a:pt x="259" y="344"/>
                    <a:pt x="259" y="348"/>
                    <a:pt x="260" y="350"/>
                  </a:cubicBezTo>
                  <a:cubicBezTo>
                    <a:pt x="261" y="352"/>
                    <a:pt x="263" y="357"/>
                    <a:pt x="266" y="358"/>
                  </a:cubicBezTo>
                  <a:cubicBezTo>
                    <a:pt x="269" y="360"/>
                    <a:pt x="273" y="360"/>
                    <a:pt x="276" y="360"/>
                  </a:cubicBezTo>
                  <a:cubicBezTo>
                    <a:pt x="278" y="360"/>
                    <a:pt x="281" y="361"/>
                    <a:pt x="282" y="361"/>
                  </a:cubicBezTo>
                  <a:cubicBezTo>
                    <a:pt x="282" y="361"/>
                    <a:pt x="284" y="362"/>
                    <a:pt x="285" y="363"/>
                  </a:cubicBezTo>
                  <a:cubicBezTo>
                    <a:pt x="286" y="363"/>
                    <a:pt x="288" y="365"/>
                    <a:pt x="289" y="365"/>
                  </a:cubicBezTo>
                  <a:cubicBezTo>
                    <a:pt x="290" y="365"/>
                    <a:pt x="291" y="364"/>
                    <a:pt x="291" y="364"/>
                  </a:cubicBezTo>
                  <a:cubicBezTo>
                    <a:pt x="295" y="362"/>
                    <a:pt x="296" y="353"/>
                    <a:pt x="296" y="347"/>
                  </a:cubicBezTo>
                  <a:cubicBezTo>
                    <a:pt x="296" y="346"/>
                    <a:pt x="296" y="345"/>
                    <a:pt x="296" y="345"/>
                  </a:cubicBezTo>
                  <a:cubicBezTo>
                    <a:pt x="299" y="348"/>
                    <a:pt x="300" y="349"/>
                    <a:pt x="301" y="349"/>
                  </a:cubicBezTo>
                  <a:cubicBezTo>
                    <a:pt x="302" y="349"/>
                    <a:pt x="302" y="349"/>
                    <a:pt x="303" y="348"/>
                  </a:cubicBezTo>
                  <a:cubicBezTo>
                    <a:pt x="306" y="345"/>
                    <a:pt x="309" y="342"/>
                    <a:pt x="309" y="339"/>
                  </a:cubicBezTo>
                  <a:cubicBezTo>
                    <a:pt x="308" y="336"/>
                    <a:pt x="306" y="334"/>
                    <a:pt x="303" y="333"/>
                  </a:cubicBezTo>
                  <a:cubicBezTo>
                    <a:pt x="302" y="333"/>
                    <a:pt x="301" y="332"/>
                    <a:pt x="301" y="332"/>
                  </a:cubicBezTo>
                  <a:cubicBezTo>
                    <a:pt x="300" y="331"/>
                    <a:pt x="299" y="330"/>
                    <a:pt x="297" y="329"/>
                  </a:cubicBezTo>
                  <a:cubicBezTo>
                    <a:pt x="296" y="328"/>
                    <a:pt x="294" y="327"/>
                    <a:pt x="294" y="327"/>
                  </a:cubicBezTo>
                  <a:cubicBezTo>
                    <a:pt x="293" y="326"/>
                    <a:pt x="293" y="325"/>
                    <a:pt x="293" y="324"/>
                  </a:cubicBezTo>
                  <a:cubicBezTo>
                    <a:pt x="292" y="322"/>
                    <a:pt x="292" y="321"/>
                    <a:pt x="292" y="320"/>
                  </a:cubicBezTo>
                  <a:cubicBezTo>
                    <a:pt x="291" y="319"/>
                    <a:pt x="291" y="318"/>
                    <a:pt x="290" y="317"/>
                  </a:cubicBezTo>
                  <a:cubicBezTo>
                    <a:pt x="290" y="316"/>
                    <a:pt x="288" y="313"/>
                    <a:pt x="288" y="311"/>
                  </a:cubicBezTo>
                  <a:cubicBezTo>
                    <a:pt x="288" y="311"/>
                    <a:pt x="289" y="312"/>
                    <a:pt x="289" y="313"/>
                  </a:cubicBezTo>
                  <a:cubicBezTo>
                    <a:pt x="289" y="313"/>
                    <a:pt x="290" y="313"/>
                    <a:pt x="290" y="314"/>
                  </a:cubicBezTo>
                  <a:cubicBezTo>
                    <a:pt x="290" y="314"/>
                    <a:pt x="291" y="316"/>
                    <a:pt x="291" y="317"/>
                  </a:cubicBezTo>
                  <a:cubicBezTo>
                    <a:pt x="292" y="318"/>
                    <a:pt x="293" y="320"/>
                    <a:pt x="294" y="321"/>
                  </a:cubicBezTo>
                  <a:cubicBezTo>
                    <a:pt x="294" y="322"/>
                    <a:pt x="294" y="322"/>
                    <a:pt x="294" y="322"/>
                  </a:cubicBezTo>
                  <a:cubicBezTo>
                    <a:pt x="297" y="326"/>
                    <a:pt x="299" y="329"/>
                    <a:pt x="302" y="329"/>
                  </a:cubicBezTo>
                  <a:cubicBezTo>
                    <a:pt x="303" y="329"/>
                    <a:pt x="304" y="328"/>
                    <a:pt x="305" y="328"/>
                  </a:cubicBezTo>
                  <a:cubicBezTo>
                    <a:pt x="305" y="327"/>
                    <a:pt x="305" y="326"/>
                    <a:pt x="306" y="325"/>
                  </a:cubicBezTo>
                  <a:cubicBezTo>
                    <a:pt x="306" y="325"/>
                    <a:pt x="306" y="325"/>
                    <a:pt x="306" y="325"/>
                  </a:cubicBezTo>
                  <a:cubicBezTo>
                    <a:pt x="306" y="325"/>
                    <a:pt x="306" y="325"/>
                    <a:pt x="306" y="326"/>
                  </a:cubicBezTo>
                  <a:cubicBezTo>
                    <a:pt x="307" y="329"/>
                    <a:pt x="313" y="331"/>
                    <a:pt x="316" y="331"/>
                  </a:cubicBezTo>
                  <a:cubicBezTo>
                    <a:pt x="316" y="331"/>
                    <a:pt x="316" y="331"/>
                    <a:pt x="316" y="331"/>
                  </a:cubicBezTo>
                  <a:cubicBezTo>
                    <a:pt x="320" y="331"/>
                    <a:pt x="325" y="326"/>
                    <a:pt x="326" y="325"/>
                  </a:cubicBezTo>
                  <a:cubicBezTo>
                    <a:pt x="326" y="324"/>
                    <a:pt x="332" y="314"/>
                    <a:pt x="330" y="310"/>
                  </a:cubicBezTo>
                  <a:cubicBezTo>
                    <a:pt x="330" y="309"/>
                    <a:pt x="329" y="308"/>
                    <a:pt x="327" y="308"/>
                  </a:cubicBezTo>
                  <a:cubicBezTo>
                    <a:pt x="326" y="308"/>
                    <a:pt x="325" y="309"/>
                    <a:pt x="324" y="309"/>
                  </a:cubicBezTo>
                  <a:cubicBezTo>
                    <a:pt x="325" y="308"/>
                    <a:pt x="325" y="308"/>
                    <a:pt x="325" y="307"/>
                  </a:cubicBezTo>
                  <a:cubicBezTo>
                    <a:pt x="325" y="306"/>
                    <a:pt x="324" y="304"/>
                    <a:pt x="321" y="304"/>
                  </a:cubicBezTo>
                  <a:cubicBezTo>
                    <a:pt x="320" y="304"/>
                    <a:pt x="319" y="304"/>
                    <a:pt x="317" y="304"/>
                  </a:cubicBezTo>
                  <a:cubicBezTo>
                    <a:pt x="316" y="305"/>
                    <a:pt x="316" y="305"/>
                    <a:pt x="315" y="305"/>
                  </a:cubicBezTo>
                  <a:cubicBezTo>
                    <a:pt x="314" y="305"/>
                    <a:pt x="313" y="304"/>
                    <a:pt x="312" y="303"/>
                  </a:cubicBezTo>
                  <a:cubicBezTo>
                    <a:pt x="311" y="303"/>
                    <a:pt x="310" y="302"/>
                    <a:pt x="309" y="302"/>
                  </a:cubicBezTo>
                  <a:cubicBezTo>
                    <a:pt x="311" y="301"/>
                    <a:pt x="314" y="301"/>
                    <a:pt x="316" y="300"/>
                  </a:cubicBezTo>
                  <a:cubicBezTo>
                    <a:pt x="317" y="300"/>
                    <a:pt x="318" y="301"/>
                    <a:pt x="320" y="301"/>
                  </a:cubicBezTo>
                  <a:cubicBezTo>
                    <a:pt x="321" y="302"/>
                    <a:pt x="323" y="303"/>
                    <a:pt x="325" y="303"/>
                  </a:cubicBezTo>
                  <a:cubicBezTo>
                    <a:pt x="325" y="303"/>
                    <a:pt x="325" y="303"/>
                    <a:pt x="325" y="303"/>
                  </a:cubicBezTo>
                  <a:cubicBezTo>
                    <a:pt x="327" y="302"/>
                    <a:pt x="329" y="301"/>
                    <a:pt x="331" y="300"/>
                  </a:cubicBezTo>
                  <a:cubicBezTo>
                    <a:pt x="331" y="300"/>
                    <a:pt x="332" y="299"/>
                    <a:pt x="333" y="299"/>
                  </a:cubicBezTo>
                  <a:cubicBezTo>
                    <a:pt x="333" y="299"/>
                    <a:pt x="335" y="299"/>
                    <a:pt x="336" y="299"/>
                  </a:cubicBezTo>
                  <a:cubicBezTo>
                    <a:pt x="337" y="299"/>
                    <a:pt x="339" y="299"/>
                    <a:pt x="341" y="298"/>
                  </a:cubicBezTo>
                  <a:cubicBezTo>
                    <a:pt x="341" y="298"/>
                    <a:pt x="351" y="293"/>
                    <a:pt x="349" y="288"/>
                  </a:cubicBezTo>
                  <a:cubicBezTo>
                    <a:pt x="349" y="288"/>
                    <a:pt x="349" y="286"/>
                    <a:pt x="350" y="285"/>
                  </a:cubicBezTo>
                  <a:cubicBezTo>
                    <a:pt x="350" y="285"/>
                    <a:pt x="352" y="284"/>
                    <a:pt x="355" y="285"/>
                  </a:cubicBezTo>
                  <a:cubicBezTo>
                    <a:pt x="356" y="285"/>
                    <a:pt x="357" y="285"/>
                    <a:pt x="358" y="285"/>
                  </a:cubicBezTo>
                  <a:cubicBezTo>
                    <a:pt x="361" y="285"/>
                    <a:pt x="365" y="285"/>
                    <a:pt x="367" y="282"/>
                  </a:cubicBezTo>
                  <a:cubicBezTo>
                    <a:pt x="368" y="280"/>
                    <a:pt x="367" y="279"/>
                    <a:pt x="367" y="278"/>
                  </a:cubicBezTo>
                  <a:cubicBezTo>
                    <a:pt x="367" y="277"/>
                    <a:pt x="367" y="277"/>
                    <a:pt x="367" y="277"/>
                  </a:cubicBezTo>
                  <a:cubicBezTo>
                    <a:pt x="367" y="277"/>
                    <a:pt x="368" y="277"/>
                    <a:pt x="369" y="277"/>
                  </a:cubicBezTo>
                  <a:cubicBezTo>
                    <a:pt x="370" y="276"/>
                    <a:pt x="372" y="275"/>
                    <a:pt x="373" y="274"/>
                  </a:cubicBezTo>
                  <a:cubicBezTo>
                    <a:pt x="373" y="274"/>
                    <a:pt x="379" y="268"/>
                    <a:pt x="377" y="264"/>
                  </a:cubicBezTo>
                  <a:cubicBezTo>
                    <a:pt x="376" y="262"/>
                    <a:pt x="374" y="261"/>
                    <a:pt x="372" y="261"/>
                  </a:cubicBezTo>
                  <a:cubicBezTo>
                    <a:pt x="371" y="260"/>
                    <a:pt x="370" y="260"/>
                    <a:pt x="370" y="260"/>
                  </a:cubicBezTo>
                  <a:cubicBezTo>
                    <a:pt x="368" y="258"/>
                    <a:pt x="366" y="254"/>
                    <a:pt x="366" y="253"/>
                  </a:cubicBezTo>
                  <a:cubicBezTo>
                    <a:pt x="367" y="253"/>
                    <a:pt x="367" y="253"/>
                    <a:pt x="368" y="253"/>
                  </a:cubicBezTo>
                  <a:cubicBezTo>
                    <a:pt x="369" y="253"/>
                    <a:pt x="370" y="253"/>
                    <a:pt x="370" y="253"/>
                  </a:cubicBezTo>
                  <a:cubicBezTo>
                    <a:pt x="370" y="253"/>
                    <a:pt x="370" y="254"/>
                    <a:pt x="370" y="255"/>
                  </a:cubicBezTo>
                  <a:cubicBezTo>
                    <a:pt x="371" y="257"/>
                    <a:pt x="371" y="259"/>
                    <a:pt x="373" y="260"/>
                  </a:cubicBezTo>
                  <a:cubicBezTo>
                    <a:pt x="376" y="262"/>
                    <a:pt x="381" y="260"/>
                    <a:pt x="383" y="259"/>
                  </a:cubicBezTo>
                  <a:cubicBezTo>
                    <a:pt x="385" y="258"/>
                    <a:pt x="388" y="254"/>
                    <a:pt x="390" y="251"/>
                  </a:cubicBezTo>
                  <a:cubicBezTo>
                    <a:pt x="390" y="250"/>
                    <a:pt x="391" y="249"/>
                    <a:pt x="392" y="248"/>
                  </a:cubicBezTo>
                  <a:cubicBezTo>
                    <a:pt x="393" y="246"/>
                    <a:pt x="393" y="245"/>
                    <a:pt x="394" y="244"/>
                  </a:cubicBezTo>
                  <a:cubicBezTo>
                    <a:pt x="394" y="244"/>
                    <a:pt x="395" y="243"/>
                    <a:pt x="395" y="243"/>
                  </a:cubicBezTo>
                  <a:cubicBezTo>
                    <a:pt x="397" y="242"/>
                    <a:pt x="399" y="241"/>
                    <a:pt x="400" y="240"/>
                  </a:cubicBezTo>
                  <a:cubicBezTo>
                    <a:pt x="400" y="237"/>
                    <a:pt x="399" y="235"/>
                    <a:pt x="398" y="233"/>
                  </a:cubicBezTo>
                  <a:cubicBezTo>
                    <a:pt x="398" y="233"/>
                    <a:pt x="397" y="231"/>
                    <a:pt x="397" y="231"/>
                  </a:cubicBezTo>
                  <a:cubicBezTo>
                    <a:pt x="397" y="230"/>
                    <a:pt x="399" y="226"/>
                    <a:pt x="400" y="226"/>
                  </a:cubicBezTo>
                  <a:cubicBezTo>
                    <a:pt x="400" y="226"/>
                    <a:pt x="402" y="227"/>
                    <a:pt x="402" y="227"/>
                  </a:cubicBezTo>
                  <a:cubicBezTo>
                    <a:pt x="404" y="228"/>
                    <a:pt x="405" y="228"/>
                    <a:pt x="407" y="228"/>
                  </a:cubicBezTo>
                  <a:cubicBezTo>
                    <a:pt x="409" y="228"/>
                    <a:pt x="413" y="227"/>
                    <a:pt x="416" y="225"/>
                  </a:cubicBezTo>
                  <a:cubicBezTo>
                    <a:pt x="417" y="224"/>
                    <a:pt x="418" y="222"/>
                    <a:pt x="418" y="220"/>
                  </a:cubicBezTo>
                  <a:cubicBezTo>
                    <a:pt x="419" y="219"/>
                    <a:pt x="419" y="218"/>
                    <a:pt x="419" y="217"/>
                  </a:cubicBezTo>
                  <a:cubicBezTo>
                    <a:pt x="419" y="217"/>
                    <a:pt x="420" y="216"/>
                    <a:pt x="421" y="215"/>
                  </a:cubicBezTo>
                  <a:cubicBezTo>
                    <a:pt x="423" y="214"/>
                    <a:pt x="424" y="212"/>
                    <a:pt x="425" y="210"/>
                  </a:cubicBezTo>
                  <a:cubicBezTo>
                    <a:pt x="428" y="209"/>
                    <a:pt x="433" y="204"/>
                    <a:pt x="433" y="201"/>
                  </a:cubicBezTo>
                  <a:cubicBezTo>
                    <a:pt x="433" y="198"/>
                    <a:pt x="430" y="195"/>
                    <a:pt x="427" y="192"/>
                  </a:cubicBezTo>
                  <a:cubicBezTo>
                    <a:pt x="426" y="191"/>
                    <a:pt x="426" y="191"/>
                    <a:pt x="426" y="191"/>
                  </a:cubicBezTo>
                  <a:cubicBezTo>
                    <a:pt x="425" y="191"/>
                    <a:pt x="424" y="190"/>
                    <a:pt x="423" y="189"/>
                  </a:cubicBezTo>
                  <a:cubicBezTo>
                    <a:pt x="422" y="189"/>
                    <a:pt x="420" y="188"/>
                    <a:pt x="420" y="187"/>
                  </a:cubicBezTo>
                  <a:cubicBezTo>
                    <a:pt x="419" y="186"/>
                    <a:pt x="420" y="183"/>
                    <a:pt x="421" y="180"/>
                  </a:cubicBezTo>
                  <a:cubicBezTo>
                    <a:pt x="421" y="179"/>
                    <a:pt x="422" y="176"/>
                    <a:pt x="424" y="174"/>
                  </a:cubicBezTo>
                  <a:cubicBezTo>
                    <a:pt x="424" y="176"/>
                    <a:pt x="424" y="177"/>
                    <a:pt x="424" y="179"/>
                  </a:cubicBezTo>
                  <a:cubicBezTo>
                    <a:pt x="423" y="182"/>
                    <a:pt x="423" y="184"/>
                    <a:pt x="424" y="186"/>
                  </a:cubicBezTo>
                  <a:cubicBezTo>
                    <a:pt x="425" y="189"/>
                    <a:pt x="428" y="189"/>
                    <a:pt x="430" y="190"/>
                  </a:cubicBezTo>
                  <a:cubicBezTo>
                    <a:pt x="431" y="190"/>
                    <a:pt x="432" y="190"/>
                    <a:pt x="432" y="190"/>
                  </a:cubicBezTo>
                  <a:cubicBezTo>
                    <a:pt x="432" y="190"/>
                    <a:pt x="432" y="191"/>
                    <a:pt x="432" y="192"/>
                  </a:cubicBezTo>
                  <a:cubicBezTo>
                    <a:pt x="433" y="195"/>
                    <a:pt x="433" y="198"/>
                    <a:pt x="437" y="198"/>
                  </a:cubicBezTo>
                  <a:cubicBezTo>
                    <a:pt x="437" y="198"/>
                    <a:pt x="437" y="198"/>
                    <a:pt x="437" y="198"/>
                  </a:cubicBezTo>
                  <a:cubicBezTo>
                    <a:pt x="443" y="197"/>
                    <a:pt x="442" y="188"/>
                    <a:pt x="441" y="181"/>
                  </a:cubicBezTo>
                  <a:cubicBezTo>
                    <a:pt x="440" y="177"/>
                    <a:pt x="439" y="173"/>
                    <a:pt x="440" y="172"/>
                  </a:cubicBezTo>
                  <a:cubicBezTo>
                    <a:pt x="440" y="170"/>
                    <a:pt x="442" y="167"/>
                    <a:pt x="442" y="166"/>
                  </a:cubicBezTo>
                  <a:cubicBezTo>
                    <a:pt x="443" y="164"/>
                    <a:pt x="443" y="164"/>
                    <a:pt x="443" y="164"/>
                  </a:cubicBezTo>
                  <a:cubicBezTo>
                    <a:pt x="445" y="160"/>
                    <a:pt x="447" y="154"/>
                    <a:pt x="448" y="149"/>
                  </a:cubicBezTo>
                  <a:cubicBezTo>
                    <a:pt x="449" y="143"/>
                    <a:pt x="450" y="138"/>
                    <a:pt x="452" y="135"/>
                  </a:cubicBezTo>
                  <a:cubicBezTo>
                    <a:pt x="454" y="131"/>
                    <a:pt x="464" y="122"/>
                    <a:pt x="468" y="118"/>
                  </a:cubicBezTo>
                  <a:cubicBezTo>
                    <a:pt x="470" y="117"/>
                    <a:pt x="475" y="115"/>
                    <a:pt x="476" y="113"/>
                  </a:cubicBezTo>
                  <a:cubicBezTo>
                    <a:pt x="476" y="112"/>
                    <a:pt x="477" y="110"/>
                    <a:pt x="476" y="107"/>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34">
              <a:extLst>
                <a:ext uri="{FF2B5EF4-FFF2-40B4-BE49-F238E27FC236}">
                  <a16:creationId xmlns:a16="http://schemas.microsoft.com/office/drawing/2014/main" id="{5166C4B8-85F1-400E-AFB3-71B5A6C2F5F2}"/>
                </a:ext>
              </a:extLst>
            </p:cNvPr>
            <p:cNvSpPr>
              <a:spLocks/>
            </p:cNvSpPr>
            <p:nvPr/>
          </p:nvSpPr>
          <p:spPr bwMode="auto">
            <a:xfrm>
              <a:off x="7315744" y="3574640"/>
              <a:ext cx="881353" cy="402269"/>
            </a:xfrm>
            <a:custGeom>
              <a:avLst/>
              <a:gdLst>
                <a:gd name="T0" fmla="*/ 774 w 793"/>
                <a:gd name="T1" fmla="*/ 63 h 362"/>
                <a:gd name="T2" fmla="*/ 763 w 793"/>
                <a:gd name="T3" fmla="*/ 93 h 362"/>
                <a:gd name="T4" fmla="*/ 753 w 793"/>
                <a:gd name="T5" fmla="*/ 92 h 362"/>
                <a:gd name="T6" fmla="*/ 749 w 793"/>
                <a:gd name="T7" fmla="*/ 66 h 362"/>
                <a:gd name="T8" fmla="*/ 681 w 793"/>
                <a:gd name="T9" fmla="*/ 77 h 362"/>
                <a:gd name="T10" fmla="*/ 679 w 793"/>
                <a:gd name="T11" fmla="*/ 49 h 362"/>
                <a:gd name="T12" fmla="*/ 697 w 793"/>
                <a:gd name="T13" fmla="*/ 75 h 362"/>
                <a:gd name="T14" fmla="*/ 727 w 793"/>
                <a:gd name="T15" fmla="*/ 61 h 362"/>
                <a:gd name="T16" fmla="*/ 739 w 793"/>
                <a:gd name="T17" fmla="*/ 42 h 362"/>
                <a:gd name="T18" fmla="*/ 763 w 793"/>
                <a:gd name="T19" fmla="*/ 45 h 362"/>
                <a:gd name="T20" fmla="*/ 757 w 793"/>
                <a:gd name="T21" fmla="*/ 23 h 362"/>
                <a:gd name="T22" fmla="*/ 742 w 793"/>
                <a:gd name="T23" fmla="*/ 2 h 362"/>
                <a:gd name="T24" fmla="*/ 342 w 793"/>
                <a:gd name="T25" fmla="*/ 79 h 362"/>
                <a:gd name="T26" fmla="*/ 218 w 793"/>
                <a:gd name="T27" fmla="*/ 104 h 362"/>
                <a:gd name="T28" fmla="*/ 209 w 793"/>
                <a:gd name="T29" fmla="*/ 127 h 362"/>
                <a:gd name="T30" fmla="*/ 190 w 793"/>
                <a:gd name="T31" fmla="*/ 156 h 362"/>
                <a:gd name="T32" fmla="*/ 161 w 793"/>
                <a:gd name="T33" fmla="*/ 165 h 362"/>
                <a:gd name="T34" fmla="*/ 141 w 793"/>
                <a:gd name="T35" fmla="*/ 172 h 362"/>
                <a:gd name="T36" fmla="*/ 127 w 793"/>
                <a:gd name="T37" fmla="*/ 186 h 362"/>
                <a:gd name="T38" fmla="*/ 113 w 793"/>
                <a:gd name="T39" fmla="*/ 207 h 362"/>
                <a:gd name="T40" fmla="*/ 65 w 793"/>
                <a:gd name="T41" fmla="*/ 241 h 362"/>
                <a:gd name="T42" fmla="*/ 27 w 793"/>
                <a:gd name="T43" fmla="*/ 258 h 362"/>
                <a:gd name="T44" fmla="*/ 17 w 793"/>
                <a:gd name="T45" fmla="*/ 283 h 362"/>
                <a:gd name="T46" fmla="*/ 5 w 793"/>
                <a:gd name="T47" fmla="*/ 322 h 362"/>
                <a:gd name="T48" fmla="*/ 150 w 793"/>
                <a:gd name="T49" fmla="*/ 291 h 362"/>
                <a:gd name="T50" fmla="*/ 191 w 793"/>
                <a:gd name="T51" fmla="*/ 269 h 362"/>
                <a:gd name="T52" fmla="*/ 321 w 793"/>
                <a:gd name="T53" fmla="*/ 262 h 362"/>
                <a:gd name="T54" fmla="*/ 338 w 793"/>
                <a:gd name="T55" fmla="*/ 290 h 362"/>
                <a:gd name="T56" fmla="*/ 568 w 793"/>
                <a:gd name="T57" fmla="*/ 362 h 362"/>
                <a:gd name="T58" fmla="*/ 613 w 793"/>
                <a:gd name="T59" fmla="*/ 346 h 362"/>
                <a:gd name="T60" fmla="*/ 613 w 793"/>
                <a:gd name="T61" fmla="*/ 314 h 362"/>
                <a:gd name="T62" fmla="*/ 628 w 793"/>
                <a:gd name="T63" fmla="*/ 341 h 362"/>
                <a:gd name="T64" fmla="*/ 644 w 793"/>
                <a:gd name="T65" fmla="*/ 290 h 362"/>
                <a:gd name="T66" fmla="*/ 651 w 793"/>
                <a:gd name="T67" fmla="*/ 264 h 362"/>
                <a:gd name="T68" fmla="*/ 664 w 793"/>
                <a:gd name="T69" fmla="*/ 248 h 362"/>
                <a:gd name="T70" fmla="*/ 673 w 793"/>
                <a:gd name="T71" fmla="*/ 258 h 362"/>
                <a:gd name="T72" fmla="*/ 692 w 793"/>
                <a:gd name="T73" fmla="*/ 240 h 362"/>
                <a:gd name="T74" fmla="*/ 719 w 793"/>
                <a:gd name="T75" fmla="*/ 230 h 362"/>
                <a:gd name="T76" fmla="*/ 729 w 793"/>
                <a:gd name="T77" fmla="*/ 220 h 362"/>
                <a:gd name="T78" fmla="*/ 752 w 793"/>
                <a:gd name="T79" fmla="*/ 205 h 362"/>
                <a:gd name="T80" fmla="*/ 749 w 793"/>
                <a:gd name="T81" fmla="*/ 185 h 362"/>
                <a:gd name="T82" fmla="*/ 718 w 793"/>
                <a:gd name="T83" fmla="*/ 204 h 362"/>
                <a:gd name="T84" fmla="*/ 686 w 793"/>
                <a:gd name="T85" fmla="*/ 197 h 362"/>
                <a:gd name="T86" fmla="*/ 695 w 793"/>
                <a:gd name="T87" fmla="*/ 196 h 362"/>
                <a:gd name="T88" fmla="*/ 727 w 793"/>
                <a:gd name="T89" fmla="*/ 171 h 362"/>
                <a:gd name="T90" fmla="*/ 722 w 793"/>
                <a:gd name="T91" fmla="*/ 159 h 362"/>
                <a:gd name="T92" fmla="*/ 676 w 793"/>
                <a:gd name="T93" fmla="*/ 143 h 362"/>
                <a:gd name="T94" fmla="*/ 693 w 793"/>
                <a:gd name="T95" fmla="*/ 149 h 362"/>
                <a:gd name="T96" fmla="*/ 707 w 793"/>
                <a:gd name="T97" fmla="*/ 147 h 362"/>
                <a:gd name="T98" fmla="*/ 706 w 793"/>
                <a:gd name="T99" fmla="*/ 132 h 362"/>
                <a:gd name="T100" fmla="*/ 732 w 793"/>
                <a:gd name="T101" fmla="*/ 145 h 362"/>
                <a:gd name="T102" fmla="*/ 768 w 793"/>
                <a:gd name="T103" fmla="*/ 139 h 362"/>
                <a:gd name="T104" fmla="*/ 783 w 793"/>
                <a:gd name="T105" fmla="*/ 11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3" h="362">
                  <a:moveTo>
                    <a:pt x="790" y="95"/>
                  </a:moveTo>
                  <a:cubicBezTo>
                    <a:pt x="790" y="92"/>
                    <a:pt x="790" y="83"/>
                    <a:pt x="789" y="80"/>
                  </a:cubicBezTo>
                  <a:cubicBezTo>
                    <a:pt x="788" y="77"/>
                    <a:pt x="784" y="72"/>
                    <a:pt x="783" y="72"/>
                  </a:cubicBezTo>
                  <a:cubicBezTo>
                    <a:pt x="783" y="71"/>
                    <a:pt x="782" y="70"/>
                    <a:pt x="782" y="70"/>
                  </a:cubicBezTo>
                  <a:cubicBezTo>
                    <a:pt x="779" y="67"/>
                    <a:pt x="777" y="63"/>
                    <a:pt x="774" y="63"/>
                  </a:cubicBezTo>
                  <a:cubicBezTo>
                    <a:pt x="773" y="63"/>
                    <a:pt x="773" y="63"/>
                    <a:pt x="772" y="64"/>
                  </a:cubicBezTo>
                  <a:cubicBezTo>
                    <a:pt x="770" y="65"/>
                    <a:pt x="770" y="67"/>
                    <a:pt x="770" y="68"/>
                  </a:cubicBezTo>
                  <a:cubicBezTo>
                    <a:pt x="770" y="68"/>
                    <a:pt x="770" y="68"/>
                    <a:pt x="770" y="69"/>
                  </a:cubicBezTo>
                  <a:cubicBezTo>
                    <a:pt x="767" y="72"/>
                    <a:pt x="763" y="80"/>
                    <a:pt x="762" y="84"/>
                  </a:cubicBezTo>
                  <a:cubicBezTo>
                    <a:pt x="762" y="87"/>
                    <a:pt x="763" y="90"/>
                    <a:pt x="763" y="93"/>
                  </a:cubicBezTo>
                  <a:cubicBezTo>
                    <a:pt x="764" y="95"/>
                    <a:pt x="765" y="98"/>
                    <a:pt x="764" y="99"/>
                  </a:cubicBezTo>
                  <a:cubicBezTo>
                    <a:pt x="764" y="100"/>
                    <a:pt x="759" y="103"/>
                    <a:pt x="757" y="104"/>
                  </a:cubicBezTo>
                  <a:cubicBezTo>
                    <a:pt x="757" y="103"/>
                    <a:pt x="757" y="103"/>
                    <a:pt x="757" y="103"/>
                  </a:cubicBezTo>
                  <a:cubicBezTo>
                    <a:pt x="756" y="102"/>
                    <a:pt x="756" y="102"/>
                    <a:pt x="756" y="101"/>
                  </a:cubicBezTo>
                  <a:cubicBezTo>
                    <a:pt x="753" y="98"/>
                    <a:pt x="753" y="93"/>
                    <a:pt x="753" y="92"/>
                  </a:cubicBezTo>
                  <a:cubicBezTo>
                    <a:pt x="755" y="88"/>
                    <a:pt x="757" y="78"/>
                    <a:pt x="758" y="77"/>
                  </a:cubicBezTo>
                  <a:cubicBezTo>
                    <a:pt x="758" y="77"/>
                    <a:pt x="758" y="77"/>
                    <a:pt x="758" y="77"/>
                  </a:cubicBezTo>
                  <a:cubicBezTo>
                    <a:pt x="758" y="75"/>
                    <a:pt x="758" y="75"/>
                    <a:pt x="758" y="75"/>
                  </a:cubicBezTo>
                  <a:cubicBezTo>
                    <a:pt x="757" y="73"/>
                    <a:pt x="757" y="69"/>
                    <a:pt x="755" y="68"/>
                  </a:cubicBezTo>
                  <a:cubicBezTo>
                    <a:pt x="754" y="67"/>
                    <a:pt x="752" y="66"/>
                    <a:pt x="749" y="66"/>
                  </a:cubicBezTo>
                  <a:cubicBezTo>
                    <a:pt x="748" y="66"/>
                    <a:pt x="746" y="66"/>
                    <a:pt x="745" y="66"/>
                  </a:cubicBezTo>
                  <a:cubicBezTo>
                    <a:pt x="742" y="67"/>
                    <a:pt x="734" y="70"/>
                    <a:pt x="733" y="71"/>
                  </a:cubicBezTo>
                  <a:cubicBezTo>
                    <a:pt x="705" y="85"/>
                    <a:pt x="705" y="85"/>
                    <a:pt x="705" y="85"/>
                  </a:cubicBezTo>
                  <a:cubicBezTo>
                    <a:pt x="701" y="86"/>
                    <a:pt x="697" y="86"/>
                    <a:pt x="696" y="86"/>
                  </a:cubicBezTo>
                  <a:cubicBezTo>
                    <a:pt x="687" y="84"/>
                    <a:pt x="682" y="77"/>
                    <a:pt x="681" y="77"/>
                  </a:cubicBezTo>
                  <a:cubicBezTo>
                    <a:pt x="681" y="76"/>
                    <a:pt x="679" y="74"/>
                    <a:pt x="678" y="72"/>
                  </a:cubicBezTo>
                  <a:cubicBezTo>
                    <a:pt x="677" y="71"/>
                    <a:pt x="676" y="70"/>
                    <a:pt x="675" y="70"/>
                  </a:cubicBezTo>
                  <a:cubicBezTo>
                    <a:pt x="674" y="68"/>
                    <a:pt x="672" y="64"/>
                    <a:pt x="671" y="62"/>
                  </a:cubicBezTo>
                  <a:cubicBezTo>
                    <a:pt x="671" y="60"/>
                    <a:pt x="670" y="57"/>
                    <a:pt x="670" y="56"/>
                  </a:cubicBezTo>
                  <a:cubicBezTo>
                    <a:pt x="671" y="54"/>
                    <a:pt x="675" y="49"/>
                    <a:pt x="679" y="49"/>
                  </a:cubicBezTo>
                  <a:cubicBezTo>
                    <a:pt x="680" y="49"/>
                    <a:pt x="682" y="50"/>
                    <a:pt x="683" y="52"/>
                  </a:cubicBezTo>
                  <a:cubicBezTo>
                    <a:pt x="683" y="58"/>
                    <a:pt x="683" y="58"/>
                    <a:pt x="683" y="58"/>
                  </a:cubicBezTo>
                  <a:cubicBezTo>
                    <a:pt x="683" y="59"/>
                    <a:pt x="683" y="59"/>
                    <a:pt x="683" y="59"/>
                  </a:cubicBezTo>
                  <a:cubicBezTo>
                    <a:pt x="684" y="63"/>
                    <a:pt x="687" y="73"/>
                    <a:pt x="691" y="75"/>
                  </a:cubicBezTo>
                  <a:cubicBezTo>
                    <a:pt x="693" y="76"/>
                    <a:pt x="695" y="76"/>
                    <a:pt x="697" y="75"/>
                  </a:cubicBezTo>
                  <a:cubicBezTo>
                    <a:pt x="698" y="75"/>
                    <a:pt x="699" y="75"/>
                    <a:pt x="699" y="75"/>
                  </a:cubicBezTo>
                  <a:cubicBezTo>
                    <a:pt x="700" y="75"/>
                    <a:pt x="701" y="76"/>
                    <a:pt x="702" y="76"/>
                  </a:cubicBezTo>
                  <a:cubicBezTo>
                    <a:pt x="704" y="77"/>
                    <a:pt x="705" y="78"/>
                    <a:pt x="707" y="78"/>
                  </a:cubicBezTo>
                  <a:cubicBezTo>
                    <a:pt x="707" y="78"/>
                    <a:pt x="708" y="78"/>
                    <a:pt x="708" y="78"/>
                  </a:cubicBezTo>
                  <a:cubicBezTo>
                    <a:pt x="714" y="77"/>
                    <a:pt x="728" y="69"/>
                    <a:pt x="727" y="61"/>
                  </a:cubicBezTo>
                  <a:cubicBezTo>
                    <a:pt x="726" y="61"/>
                    <a:pt x="725" y="56"/>
                    <a:pt x="729" y="54"/>
                  </a:cubicBezTo>
                  <a:cubicBezTo>
                    <a:pt x="730" y="54"/>
                    <a:pt x="733" y="55"/>
                    <a:pt x="734" y="56"/>
                  </a:cubicBezTo>
                  <a:cubicBezTo>
                    <a:pt x="735" y="57"/>
                    <a:pt x="735" y="57"/>
                    <a:pt x="735" y="57"/>
                  </a:cubicBezTo>
                  <a:cubicBezTo>
                    <a:pt x="738" y="58"/>
                    <a:pt x="740" y="57"/>
                    <a:pt x="741" y="56"/>
                  </a:cubicBezTo>
                  <a:cubicBezTo>
                    <a:pt x="743" y="53"/>
                    <a:pt x="741" y="47"/>
                    <a:pt x="739" y="42"/>
                  </a:cubicBezTo>
                  <a:cubicBezTo>
                    <a:pt x="739" y="41"/>
                    <a:pt x="738" y="40"/>
                    <a:pt x="738" y="40"/>
                  </a:cubicBezTo>
                  <a:cubicBezTo>
                    <a:pt x="739" y="40"/>
                    <a:pt x="739" y="40"/>
                    <a:pt x="740" y="40"/>
                  </a:cubicBezTo>
                  <a:cubicBezTo>
                    <a:pt x="741" y="41"/>
                    <a:pt x="746" y="45"/>
                    <a:pt x="751" y="47"/>
                  </a:cubicBezTo>
                  <a:cubicBezTo>
                    <a:pt x="752" y="47"/>
                    <a:pt x="755" y="48"/>
                    <a:pt x="758" y="48"/>
                  </a:cubicBezTo>
                  <a:cubicBezTo>
                    <a:pt x="761" y="48"/>
                    <a:pt x="763" y="47"/>
                    <a:pt x="763" y="45"/>
                  </a:cubicBezTo>
                  <a:cubicBezTo>
                    <a:pt x="765" y="42"/>
                    <a:pt x="761" y="39"/>
                    <a:pt x="758" y="37"/>
                  </a:cubicBezTo>
                  <a:cubicBezTo>
                    <a:pt x="757" y="37"/>
                    <a:pt x="756" y="36"/>
                    <a:pt x="756" y="36"/>
                  </a:cubicBezTo>
                  <a:cubicBezTo>
                    <a:pt x="755" y="35"/>
                    <a:pt x="755" y="34"/>
                    <a:pt x="754" y="34"/>
                  </a:cubicBezTo>
                  <a:cubicBezTo>
                    <a:pt x="753" y="33"/>
                    <a:pt x="752" y="32"/>
                    <a:pt x="751" y="31"/>
                  </a:cubicBezTo>
                  <a:cubicBezTo>
                    <a:pt x="753" y="30"/>
                    <a:pt x="755" y="27"/>
                    <a:pt x="757" y="23"/>
                  </a:cubicBezTo>
                  <a:cubicBezTo>
                    <a:pt x="757" y="22"/>
                    <a:pt x="758" y="19"/>
                    <a:pt x="756" y="17"/>
                  </a:cubicBezTo>
                  <a:cubicBezTo>
                    <a:pt x="755" y="15"/>
                    <a:pt x="752" y="15"/>
                    <a:pt x="750" y="15"/>
                  </a:cubicBezTo>
                  <a:cubicBezTo>
                    <a:pt x="749" y="15"/>
                    <a:pt x="748" y="15"/>
                    <a:pt x="748" y="15"/>
                  </a:cubicBezTo>
                  <a:cubicBezTo>
                    <a:pt x="747" y="14"/>
                    <a:pt x="745" y="12"/>
                    <a:pt x="743" y="9"/>
                  </a:cubicBezTo>
                  <a:cubicBezTo>
                    <a:pt x="742" y="2"/>
                    <a:pt x="742" y="2"/>
                    <a:pt x="742" y="2"/>
                  </a:cubicBezTo>
                  <a:cubicBezTo>
                    <a:pt x="742" y="1"/>
                    <a:pt x="741" y="1"/>
                    <a:pt x="741" y="0"/>
                  </a:cubicBezTo>
                  <a:cubicBezTo>
                    <a:pt x="740" y="0"/>
                    <a:pt x="739" y="0"/>
                    <a:pt x="739" y="0"/>
                  </a:cubicBezTo>
                  <a:cubicBezTo>
                    <a:pt x="648" y="20"/>
                    <a:pt x="648" y="20"/>
                    <a:pt x="648" y="20"/>
                  </a:cubicBezTo>
                  <a:cubicBezTo>
                    <a:pt x="545" y="41"/>
                    <a:pt x="545" y="41"/>
                    <a:pt x="545" y="41"/>
                  </a:cubicBezTo>
                  <a:cubicBezTo>
                    <a:pt x="342" y="79"/>
                    <a:pt x="342" y="79"/>
                    <a:pt x="342" y="79"/>
                  </a:cubicBezTo>
                  <a:cubicBezTo>
                    <a:pt x="267" y="89"/>
                    <a:pt x="267" y="89"/>
                    <a:pt x="267" y="89"/>
                  </a:cubicBezTo>
                  <a:cubicBezTo>
                    <a:pt x="239" y="92"/>
                    <a:pt x="239" y="92"/>
                    <a:pt x="239" y="92"/>
                  </a:cubicBezTo>
                  <a:cubicBezTo>
                    <a:pt x="224" y="92"/>
                    <a:pt x="224" y="92"/>
                    <a:pt x="224" y="92"/>
                  </a:cubicBezTo>
                  <a:cubicBezTo>
                    <a:pt x="223" y="91"/>
                    <a:pt x="222" y="92"/>
                    <a:pt x="221" y="93"/>
                  </a:cubicBezTo>
                  <a:cubicBezTo>
                    <a:pt x="221" y="94"/>
                    <a:pt x="218" y="101"/>
                    <a:pt x="218" y="104"/>
                  </a:cubicBezTo>
                  <a:cubicBezTo>
                    <a:pt x="217" y="105"/>
                    <a:pt x="218" y="107"/>
                    <a:pt x="218" y="109"/>
                  </a:cubicBezTo>
                  <a:cubicBezTo>
                    <a:pt x="218" y="110"/>
                    <a:pt x="218" y="111"/>
                    <a:pt x="218" y="112"/>
                  </a:cubicBezTo>
                  <a:cubicBezTo>
                    <a:pt x="218" y="115"/>
                    <a:pt x="218" y="122"/>
                    <a:pt x="216" y="124"/>
                  </a:cubicBezTo>
                  <a:cubicBezTo>
                    <a:pt x="216" y="124"/>
                    <a:pt x="214" y="125"/>
                    <a:pt x="213" y="125"/>
                  </a:cubicBezTo>
                  <a:cubicBezTo>
                    <a:pt x="212" y="126"/>
                    <a:pt x="210" y="126"/>
                    <a:pt x="209" y="127"/>
                  </a:cubicBezTo>
                  <a:cubicBezTo>
                    <a:pt x="207" y="128"/>
                    <a:pt x="203" y="132"/>
                    <a:pt x="202" y="135"/>
                  </a:cubicBezTo>
                  <a:cubicBezTo>
                    <a:pt x="201" y="137"/>
                    <a:pt x="200" y="140"/>
                    <a:pt x="199" y="143"/>
                  </a:cubicBezTo>
                  <a:cubicBezTo>
                    <a:pt x="199" y="146"/>
                    <a:pt x="198" y="149"/>
                    <a:pt x="197" y="151"/>
                  </a:cubicBezTo>
                  <a:cubicBezTo>
                    <a:pt x="194" y="156"/>
                    <a:pt x="192" y="157"/>
                    <a:pt x="192" y="157"/>
                  </a:cubicBezTo>
                  <a:cubicBezTo>
                    <a:pt x="192" y="157"/>
                    <a:pt x="191" y="156"/>
                    <a:pt x="190" y="156"/>
                  </a:cubicBezTo>
                  <a:cubicBezTo>
                    <a:pt x="189" y="154"/>
                    <a:pt x="188" y="152"/>
                    <a:pt x="186" y="152"/>
                  </a:cubicBezTo>
                  <a:cubicBezTo>
                    <a:pt x="186" y="152"/>
                    <a:pt x="185" y="152"/>
                    <a:pt x="185" y="152"/>
                  </a:cubicBezTo>
                  <a:cubicBezTo>
                    <a:pt x="180" y="152"/>
                    <a:pt x="171" y="157"/>
                    <a:pt x="169" y="158"/>
                  </a:cubicBezTo>
                  <a:cubicBezTo>
                    <a:pt x="162" y="164"/>
                    <a:pt x="162" y="164"/>
                    <a:pt x="162" y="164"/>
                  </a:cubicBezTo>
                  <a:cubicBezTo>
                    <a:pt x="162" y="165"/>
                    <a:pt x="162" y="165"/>
                    <a:pt x="161" y="165"/>
                  </a:cubicBezTo>
                  <a:cubicBezTo>
                    <a:pt x="159" y="172"/>
                    <a:pt x="159" y="172"/>
                    <a:pt x="159" y="172"/>
                  </a:cubicBezTo>
                  <a:cubicBezTo>
                    <a:pt x="157" y="175"/>
                    <a:pt x="154" y="179"/>
                    <a:pt x="153" y="179"/>
                  </a:cubicBezTo>
                  <a:cubicBezTo>
                    <a:pt x="152" y="179"/>
                    <a:pt x="150" y="179"/>
                    <a:pt x="150" y="179"/>
                  </a:cubicBezTo>
                  <a:cubicBezTo>
                    <a:pt x="149" y="179"/>
                    <a:pt x="148" y="177"/>
                    <a:pt x="147" y="176"/>
                  </a:cubicBezTo>
                  <a:cubicBezTo>
                    <a:pt x="146" y="174"/>
                    <a:pt x="144" y="172"/>
                    <a:pt x="141" y="172"/>
                  </a:cubicBezTo>
                  <a:cubicBezTo>
                    <a:pt x="138" y="172"/>
                    <a:pt x="136" y="174"/>
                    <a:pt x="133" y="177"/>
                  </a:cubicBezTo>
                  <a:cubicBezTo>
                    <a:pt x="132" y="178"/>
                    <a:pt x="130" y="180"/>
                    <a:pt x="129" y="181"/>
                  </a:cubicBezTo>
                  <a:cubicBezTo>
                    <a:pt x="129" y="182"/>
                    <a:pt x="128" y="184"/>
                    <a:pt x="128" y="185"/>
                  </a:cubicBezTo>
                  <a:cubicBezTo>
                    <a:pt x="128" y="186"/>
                    <a:pt x="128" y="186"/>
                    <a:pt x="128" y="187"/>
                  </a:cubicBezTo>
                  <a:cubicBezTo>
                    <a:pt x="128" y="186"/>
                    <a:pt x="127" y="186"/>
                    <a:pt x="127" y="186"/>
                  </a:cubicBezTo>
                  <a:cubicBezTo>
                    <a:pt x="125" y="185"/>
                    <a:pt x="122" y="184"/>
                    <a:pt x="121" y="185"/>
                  </a:cubicBezTo>
                  <a:cubicBezTo>
                    <a:pt x="117" y="187"/>
                    <a:pt x="117" y="192"/>
                    <a:pt x="117" y="196"/>
                  </a:cubicBezTo>
                  <a:cubicBezTo>
                    <a:pt x="117" y="198"/>
                    <a:pt x="117" y="200"/>
                    <a:pt x="117" y="201"/>
                  </a:cubicBezTo>
                  <a:cubicBezTo>
                    <a:pt x="115" y="206"/>
                    <a:pt x="114" y="207"/>
                    <a:pt x="113" y="207"/>
                  </a:cubicBezTo>
                  <a:cubicBezTo>
                    <a:pt x="113" y="207"/>
                    <a:pt x="113" y="207"/>
                    <a:pt x="113" y="207"/>
                  </a:cubicBezTo>
                  <a:cubicBezTo>
                    <a:pt x="113" y="207"/>
                    <a:pt x="112" y="207"/>
                    <a:pt x="111" y="207"/>
                  </a:cubicBezTo>
                  <a:cubicBezTo>
                    <a:pt x="109" y="207"/>
                    <a:pt x="108" y="207"/>
                    <a:pt x="107" y="207"/>
                  </a:cubicBezTo>
                  <a:cubicBezTo>
                    <a:pt x="102" y="209"/>
                    <a:pt x="93" y="217"/>
                    <a:pt x="91" y="218"/>
                  </a:cubicBezTo>
                  <a:cubicBezTo>
                    <a:pt x="91" y="218"/>
                    <a:pt x="77" y="234"/>
                    <a:pt x="71" y="238"/>
                  </a:cubicBezTo>
                  <a:cubicBezTo>
                    <a:pt x="70" y="239"/>
                    <a:pt x="67" y="241"/>
                    <a:pt x="65" y="241"/>
                  </a:cubicBezTo>
                  <a:cubicBezTo>
                    <a:pt x="64" y="241"/>
                    <a:pt x="62" y="241"/>
                    <a:pt x="61" y="241"/>
                  </a:cubicBezTo>
                  <a:cubicBezTo>
                    <a:pt x="59" y="241"/>
                    <a:pt x="59" y="241"/>
                    <a:pt x="59" y="241"/>
                  </a:cubicBezTo>
                  <a:cubicBezTo>
                    <a:pt x="55" y="241"/>
                    <a:pt x="52" y="241"/>
                    <a:pt x="50" y="242"/>
                  </a:cubicBezTo>
                  <a:cubicBezTo>
                    <a:pt x="45" y="243"/>
                    <a:pt x="37" y="248"/>
                    <a:pt x="34" y="251"/>
                  </a:cubicBezTo>
                  <a:cubicBezTo>
                    <a:pt x="32" y="252"/>
                    <a:pt x="27" y="258"/>
                    <a:pt x="27" y="258"/>
                  </a:cubicBezTo>
                  <a:cubicBezTo>
                    <a:pt x="27" y="259"/>
                    <a:pt x="27" y="259"/>
                    <a:pt x="27" y="259"/>
                  </a:cubicBezTo>
                  <a:cubicBezTo>
                    <a:pt x="24" y="267"/>
                    <a:pt x="24" y="267"/>
                    <a:pt x="24" y="267"/>
                  </a:cubicBezTo>
                  <a:cubicBezTo>
                    <a:pt x="24" y="267"/>
                    <a:pt x="24" y="268"/>
                    <a:pt x="24" y="268"/>
                  </a:cubicBezTo>
                  <a:cubicBezTo>
                    <a:pt x="23" y="271"/>
                    <a:pt x="23" y="276"/>
                    <a:pt x="22" y="277"/>
                  </a:cubicBezTo>
                  <a:cubicBezTo>
                    <a:pt x="22" y="279"/>
                    <a:pt x="18" y="282"/>
                    <a:pt x="17" y="283"/>
                  </a:cubicBezTo>
                  <a:cubicBezTo>
                    <a:pt x="15" y="284"/>
                    <a:pt x="7" y="286"/>
                    <a:pt x="3" y="287"/>
                  </a:cubicBezTo>
                  <a:cubicBezTo>
                    <a:pt x="1" y="287"/>
                    <a:pt x="0" y="288"/>
                    <a:pt x="0" y="290"/>
                  </a:cubicBezTo>
                  <a:cubicBezTo>
                    <a:pt x="0" y="316"/>
                    <a:pt x="0" y="316"/>
                    <a:pt x="0" y="316"/>
                  </a:cubicBezTo>
                  <a:cubicBezTo>
                    <a:pt x="0" y="319"/>
                    <a:pt x="1" y="320"/>
                    <a:pt x="1" y="321"/>
                  </a:cubicBezTo>
                  <a:cubicBezTo>
                    <a:pt x="2" y="322"/>
                    <a:pt x="4" y="322"/>
                    <a:pt x="5" y="322"/>
                  </a:cubicBezTo>
                  <a:cubicBezTo>
                    <a:pt x="5" y="322"/>
                    <a:pt x="6" y="322"/>
                    <a:pt x="7" y="322"/>
                  </a:cubicBezTo>
                  <a:cubicBezTo>
                    <a:pt x="34" y="318"/>
                    <a:pt x="118" y="304"/>
                    <a:pt x="119" y="304"/>
                  </a:cubicBezTo>
                  <a:cubicBezTo>
                    <a:pt x="119" y="304"/>
                    <a:pt x="119" y="304"/>
                    <a:pt x="120" y="304"/>
                  </a:cubicBezTo>
                  <a:cubicBezTo>
                    <a:pt x="143" y="292"/>
                    <a:pt x="143" y="292"/>
                    <a:pt x="143" y="292"/>
                  </a:cubicBezTo>
                  <a:cubicBezTo>
                    <a:pt x="150" y="291"/>
                    <a:pt x="150" y="291"/>
                    <a:pt x="150" y="291"/>
                  </a:cubicBezTo>
                  <a:cubicBezTo>
                    <a:pt x="151" y="291"/>
                    <a:pt x="151" y="291"/>
                    <a:pt x="152" y="291"/>
                  </a:cubicBezTo>
                  <a:cubicBezTo>
                    <a:pt x="163" y="280"/>
                    <a:pt x="163" y="280"/>
                    <a:pt x="163" y="280"/>
                  </a:cubicBezTo>
                  <a:cubicBezTo>
                    <a:pt x="178" y="275"/>
                    <a:pt x="178" y="275"/>
                    <a:pt x="178" y="275"/>
                  </a:cubicBezTo>
                  <a:cubicBezTo>
                    <a:pt x="185" y="271"/>
                    <a:pt x="185" y="271"/>
                    <a:pt x="185" y="271"/>
                  </a:cubicBezTo>
                  <a:cubicBezTo>
                    <a:pt x="191" y="269"/>
                    <a:pt x="191" y="269"/>
                    <a:pt x="191" y="269"/>
                  </a:cubicBezTo>
                  <a:cubicBezTo>
                    <a:pt x="276" y="260"/>
                    <a:pt x="276" y="260"/>
                    <a:pt x="276" y="260"/>
                  </a:cubicBezTo>
                  <a:cubicBezTo>
                    <a:pt x="306" y="258"/>
                    <a:pt x="306" y="258"/>
                    <a:pt x="306" y="258"/>
                  </a:cubicBezTo>
                  <a:cubicBezTo>
                    <a:pt x="313" y="264"/>
                    <a:pt x="313" y="264"/>
                    <a:pt x="313" y="264"/>
                  </a:cubicBezTo>
                  <a:cubicBezTo>
                    <a:pt x="313" y="265"/>
                    <a:pt x="315" y="265"/>
                    <a:pt x="315" y="264"/>
                  </a:cubicBezTo>
                  <a:cubicBezTo>
                    <a:pt x="321" y="262"/>
                    <a:pt x="321" y="262"/>
                    <a:pt x="321" y="262"/>
                  </a:cubicBezTo>
                  <a:cubicBezTo>
                    <a:pt x="332" y="272"/>
                    <a:pt x="332" y="272"/>
                    <a:pt x="332" y="272"/>
                  </a:cubicBezTo>
                  <a:cubicBezTo>
                    <a:pt x="334" y="279"/>
                    <a:pt x="334" y="279"/>
                    <a:pt x="334" y="279"/>
                  </a:cubicBezTo>
                  <a:cubicBezTo>
                    <a:pt x="335" y="286"/>
                    <a:pt x="335" y="286"/>
                    <a:pt x="335" y="286"/>
                  </a:cubicBezTo>
                  <a:cubicBezTo>
                    <a:pt x="335" y="287"/>
                    <a:pt x="335" y="287"/>
                    <a:pt x="336" y="288"/>
                  </a:cubicBezTo>
                  <a:cubicBezTo>
                    <a:pt x="338" y="290"/>
                    <a:pt x="338" y="290"/>
                    <a:pt x="338" y="290"/>
                  </a:cubicBezTo>
                  <a:cubicBezTo>
                    <a:pt x="339" y="290"/>
                    <a:pt x="339" y="291"/>
                    <a:pt x="340" y="291"/>
                  </a:cubicBezTo>
                  <a:cubicBezTo>
                    <a:pt x="444" y="274"/>
                    <a:pt x="444" y="274"/>
                    <a:pt x="444" y="274"/>
                  </a:cubicBezTo>
                  <a:cubicBezTo>
                    <a:pt x="563" y="359"/>
                    <a:pt x="563" y="359"/>
                    <a:pt x="563" y="359"/>
                  </a:cubicBezTo>
                  <a:cubicBezTo>
                    <a:pt x="566" y="361"/>
                    <a:pt x="566" y="361"/>
                    <a:pt x="566" y="361"/>
                  </a:cubicBezTo>
                  <a:cubicBezTo>
                    <a:pt x="567" y="362"/>
                    <a:pt x="567" y="362"/>
                    <a:pt x="568" y="362"/>
                  </a:cubicBezTo>
                  <a:cubicBezTo>
                    <a:pt x="568" y="362"/>
                    <a:pt x="568" y="362"/>
                    <a:pt x="568" y="362"/>
                  </a:cubicBezTo>
                  <a:cubicBezTo>
                    <a:pt x="573" y="361"/>
                    <a:pt x="573" y="361"/>
                    <a:pt x="573" y="361"/>
                  </a:cubicBezTo>
                  <a:cubicBezTo>
                    <a:pt x="588" y="355"/>
                    <a:pt x="588" y="355"/>
                    <a:pt x="588" y="355"/>
                  </a:cubicBezTo>
                  <a:cubicBezTo>
                    <a:pt x="588" y="355"/>
                    <a:pt x="599" y="352"/>
                    <a:pt x="602" y="351"/>
                  </a:cubicBezTo>
                  <a:cubicBezTo>
                    <a:pt x="607" y="350"/>
                    <a:pt x="613" y="346"/>
                    <a:pt x="613" y="346"/>
                  </a:cubicBezTo>
                  <a:cubicBezTo>
                    <a:pt x="614" y="345"/>
                    <a:pt x="614" y="345"/>
                    <a:pt x="614" y="345"/>
                  </a:cubicBezTo>
                  <a:cubicBezTo>
                    <a:pt x="616" y="341"/>
                    <a:pt x="616" y="331"/>
                    <a:pt x="616" y="328"/>
                  </a:cubicBezTo>
                  <a:cubicBezTo>
                    <a:pt x="615" y="326"/>
                    <a:pt x="614" y="324"/>
                    <a:pt x="613" y="321"/>
                  </a:cubicBezTo>
                  <a:cubicBezTo>
                    <a:pt x="612" y="320"/>
                    <a:pt x="610" y="316"/>
                    <a:pt x="610" y="315"/>
                  </a:cubicBezTo>
                  <a:cubicBezTo>
                    <a:pt x="610" y="315"/>
                    <a:pt x="611" y="314"/>
                    <a:pt x="613" y="314"/>
                  </a:cubicBezTo>
                  <a:cubicBezTo>
                    <a:pt x="615" y="314"/>
                    <a:pt x="618" y="315"/>
                    <a:pt x="618" y="315"/>
                  </a:cubicBezTo>
                  <a:cubicBezTo>
                    <a:pt x="619" y="316"/>
                    <a:pt x="620" y="319"/>
                    <a:pt x="620" y="320"/>
                  </a:cubicBezTo>
                  <a:cubicBezTo>
                    <a:pt x="621" y="321"/>
                    <a:pt x="621" y="321"/>
                    <a:pt x="621" y="321"/>
                  </a:cubicBezTo>
                  <a:cubicBezTo>
                    <a:pt x="621" y="323"/>
                    <a:pt x="622" y="325"/>
                    <a:pt x="622" y="328"/>
                  </a:cubicBezTo>
                  <a:cubicBezTo>
                    <a:pt x="622" y="334"/>
                    <a:pt x="623" y="341"/>
                    <a:pt x="628" y="341"/>
                  </a:cubicBezTo>
                  <a:cubicBezTo>
                    <a:pt x="635" y="341"/>
                    <a:pt x="635" y="332"/>
                    <a:pt x="635" y="324"/>
                  </a:cubicBezTo>
                  <a:cubicBezTo>
                    <a:pt x="635" y="321"/>
                    <a:pt x="635" y="318"/>
                    <a:pt x="636" y="317"/>
                  </a:cubicBezTo>
                  <a:cubicBezTo>
                    <a:pt x="636" y="315"/>
                    <a:pt x="637" y="311"/>
                    <a:pt x="638" y="309"/>
                  </a:cubicBezTo>
                  <a:cubicBezTo>
                    <a:pt x="639" y="307"/>
                    <a:pt x="645" y="297"/>
                    <a:pt x="644" y="293"/>
                  </a:cubicBezTo>
                  <a:cubicBezTo>
                    <a:pt x="644" y="292"/>
                    <a:pt x="644" y="291"/>
                    <a:pt x="644" y="290"/>
                  </a:cubicBezTo>
                  <a:cubicBezTo>
                    <a:pt x="643" y="289"/>
                    <a:pt x="643" y="288"/>
                    <a:pt x="644" y="287"/>
                  </a:cubicBezTo>
                  <a:cubicBezTo>
                    <a:pt x="645" y="285"/>
                    <a:pt x="647" y="284"/>
                    <a:pt x="650" y="283"/>
                  </a:cubicBezTo>
                  <a:cubicBezTo>
                    <a:pt x="655" y="279"/>
                    <a:pt x="660" y="276"/>
                    <a:pt x="660" y="271"/>
                  </a:cubicBezTo>
                  <a:cubicBezTo>
                    <a:pt x="660" y="268"/>
                    <a:pt x="657" y="267"/>
                    <a:pt x="654" y="265"/>
                  </a:cubicBezTo>
                  <a:cubicBezTo>
                    <a:pt x="653" y="265"/>
                    <a:pt x="651" y="264"/>
                    <a:pt x="651" y="264"/>
                  </a:cubicBezTo>
                  <a:cubicBezTo>
                    <a:pt x="651" y="263"/>
                    <a:pt x="651" y="263"/>
                    <a:pt x="651" y="263"/>
                  </a:cubicBezTo>
                  <a:cubicBezTo>
                    <a:pt x="650" y="261"/>
                    <a:pt x="650" y="257"/>
                    <a:pt x="649" y="255"/>
                  </a:cubicBezTo>
                  <a:cubicBezTo>
                    <a:pt x="651" y="253"/>
                    <a:pt x="654" y="251"/>
                    <a:pt x="656" y="250"/>
                  </a:cubicBezTo>
                  <a:cubicBezTo>
                    <a:pt x="659" y="248"/>
                    <a:pt x="660" y="248"/>
                    <a:pt x="661" y="247"/>
                  </a:cubicBezTo>
                  <a:cubicBezTo>
                    <a:pt x="662" y="247"/>
                    <a:pt x="663" y="248"/>
                    <a:pt x="664" y="248"/>
                  </a:cubicBezTo>
                  <a:cubicBezTo>
                    <a:pt x="663" y="249"/>
                    <a:pt x="663" y="249"/>
                    <a:pt x="662" y="249"/>
                  </a:cubicBezTo>
                  <a:cubicBezTo>
                    <a:pt x="660" y="251"/>
                    <a:pt x="658" y="253"/>
                    <a:pt x="659" y="256"/>
                  </a:cubicBezTo>
                  <a:cubicBezTo>
                    <a:pt x="660" y="260"/>
                    <a:pt x="667" y="260"/>
                    <a:pt x="669" y="260"/>
                  </a:cubicBezTo>
                  <a:cubicBezTo>
                    <a:pt x="669" y="260"/>
                    <a:pt x="669" y="260"/>
                    <a:pt x="670" y="260"/>
                  </a:cubicBezTo>
                  <a:cubicBezTo>
                    <a:pt x="671" y="260"/>
                    <a:pt x="672" y="259"/>
                    <a:pt x="673" y="258"/>
                  </a:cubicBezTo>
                  <a:cubicBezTo>
                    <a:pt x="675" y="257"/>
                    <a:pt x="677" y="253"/>
                    <a:pt x="679" y="250"/>
                  </a:cubicBezTo>
                  <a:cubicBezTo>
                    <a:pt x="680" y="249"/>
                    <a:pt x="680" y="247"/>
                    <a:pt x="681" y="245"/>
                  </a:cubicBezTo>
                  <a:cubicBezTo>
                    <a:pt x="682" y="242"/>
                    <a:pt x="683" y="238"/>
                    <a:pt x="684" y="237"/>
                  </a:cubicBezTo>
                  <a:cubicBezTo>
                    <a:pt x="685" y="237"/>
                    <a:pt x="686" y="238"/>
                    <a:pt x="687" y="238"/>
                  </a:cubicBezTo>
                  <a:cubicBezTo>
                    <a:pt x="688" y="239"/>
                    <a:pt x="690" y="240"/>
                    <a:pt x="692" y="240"/>
                  </a:cubicBezTo>
                  <a:cubicBezTo>
                    <a:pt x="692" y="240"/>
                    <a:pt x="692" y="240"/>
                    <a:pt x="692" y="240"/>
                  </a:cubicBezTo>
                  <a:cubicBezTo>
                    <a:pt x="695" y="240"/>
                    <a:pt x="699" y="237"/>
                    <a:pt x="703" y="235"/>
                  </a:cubicBezTo>
                  <a:cubicBezTo>
                    <a:pt x="706" y="233"/>
                    <a:pt x="709" y="231"/>
                    <a:pt x="711" y="231"/>
                  </a:cubicBezTo>
                  <a:cubicBezTo>
                    <a:pt x="711" y="231"/>
                    <a:pt x="712" y="231"/>
                    <a:pt x="712" y="231"/>
                  </a:cubicBezTo>
                  <a:cubicBezTo>
                    <a:pt x="715" y="231"/>
                    <a:pt x="717" y="231"/>
                    <a:pt x="719" y="230"/>
                  </a:cubicBezTo>
                  <a:cubicBezTo>
                    <a:pt x="720" y="229"/>
                    <a:pt x="720" y="228"/>
                    <a:pt x="720" y="226"/>
                  </a:cubicBezTo>
                  <a:cubicBezTo>
                    <a:pt x="720" y="226"/>
                    <a:pt x="720" y="226"/>
                    <a:pt x="720" y="226"/>
                  </a:cubicBezTo>
                  <a:cubicBezTo>
                    <a:pt x="722" y="221"/>
                    <a:pt x="723" y="220"/>
                    <a:pt x="723" y="220"/>
                  </a:cubicBezTo>
                  <a:cubicBezTo>
                    <a:pt x="723" y="220"/>
                    <a:pt x="724" y="220"/>
                    <a:pt x="724" y="220"/>
                  </a:cubicBezTo>
                  <a:cubicBezTo>
                    <a:pt x="724" y="220"/>
                    <a:pt x="729" y="220"/>
                    <a:pt x="729" y="220"/>
                  </a:cubicBezTo>
                  <a:cubicBezTo>
                    <a:pt x="729" y="220"/>
                    <a:pt x="730" y="220"/>
                    <a:pt x="730" y="221"/>
                  </a:cubicBezTo>
                  <a:cubicBezTo>
                    <a:pt x="732" y="222"/>
                    <a:pt x="735" y="224"/>
                    <a:pt x="741" y="224"/>
                  </a:cubicBezTo>
                  <a:cubicBezTo>
                    <a:pt x="745" y="224"/>
                    <a:pt x="747" y="218"/>
                    <a:pt x="748" y="213"/>
                  </a:cubicBezTo>
                  <a:cubicBezTo>
                    <a:pt x="748" y="211"/>
                    <a:pt x="749" y="209"/>
                    <a:pt x="749" y="209"/>
                  </a:cubicBezTo>
                  <a:cubicBezTo>
                    <a:pt x="750" y="208"/>
                    <a:pt x="751" y="206"/>
                    <a:pt x="752" y="205"/>
                  </a:cubicBezTo>
                  <a:cubicBezTo>
                    <a:pt x="754" y="204"/>
                    <a:pt x="755" y="203"/>
                    <a:pt x="756" y="201"/>
                  </a:cubicBezTo>
                  <a:cubicBezTo>
                    <a:pt x="756" y="201"/>
                    <a:pt x="759" y="196"/>
                    <a:pt x="759" y="192"/>
                  </a:cubicBezTo>
                  <a:cubicBezTo>
                    <a:pt x="759" y="190"/>
                    <a:pt x="758" y="185"/>
                    <a:pt x="755" y="184"/>
                  </a:cubicBezTo>
                  <a:cubicBezTo>
                    <a:pt x="754" y="184"/>
                    <a:pt x="754" y="184"/>
                    <a:pt x="753" y="184"/>
                  </a:cubicBezTo>
                  <a:cubicBezTo>
                    <a:pt x="752" y="184"/>
                    <a:pt x="750" y="184"/>
                    <a:pt x="749" y="185"/>
                  </a:cubicBezTo>
                  <a:cubicBezTo>
                    <a:pt x="748" y="186"/>
                    <a:pt x="747" y="188"/>
                    <a:pt x="747" y="190"/>
                  </a:cubicBezTo>
                  <a:cubicBezTo>
                    <a:pt x="746" y="191"/>
                    <a:pt x="746" y="193"/>
                    <a:pt x="746" y="193"/>
                  </a:cubicBezTo>
                  <a:cubicBezTo>
                    <a:pt x="743" y="195"/>
                    <a:pt x="738" y="196"/>
                    <a:pt x="733" y="198"/>
                  </a:cubicBezTo>
                  <a:cubicBezTo>
                    <a:pt x="730" y="198"/>
                    <a:pt x="727" y="199"/>
                    <a:pt x="725" y="200"/>
                  </a:cubicBezTo>
                  <a:cubicBezTo>
                    <a:pt x="723" y="201"/>
                    <a:pt x="721" y="202"/>
                    <a:pt x="718" y="204"/>
                  </a:cubicBezTo>
                  <a:cubicBezTo>
                    <a:pt x="716" y="206"/>
                    <a:pt x="713" y="209"/>
                    <a:pt x="711" y="209"/>
                  </a:cubicBezTo>
                  <a:cubicBezTo>
                    <a:pt x="710" y="209"/>
                    <a:pt x="709" y="209"/>
                    <a:pt x="707" y="209"/>
                  </a:cubicBezTo>
                  <a:cubicBezTo>
                    <a:pt x="703" y="209"/>
                    <a:pt x="699" y="209"/>
                    <a:pt x="697" y="208"/>
                  </a:cubicBezTo>
                  <a:cubicBezTo>
                    <a:pt x="694" y="206"/>
                    <a:pt x="690" y="202"/>
                    <a:pt x="687" y="199"/>
                  </a:cubicBezTo>
                  <a:cubicBezTo>
                    <a:pt x="686" y="197"/>
                    <a:pt x="686" y="197"/>
                    <a:pt x="686" y="197"/>
                  </a:cubicBezTo>
                  <a:cubicBezTo>
                    <a:pt x="685" y="196"/>
                    <a:pt x="683" y="192"/>
                    <a:pt x="682" y="190"/>
                  </a:cubicBezTo>
                  <a:cubicBezTo>
                    <a:pt x="682" y="190"/>
                    <a:pt x="683" y="191"/>
                    <a:pt x="683" y="191"/>
                  </a:cubicBezTo>
                  <a:cubicBezTo>
                    <a:pt x="684" y="191"/>
                    <a:pt x="686" y="192"/>
                    <a:pt x="688" y="192"/>
                  </a:cubicBezTo>
                  <a:cubicBezTo>
                    <a:pt x="689" y="193"/>
                    <a:pt x="691" y="193"/>
                    <a:pt x="691" y="194"/>
                  </a:cubicBezTo>
                  <a:cubicBezTo>
                    <a:pt x="692" y="194"/>
                    <a:pt x="693" y="195"/>
                    <a:pt x="695" y="196"/>
                  </a:cubicBezTo>
                  <a:cubicBezTo>
                    <a:pt x="696" y="198"/>
                    <a:pt x="698" y="200"/>
                    <a:pt x="700" y="200"/>
                  </a:cubicBezTo>
                  <a:cubicBezTo>
                    <a:pt x="703" y="201"/>
                    <a:pt x="707" y="202"/>
                    <a:pt x="710" y="201"/>
                  </a:cubicBezTo>
                  <a:cubicBezTo>
                    <a:pt x="712" y="201"/>
                    <a:pt x="715" y="198"/>
                    <a:pt x="716" y="197"/>
                  </a:cubicBezTo>
                  <a:cubicBezTo>
                    <a:pt x="717" y="196"/>
                    <a:pt x="726" y="186"/>
                    <a:pt x="728" y="181"/>
                  </a:cubicBezTo>
                  <a:cubicBezTo>
                    <a:pt x="728" y="181"/>
                    <a:pt x="730" y="174"/>
                    <a:pt x="727" y="171"/>
                  </a:cubicBezTo>
                  <a:cubicBezTo>
                    <a:pt x="727" y="171"/>
                    <a:pt x="727" y="171"/>
                    <a:pt x="726" y="171"/>
                  </a:cubicBezTo>
                  <a:cubicBezTo>
                    <a:pt x="728" y="171"/>
                    <a:pt x="729" y="171"/>
                    <a:pt x="730" y="170"/>
                  </a:cubicBezTo>
                  <a:cubicBezTo>
                    <a:pt x="732" y="168"/>
                    <a:pt x="735" y="162"/>
                    <a:pt x="734" y="159"/>
                  </a:cubicBezTo>
                  <a:cubicBezTo>
                    <a:pt x="733" y="158"/>
                    <a:pt x="732" y="156"/>
                    <a:pt x="729" y="156"/>
                  </a:cubicBezTo>
                  <a:cubicBezTo>
                    <a:pt x="727" y="156"/>
                    <a:pt x="725" y="157"/>
                    <a:pt x="722" y="159"/>
                  </a:cubicBezTo>
                  <a:cubicBezTo>
                    <a:pt x="720" y="159"/>
                    <a:pt x="717" y="160"/>
                    <a:pt x="716" y="160"/>
                  </a:cubicBezTo>
                  <a:cubicBezTo>
                    <a:pt x="716" y="160"/>
                    <a:pt x="716" y="160"/>
                    <a:pt x="716" y="160"/>
                  </a:cubicBezTo>
                  <a:cubicBezTo>
                    <a:pt x="714" y="160"/>
                    <a:pt x="709" y="160"/>
                    <a:pt x="708" y="160"/>
                  </a:cubicBezTo>
                  <a:cubicBezTo>
                    <a:pt x="698" y="160"/>
                    <a:pt x="681" y="157"/>
                    <a:pt x="677" y="153"/>
                  </a:cubicBezTo>
                  <a:cubicBezTo>
                    <a:pt x="676" y="152"/>
                    <a:pt x="676" y="147"/>
                    <a:pt x="676" y="143"/>
                  </a:cubicBezTo>
                  <a:cubicBezTo>
                    <a:pt x="676" y="143"/>
                    <a:pt x="676" y="143"/>
                    <a:pt x="676" y="143"/>
                  </a:cubicBezTo>
                  <a:cubicBezTo>
                    <a:pt x="678" y="143"/>
                    <a:pt x="682" y="145"/>
                    <a:pt x="684" y="146"/>
                  </a:cubicBezTo>
                  <a:cubicBezTo>
                    <a:pt x="686" y="147"/>
                    <a:pt x="688" y="147"/>
                    <a:pt x="689" y="148"/>
                  </a:cubicBezTo>
                  <a:cubicBezTo>
                    <a:pt x="690" y="148"/>
                    <a:pt x="690" y="148"/>
                    <a:pt x="691" y="148"/>
                  </a:cubicBezTo>
                  <a:cubicBezTo>
                    <a:pt x="691" y="149"/>
                    <a:pt x="692" y="149"/>
                    <a:pt x="693" y="149"/>
                  </a:cubicBezTo>
                  <a:cubicBezTo>
                    <a:pt x="693" y="149"/>
                    <a:pt x="694" y="149"/>
                    <a:pt x="695" y="148"/>
                  </a:cubicBezTo>
                  <a:cubicBezTo>
                    <a:pt x="697" y="148"/>
                    <a:pt x="698" y="148"/>
                    <a:pt x="699" y="147"/>
                  </a:cubicBezTo>
                  <a:cubicBezTo>
                    <a:pt x="700" y="146"/>
                    <a:pt x="702" y="146"/>
                    <a:pt x="702" y="146"/>
                  </a:cubicBezTo>
                  <a:cubicBezTo>
                    <a:pt x="702" y="146"/>
                    <a:pt x="703" y="146"/>
                    <a:pt x="703" y="146"/>
                  </a:cubicBezTo>
                  <a:cubicBezTo>
                    <a:pt x="704" y="147"/>
                    <a:pt x="705" y="147"/>
                    <a:pt x="707" y="147"/>
                  </a:cubicBezTo>
                  <a:cubicBezTo>
                    <a:pt x="707" y="147"/>
                    <a:pt x="709" y="147"/>
                    <a:pt x="709" y="146"/>
                  </a:cubicBezTo>
                  <a:cubicBezTo>
                    <a:pt x="711" y="144"/>
                    <a:pt x="709" y="141"/>
                    <a:pt x="708" y="139"/>
                  </a:cubicBezTo>
                  <a:cubicBezTo>
                    <a:pt x="707" y="138"/>
                    <a:pt x="707" y="137"/>
                    <a:pt x="707" y="137"/>
                  </a:cubicBezTo>
                  <a:cubicBezTo>
                    <a:pt x="706" y="136"/>
                    <a:pt x="706" y="136"/>
                    <a:pt x="706" y="136"/>
                  </a:cubicBezTo>
                  <a:cubicBezTo>
                    <a:pt x="706" y="135"/>
                    <a:pt x="706" y="133"/>
                    <a:pt x="706" y="132"/>
                  </a:cubicBezTo>
                  <a:cubicBezTo>
                    <a:pt x="707" y="132"/>
                    <a:pt x="711" y="131"/>
                    <a:pt x="715" y="131"/>
                  </a:cubicBezTo>
                  <a:cubicBezTo>
                    <a:pt x="714" y="132"/>
                    <a:pt x="713" y="133"/>
                    <a:pt x="713" y="135"/>
                  </a:cubicBezTo>
                  <a:cubicBezTo>
                    <a:pt x="713" y="136"/>
                    <a:pt x="713" y="139"/>
                    <a:pt x="722" y="143"/>
                  </a:cubicBezTo>
                  <a:cubicBezTo>
                    <a:pt x="725" y="145"/>
                    <a:pt x="728" y="146"/>
                    <a:pt x="729" y="146"/>
                  </a:cubicBezTo>
                  <a:cubicBezTo>
                    <a:pt x="730" y="146"/>
                    <a:pt x="731" y="146"/>
                    <a:pt x="732" y="145"/>
                  </a:cubicBezTo>
                  <a:cubicBezTo>
                    <a:pt x="732" y="145"/>
                    <a:pt x="733" y="145"/>
                    <a:pt x="735" y="145"/>
                  </a:cubicBezTo>
                  <a:cubicBezTo>
                    <a:pt x="742" y="146"/>
                    <a:pt x="742" y="146"/>
                    <a:pt x="742" y="146"/>
                  </a:cubicBezTo>
                  <a:cubicBezTo>
                    <a:pt x="743" y="146"/>
                    <a:pt x="750" y="148"/>
                    <a:pt x="755" y="148"/>
                  </a:cubicBezTo>
                  <a:cubicBezTo>
                    <a:pt x="758" y="148"/>
                    <a:pt x="759" y="147"/>
                    <a:pt x="760" y="147"/>
                  </a:cubicBezTo>
                  <a:cubicBezTo>
                    <a:pt x="763" y="146"/>
                    <a:pt x="766" y="142"/>
                    <a:pt x="768" y="139"/>
                  </a:cubicBezTo>
                  <a:cubicBezTo>
                    <a:pt x="772" y="133"/>
                    <a:pt x="777" y="121"/>
                    <a:pt x="779" y="115"/>
                  </a:cubicBezTo>
                  <a:cubicBezTo>
                    <a:pt x="779" y="114"/>
                    <a:pt x="779" y="112"/>
                    <a:pt x="778" y="111"/>
                  </a:cubicBezTo>
                  <a:cubicBezTo>
                    <a:pt x="778" y="111"/>
                    <a:pt x="778" y="110"/>
                    <a:pt x="778" y="110"/>
                  </a:cubicBezTo>
                  <a:cubicBezTo>
                    <a:pt x="778" y="110"/>
                    <a:pt x="779" y="110"/>
                    <a:pt x="779" y="110"/>
                  </a:cubicBezTo>
                  <a:cubicBezTo>
                    <a:pt x="780" y="111"/>
                    <a:pt x="781" y="112"/>
                    <a:pt x="783" y="112"/>
                  </a:cubicBezTo>
                  <a:cubicBezTo>
                    <a:pt x="783" y="112"/>
                    <a:pt x="784" y="112"/>
                    <a:pt x="784" y="112"/>
                  </a:cubicBezTo>
                  <a:cubicBezTo>
                    <a:pt x="787" y="111"/>
                    <a:pt x="792" y="106"/>
                    <a:pt x="792" y="103"/>
                  </a:cubicBezTo>
                  <a:cubicBezTo>
                    <a:pt x="793" y="101"/>
                    <a:pt x="791" y="97"/>
                    <a:pt x="790" y="95"/>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35">
              <a:extLst>
                <a:ext uri="{FF2B5EF4-FFF2-40B4-BE49-F238E27FC236}">
                  <a16:creationId xmlns:a16="http://schemas.microsoft.com/office/drawing/2014/main" id="{867DC13A-5A9E-461C-9012-EE46814297DA}"/>
                </a:ext>
              </a:extLst>
            </p:cNvPr>
            <p:cNvSpPr>
              <a:spLocks/>
            </p:cNvSpPr>
            <p:nvPr/>
          </p:nvSpPr>
          <p:spPr bwMode="auto">
            <a:xfrm>
              <a:off x="8104111" y="3392709"/>
              <a:ext cx="48515" cy="140491"/>
            </a:xfrm>
            <a:custGeom>
              <a:avLst/>
              <a:gdLst>
                <a:gd name="T0" fmla="*/ 16 w 48"/>
                <a:gd name="T1" fmla="*/ 104 h 139"/>
                <a:gd name="T2" fmla="*/ 18 w 48"/>
                <a:gd name="T3" fmla="*/ 121 h 139"/>
                <a:gd name="T4" fmla="*/ 11 w 48"/>
                <a:gd name="T5" fmla="*/ 139 h 139"/>
                <a:gd name="T6" fmla="*/ 1 w 48"/>
                <a:gd name="T7" fmla="*/ 126 h 139"/>
                <a:gd name="T8" fmla="*/ 0 w 48"/>
                <a:gd name="T9" fmla="*/ 107 h 139"/>
                <a:gd name="T10" fmla="*/ 2 w 48"/>
                <a:gd name="T11" fmla="*/ 104 h 139"/>
                <a:gd name="T12" fmla="*/ 1 w 48"/>
                <a:gd name="T13" fmla="*/ 95 h 139"/>
                <a:gd name="T14" fmla="*/ 2 w 48"/>
                <a:gd name="T15" fmla="*/ 76 h 139"/>
                <a:gd name="T16" fmla="*/ 8 w 48"/>
                <a:gd name="T17" fmla="*/ 60 h 139"/>
                <a:gd name="T18" fmla="*/ 10 w 48"/>
                <a:gd name="T19" fmla="*/ 41 h 139"/>
                <a:gd name="T20" fmla="*/ 18 w 48"/>
                <a:gd name="T21" fmla="*/ 41 h 139"/>
                <a:gd name="T22" fmla="*/ 19 w 48"/>
                <a:gd name="T23" fmla="*/ 31 h 139"/>
                <a:gd name="T24" fmla="*/ 11 w 48"/>
                <a:gd name="T25" fmla="*/ 24 h 139"/>
                <a:gd name="T26" fmla="*/ 19 w 48"/>
                <a:gd name="T27" fmla="*/ 16 h 139"/>
                <a:gd name="T28" fmla="*/ 28 w 48"/>
                <a:gd name="T29" fmla="*/ 7 h 139"/>
                <a:gd name="T30" fmla="*/ 48 w 48"/>
                <a:gd name="T31" fmla="*/ 0 h 139"/>
                <a:gd name="T32" fmla="*/ 45 w 48"/>
                <a:gd name="T33" fmla="*/ 13 h 139"/>
                <a:gd name="T34" fmla="*/ 46 w 48"/>
                <a:gd name="T35" fmla="*/ 22 h 139"/>
                <a:gd name="T36" fmla="*/ 39 w 48"/>
                <a:gd name="T37" fmla="*/ 35 h 139"/>
                <a:gd name="T38" fmla="*/ 36 w 48"/>
                <a:gd name="T39" fmla="*/ 54 h 139"/>
                <a:gd name="T40" fmla="*/ 37 w 48"/>
                <a:gd name="T41" fmla="*/ 72 h 139"/>
                <a:gd name="T42" fmla="*/ 34 w 48"/>
                <a:gd name="T43" fmla="*/ 82 h 139"/>
                <a:gd name="T44" fmla="*/ 34 w 48"/>
                <a:gd name="T45" fmla="*/ 83 h 139"/>
                <a:gd name="T46" fmla="*/ 25 w 48"/>
                <a:gd name="T47" fmla="*/ 76 h 139"/>
                <a:gd name="T48" fmla="*/ 23 w 48"/>
                <a:gd name="T49" fmla="*/ 85 h 139"/>
                <a:gd name="T50" fmla="*/ 18 w 48"/>
                <a:gd name="T51" fmla="*/ 95 h 139"/>
                <a:gd name="T52" fmla="*/ 16 w 48"/>
                <a:gd name="T53" fmla="*/ 104 h 139"/>
                <a:gd name="T54" fmla="*/ 16 w 48"/>
                <a:gd name="T55" fmla="*/ 10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39">
                  <a:moveTo>
                    <a:pt x="16" y="104"/>
                  </a:moveTo>
                  <a:lnTo>
                    <a:pt x="18" y="121"/>
                  </a:lnTo>
                  <a:lnTo>
                    <a:pt x="11" y="139"/>
                  </a:lnTo>
                  <a:lnTo>
                    <a:pt x="1" y="126"/>
                  </a:lnTo>
                  <a:lnTo>
                    <a:pt x="0" y="107"/>
                  </a:lnTo>
                  <a:lnTo>
                    <a:pt x="2" y="104"/>
                  </a:lnTo>
                  <a:lnTo>
                    <a:pt x="1" y="95"/>
                  </a:lnTo>
                  <a:lnTo>
                    <a:pt x="2" y="76"/>
                  </a:lnTo>
                  <a:lnTo>
                    <a:pt x="8" y="60"/>
                  </a:lnTo>
                  <a:lnTo>
                    <a:pt x="10" y="41"/>
                  </a:lnTo>
                  <a:lnTo>
                    <a:pt x="18" y="41"/>
                  </a:lnTo>
                  <a:lnTo>
                    <a:pt x="19" y="31"/>
                  </a:lnTo>
                  <a:lnTo>
                    <a:pt x="11" y="24"/>
                  </a:lnTo>
                  <a:lnTo>
                    <a:pt x="19" y="16"/>
                  </a:lnTo>
                  <a:lnTo>
                    <a:pt x="28" y="7"/>
                  </a:lnTo>
                  <a:lnTo>
                    <a:pt x="48" y="0"/>
                  </a:lnTo>
                  <a:lnTo>
                    <a:pt x="45" y="13"/>
                  </a:lnTo>
                  <a:lnTo>
                    <a:pt x="46" y="22"/>
                  </a:lnTo>
                  <a:lnTo>
                    <a:pt x="39" y="35"/>
                  </a:lnTo>
                  <a:lnTo>
                    <a:pt x="36" y="54"/>
                  </a:lnTo>
                  <a:lnTo>
                    <a:pt x="37" y="72"/>
                  </a:lnTo>
                  <a:lnTo>
                    <a:pt x="34" y="82"/>
                  </a:lnTo>
                  <a:lnTo>
                    <a:pt x="34" y="83"/>
                  </a:lnTo>
                  <a:lnTo>
                    <a:pt x="25" y="76"/>
                  </a:lnTo>
                  <a:lnTo>
                    <a:pt x="23" y="85"/>
                  </a:lnTo>
                  <a:lnTo>
                    <a:pt x="18" y="95"/>
                  </a:lnTo>
                  <a:lnTo>
                    <a:pt x="16" y="104"/>
                  </a:lnTo>
                  <a:lnTo>
                    <a:pt x="16" y="104"/>
                  </a:ln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36">
              <a:extLst>
                <a:ext uri="{FF2B5EF4-FFF2-40B4-BE49-F238E27FC236}">
                  <a16:creationId xmlns:a16="http://schemas.microsoft.com/office/drawing/2014/main" id="{E05D5598-C937-4061-90EA-8A1E6C916FBD}"/>
                </a:ext>
              </a:extLst>
            </p:cNvPr>
            <p:cNvSpPr>
              <a:spLocks/>
            </p:cNvSpPr>
            <p:nvPr/>
          </p:nvSpPr>
          <p:spPr bwMode="auto">
            <a:xfrm>
              <a:off x="7353141" y="3252218"/>
              <a:ext cx="806560" cy="462913"/>
            </a:xfrm>
            <a:custGeom>
              <a:avLst/>
              <a:gdLst>
                <a:gd name="T0" fmla="*/ 675 w 725"/>
                <a:gd name="T1" fmla="*/ 254 h 417"/>
                <a:gd name="T2" fmla="*/ 638 w 725"/>
                <a:gd name="T3" fmla="*/ 251 h 417"/>
                <a:gd name="T4" fmla="*/ 622 w 725"/>
                <a:gd name="T5" fmla="*/ 243 h 417"/>
                <a:gd name="T6" fmla="*/ 588 w 725"/>
                <a:gd name="T7" fmla="*/ 239 h 417"/>
                <a:gd name="T8" fmla="*/ 583 w 725"/>
                <a:gd name="T9" fmla="*/ 229 h 417"/>
                <a:gd name="T10" fmla="*/ 611 w 725"/>
                <a:gd name="T11" fmla="*/ 232 h 417"/>
                <a:gd name="T12" fmla="*/ 625 w 725"/>
                <a:gd name="T13" fmla="*/ 235 h 417"/>
                <a:gd name="T14" fmla="*/ 651 w 725"/>
                <a:gd name="T15" fmla="*/ 246 h 417"/>
                <a:gd name="T16" fmla="*/ 673 w 725"/>
                <a:gd name="T17" fmla="*/ 238 h 417"/>
                <a:gd name="T18" fmla="*/ 659 w 725"/>
                <a:gd name="T19" fmla="*/ 232 h 417"/>
                <a:gd name="T20" fmla="*/ 614 w 725"/>
                <a:gd name="T21" fmla="*/ 200 h 417"/>
                <a:gd name="T22" fmla="*/ 656 w 725"/>
                <a:gd name="T23" fmla="*/ 211 h 417"/>
                <a:gd name="T24" fmla="*/ 664 w 725"/>
                <a:gd name="T25" fmla="*/ 211 h 417"/>
                <a:gd name="T26" fmla="*/ 653 w 725"/>
                <a:gd name="T27" fmla="*/ 183 h 417"/>
                <a:gd name="T28" fmla="*/ 630 w 725"/>
                <a:gd name="T29" fmla="*/ 184 h 417"/>
                <a:gd name="T30" fmla="*/ 604 w 725"/>
                <a:gd name="T31" fmla="*/ 164 h 417"/>
                <a:gd name="T32" fmla="*/ 584 w 725"/>
                <a:gd name="T33" fmla="*/ 144 h 417"/>
                <a:gd name="T34" fmla="*/ 581 w 725"/>
                <a:gd name="T35" fmla="*/ 133 h 417"/>
                <a:gd name="T36" fmla="*/ 605 w 725"/>
                <a:gd name="T37" fmla="*/ 153 h 417"/>
                <a:gd name="T38" fmla="*/ 633 w 725"/>
                <a:gd name="T39" fmla="*/ 171 h 417"/>
                <a:gd name="T40" fmla="*/ 653 w 725"/>
                <a:gd name="T41" fmla="*/ 155 h 417"/>
                <a:gd name="T42" fmla="*/ 635 w 725"/>
                <a:gd name="T43" fmla="*/ 133 h 417"/>
                <a:gd name="T44" fmla="*/ 625 w 725"/>
                <a:gd name="T45" fmla="*/ 127 h 417"/>
                <a:gd name="T46" fmla="*/ 601 w 725"/>
                <a:gd name="T47" fmla="*/ 120 h 417"/>
                <a:gd name="T48" fmla="*/ 576 w 725"/>
                <a:gd name="T49" fmla="*/ 109 h 417"/>
                <a:gd name="T50" fmla="*/ 556 w 725"/>
                <a:gd name="T51" fmla="*/ 106 h 417"/>
                <a:gd name="T52" fmla="*/ 545 w 725"/>
                <a:gd name="T53" fmla="*/ 94 h 417"/>
                <a:gd name="T54" fmla="*/ 557 w 725"/>
                <a:gd name="T55" fmla="*/ 69 h 417"/>
                <a:gd name="T56" fmla="*/ 560 w 725"/>
                <a:gd name="T57" fmla="*/ 48 h 417"/>
                <a:gd name="T58" fmla="*/ 540 w 725"/>
                <a:gd name="T59" fmla="*/ 31 h 417"/>
                <a:gd name="T60" fmla="*/ 513 w 725"/>
                <a:gd name="T61" fmla="*/ 20 h 417"/>
                <a:gd name="T62" fmla="*/ 480 w 725"/>
                <a:gd name="T63" fmla="*/ 12 h 417"/>
                <a:gd name="T64" fmla="*/ 426 w 725"/>
                <a:gd name="T65" fmla="*/ 6 h 417"/>
                <a:gd name="T66" fmla="*/ 425 w 725"/>
                <a:gd name="T67" fmla="*/ 37 h 417"/>
                <a:gd name="T68" fmla="*/ 410 w 725"/>
                <a:gd name="T69" fmla="*/ 65 h 417"/>
                <a:gd name="T70" fmla="*/ 389 w 725"/>
                <a:gd name="T71" fmla="*/ 82 h 417"/>
                <a:gd name="T72" fmla="*/ 375 w 725"/>
                <a:gd name="T73" fmla="*/ 105 h 417"/>
                <a:gd name="T74" fmla="*/ 358 w 725"/>
                <a:gd name="T75" fmla="*/ 133 h 417"/>
                <a:gd name="T76" fmla="*/ 329 w 725"/>
                <a:gd name="T77" fmla="*/ 124 h 417"/>
                <a:gd name="T78" fmla="*/ 322 w 725"/>
                <a:gd name="T79" fmla="*/ 159 h 417"/>
                <a:gd name="T80" fmla="*/ 311 w 725"/>
                <a:gd name="T81" fmla="*/ 196 h 417"/>
                <a:gd name="T82" fmla="*/ 298 w 725"/>
                <a:gd name="T83" fmla="*/ 243 h 417"/>
                <a:gd name="T84" fmla="*/ 292 w 725"/>
                <a:gd name="T85" fmla="*/ 259 h 417"/>
                <a:gd name="T86" fmla="*/ 255 w 725"/>
                <a:gd name="T87" fmla="*/ 276 h 417"/>
                <a:gd name="T88" fmla="*/ 237 w 725"/>
                <a:gd name="T89" fmla="*/ 290 h 417"/>
                <a:gd name="T90" fmla="*/ 197 w 725"/>
                <a:gd name="T91" fmla="*/ 300 h 417"/>
                <a:gd name="T92" fmla="*/ 152 w 725"/>
                <a:gd name="T93" fmla="*/ 294 h 417"/>
                <a:gd name="T94" fmla="*/ 82 w 725"/>
                <a:gd name="T95" fmla="*/ 341 h 417"/>
                <a:gd name="T96" fmla="*/ 72 w 725"/>
                <a:gd name="T97" fmla="*/ 362 h 417"/>
                <a:gd name="T98" fmla="*/ 51 w 725"/>
                <a:gd name="T99" fmla="*/ 385 h 417"/>
                <a:gd name="T100" fmla="*/ 18 w 725"/>
                <a:gd name="T101" fmla="*/ 399 h 417"/>
                <a:gd name="T102" fmla="*/ 179 w 725"/>
                <a:gd name="T103" fmla="*/ 387 h 417"/>
                <a:gd name="T104" fmla="*/ 615 w 725"/>
                <a:gd name="T105" fmla="*/ 315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5" h="417">
                  <a:moveTo>
                    <a:pt x="724" y="288"/>
                  </a:moveTo>
                  <a:cubicBezTo>
                    <a:pt x="710" y="265"/>
                    <a:pt x="710" y="265"/>
                    <a:pt x="710" y="265"/>
                  </a:cubicBezTo>
                  <a:cubicBezTo>
                    <a:pt x="704" y="256"/>
                    <a:pt x="704" y="256"/>
                    <a:pt x="704" y="256"/>
                  </a:cubicBezTo>
                  <a:cubicBezTo>
                    <a:pt x="703" y="255"/>
                    <a:pt x="703" y="255"/>
                    <a:pt x="702" y="255"/>
                  </a:cubicBezTo>
                  <a:cubicBezTo>
                    <a:pt x="681" y="256"/>
                    <a:pt x="681" y="256"/>
                    <a:pt x="681" y="256"/>
                  </a:cubicBezTo>
                  <a:cubicBezTo>
                    <a:pt x="680" y="255"/>
                    <a:pt x="677" y="254"/>
                    <a:pt x="675" y="254"/>
                  </a:cubicBezTo>
                  <a:cubicBezTo>
                    <a:pt x="674" y="254"/>
                    <a:pt x="673" y="254"/>
                    <a:pt x="672" y="255"/>
                  </a:cubicBezTo>
                  <a:cubicBezTo>
                    <a:pt x="670" y="256"/>
                    <a:pt x="669" y="261"/>
                    <a:pt x="669" y="264"/>
                  </a:cubicBezTo>
                  <a:cubicBezTo>
                    <a:pt x="668" y="264"/>
                    <a:pt x="668" y="264"/>
                    <a:pt x="668" y="264"/>
                  </a:cubicBezTo>
                  <a:cubicBezTo>
                    <a:pt x="667" y="263"/>
                    <a:pt x="663" y="262"/>
                    <a:pt x="661" y="263"/>
                  </a:cubicBezTo>
                  <a:cubicBezTo>
                    <a:pt x="657" y="262"/>
                    <a:pt x="646" y="259"/>
                    <a:pt x="642" y="257"/>
                  </a:cubicBezTo>
                  <a:cubicBezTo>
                    <a:pt x="641" y="256"/>
                    <a:pt x="639" y="252"/>
                    <a:pt x="638" y="251"/>
                  </a:cubicBezTo>
                  <a:cubicBezTo>
                    <a:pt x="638" y="250"/>
                    <a:pt x="638" y="250"/>
                    <a:pt x="638" y="250"/>
                  </a:cubicBezTo>
                  <a:cubicBezTo>
                    <a:pt x="637" y="249"/>
                    <a:pt x="637" y="248"/>
                    <a:pt x="637" y="248"/>
                  </a:cubicBezTo>
                  <a:cubicBezTo>
                    <a:pt x="636" y="245"/>
                    <a:pt x="636" y="242"/>
                    <a:pt x="634" y="241"/>
                  </a:cubicBezTo>
                  <a:cubicBezTo>
                    <a:pt x="632" y="240"/>
                    <a:pt x="629" y="242"/>
                    <a:pt x="627" y="243"/>
                  </a:cubicBezTo>
                  <a:cubicBezTo>
                    <a:pt x="626" y="243"/>
                    <a:pt x="625" y="244"/>
                    <a:pt x="625" y="244"/>
                  </a:cubicBezTo>
                  <a:cubicBezTo>
                    <a:pt x="624" y="244"/>
                    <a:pt x="623" y="243"/>
                    <a:pt x="622" y="243"/>
                  </a:cubicBezTo>
                  <a:cubicBezTo>
                    <a:pt x="620" y="242"/>
                    <a:pt x="619" y="241"/>
                    <a:pt x="617" y="241"/>
                  </a:cubicBezTo>
                  <a:cubicBezTo>
                    <a:pt x="616" y="241"/>
                    <a:pt x="615" y="242"/>
                    <a:pt x="613" y="242"/>
                  </a:cubicBezTo>
                  <a:cubicBezTo>
                    <a:pt x="613" y="242"/>
                    <a:pt x="611" y="243"/>
                    <a:pt x="611" y="243"/>
                  </a:cubicBezTo>
                  <a:cubicBezTo>
                    <a:pt x="609" y="242"/>
                    <a:pt x="606" y="241"/>
                    <a:pt x="603" y="241"/>
                  </a:cubicBezTo>
                  <a:cubicBezTo>
                    <a:pt x="601" y="240"/>
                    <a:pt x="599" y="239"/>
                    <a:pt x="597" y="239"/>
                  </a:cubicBezTo>
                  <a:cubicBezTo>
                    <a:pt x="595" y="238"/>
                    <a:pt x="591" y="239"/>
                    <a:pt x="588" y="239"/>
                  </a:cubicBezTo>
                  <a:cubicBezTo>
                    <a:pt x="586" y="239"/>
                    <a:pt x="584" y="239"/>
                    <a:pt x="582" y="239"/>
                  </a:cubicBezTo>
                  <a:cubicBezTo>
                    <a:pt x="578" y="239"/>
                    <a:pt x="576" y="238"/>
                    <a:pt x="575" y="237"/>
                  </a:cubicBezTo>
                  <a:cubicBezTo>
                    <a:pt x="575" y="237"/>
                    <a:pt x="574" y="236"/>
                    <a:pt x="575" y="233"/>
                  </a:cubicBezTo>
                  <a:cubicBezTo>
                    <a:pt x="575" y="230"/>
                    <a:pt x="576" y="227"/>
                    <a:pt x="577" y="227"/>
                  </a:cubicBezTo>
                  <a:cubicBezTo>
                    <a:pt x="577" y="227"/>
                    <a:pt x="578" y="227"/>
                    <a:pt x="579" y="228"/>
                  </a:cubicBezTo>
                  <a:cubicBezTo>
                    <a:pt x="580" y="228"/>
                    <a:pt x="582" y="229"/>
                    <a:pt x="583" y="229"/>
                  </a:cubicBezTo>
                  <a:cubicBezTo>
                    <a:pt x="585" y="229"/>
                    <a:pt x="588" y="228"/>
                    <a:pt x="590" y="227"/>
                  </a:cubicBezTo>
                  <a:cubicBezTo>
                    <a:pt x="592" y="226"/>
                    <a:pt x="595" y="226"/>
                    <a:pt x="597" y="226"/>
                  </a:cubicBezTo>
                  <a:cubicBezTo>
                    <a:pt x="597" y="226"/>
                    <a:pt x="597" y="226"/>
                    <a:pt x="597" y="226"/>
                  </a:cubicBezTo>
                  <a:cubicBezTo>
                    <a:pt x="598" y="226"/>
                    <a:pt x="599" y="227"/>
                    <a:pt x="600" y="228"/>
                  </a:cubicBezTo>
                  <a:cubicBezTo>
                    <a:pt x="602" y="230"/>
                    <a:pt x="603" y="231"/>
                    <a:pt x="605" y="232"/>
                  </a:cubicBezTo>
                  <a:cubicBezTo>
                    <a:pt x="607" y="233"/>
                    <a:pt x="610" y="233"/>
                    <a:pt x="611" y="232"/>
                  </a:cubicBezTo>
                  <a:cubicBezTo>
                    <a:pt x="613" y="230"/>
                    <a:pt x="612" y="228"/>
                    <a:pt x="612" y="226"/>
                  </a:cubicBezTo>
                  <a:cubicBezTo>
                    <a:pt x="613" y="227"/>
                    <a:pt x="613" y="227"/>
                    <a:pt x="613" y="227"/>
                  </a:cubicBezTo>
                  <a:cubicBezTo>
                    <a:pt x="614" y="228"/>
                    <a:pt x="615" y="230"/>
                    <a:pt x="616" y="230"/>
                  </a:cubicBezTo>
                  <a:cubicBezTo>
                    <a:pt x="617" y="231"/>
                    <a:pt x="617" y="231"/>
                    <a:pt x="617" y="231"/>
                  </a:cubicBezTo>
                  <a:cubicBezTo>
                    <a:pt x="620" y="233"/>
                    <a:pt x="622" y="235"/>
                    <a:pt x="625" y="235"/>
                  </a:cubicBezTo>
                  <a:cubicBezTo>
                    <a:pt x="625" y="235"/>
                    <a:pt x="625" y="235"/>
                    <a:pt x="625" y="235"/>
                  </a:cubicBezTo>
                  <a:cubicBezTo>
                    <a:pt x="627" y="235"/>
                    <a:pt x="628" y="233"/>
                    <a:pt x="630" y="231"/>
                  </a:cubicBezTo>
                  <a:cubicBezTo>
                    <a:pt x="630" y="231"/>
                    <a:pt x="631" y="230"/>
                    <a:pt x="632" y="230"/>
                  </a:cubicBezTo>
                  <a:cubicBezTo>
                    <a:pt x="632" y="230"/>
                    <a:pt x="633" y="232"/>
                    <a:pt x="633" y="233"/>
                  </a:cubicBezTo>
                  <a:cubicBezTo>
                    <a:pt x="634" y="234"/>
                    <a:pt x="635" y="236"/>
                    <a:pt x="636" y="236"/>
                  </a:cubicBezTo>
                  <a:cubicBezTo>
                    <a:pt x="637" y="238"/>
                    <a:pt x="641" y="242"/>
                    <a:pt x="643" y="243"/>
                  </a:cubicBezTo>
                  <a:cubicBezTo>
                    <a:pt x="645" y="244"/>
                    <a:pt x="649" y="246"/>
                    <a:pt x="651" y="246"/>
                  </a:cubicBezTo>
                  <a:cubicBezTo>
                    <a:pt x="653" y="250"/>
                    <a:pt x="657" y="255"/>
                    <a:pt x="660" y="255"/>
                  </a:cubicBezTo>
                  <a:cubicBezTo>
                    <a:pt x="662" y="255"/>
                    <a:pt x="663" y="253"/>
                    <a:pt x="664" y="251"/>
                  </a:cubicBezTo>
                  <a:cubicBezTo>
                    <a:pt x="664" y="251"/>
                    <a:pt x="665" y="250"/>
                    <a:pt x="665" y="250"/>
                  </a:cubicBezTo>
                  <a:cubicBezTo>
                    <a:pt x="665" y="250"/>
                    <a:pt x="666" y="250"/>
                    <a:pt x="666" y="250"/>
                  </a:cubicBezTo>
                  <a:cubicBezTo>
                    <a:pt x="668" y="249"/>
                    <a:pt x="669" y="249"/>
                    <a:pt x="670" y="248"/>
                  </a:cubicBezTo>
                  <a:cubicBezTo>
                    <a:pt x="673" y="246"/>
                    <a:pt x="673" y="241"/>
                    <a:pt x="673" y="238"/>
                  </a:cubicBezTo>
                  <a:cubicBezTo>
                    <a:pt x="673" y="236"/>
                    <a:pt x="672" y="235"/>
                    <a:pt x="670" y="235"/>
                  </a:cubicBezTo>
                  <a:cubicBezTo>
                    <a:pt x="669" y="235"/>
                    <a:pt x="669" y="235"/>
                    <a:pt x="668" y="236"/>
                  </a:cubicBezTo>
                  <a:cubicBezTo>
                    <a:pt x="668" y="236"/>
                    <a:pt x="667" y="236"/>
                    <a:pt x="667" y="236"/>
                  </a:cubicBezTo>
                  <a:cubicBezTo>
                    <a:pt x="666" y="235"/>
                    <a:pt x="664" y="235"/>
                    <a:pt x="662" y="234"/>
                  </a:cubicBezTo>
                  <a:cubicBezTo>
                    <a:pt x="662" y="234"/>
                    <a:pt x="660" y="234"/>
                    <a:pt x="660" y="234"/>
                  </a:cubicBezTo>
                  <a:cubicBezTo>
                    <a:pt x="660" y="233"/>
                    <a:pt x="660" y="232"/>
                    <a:pt x="659" y="232"/>
                  </a:cubicBezTo>
                  <a:cubicBezTo>
                    <a:pt x="659" y="229"/>
                    <a:pt x="659" y="227"/>
                    <a:pt x="657" y="226"/>
                  </a:cubicBezTo>
                  <a:cubicBezTo>
                    <a:pt x="654" y="225"/>
                    <a:pt x="641" y="223"/>
                    <a:pt x="639" y="223"/>
                  </a:cubicBezTo>
                  <a:cubicBezTo>
                    <a:pt x="636" y="223"/>
                    <a:pt x="628" y="220"/>
                    <a:pt x="625" y="217"/>
                  </a:cubicBezTo>
                  <a:cubicBezTo>
                    <a:pt x="624" y="217"/>
                    <a:pt x="623" y="215"/>
                    <a:pt x="622" y="214"/>
                  </a:cubicBezTo>
                  <a:cubicBezTo>
                    <a:pt x="621" y="212"/>
                    <a:pt x="620" y="211"/>
                    <a:pt x="619" y="210"/>
                  </a:cubicBezTo>
                  <a:cubicBezTo>
                    <a:pt x="616" y="208"/>
                    <a:pt x="614" y="203"/>
                    <a:pt x="614" y="200"/>
                  </a:cubicBezTo>
                  <a:cubicBezTo>
                    <a:pt x="615" y="200"/>
                    <a:pt x="617" y="201"/>
                    <a:pt x="619" y="202"/>
                  </a:cubicBezTo>
                  <a:cubicBezTo>
                    <a:pt x="621" y="203"/>
                    <a:pt x="624" y="206"/>
                    <a:pt x="626" y="208"/>
                  </a:cubicBezTo>
                  <a:cubicBezTo>
                    <a:pt x="629" y="211"/>
                    <a:pt x="631" y="213"/>
                    <a:pt x="633" y="215"/>
                  </a:cubicBezTo>
                  <a:cubicBezTo>
                    <a:pt x="635" y="216"/>
                    <a:pt x="635" y="216"/>
                    <a:pt x="635" y="216"/>
                  </a:cubicBezTo>
                  <a:cubicBezTo>
                    <a:pt x="639" y="218"/>
                    <a:pt x="646" y="223"/>
                    <a:pt x="651" y="221"/>
                  </a:cubicBezTo>
                  <a:cubicBezTo>
                    <a:pt x="654" y="220"/>
                    <a:pt x="656" y="214"/>
                    <a:pt x="656" y="211"/>
                  </a:cubicBezTo>
                  <a:cubicBezTo>
                    <a:pt x="656" y="208"/>
                    <a:pt x="654" y="207"/>
                    <a:pt x="652" y="206"/>
                  </a:cubicBezTo>
                  <a:cubicBezTo>
                    <a:pt x="651" y="205"/>
                    <a:pt x="650" y="205"/>
                    <a:pt x="650" y="204"/>
                  </a:cubicBezTo>
                  <a:cubicBezTo>
                    <a:pt x="650" y="204"/>
                    <a:pt x="650" y="204"/>
                    <a:pt x="651" y="204"/>
                  </a:cubicBezTo>
                  <a:cubicBezTo>
                    <a:pt x="652" y="204"/>
                    <a:pt x="655" y="205"/>
                    <a:pt x="656" y="205"/>
                  </a:cubicBezTo>
                  <a:cubicBezTo>
                    <a:pt x="656" y="206"/>
                    <a:pt x="657" y="207"/>
                    <a:pt x="658" y="207"/>
                  </a:cubicBezTo>
                  <a:cubicBezTo>
                    <a:pt x="660" y="209"/>
                    <a:pt x="661" y="211"/>
                    <a:pt x="664" y="211"/>
                  </a:cubicBezTo>
                  <a:cubicBezTo>
                    <a:pt x="664" y="211"/>
                    <a:pt x="665" y="211"/>
                    <a:pt x="665" y="211"/>
                  </a:cubicBezTo>
                  <a:cubicBezTo>
                    <a:pt x="668" y="210"/>
                    <a:pt x="668" y="205"/>
                    <a:pt x="668" y="202"/>
                  </a:cubicBezTo>
                  <a:cubicBezTo>
                    <a:pt x="668" y="196"/>
                    <a:pt x="667" y="188"/>
                    <a:pt x="663" y="186"/>
                  </a:cubicBezTo>
                  <a:cubicBezTo>
                    <a:pt x="662" y="185"/>
                    <a:pt x="660" y="185"/>
                    <a:pt x="658" y="186"/>
                  </a:cubicBezTo>
                  <a:cubicBezTo>
                    <a:pt x="657" y="186"/>
                    <a:pt x="656" y="186"/>
                    <a:pt x="656" y="186"/>
                  </a:cubicBezTo>
                  <a:cubicBezTo>
                    <a:pt x="655" y="186"/>
                    <a:pt x="654" y="184"/>
                    <a:pt x="653" y="183"/>
                  </a:cubicBezTo>
                  <a:cubicBezTo>
                    <a:pt x="653" y="183"/>
                    <a:pt x="652" y="182"/>
                    <a:pt x="652" y="182"/>
                  </a:cubicBezTo>
                  <a:cubicBezTo>
                    <a:pt x="651" y="181"/>
                    <a:pt x="650" y="181"/>
                    <a:pt x="649" y="181"/>
                  </a:cubicBezTo>
                  <a:cubicBezTo>
                    <a:pt x="647" y="181"/>
                    <a:pt x="645" y="182"/>
                    <a:pt x="642" y="182"/>
                  </a:cubicBezTo>
                  <a:cubicBezTo>
                    <a:pt x="640" y="183"/>
                    <a:pt x="638" y="183"/>
                    <a:pt x="637" y="183"/>
                  </a:cubicBezTo>
                  <a:cubicBezTo>
                    <a:pt x="636" y="183"/>
                    <a:pt x="634" y="183"/>
                    <a:pt x="632" y="184"/>
                  </a:cubicBezTo>
                  <a:cubicBezTo>
                    <a:pt x="632" y="184"/>
                    <a:pt x="631" y="184"/>
                    <a:pt x="630" y="184"/>
                  </a:cubicBezTo>
                  <a:cubicBezTo>
                    <a:pt x="629" y="184"/>
                    <a:pt x="625" y="181"/>
                    <a:pt x="624" y="179"/>
                  </a:cubicBezTo>
                  <a:cubicBezTo>
                    <a:pt x="624" y="179"/>
                    <a:pt x="624" y="178"/>
                    <a:pt x="624" y="178"/>
                  </a:cubicBezTo>
                  <a:cubicBezTo>
                    <a:pt x="623" y="177"/>
                    <a:pt x="623" y="176"/>
                    <a:pt x="622" y="175"/>
                  </a:cubicBezTo>
                  <a:cubicBezTo>
                    <a:pt x="620" y="173"/>
                    <a:pt x="616" y="171"/>
                    <a:pt x="613" y="170"/>
                  </a:cubicBezTo>
                  <a:cubicBezTo>
                    <a:pt x="610" y="169"/>
                    <a:pt x="608" y="168"/>
                    <a:pt x="606" y="167"/>
                  </a:cubicBezTo>
                  <a:cubicBezTo>
                    <a:pt x="606" y="167"/>
                    <a:pt x="605" y="165"/>
                    <a:pt x="604" y="164"/>
                  </a:cubicBezTo>
                  <a:cubicBezTo>
                    <a:pt x="603" y="162"/>
                    <a:pt x="602" y="160"/>
                    <a:pt x="601" y="159"/>
                  </a:cubicBezTo>
                  <a:cubicBezTo>
                    <a:pt x="599" y="158"/>
                    <a:pt x="598" y="158"/>
                    <a:pt x="596" y="157"/>
                  </a:cubicBezTo>
                  <a:cubicBezTo>
                    <a:pt x="594" y="157"/>
                    <a:pt x="593" y="156"/>
                    <a:pt x="593" y="156"/>
                  </a:cubicBezTo>
                  <a:cubicBezTo>
                    <a:pt x="592" y="155"/>
                    <a:pt x="590" y="153"/>
                    <a:pt x="589" y="152"/>
                  </a:cubicBezTo>
                  <a:cubicBezTo>
                    <a:pt x="588" y="151"/>
                    <a:pt x="588" y="150"/>
                    <a:pt x="587" y="149"/>
                  </a:cubicBezTo>
                  <a:cubicBezTo>
                    <a:pt x="586" y="147"/>
                    <a:pt x="585" y="145"/>
                    <a:pt x="584" y="144"/>
                  </a:cubicBezTo>
                  <a:cubicBezTo>
                    <a:pt x="582" y="143"/>
                    <a:pt x="580" y="141"/>
                    <a:pt x="576" y="140"/>
                  </a:cubicBezTo>
                  <a:cubicBezTo>
                    <a:pt x="574" y="138"/>
                    <a:pt x="570" y="137"/>
                    <a:pt x="569" y="135"/>
                  </a:cubicBezTo>
                  <a:cubicBezTo>
                    <a:pt x="569" y="134"/>
                    <a:pt x="568" y="131"/>
                    <a:pt x="568" y="130"/>
                  </a:cubicBezTo>
                  <a:cubicBezTo>
                    <a:pt x="568" y="130"/>
                    <a:pt x="569" y="130"/>
                    <a:pt x="571" y="130"/>
                  </a:cubicBezTo>
                  <a:cubicBezTo>
                    <a:pt x="572" y="130"/>
                    <a:pt x="573" y="130"/>
                    <a:pt x="573" y="130"/>
                  </a:cubicBezTo>
                  <a:cubicBezTo>
                    <a:pt x="576" y="131"/>
                    <a:pt x="580" y="132"/>
                    <a:pt x="581" y="133"/>
                  </a:cubicBezTo>
                  <a:cubicBezTo>
                    <a:pt x="583" y="134"/>
                    <a:pt x="587" y="137"/>
                    <a:pt x="589" y="139"/>
                  </a:cubicBezTo>
                  <a:cubicBezTo>
                    <a:pt x="590" y="140"/>
                    <a:pt x="590" y="141"/>
                    <a:pt x="591" y="142"/>
                  </a:cubicBezTo>
                  <a:cubicBezTo>
                    <a:pt x="593" y="144"/>
                    <a:pt x="594" y="146"/>
                    <a:pt x="596" y="147"/>
                  </a:cubicBezTo>
                  <a:cubicBezTo>
                    <a:pt x="597" y="148"/>
                    <a:pt x="598" y="149"/>
                    <a:pt x="600" y="149"/>
                  </a:cubicBezTo>
                  <a:cubicBezTo>
                    <a:pt x="601" y="150"/>
                    <a:pt x="602" y="150"/>
                    <a:pt x="603" y="150"/>
                  </a:cubicBezTo>
                  <a:cubicBezTo>
                    <a:pt x="603" y="151"/>
                    <a:pt x="604" y="152"/>
                    <a:pt x="605" y="153"/>
                  </a:cubicBezTo>
                  <a:cubicBezTo>
                    <a:pt x="607" y="155"/>
                    <a:pt x="608" y="157"/>
                    <a:pt x="610" y="158"/>
                  </a:cubicBezTo>
                  <a:cubicBezTo>
                    <a:pt x="611" y="159"/>
                    <a:pt x="612" y="159"/>
                    <a:pt x="613" y="159"/>
                  </a:cubicBezTo>
                  <a:cubicBezTo>
                    <a:pt x="614" y="159"/>
                    <a:pt x="615" y="159"/>
                    <a:pt x="615" y="159"/>
                  </a:cubicBezTo>
                  <a:cubicBezTo>
                    <a:pt x="617" y="160"/>
                    <a:pt x="619" y="162"/>
                    <a:pt x="622" y="164"/>
                  </a:cubicBezTo>
                  <a:cubicBezTo>
                    <a:pt x="625" y="167"/>
                    <a:pt x="627" y="170"/>
                    <a:pt x="630" y="171"/>
                  </a:cubicBezTo>
                  <a:cubicBezTo>
                    <a:pt x="631" y="171"/>
                    <a:pt x="632" y="171"/>
                    <a:pt x="633" y="171"/>
                  </a:cubicBezTo>
                  <a:cubicBezTo>
                    <a:pt x="636" y="171"/>
                    <a:pt x="636" y="171"/>
                    <a:pt x="636" y="171"/>
                  </a:cubicBezTo>
                  <a:cubicBezTo>
                    <a:pt x="636" y="171"/>
                    <a:pt x="636" y="171"/>
                    <a:pt x="636" y="171"/>
                  </a:cubicBezTo>
                  <a:cubicBezTo>
                    <a:pt x="636" y="172"/>
                    <a:pt x="637" y="172"/>
                    <a:pt x="637" y="173"/>
                  </a:cubicBezTo>
                  <a:cubicBezTo>
                    <a:pt x="639" y="175"/>
                    <a:pt x="645" y="178"/>
                    <a:pt x="648" y="176"/>
                  </a:cubicBezTo>
                  <a:cubicBezTo>
                    <a:pt x="651" y="175"/>
                    <a:pt x="653" y="171"/>
                    <a:pt x="654" y="164"/>
                  </a:cubicBezTo>
                  <a:cubicBezTo>
                    <a:pt x="654" y="161"/>
                    <a:pt x="654" y="157"/>
                    <a:pt x="653" y="155"/>
                  </a:cubicBezTo>
                  <a:cubicBezTo>
                    <a:pt x="653" y="154"/>
                    <a:pt x="652" y="153"/>
                    <a:pt x="651" y="152"/>
                  </a:cubicBezTo>
                  <a:cubicBezTo>
                    <a:pt x="653" y="153"/>
                    <a:pt x="654" y="152"/>
                    <a:pt x="655" y="152"/>
                  </a:cubicBezTo>
                  <a:cubicBezTo>
                    <a:pt x="658" y="149"/>
                    <a:pt x="657" y="143"/>
                    <a:pt x="655" y="140"/>
                  </a:cubicBezTo>
                  <a:cubicBezTo>
                    <a:pt x="653" y="137"/>
                    <a:pt x="647" y="135"/>
                    <a:pt x="640" y="134"/>
                  </a:cubicBezTo>
                  <a:cubicBezTo>
                    <a:pt x="638" y="134"/>
                    <a:pt x="638" y="134"/>
                    <a:pt x="638" y="134"/>
                  </a:cubicBezTo>
                  <a:cubicBezTo>
                    <a:pt x="637" y="133"/>
                    <a:pt x="636" y="133"/>
                    <a:pt x="635" y="133"/>
                  </a:cubicBezTo>
                  <a:cubicBezTo>
                    <a:pt x="634" y="133"/>
                    <a:pt x="634" y="133"/>
                    <a:pt x="633" y="133"/>
                  </a:cubicBezTo>
                  <a:cubicBezTo>
                    <a:pt x="633" y="133"/>
                    <a:pt x="633" y="133"/>
                    <a:pt x="633" y="133"/>
                  </a:cubicBezTo>
                  <a:cubicBezTo>
                    <a:pt x="633" y="133"/>
                    <a:pt x="633" y="132"/>
                    <a:pt x="632" y="131"/>
                  </a:cubicBezTo>
                  <a:cubicBezTo>
                    <a:pt x="631" y="129"/>
                    <a:pt x="628" y="129"/>
                    <a:pt x="626" y="130"/>
                  </a:cubicBezTo>
                  <a:cubicBezTo>
                    <a:pt x="626" y="130"/>
                    <a:pt x="626" y="130"/>
                    <a:pt x="626" y="130"/>
                  </a:cubicBezTo>
                  <a:cubicBezTo>
                    <a:pt x="626" y="129"/>
                    <a:pt x="626" y="128"/>
                    <a:pt x="625" y="127"/>
                  </a:cubicBezTo>
                  <a:cubicBezTo>
                    <a:pt x="624" y="125"/>
                    <a:pt x="622" y="124"/>
                    <a:pt x="620" y="123"/>
                  </a:cubicBezTo>
                  <a:cubicBezTo>
                    <a:pt x="620" y="123"/>
                    <a:pt x="618" y="122"/>
                    <a:pt x="618" y="122"/>
                  </a:cubicBezTo>
                  <a:cubicBezTo>
                    <a:pt x="618" y="121"/>
                    <a:pt x="618" y="121"/>
                    <a:pt x="618" y="121"/>
                  </a:cubicBezTo>
                  <a:cubicBezTo>
                    <a:pt x="617" y="120"/>
                    <a:pt x="617" y="118"/>
                    <a:pt x="616" y="117"/>
                  </a:cubicBezTo>
                  <a:cubicBezTo>
                    <a:pt x="613" y="116"/>
                    <a:pt x="609" y="117"/>
                    <a:pt x="606" y="118"/>
                  </a:cubicBezTo>
                  <a:cubicBezTo>
                    <a:pt x="604" y="119"/>
                    <a:pt x="602" y="120"/>
                    <a:pt x="601" y="120"/>
                  </a:cubicBezTo>
                  <a:cubicBezTo>
                    <a:pt x="600" y="119"/>
                    <a:pt x="599" y="119"/>
                    <a:pt x="598" y="118"/>
                  </a:cubicBezTo>
                  <a:cubicBezTo>
                    <a:pt x="597" y="118"/>
                    <a:pt x="595" y="118"/>
                    <a:pt x="593" y="119"/>
                  </a:cubicBezTo>
                  <a:cubicBezTo>
                    <a:pt x="592" y="119"/>
                    <a:pt x="591" y="119"/>
                    <a:pt x="590" y="119"/>
                  </a:cubicBezTo>
                  <a:cubicBezTo>
                    <a:pt x="590" y="119"/>
                    <a:pt x="590" y="119"/>
                    <a:pt x="590" y="119"/>
                  </a:cubicBezTo>
                  <a:cubicBezTo>
                    <a:pt x="589" y="119"/>
                    <a:pt x="588" y="118"/>
                    <a:pt x="587" y="118"/>
                  </a:cubicBezTo>
                  <a:cubicBezTo>
                    <a:pt x="582" y="115"/>
                    <a:pt x="577" y="111"/>
                    <a:pt x="576" y="109"/>
                  </a:cubicBezTo>
                  <a:cubicBezTo>
                    <a:pt x="576" y="108"/>
                    <a:pt x="576" y="107"/>
                    <a:pt x="576" y="106"/>
                  </a:cubicBezTo>
                  <a:cubicBezTo>
                    <a:pt x="576" y="104"/>
                    <a:pt x="577" y="102"/>
                    <a:pt x="575" y="100"/>
                  </a:cubicBezTo>
                  <a:cubicBezTo>
                    <a:pt x="574" y="99"/>
                    <a:pt x="573" y="99"/>
                    <a:pt x="570" y="99"/>
                  </a:cubicBezTo>
                  <a:cubicBezTo>
                    <a:pt x="568" y="99"/>
                    <a:pt x="566" y="99"/>
                    <a:pt x="565" y="100"/>
                  </a:cubicBezTo>
                  <a:cubicBezTo>
                    <a:pt x="563" y="100"/>
                    <a:pt x="561" y="102"/>
                    <a:pt x="559" y="104"/>
                  </a:cubicBezTo>
                  <a:cubicBezTo>
                    <a:pt x="557" y="105"/>
                    <a:pt x="556" y="106"/>
                    <a:pt x="556" y="106"/>
                  </a:cubicBezTo>
                  <a:cubicBezTo>
                    <a:pt x="554" y="107"/>
                    <a:pt x="552" y="108"/>
                    <a:pt x="551" y="108"/>
                  </a:cubicBezTo>
                  <a:cubicBezTo>
                    <a:pt x="551" y="108"/>
                    <a:pt x="550" y="108"/>
                    <a:pt x="549" y="108"/>
                  </a:cubicBezTo>
                  <a:cubicBezTo>
                    <a:pt x="547" y="108"/>
                    <a:pt x="546" y="108"/>
                    <a:pt x="546" y="108"/>
                  </a:cubicBezTo>
                  <a:cubicBezTo>
                    <a:pt x="545" y="108"/>
                    <a:pt x="544" y="106"/>
                    <a:pt x="544" y="105"/>
                  </a:cubicBezTo>
                  <a:cubicBezTo>
                    <a:pt x="545" y="105"/>
                    <a:pt x="546" y="104"/>
                    <a:pt x="547" y="103"/>
                  </a:cubicBezTo>
                  <a:cubicBezTo>
                    <a:pt x="548" y="102"/>
                    <a:pt x="547" y="99"/>
                    <a:pt x="545" y="94"/>
                  </a:cubicBezTo>
                  <a:cubicBezTo>
                    <a:pt x="545" y="86"/>
                    <a:pt x="545" y="78"/>
                    <a:pt x="546" y="75"/>
                  </a:cubicBezTo>
                  <a:cubicBezTo>
                    <a:pt x="546" y="76"/>
                    <a:pt x="547" y="76"/>
                    <a:pt x="547" y="76"/>
                  </a:cubicBezTo>
                  <a:cubicBezTo>
                    <a:pt x="548" y="77"/>
                    <a:pt x="548" y="78"/>
                    <a:pt x="550" y="78"/>
                  </a:cubicBezTo>
                  <a:cubicBezTo>
                    <a:pt x="551" y="78"/>
                    <a:pt x="553" y="77"/>
                    <a:pt x="554" y="77"/>
                  </a:cubicBezTo>
                  <a:cubicBezTo>
                    <a:pt x="555" y="76"/>
                    <a:pt x="557" y="74"/>
                    <a:pt x="557" y="72"/>
                  </a:cubicBezTo>
                  <a:cubicBezTo>
                    <a:pt x="557" y="71"/>
                    <a:pt x="557" y="70"/>
                    <a:pt x="557" y="69"/>
                  </a:cubicBezTo>
                  <a:cubicBezTo>
                    <a:pt x="557" y="69"/>
                    <a:pt x="556" y="69"/>
                    <a:pt x="556" y="69"/>
                  </a:cubicBezTo>
                  <a:cubicBezTo>
                    <a:pt x="557" y="68"/>
                    <a:pt x="558" y="67"/>
                    <a:pt x="559" y="67"/>
                  </a:cubicBezTo>
                  <a:cubicBezTo>
                    <a:pt x="561" y="65"/>
                    <a:pt x="563" y="64"/>
                    <a:pt x="564" y="62"/>
                  </a:cubicBezTo>
                  <a:cubicBezTo>
                    <a:pt x="564" y="59"/>
                    <a:pt x="562" y="55"/>
                    <a:pt x="561" y="52"/>
                  </a:cubicBezTo>
                  <a:cubicBezTo>
                    <a:pt x="561" y="48"/>
                    <a:pt x="561" y="48"/>
                    <a:pt x="561" y="48"/>
                  </a:cubicBezTo>
                  <a:cubicBezTo>
                    <a:pt x="561" y="48"/>
                    <a:pt x="561" y="48"/>
                    <a:pt x="560" y="48"/>
                  </a:cubicBezTo>
                  <a:cubicBezTo>
                    <a:pt x="557" y="40"/>
                    <a:pt x="557" y="40"/>
                    <a:pt x="557" y="40"/>
                  </a:cubicBezTo>
                  <a:cubicBezTo>
                    <a:pt x="557" y="39"/>
                    <a:pt x="556" y="39"/>
                    <a:pt x="556" y="39"/>
                  </a:cubicBezTo>
                  <a:cubicBezTo>
                    <a:pt x="555" y="38"/>
                    <a:pt x="551" y="36"/>
                    <a:pt x="549" y="35"/>
                  </a:cubicBezTo>
                  <a:cubicBezTo>
                    <a:pt x="548" y="34"/>
                    <a:pt x="547" y="34"/>
                    <a:pt x="545" y="34"/>
                  </a:cubicBezTo>
                  <a:cubicBezTo>
                    <a:pt x="545" y="34"/>
                    <a:pt x="543" y="34"/>
                    <a:pt x="543" y="33"/>
                  </a:cubicBezTo>
                  <a:cubicBezTo>
                    <a:pt x="542" y="33"/>
                    <a:pt x="541" y="32"/>
                    <a:pt x="540" y="31"/>
                  </a:cubicBezTo>
                  <a:cubicBezTo>
                    <a:pt x="539" y="31"/>
                    <a:pt x="538" y="30"/>
                    <a:pt x="537" y="29"/>
                  </a:cubicBezTo>
                  <a:cubicBezTo>
                    <a:pt x="536" y="29"/>
                    <a:pt x="531" y="26"/>
                    <a:pt x="528" y="25"/>
                  </a:cubicBezTo>
                  <a:cubicBezTo>
                    <a:pt x="527" y="25"/>
                    <a:pt x="525" y="25"/>
                    <a:pt x="523" y="26"/>
                  </a:cubicBezTo>
                  <a:cubicBezTo>
                    <a:pt x="521" y="26"/>
                    <a:pt x="519" y="26"/>
                    <a:pt x="518" y="26"/>
                  </a:cubicBezTo>
                  <a:cubicBezTo>
                    <a:pt x="516" y="26"/>
                    <a:pt x="513" y="23"/>
                    <a:pt x="512" y="23"/>
                  </a:cubicBezTo>
                  <a:cubicBezTo>
                    <a:pt x="512" y="22"/>
                    <a:pt x="513" y="21"/>
                    <a:pt x="513" y="20"/>
                  </a:cubicBezTo>
                  <a:cubicBezTo>
                    <a:pt x="513" y="19"/>
                    <a:pt x="514" y="17"/>
                    <a:pt x="514" y="16"/>
                  </a:cubicBezTo>
                  <a:cubicBezTo>
                    <a:pt x="513" y="13"/>
                    <a:pt x="511" y="9"/>
                    <a:pt x="510" y="7"/>
                  </a:cubicBezTo>
                  <a:cubicBezTo>
                    <a:pt x="508" y="5"/>
                    <a:pt x="504" y="2"/>
                    <a:pt x="501" y="2"/>
                  </a:cubicBezTo>
                  <a:cubicBezTo>
                    <a:pt x="499" y="1"/>
                    <a:pt x="495" y="0"/>
                    <a:pt x="491" y="0"/>
                  </a:cubicBezTo>
                  <a:cubicBezTo>
                    <a:pt x="487" y="0"/>
                    <a:pt x="485" y="1"/>
                    <a:pt x="483" y="2"/>
                  </a:cubicBezTo>
                  <a:cubicBezTo>
                    <a:pt x="481" y="4"/>
                    <a:pt x="481" y="8"/>
                    <a:pt x="480" y="12"/>
                  </a:cubicBezTo>
                  <a:cubicBezTo>
                    <a:pt x="480" y="14"/>
                    <a:pt x="480" y="16"/>
                    <a:pt x="480" y="17"/>
                  </a:cubicBezTo>
                  <a:cubicBezTo>
                    <a:pt x="480" y="18"/>
                    <a:pt x="478" y="20"/>
                    <a:pt x="477" y="22"/>
                  </a:cubicBezTo>
                  <a:cubicBezTo>
                    <a:pt x="442" y="3"/>
                    <a:pt x="442" y="3"/>
                    <a:pt x="442" y="3"/>
                  </a:cubicBezTo>
                  <a:cubicBezTo>
                    <a:pt x="440" y="2"/>
                    <a:pt x="438" y="1"/>
                    <a:pt x="437" y="1"/>
                  </a:cubicBezTo>
                  <a:cubicBezTo>
                    <a:pt x="437" y="1"/>
                    <a:pt x="436" y="1"/>
                    <a:pt x="436" y="1"/>
                  </a:cubicBezTo>
                  <a:cubicBezTo>
                    <a:pt x="433" y="1"/>
                    <a:pt x="428" y="3"/>
                    <a:pt x="426" y="6"/>
                  </a:cubicBezTo>
                  <a:cubicBezTo>
                    <a:pt x="425" y="8"/>
                    <a:pt x="426" y="10"/>
                    <a:pt x="427" y="12"/>
                  </a:cubicBezTo>
                  <a:cubicBezTo>
                    <a:pt x="427" y="13"/>
                    <a:pt x="427" y="14"/>
                    <a:pt x="427" y="14"/>
                  </a:cubicBezTo>
                  <a:cubicBezTo>
                    <a:pt x="427" y="15"/>
                    <a:pt x="427" y="16"/>
                    <a:pt x="426" y="17"/>
                  </a:cubicBezTo>
                  <a:cubicBezTo>
                    <a:pt x="425" y="19"/>
                    <a:pt x="425" y="20"/>
                    <a:pt x="424" y="22"/>
                  </a:cubicBezTo>
                  <a:cubicBezTo>
                    <a:pt x="424" y="24"/>
                    <a:pt x="425" y="26"/>
                    <a:pt x="425" y="29"/>
                  </a:cubicBezTo>
                  <a:cubicBezTo>
                    <a:pt x="425" y="32"/>
                    <a:pt x="426" y="35"/>
                    <a:pt x="425" y="37"/>
                  </a:cubicBezTo>
                  <a:cubicBezTo>
                    <a:pt x="425" y="37"/>
                    <a:pt x="424" y="39"/>
                    <a:pt x="423" y="40"/>
                  </a:cubicBezTo>
                  <a:cubicBezTo>
                    <a:pt x="422" y="42"/>
                    <a:pt x="421" y="43"/>
                    <a:pt x="420" y="44"/>
                  </a:cubicBezTo>
                  <a:cubicBezTo>
                    <a:pt x="420" y="46"/>
                    <a:pt x="419" y="48"/>
                    <a:pt x="418" y="51"/>
                  </a:cubicBezTo>
                  <a:cubicBezTo>
                    <a:pt x="417" y="53"/>
                    <a:pt x="416" y="57"/>
                    <a:pt x="415" y="58"/>
                  </a:cubicBezTo>
                  <a:cubicBezTo>
                    <a:pt x="414" y="61"/>
                    <a:pt x="412" y="64"/>
                    <a:pt x="411" y="65"/>
                  </a:cubicBezTo>
                  <a:cubicBezTo>
                    <a:pt x="411" y="65"/>
                    <a:pt x="410" y="65"/>
                    <a:pt x="410" y="65"/>
                  </a:cubicBezTo>
                  <a:cubicBezTo>
                    <a:pt x="408" y="65"/>
                    <a:pt x="408" y="65"/>
                    <a:pt x="408" y="65"/>
                  </a:cubicBezTo>
                  <a:cubicBezTo>
                    <a:pt x="406" y="65"/>
                    <a:pt x="405" y="65"/>
                    <a:pt x="404" y="65"/>
                  </a:cubicBezTo>
                  <a:cubicBezTo>
                    <a:pt x="401" y="67"/>
                    <a:pt x="400" y="71"/>
                    <a:pt x="399" y="75"/>
                  </a:cubicBezTo>
                  <a:cubicBezTo>
                    <a:pt x="399" y="77"/>
                    <a:pt x="398" y="80"/>
                    <a:pt x="397" y="81"/>
                  </a:cubicBezTo>
                  <a:cubicBezTo>
                    <a:pt x="397" y="81"/>
                    <a:pt x="394" y="82"/>
                    <a:pt x="391" y="82"/>
                  </a:cubicBezTo>
                  <a:cubicBezTo>
                    <a:pt x="391" y="82"/>
                    <a:pt x="390" y="82"/>
                    <a:pt x="389" y="82"/>
                  </a:cubicBezTo>
                  <a:cubicBezTo>
                    <a:pt x="387" y="81"/>
                    <a:pt x="384" y="81"/>
                    <a:pt x="382" y="82"/>
                  </a:cubicBezTo>
                  <a:cubicBezTo>
                    <a:pt x="380" y="83"/>
                    <a:pt x="379" y="87"/>
                    <a:pt x="378" y="90"/>
                  </a:cubicBezTo>
                  <a:cubicBezTo>
                    <a:pt x="378" y="91"/>
                    <a:pt x="378" y="91"/>
                    <a:pt x="378" y="91"/>
                  </a:cubicBezTo>
                  <a:cubicBezTo>
                    <a:pt x="378" y="92"/>
                    <a:pt x="378" y="94"/>
                    <a:pt x="378" y="96"/>
                  </a:cubicBezTo>
                  <a:cubicBezTo>
                    <a:pt x="377" y="98"/>
                    <a:pt x="377" y="100"/>
                    <a:pt x="377" y="101"/>
                  </a:cubicBezTo>
                  <a:cubicBezTo>
                    <a:pt x="377" y="102"/>
                    <a:pt x="376" y="103"/>
                    <a:pt x="375" y="105"/>
                  </a:cubicBezTo>
                  <a:cubicBezTo>
                    <a:pt x="375" y="106"/>
                    <a:pt x="374" y="107"/>
                    <a:pt x="373" y="109"/>
                  </a:cubicBezTo>
                  <a:cubicBezTo>
                    <a:pt x="373" y="111"/>
                    <a:pt x="372" y="114"/>
                    <a:pt x="372" y="117"/>
                  </a:cubicBezTo>
                  <a:cubicBezTo>
                    <a:pt x="371" y="120"/>
                    <a:pt x="371" y="123"/>
                    <a:pt x="370" y="124"/>
                  </a:cubicBezTo>
                  <a:cubicBezTo>
                    <a:pt x="369" y="128"/>
                    <a:pt x="368" y="130"/>
                    <a:pt x="368" y="131"/>
                  </a:cubicBezTo>
                  <a:cubicBezTo>
                    <a:pt x="367" y="131"/>
                    <a:pt x="363" y="133"/>
                    <a:pt x="362" y="133"/>
                  </a:cubicBezTo>
                  <a:cubicBezTo>
                    <a:pt x="361" y="133"/>
                    <a:pt x="359" y="133"/>
                    <a:pt x="358" y="133"/>
                  </a:cubicBezTo>
                  <a:cubicBezTo>
                    <a:pt x="353" y="133"/>
                    <a:pt x="350" y="132"/>
                    <a:pt x="349" y="132"/>
                  </a:cubicBezTo>
                  <a:cubicBezTo>
                    <a:pt x="349" y="131"/>
                    <a:pt x="349" y="131"/>
                    <a:pt x="349" y="131"/>
                  </a:cubicBezTo>
                  <a:cubicBezTo>
                    <a:pt x="349" y="130"/>
                    <a:pt x="349" y="129"/>
                    <a:pt x="348" y="128"/>
                  </a:cubicBezTo>
                  <a:cubicBezTo>
                    <a:pt x="347" y="126"/>
                    <a:pt x="343" y="121"/>
                    <a:pt x="340" y="121"/>
                  </a:cubicBezTo>
                  <a:cubicBezTo>
                    <a:pt x="339" y="120"/>
                    <a:pt x="338" y="120"/>
                    <a:pt x="338" y="120"/>
                  </a:cubicBezTo>
                  <a:cubicBezTo>
                    <a:pt x="335" y="120"/>
                    <a:pt x="331" y="121"/>
                    <a:pt x="329" y="124"/>
                  </a:cubicBezTo>
                  <a:cubicBezTo>
                    <a:pt x="327" y="126"/>
                    <a:pt x="328" y="131"/>
                    <a:pt x="328" y="135"/>
                  </a:cubicBezTo>
                  <a:cubicBezTo>
                    <a:pt x="328" y="137"/>
                    <a:pt x="329" y="139"/>
                    <a:pt x="328" y="140"/>
                  </a:cubicBezTo>
                  <a:cubicBezTo>
                    <a:pt x="328" y="142"/>
                    <a:pt x="328" y="146"/>
                    <a:pt x="327" y="147"/>
                  </a:cubicBezTo>
                  <a:cubicBezTo>
                    <a:pt x="327" y="147"/>
                    <a:pt x="327" y="148"/>
                    <a:pt x="326" y="148"/>
                  </a:cubicBezTo>
                  <a:cubicBezTo>
                    <a:pt x="326" y="148"/>
                    <a:pt x="325" y="149"/>
                    <a:pt x="325" y="150"/>
                  </a:cubicBezTo>
                  <a:cubicBezTo>
                    <a:pt x="323" y="152"/>
                    <a:pt x="323" y="155"/>
                    <a:pt x="322" y="159"/>
                  </a:cubicBezTo>
                  <a:cubicBezTo>
                    <a:pt x="321" y="161"/>
                    <a:pt x="321" y="164"/>
                    <a:pt x="320" y="165"/>
                  </a:cubicBezTo>
                  <a:cubicBezTo>
                    <a:pt x="320" y="166"/>
                    <a:pt x="319" y="167"/>
                    <a:pt x="318" y="168"/>
                  </a:cubicBezTo>
                  <a:cubicBezTo>
                    <a:pt x="317" y="170"/>
                    <a:pt x="316" y="171"/>
                    <a:pt x="315" y="173"/>
                  </a:cubicBezTo>
                  <a:cubicBezTo>
                    <a:pt x="314" y="174"/>
                    <a:pt x="314" y="176"/>
                    <a:pt x="314" y="179"/>
                  </a:cubicBezTo>
                  <a:cubicBezTo>
                    <a:pt x="314" y="180"/>
                    <a:pt x="314" y="180"/>
                    <a:pt x="314" y="181"/>
                  </a:cubicBezTo>
                  <a:cubicBezTo>
                    <a:pt x="314" y="185"/>
                    <a:pt x="312" y="192"/>
                    <a:pt x="311" y="196"/>
                  </a:cubicBezTo>
                  <a:cubicBezTo>
                    <a:pt x="310" y="197"/>
                    <a:pt x="308" y="199"/>
                    <a:pt x="307" y="201"/>
                  </a:cubicBezTo>
                  <a:cubicBezTo>
                    <a:pt x="306" y="203"/>
                    <a:pt x="304" y="204"/>
                    <a:pt x="304" y="205"/>
                  </a:cubicBezTo>
                  <a:cubicBezTo>
                    <a:pt x="302" y="208"/>
                    <a:pt x="297" y="216"/>
                    <a:pt x="295" y="221"/>
                  </a:cubicBezTo>
                  <a:cubicBezTo>
                    <a:pt x="294" y="226"/>
                    <a:pt x="292" y="232"/>
                    <a:pt x="293" y="236"/>
                  </a:cubicBezTo>
                  <a:cubicBezTo>
                    <a:pt x="293" y="238"/>
                    <a:pt x="294" y="239"/>
                    <a:pt x="296" y="241"/>
                  </a:cubicBezTo>
                  <a:cubicBezTo>
                    <a:pt x="297" y="242"/>
                    <a:pt x="298" y="243"/>
                    <a:pt x="298" y="243"/>
                  </a:cubicBezTo>
                  <a:cubicBezTo>
                    <a:pt x="298" y="244"/>
                    <a:pt x="297" y="245"/>
                    <a:pt x="296" y="245"/>
                  </a:cubicBezTo>
                  <a:cubicBezTo>
                    <a:pt x="295" y="247"/>
                    <a:pt x="293" y="248"/>
                    <a:pt x="292" y="250"/>
                  </a:cubicBezTo>
                  <a:cubicBezTo>
                    <a:pt x="292" y="252"/>
                    <a:pt x="293" y="254"/>
                    <a:pt x="294" y="255"/>
                  </a:cubicBezTo>
                  <a:cubicBezTo>
                    <a:pt x="294" y="256"/>
                    <a:pt x="294" y="257"/>
                    <a:pt x="295" y="257"/>
                  </a:cubicBezTo>
                  <a:cubicBezTo>
                    <a:pt x="294" y="257"/>
                    <a:pt x="294" y="257"/>
                    <a:pt x="294" y="257"/>
                  </a:cubicBezTo>
                  <a:cubicBezTo>
                    <a:pt x="292" y="259"/>
                    <a:pt x="292" y="259"/>
                    <a:pt x="292" y="259"/>
                  </a:cubicBezTo>
                  <a:cubicBezTo>
                    <a:pt x="289" y="262"/>
                    <a:pt x="284" y="266"/>
                    <a:pt x="281" y="267"/>
                  </a:cubicBezTo>
                  <a:cubicBezTo>
                    <a:pt x="280" y="267"/>
                    <a:pt x="279" y="267"/>
                    <a:pt x="278" y="266"/>
                  </a:cubicBezTo>
                  <a:cubicBezTo>
                    <a:pt x="276" y="266"/>
                    <a:pt x="274" y="265"/>
                    <a:pt x="273" y="266"/>
                  </a:cubicBezTo>
                  <a:cubicBezTo>
                    <a:pt x="270" y="266"/>
                    <a:pt x="267" y="269"/>
                    <a:pt x="264" y="272"/>
                  </a:cubicBezTo>
                  <a:cubicBezTo>
                    <a:pt x="262" y="275"/>
                    <a:pt x="260" y="277"/>
                    <a:pt x="258" y="278"/>
                  </a:cubicBezTo>
                  <a:cubicBezTo>
                    <a:pt x="258" y="278"/>
                    <a:pt x="256" y="277"/>
                    <a:pt x="255" y="276"/>
                  </a:cubicBezTo>
                  <a:cubicBezTo>
                    <a:pt x="251" y="274"/>
                    <a:pt x="248" y="273"/>
                    <a:pt x="246" y="275"/>
                  </a:cubicBezTo>
                  <a:cubicBezTo>
                    <a:pt x="244" y="276"/>
                    <a:pt x="244" y="279"/>
                    <a:pt x="245" y="281"/>
                  </a:cubicBezTo>
                  <a:cubicBezTo>
                    <a:pt x="245" y="282"/>
                    <a:pt x="245" y="283"/>
                    <a:pt x="245" y="283"/>
                  </a:cubicBezTo>
                  <a:cubicBezTo>
                    <a:pt x="244" y="288"/>
                    <a:pt x="243" y="289"/>
                    <a:pt x="243" y="289"/>
                  </a:cubicBezTo>
                  <a:cubicBezTo>
                    <a:pt x="243" y="289"/>
                    <a:pt x="241" y="289"/>
                    <a:pt x="240" y="289"/>
                  </a:cubicBezTo>
                  <a:cubicBezTo>
                    <a:pt x="239" y="290"/>
                    <a:pt x="238" y="290"/>
                    <a:pt x="237" y="290"/>
                  </a:cubicBezTo>
                  <a:cubicBezTo>
                    <a:pt x="235" y="291"/>
                    <a:pt x="233" y="292"/>
                    <a:pt x="230" y="294"/>
                  </a:cubicBezTo>
                  <a:cubicBezTo>
                    <a:pt x="227" y="295"/>
                    <a:pt x="223" y="297"/>
                    <a:pt x="221" y="298"/>
                  </a:cubicBezTo>
                  <a:cubicBezTo>
                    <a:pt x="219" y="298"/>
                    <a:pt x="216" y="299"/>
                    <a:pt x="215" y="299"/>
                  </a:cubicBezTo>
                  <a:cubicBezTo>
                    <a:pt x="214" y="299"/>
                    <a:pt x="212" y="297"/>
                    <a:pt x="210" y="297"/>
                  </a:cubicBezTo>
                  <a:cubicBezTo>
                    <a:pt x="207" y="295"/>
                    <a:pt x="204" y="293"/>
                    <a:pt x="201" y="294"/>
                  </a:cubicBezTo>
                  <a:cubicBezTo>
                    <a:pt x="199" y="295"/>
                    <a:pt x="198" y="297"/>
                    <a:pt x="197" y="300"/>
                  </a:cubicBezTo>
                  <a:cubicBezTo>
                    <a:pt x="197" y="300"/>
                    <a:pt x="196" y="302"/>
                    <a:pt x="196" y="302"/>
                  </a:cubicBezTo>
                  <a:cubicBezTo>
                    <a:pt x="194" y="305"/>
                    <a:pt x="187" y="310"/>
                    <a:pt x="183" y="311"/>
                  </a:cubicBezTo>
                  <a:cubicBezTo>
                    <a:pt x="183" y="311"/>
                    <a:pt x="183" y="311"/>
                    <a:pt x="183" y="311"/>
                  </a:cubicBezTo>
                  <a:cubicBezTo>
                    <a:pt x="181" y="311"/>
                    <a:pt x="177" y="310"/>
                    <a:pt x="174" y="309"/>
                  </a:cubicBezTo>
                  <a:cubicBezTo>
                    <a:pt x="170" y="307"/>
                    <a:pt x="163" y="303"/>
                    <a:pt x="159" y="301"/>
                  </a:cubicBezTo>
                  <a:cubicBezTo>
                    <a:pt x="158" y="299"/>
                    <a:pt x="153" y="295"/>
                    <a:pt x="152" y="294"/>
                  </a:cubicBezTo>
                  <a:cubicBezTo>
                    <a:pt x="146" y="287"/>
                    <a:pt x="146" y="287"/>
                    <a:pt x="146" y="287"/>
                  </a:cubicBezTo>
                  <a:cubicBezTo>
                    <a:pt x="148" y="281"/>
                    <a:pt x="147" y="280"/>
                    <a:pt x="147" y="279"/>
                  </a:cubicBezTo>
                  <a:cubicBezTo>
                    <a:pt x="146" y="279"/>
                    <a:pt x="145" y="278"/>
                    <a:pt x="144" y="278"/>
                  </a:cubicBezTo>
                  <a:cubicBezTo>
                    <a:pt x="143" y="278"/>
                    <a:pt x="139" y="278"/>
                    <a:pt x="114" y="312"/>
                  </a:cubicBezTo>
                  <a:cubicBezTo>
                    <a:pt x="111" y="314"/>
                    <a:pt x="93" y="326"/>
                    <a:pt x="88" y="332"/>
                  </a:cubicBezTo>
                  <a:cubicBezTo>
                    <a:pt x="86" y="334"/>
                    <a:pt x="83" y="338"/>
                    <a:pt x="82" y="341"/>
                  </a:cubicBezTo>
                  <a:cubicBezTo>
                    <a:pt x="82" y="342"/>
                    <a:pt x="82" y="344"/>
                    <a:pt x="82" y="345"/>
                  </a:cubicBezTo>
                  <a:cubicBezTo>
                    <a:pt x="82" y="346"/>
                    <a:pt x="82" y="348"/>
                    <a:pt x="81" y="348"/>
                  </a:cubicBezTo>
                  <a:cubicBezTo>
                    <a:pt x="81" y="349"/>
                    <a:pt x="79" y="350"/>
                    <a:pt x="78" y="351"/>
                  </a:cubicBezTo>
                  <a:cubicBezTo>
                    <a:pt x="76" y="352"/>
                    <a:pt x="74" y="353"/>
                    <a:pt x="73" y="355"/>
                  </a:cubicBezTo>
                  <a:cubicBezTo>
                    <a:pt x="72" y="356"/>
                    <a:pt x="72" y="358"/>
                    <a:pt x="72" y="360"/>
                  </a:cubicBezTo>
                  <a:cubicBezTo>
                    <a:pt x="72" y="361"/>
                    <a:pt x="72" y="362"/>
                    <a:pt x="72" y="362"/>
                  </a:cubicBezTo>
                  <a:cubicBezTo>
                    <a:pt x="71" y="364"/>
                    <a:pt x="69" y="367"/>
                    <a:pt x="67" y="368"/>
                  </a:cubicBezTo>
                  <a:cubicBezTo>
                    <a:pt x="66" y="369"/>
                    <a:pt x="65" y="370"/>
                    <a:pt x="63" y="370"/>
                  </a:cubicBezTo>
                  <a:cubicBezTo>
                    <a:pt x="62" y="371"/>
                    <a:pt x="61" y="371"/>
                    <a:pt x="60" y="372"/>
                  </a:cubicBezTo>
                  <a:cubicBezTo>
                    <a:pt x="57" y="374"/>
                    <a:pt x="53" y="376"/>
                    <a:pt x="52" y="378"/>
                  </a:cubicBezTo>
                  <a:cubicBezTo>
                    <a:pt x="51" y="380"/>
                    <a:pt x="51" y="381"/>
                    <a:pt x="51" y="383"/>
                  </a:cubicBezTo>
                  <a:cubicBezTo>
                    <a:pt x="51" y="384"/>
                    <a:pt x="51" y="385"/>
                    <a:pt x="51" y="385"/>
                  </a:cubicBezTo>
                  <a:cubicBezTo>
                    <a:pt x="49" y="387"/>
                    <a:pt x="45" y="388"/>
                    <a:pt x="41" y="389"/>
                  </a:cubicBezTo>
                  <a:cubicBezTo>
                    <a:pt x="38" y="390"/>
                    <a:pt x="35" y="391"/>
                    <a:pt x="33" y="392"/>
                  </a:cubicBezTo>
                  <a:cubicBezTo>
                    <a:pt x="32" y="392"/>
                    <a:pt x="31" y="394"/>
                    <a:pt x="30" y="395"/>
                  </a:cubicBezTo>
                  <a:cubicBezTo>
                    <a:pt x="29" y="396"/>
                    <a:pt x="27" y="397"/>
                    <a:pt x="26" y="397"/>
                  </a:cubicBezTo>
                  <a:cubicBezTo>
                    <a:pt x="26" y="398"/>
                    <a:pt x="24" y="398"/>
                    <a:pt x="23" y="398"/>
                  </a:cubicBezTo>
                  <a:cubicBezTo>
                    <a:pt x="21" y="398"/>
                    <a:pt x="20" y="398"/>
                    <a:pt x="18" y="399"/>
                  </a:cubicBezTo>
                  <a:cubicBezTo>
                    <a:pt x="10" y="402"/>
                    <a:pt x="0" y="408"/>
                    <a:pt x="3" y="413"/>
                  </a:cubicBezTo>
                  <a:cubicBezTo>
                    <a:pt x="4" y="416"/>
                    <a:pt x="6" y="417"/>
                    <a:pt x="10" y="417"/>
                  </a:cubicBezTo>
                  <a:cubicBezTo>
                    <a:pt x="18" y="417"/>
                    <a:pt x="32" y="411"/>
                    <a:pt x="34" y="410"/>
                  </a:cubicBezTo>
                  <a:cubicBezTo>
                    <a:pt x="49" y="410"/>
                    <a:pt x="49" y="410"/>
                    <a:pt x="49" y="410"/>
                  </a:cubicBezTo>
                  <a:cubicBezTo>
                    <a:pt x="150" y="394"/>
                    <a:pt x="150" y="394"/>
                    <a:pt x="150" y="394"/>
                  </a:cubicBezTo>
                  <a:cubicBezTo>
                    <a:pt x="179" y="387"/>
                    <a:pt x="179" y="387"/>
                    <a:pt x="179" y="387"/>
                  </a:cubicBezTo>
                  <a:cubicBezTo>
                    <a:pt x="190" y="387"/>
                    <a:pt x="190" y="387"/>
                    <a:pt x="190" y="387"/>
                  </a:cubicBezTo>
                  <a:cubicBezTo>
                    <a:pt x="205" y="387"/>
                    <a:pt x="205" y="387"/>
                    <a:pt x="205" y="387"/>
                  </a:cubicBezTo>
                  <a:cubicBezTo>
                    <a:pt x="234" y="384"/>
                    <a:pt x="234" y="384"/>
                    <a:pt x="234" y="384"/>
                  </a:cubicBezTo>
                  <a:cubicBezTo>
                    <a:pt x="308" y="374"/>
                    <a:pt x="308" y="374"/>
                    <a:pt x="308" y="374"/>
                  </a:cubicBezTo>
                  <a:cubicBezTo>
                    <a:pt x="512" y="336"/>
                    <a:pt x="512" y="336"/>
                    <a:pt x="512" y="336"/>
                  </a:cubicBezTo>
                  <a:cubicBezTo>
                    <a:pt x="615" y="315"/>
                    <a:pt x="615" y="315"/>
                    <a:pt x="615" y="315"/>
                  </a:cubicBezTo>
                  <a:cubicBezTo>
                    <a:pt x="706" y="295"/>
                    <a:pt x="706" y="295"/>
                    <a:pt x="706" y="295"/>
                  </a:cubicBezTo>
                  <a:cubicBezTo>
                    <a:pt x="720" y="292"/>
                    <a:pt x="720" y="292"/>
                    <a:pt x="720" y="292"/>
                  </a:cubicBezTo>
                  <a:cubicBezTo>
                    <a:pt x="723" y="291"/>
                    <a:pt x="723" y="291"/>
                    <a:pt x="723" y="291"/>
                  </a:cubicBezTo>
                  <a:cubicBezTo>
                    <a:pt x="723" y="291"/>
                    <a:pt x="724" y="291"/>
                    <a:pt x="724" y="290"/>
                  </a:cubicBezTo>
                  <a:cubicBezTo>
                    <a:pt x="725" y="289"/>
                    <a:pt x="724" y="288"/>
                    <a:pt x="724" y="288"/>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37">
              <a:extLst>
                <a:ext uri="{FF2B5EF4-FFF2-40B4-BE49-F238E27FC236}">
                  <a16:creationId xmlns:a16="http://schemas.microsoft.com/office/drawing/2014/main" id="{1EA69CE5-91DA-4377-9474-381D33E0E0E2}"/>
                </a:ext>
              </a:extLst>
            </p:cNvPr>
            <p:cNvSpPr>
              <a:spLocks/>
            </p:cNvSpPr>
            <p:nvPr/>
          </p:nvSpPr>
          <p:spPr bwMode="auto">
            <a:xfrm>
              <a:off x="7429956" y="3134974"/>
              <a:ext cx="464934" cy="467966"/>
            </a:xfrm>
            <a:custGeom>
              <a:avLst/>
              <a:gdLst>
                <a:gd name="T0" fmla="*/ 410 w 418"/>
                <a:gd name="T1" fmla="*/ 97 h 421"/>
                <a:gd name="T2" fmla="*/ 404 w 418"/>
                <a:gd name="T3" fmla="*/ 82 h 421"/>
                <a:gd name="T4" fmla="*/ 387 w 418"/>
                <a:gd name="T5" fmla="*/ 79 h 421"/>
                <a:gd name="T6" fmla="*/ 370 w 418"/>
                <a:gd name="T7" fmla="*/ 71 h 421"/>
                <a:gd name="T8" fmla="*/ 354 w 418"/>
                <a:gd name="T9" fmla="*/ 82 h 421"/>
                <a:gd name="T10" fmla="*/ 344 w 418"/>
                <a:gd name="T11" fmla="*/ 97 h 421"/>
                <a:gd name="T12" fmla="*/ 318 w 418"/>
                <a:gd name="T13" fmla="*/ 90 h 421"/>
                <a:gd name="T14" fmla="*/ 305 w 418"/>
                <a:gd name="T15" fmla="*/ 113 h 421"/>
                <a:gd name="T16" fmla="*/ 290 w 418"/>
                <a:gd name="T17" fmla="*/ 116 h 421"/>
                <a:gd name="T18" fmla="*/ 269 w 418"/>
                <a:gd name="T19" fmla="*/ 144 h 421"/>
                <a:gd name="T20" fmla="*/ 254 w 418"/>
                <a:gd name="T21" fmla="*/ 91 h 421"/>
                <a:gd name="T22" fmla="*/ 142 w 418"/>
                <a:gd name="T23" fmla="*/ 1 h 421"/>
                <a:gd name="T24" fmla="*/ 131 w 418"/>
                <a:gd name="T25" fmla="*/ 13 h 421"/>
                <a:gd name="T26" fmla="*/ 138 w 418"/>
                <a:gd name="T27" fmla="*/ 50 h 421"/>
                <a:gd name="T28" fmla="*/ 135 w 418"/>
                <a:gd name="T29" fmla="*/ 88 h 421"/>
                <a:gd name="T30" fmla="*/ 133 w 418"/>
                <a:gd name="T31" fmla="*/ 98 h 421"/>
                <a:gd name="T32" fmla="*/ 129 w 418"/>
                <a:gd name="T33" fmla="*/ 126 h 421"/>
                <a:gd name="T34" fmla="*/ 98 w 418"/>
                <a:gd name="T35" fmla="*/ 162 h 421"/>
                <a:gd name="T36" fmla="*/ 76 w 418"/>
                <a:gd name="T37" fmla="*/ 169 h 421"/>
                <a:gd name="T38" fmla="*/ 63 w 418"/>
                <a:gd name="T39" fmla="*/ 188 h 421"/>
                <a:gd name="T40" fmla="*/ 58 w 418"/>
                <a:gd name="T41" fmla="*/ 206 h 421"/>
                <a:gd name="T42" fmla="*/ 53 w 418"/>
                <a:gd name="T43" fmla="*/ 214 h 421"/>
                <a:gd name="T44" fmla="*/ 36 w 418"/>
                <a:gd name="T45" fmla="*/ 220 h 421"/>
                <a:gd name="T46" fmla="*/ 31 w 418"/>
                <a:gd name="T47" fmla="*/ 237 h 421"/>
                <a:gd name="T48" fmla="*/ 32 w 418"/>
                <a:gd name="T49" fmla="*/ 252 h 421"/>
                <a:gd name="T50" fmla="*/ 25 w 418"/>
                <a:gd name="T51" fmla="*/ 278 h 421"/>
                <a:gd name="T52" fmla="*/ 2 w 418"/>
                <a:gd name="T53" fmla="*/ 289 h 421"/>
                <a:gd name="T54" fmla="*/ 4 w 418"/>
                <a:gd name="T55" fmla="*/ 301 h 421"/>
                <a:gd name="T56" fmla="*/ 17 w 418"/>
                <a:gd name="T57" fmla="*/ 340 h 421"/>
                <a:gd name="T58" fmla="*/ 43 w 418"/>
                <a:gd name="T59" fmla="*/ 375 h 421"/>
                <a:gd name="T60" fmla="*/ 72 w 418"/>
                <a:gd name="T61" fmla="*/ 388 h 421"/>
                <a:gd name="T62" fmla="*/ 88 w 418"/>
                <a:gd name="T63" fmla="*/ 410 h 421"/>
                <a:gd name="T64" fmla="*/ 115 w 418"/>
                <a:gd name="T65" fmla="*/ 421 h 421"/>
                <a:gd name="T66" fmla="*/ 134 w 418"/>
                <a:gd name="T67" fmla="*/ 404 h 421"/>
                <a:gd name="T68" fmla="*/ 153 w 418"/>
                <a:gd name="T69" fmla="*/ 408 h 421"/>
                <a:gd name="T70" fmla="*/ 181 w 418"/>
                <a:gd name="T71" fmla="*/ 390 h 421"/>
                <a:gd name="T72" fmla="*/ 192 w 418"/>
                <a:gd name="T73" fmla="*/ 387 h 421"/>
                <a:gd name="T74" fmla="*/ 228 w 418"/>
                <a:gd name="T75" fmla="*/ 366 h 421"/>
                <a:gd name="T76" fmla="*/ 234 w 418"/>
                <a:gd name="T77" fmla="*/ 350 h 421"/>
                <a:gd name="T78" fmla="*/ 239 w 418"/>
                <a:gd name="T79" fmla="*/ 313 h 421"/>
                <a:gd name="T80" fmla="*/ 251 w 418"/>
                <a:gd name="T81" fmla="*/ 279 h 421"/>
                <a:gd name="T82" fmla="*/ 262 w 418"/>
                <a:gd name="T83" fmla="*/ 255 h 421"/>
                <a:gd name="T84" fmla="*/ 269 w 418"/>
                <a:gd name="T85" fmla="*/ 231 h 421"/>
                <a:gd name="T86" fmla="*/ 293 w 418"/>
                <a:gd name="T87" fmla="*/ 243 h 421"/>
                <a:gd name="T88" fmla="*/ 306 w 418"/>
                <a:gd name="T89" fmla="*/ 231 h 421"/>
                <a:gd name="T90" fmla="*/ 313 w 418"/>
                <a:gd name="T91" fmla="*/ 207 h 421"/>
                <a:gd name="T92" fmla="*/ 323 w 418"/>
                <a:gd name="T93" fmla="*/ 192 h 421"/>
                <a:gd name="T94" fmla="*/ 343 w 418"/>
                <a:gd name="T95" fmla="*/ 174 h 421"/>
                <a:gd name="T96" fmla="*/ 356 w 418"/>
                <a:gd name="T97" fmla="*/ 151 h 421"/>
                <a:gd name="T98" fmla="*/ 363 w 418"/>
                <a:gd name="T99" fmla="*/ 120 h 421"/>
                <a:gd name="T100" fmla="*/ 407 w 418"/>
                <a:gd name="T101" fmla="*/ 133 h 421"/>
                <a:gd name="T102" fmla="*/ 418 w 418"/>
                <a:gd name="T103" fmla="*/ 109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18" h="421">
                  <a:moveTo>
                    <a:pt x="418" y="108"/>
                  </a:moveTo>
                  <a:cubicBezTo>
                    <a:pt x="417" y="104"/>
                    <a:pt x="417" y="104"/>
                    <a:pt x="417" y="104"/>
                  </a:cubicBezTo>
                  <a:cubicBezTo>
                    <a:pt x="416" y="104"/>
                    <a:pt x="416" y="103"/>
                    <a:pt x="416" y="103"/>
                  </a:cubicBezTo>
                  <a:cubicBezTo>
                    <a:pt x="410" y="97"/>
                    <a:pt x="410" y="97"/>
                    <a:pt x="410" y="97"/>
                  </a:cubicBezTo>
                  <a:cubicBezTo>
                    <a:pt x="409" y="90"/>
                    <a:pt x="409" y="90"/>
                    <a:pt x="409" y="90"/>
                  </a:cubicBezTo>
                  <a:cubicBezTo>
                    <a:pt x="409" y="89"/>
                    <a:pt x="409" y="88"/>
                    <a:pt x="407" y="88"/>
                  </a:cubicBezTo>
                  <a:cubicBezTo>
                    <a:pt x="403" y="87"/>
                    <a:pt x="403" y="87"/>
                    <a:pt x="403" y="87"/>
                  </a:cubicBezTo>
                  <a:cubicBezTo>
                    <a:pt x="404" y="82"/>
                    <a:pt x="404" y="82"/>
                    <a:pt x="404" y="82"/>
                  </a:cubicBezTo>
                  <a:cubicBezTo>
                    <a:pt x="405" y="81"/>
                    <a:pt x="404" y="80"/>
                    <a:pt x="404" y="79"/>
                  </a:cubicBezTo>
                  <a:cubicBezTo>
                    <a:pt x="403" y="78"/>
                    <a:pt x="403" y="78"/>
                    <a:pt x="403" y="78"/>
                  </a:cubicBezTo>
                  <a:cubicBezTo>
                    <a:pt x="402" y="78"/>
                    <a:pt x="402" y="78"/>
                    <a:pt x="401" y="78"/>
                  </a:cubicBezTo>
                  <a:cubicBezTo>
                    <a:pt x="387" y="79"/>
                    <a:pt x="387" y="79"/>
                    <a:pt x="387" y="79"/>
                  </a:cubicBezTo>
                  <a:cubicBezTo>
                    <a:pt x="380" y="75"/>
                    <a:pt x="380" y="75"/>
                    <a:pt x="380" y="75"/>
                  </a:cubicBezTo>
                  <a:cubicBezTo>
                    <a:pt x="380" y="74"/>
                    <a:pt x="380" y="74"/>
                    <a:pt x="380" y="74"/>
                  </a:cubicBezTo>
                  <a:cubicBezTo>
                    <a:pt x="372" y="71"/>
                    <a:pt x="372" y="71"/>
                    <a:pt x="372" y="71"/>
                  </a:cubicBezTo>
                  <a:cubicBezTo>
                    <a:pt x="371" y="71"/>
                    <a:pt x="370" y="71"/>
                    <a:pt x="370" y="71"/>
                  </a:cubicBezTo>
                  <a:cubicBezTo>
                    <a:pt x="364" y="74"/>
                    <a:pt x="364" y="74"/>
                    <a:pt x="364" y="74"/>
                  </a:cubicBezTo>
                  <a:cubicBezTo>
                    <a:pt x="364" y="75"/>
                    <a:pt x="363" y="75"/>
                    <a:pt x="363" y="76"/>
                  </a:cubicBezTo>
                  <a:cubicBezTo>
                    <a:pt x="360" y="82"/>
                    <a:pt x="360" y="82"/>
                    <a:pt x="360" y="82"/>
                  </a:cubicBezTo>
                  <a:cubicBezTo>
                    <a:pt x="354" y="82"/>
                    <a:pt x="354" y="82"/>
                    <a:pt x="354" y="82"/>
                  </a:cubicBezTo>
                  <a:cubicBezTo>
                    <a:pt x="353" y="82"/>
                    <a:pt x="352" y="82"/>
                    <a:pt x="352" y="83"/>
                  </a:cubicBezTo>
                  <a:cubicBezTo>
                    <a:pt x="345" y="91"/>
                    <a:pt x="345" y="91"/>
                    <a:pt x="345" y="91"/>
                  </a:cubicBezTo>
                  <a:cubicBezTo>
                    <a:pt x="345" y="91"/>
                    <a:pt x="345" y="92"/>
                    <a:pt x="345" y="92"/>
                  </a:cubicBezTo>
                  <a:cubicBezTo>
                    <a:pt x="344" y="97"/>
                    <a:pt x="344" y="97"/>
                    <a:pt x="344" y="97"/>
                  </a:cubicBezTo>
                  <a:cubicBezTo>
                    <a:pt x="334" y="99"/>
                    <a:pt x="334" y="99"/>
                    <a:pt x="334" y="99"/>
                  </a:cubicBezTo>
                  <a:cubicBezTo>
                    <a:pt x="328" y="97"/>
                    <a:pt x="328" y="97"/>
                    <a:pt x="328" y="97"/>
                  </a:cubicBezTo>
                  <a:cubicBezTo>
                    <a:pt x="321" y="91"/>
                    <a:pt x="321" y="91"/>
                    <a:pt x="321" y="91"/>
                  </a:cubicBezTo>
                  <a:cubicBezTo>
                    <a:pt x="320" y="90"/>
                    <a:pt x="319" y="90"/>
                    <a:pt x="318" y="90"/>
                  </a:cubicBezTo>
                  <a:cubicBezTo>
                    <a:pt x="316" y="91"/>
                    <a:pt x="316" y="91"/>
                    <a:pt x="316" y="91"/>
                  </a:cubicBezTo>
                  <a:cubicBezTo>
                    <a:pt x="315" y="91"/>
                    <a:pt x="314" y="92"/>
                    <a:pt x="314" y="93"/>
                  </a:cubicBezTo>
                  <a:cubicBezTo>
                    <a:pt x="314" y="99"/>
                    <a:pt x="314" y="99"/>
                    <a:pt x="314" y="99"/>
                  </a:cubicBezTo>
                  <a:cubicBezTo>
                    <a:pt x="305" y="113"/>
                    <a:pt x="305" y="113"/>
                    <a:pt x="305" y="113"/>
                  </a:cubicBezTo>
                  <a:cubicBezTo>
                    <a:pt x="299" y="112"/>
                    <a:pt x="299" y="112"/>
                    <a:pt x="299" y="112"/>
                  </a:cubicBezTo>
                  <a:cubicBezTo>
                    <a:pt x="299" y="112"/>
                    <a:pt x="298" y="112"/>
                    <a:pt x="298" y="112"/>
                  </a:cubicBezTo>
                  <a:cubicBezTo>
                    <a:pt x="291" y="115"/>
                    <a:pt x="291" y="115"/>
                    <a:pt x="291" y="115"/>
                  </a:cubicBezTo>
                  <a:cubicBezTo>
                    <a:pt x="291" y="115"/>
                    <a:pt x="290" y="115"/>
                    <a:pt x="290" y="116"/>
                  </a:cubicBezTo>
                  <a:cubicBezTo>
                    <a:pt x="287" y="123"/>
                    <a:pt x="287" y="123"/>
                    <a:pt x="287" y="123"/>
                  </a:cubicBezTo>
                  <a:cubicBezTo>
                    <a:pt x="280" y="131"/>
                    <a:pt x="280" y="131"/>
                    <a:pt x="280" y="131"/>
                  </a:cubicBezTo>
                  <a:cubicBezTo>
                    <a:pt x="276" y="138"/>
                    <a:pt x="276" y="138"/>
                    <a:pt x="276" y="138"/>
                  </a:cubicBezTo>
                  <a:cubicBezTo>
                    <a:pt x="269" y="144"/>
                    <a:pt x="269" y="144"/>
                    <a:pt x="269" y="144"/>
                  </a:cubicBezTo>
                  <a:cubicBezTo>
                    <a:pt x="266" y="148"/>
                    <a:pt x="266" y="148"/>
                    <a:pt x="266" y="148"/>
                  </a:cubicBezTo>
                  <a:cubicBezTo>
                    <a:pt x="257" y="93"/>
                    <a:pt x="257" y="93"/>
                    <a:pt x="257" y="93"/>
                  </a:cubicBezTo>
                  <a:cubicBezTo>
                    <a:pt x="256" y="92"/>
                    <a:pt x="256" y="91"/>
                    <a:pt x="256" y="91"/>
                  </a:cubicBezTo>
                  <a:cubicBezTo>
                    <a:pt x="255" y="91"/>
                    <a:pt x="254" y="91"/>
                    <a:pt x="254" y="91"/>
                  </a:cubicBezTo>
                  <a:cubicBezTo>
                    <a:pt x="165" y="107"/>
                    <a:pt x="165" y="107"/>
                    <a:pt x="165" y="107"/>
                  </a:cubicBezTo>
                  <a:cubicBezTo>
                    <a:pt x="146" y="3"/>
                    <a:pt x="146" y="3"/>
                    <a:pt x="146" y="3"/>
                  </a:cubicBezTo>
                  <a:cubicBezTo>
                    <a:pt x="146" y="2"/>
                    <a:pt x="145" y="1"/>
                    <a:pt x="145" y="1"/>
                  </a:cubicBezTo>
                  <a:cubicBezTo>
                    <a:pt x="144" y="0"/>
                    <a:pt x="143" y="0"/>
                    <a:pt x="142" y="1"/>
                  </a:cubicBezTo>
                  <a:cubicBezTo>
                    <a:pt x="138" y="4"/>
                    <a:pt x="138" y="4"/>
                    <a:pt x="138" y="4"/>
                  </a:cubicBezTo>
                  <a:cubicBezTo>
                    <a:pt x="135" y="4"/>
                    <a:pt x="135" y="4"/>
                    <a:pt x="135" y="4"/>
                  </a:cubicBezTo>
                  <a:cubicBezTo>
                    <a:pt x="134" y="4"/>
                    <a:pt x="133" y="5"/>
                    <a:pt x="133" y="6"/>
                  </a:cubicBezTo>
                  <a:cubicBezTo>
                    <a:pt x="131" y="13"/>
                    <a:pt x="131" y="13"/>
                    <a:pt x="131" y="13"/>
                  </a:cubicBezTo>
                  <a:cubicBezTo>
                    <a:pt x="130" y="14"/>
                    <a:pt x="130" y="15"/>
                    <a:pt x="131" y="15"/>
                  </a:cubicBezTo>
                  <a:cubicBezTo>
                    <a:pt x="136" y="21"/>
                    <a:pt x="136" y="21"/>
                    <a:pt x="136" y="21"/>
                  </a:cubicBezTo>
                  <a:cubicBezTo>
                    <a:pt x="140" y="43"/>
                    <a:pt x="140" y="43"/>
                    <a:pt x="140" y="43"/>
                  </a:cubicBezTo>
                  <a:cubicBezTo>
                    <a:pt x="138" y="50"/>
                    <a:pt x="138" y="50"/>
                    <a:pt x="138" y="50"/>
                  </a:cubicBezTo>
                  <a:cubicBezTo>
                    <a:pt x="134" y="73"/>
                    <a:pt x="134" y="73"/>
                    <a:pt x="134" y="73"/>
                  </a:cubicBezTo>
                  <a:cubicBezTo>
                    <a:pt x="134" y="73"/>
                    <a:pt x="134" y="73"/>
                    <a:pt x="134" y="73"/>
                  </a:cubicBezTo>
                  <a:cubicBezTo>
                    <a:pt x="135" y="81"/>
                    <a:pt x="135" y="81"/>
                    <a:pt x="135" y="81"/>
                  </a:cubicBezTo>
                  <a:cubicBezTo>
                    <a:pt x="135" y="88"/>
                    <a:pt x="135" y="88"/>
                    <a:pt x="135" y="88"/>
                  </a:cubicBezTo>
                  <a:cubicBezTo>
                    <a:pt x="133" y="89"/>
                    <a:pt x="133" y="89"/>
                    <a:pt x="133" y="89"/>
                  </a:cubicBezTo>
                  <a:cubicBezTo>
                    <a:pt x="132" y="89"/>
                    <a:pt x="132" y="89"/>
                    <a:pt x="132" y="90"/>
                  </a:cubicBezTo>
                  <a:cubicBezTo>
                    <a:pt x="131" y="90"/>
                    <a:pt x="131" y="91"/>
                    <a:pt x="131" y="91"/>
                  </a:cubicBezTo>
                  <a:cubicBezTo>
                    <a:pt x="133" y="98"/>
                    <a:pt x="133" y="98"/>
                    <a:pt x="133" y="98"/>
                  </a:cubicBezTo>
                  <a:cubicBezTo>
                    <a:pt x="131" y="105"/>
                    <a:pt x="131" y="105"/>
                    <a:pt x="131" y="105"/>
                  </a:cubicBezTo>
                  <a:cubicBezTo>
                    <a:pt x="131" y="105"/>
                    <a:pt x="131" y="105"/>
                    <a:pt x="131" y="106"/>
                  </a:cubicBezTo>
                  <a:cubicBezTo>
                    <a:pt x="132" y="113"/>
                    <a:pt x="132" y="113"/>
                    <a:pt x="132" y="113"/>
                  </a:cubicBezTo>
                  <a:cubicBezTo>
                    <a:pt x="129" y="126"/>
                    <a:pt x="129" y="126"/>
                    <a:pt x="129" y="126"/>
                  </a:cubicBezTo>
                  <a:cubicBezTo>
                    <a:pt x="120" y="135"/>
                    <a:pt x="120" y="135"/>
                    <a:pt x="120" y="135"/>
                  </a:cubicBezTo>
                  <a:cubicBezTo>
                    <a:pt x="120" y="135"/>
                    <a:pt x="120" y="135"/>
                    <a:pt x="120" y="135"/>
                  </a:cubicBezTo>
                  <a:cubicBezTo>
                    <a:pt x="111" y="150"/>
                    <a:pt x="111" y="150"/>
                    <a:pt x="111" y="150"/>
                  </a:cubicBezTo>
                  <a:cubicBezTo>
                    <a:pt x="98" y="162"/>
                    <a:pt x="98" y="162"/>
                    <a:pt x="98" y="162"/>
                  </a:cubicBezTo>
                  <a:cubicBezTo>
                    <a:pt x="86" y="157"/>
                    <a:pt x="86" y="157"/>
                    <a:pt x="86" y="157"/>
                  </a:cubicBezTo>
                  <a:cubicBezTo>
                    <a:pt x="85" y="157"/>
                    <a:pt x="84" y="157"/>
                    <a:pt x="83" y="158"/>
                  </a:cubicBezTo>
                  <a:cubicBezTo>
                    <a:pt x="77" y="167"/>
                    <a:pt x="77" y="167"/>
                    <a:pt x="77" y="167"/>
                  </a:cubicBezTo>
                  <a:cubicBezTo>
                    <a:pt x="76" y="168"/>
                    <a:pt x="76" y="168"/>
                    <a:pt x="76" y="169"/>
                  </a:cubicBezTo>
                  <a:cubicBezTo>
                    <a:pt x="76" y="175"/>
                    <a:pt x="76" y="175"/>
                    <a:pt x="76" y="175"/>
                  </a:cubicBezTo>
                  <a:cubicBezTo>
                    <a:pt x="67" y="180"/>
                    <a:pt x="67" y="180"/>
                    <a:pt x="67" y="180"/>
                  </a:cubicBezTo>
                  <a:cubicBezTo>
                    <a:pt x="66" y="180"/>
                    <a:pt x="66" y="180"/>
                    <a:pt x="66" y="181"/>
                  </a:cubicBezTo>
                  <a:cubicBezTo>
                    <a:pt x="63" y="188"/>
                    <a:pt x="63" y="188"/>
                    <a:pt x="63" y="188"/>
                  </a:cubicBezTo>
                  <a:cubicBezTo>
                    <a:pt x="63" y="188"/>
                    <a:pt x="63" y="189"/>
                    <a:pt x="63" y="189"/>
                  </a:cubicBezTo>
                  <a:cubicBezTo>
                    <a:pt x="63" y="196"/>
                    <a:pt x="63" y="196"/>
                    <a:pt x="63" y="196"/>
                  </a:cubicBezTo>
                  <a:cubicBezTo>
                    <a:pt x="58" y="204"/>
                    <a:pt x="58" y="204"/>
                    <a:pt x="58" y="204"/>
                  </a:cubicBezTo>
                  <a:cubicBezTo>
                    <a:pt x="57" y="204"/>
                    <a:pt x="57" y="206"/>
                    <a:pt x="58" y="206"/>
                  </a:cubicBezTo>
                  <a:cubicBezTo>
                    <a:pt x="63" y="212"/>
                    <a:pt x="63" y="212"/>
                    <a:pt x="63" y="212"/>
                  </a:cubicBezTo>
                  <a:cubicBezTo>
                    <a:pt x="59" y="218"/>
                    <a:pt x="59" y="218"/>
                    <a:pt x="59" y="218"/>
                  </a:cubicBezTo>
                  <a:cubicBezTo>
                    <a:pt x="58" y="222"/>
                    <a:pt x="58" y="222"/>
                    <a:pt x="58" y="222"/>
                  </a:cubicBezTo>
                  <a:cubicBezTo>
                    <a:pt x="53" y="214"/>
                    <a:pt x="53" y="214"/>
                    <a:pt x="53" y="214"/>
                  </a:cubicBezTo>
                  <a:cubicBezTo>
                    <a:pt x="52" y="214"/>
                    <a:pt x="52" y="214"/>
                    <a:pt x="52" y="213"/>
                  </a:cubicBezTo>
                  <a:cubicBezTo>
                    <a:pt x="44" y="211"/>
                    <a:pt x="44" y="211"/>
                    <a:pt x="44" y="211"/>
                  </a:cubicBezTo>
                  <a:cubicBezTo>
                    <a:pt x="43" y="210"/>
                    <a:pt x="42" y="211"/>
                    <a:pt x="41" y="212"/>
                  </a:cubicBezTo>
                  <a:cubicBezTo>
                    <a:pt x="36" y="220"/>
                    <a:pt x="36" y="220"/>
                    <a:pt x="36" y="220"/>
                  </a:cubicBezTo>
                  <a:cubicBezTo>
                    <a:pt x="33" y="227"/>
                    <a:pt x="33" y="227"/>
                    <a:pt x="33" y="227"/>
                  </a:cubicBezTo>
                  <a:cubicBezTo>
                    <a:pt x="33" y="227"/>
                    <a:pt x="33" y="228"/>
                    <a:pt x="33" y="228"/>
                  </a:cubicBezTo>
                  <a:cubicBezTo>
                    <a:pt x="33" y="235"/>
                    <a:pt x="33" y="235"/>
                    <a:pt x="33" y="235"/>
                  </a:cubicBezTo>
                  <a:cubicBezTo>
                    <a:pt x="31" y="237"/>
                    <a:pt x="31" y="237"/>
                    <a:pt x="31" y="237"/>
                  </a:cubicBezTo>
                  <a:cubicBezTo>
                    <a:pt x="31" y="238"/>
                    <a:pt x="31" y="238"/>
                    <a:pt x="31" y="238"/>
                  </a:cubicBezTo>
                  <a:cubicBezTo>
                    <a:pt x="29" y="246"/>
                    <a:pt x="29" y="246"/>
                    <a:pt x="29" y="246"/>
                  </a:cubicBezTo>
                  <a:cubicBezTo>
                    <a:pt x="29" y="247"/>
                    <a:pt x="29" y="248"/>
                    <a:pt x="29" y="248"/>
                  </a:cubicBezTo>
                  <a:cubicBezTo>
                    <a:pt x="32" y="252"/>
                    <a:pt x="32" y="252"/>
                    <a:pt x="32" y="252"/>
                  </a:cubicBezTo>
                  <a:cubicBezTo>
                    <a:pt x="33" y="264"/>
                    <a:pt x="33" y="264"/>
                    <a:pt x="33" y="264"/>
                  </a:cubicBezTo>
                  <a:cubicBezTo>
                    <a:pt x="26" y="268"/>
                    <a:pt x="26" y="268"/>
                    <a:pt x="26" y="268"/>
                  </a:cubicBezTo>
                  <a:cubicBezTo>
                    <a:pt x="26" y="269"/>
                    <a:pt x="25" y="270"/>
                    <a:pt x="25" y="271"/>
                  </a:cubicBezTo>
                  <a:cubicBezTo>
                    <a:pt x="25" y="278"/>
                    <a:pt x="25" y="278"/>
                    <a:pt x="25" y="278"/>
                  </a:cubicBezTo>
                  <a:cubicBezTo>
                    <a:pt x="20" y="284"/>
                    <a:pt x="20" y="284"/>
                    <a:pt x="20" y="284"/>
                  </a:cubicBezTo>
                  <a:cubicBezTo>
                    <a:pt x="11" y="288"/>
                    <a:pt x="11" y="288"/>
                    <a:pt x="11" y="288"/>
                  </a:cubicBezTo>
                  <a:cubicBezTo>
                    <a:pt x="5" y="289"/>
                    <a:pt x="5" y="289"/>
                    <a:pt x="5" y="289"/>
                  </a:cubicBezTo>
                  <a:cubicBezTo>
                    <a:pt x="4" y="289"/>
                    <a:pt x="3" y="289"/>
                    <a:pt x="2" y="289"/>
                  </a:cubicBezTo>
                  <a:cubicBezTo>
                    <a:pt x="1" y="290"/>
                    <a:pt x="0" y="291"/>
                    <a:pt x="1" y="292"/>
                  </a:cubicBezTo>
                  <a:cubicBezTo>
                    <a:pt x="1" y="297"/>
                    <a:pt x="1" y="297"/>
                    <a:pt x="1" y="297"/>
                  </a:cubicBezTo>
                  <a:cubicBezTo>
                    <a:pt x="1" y="297"/>
                    <a:pt x="2" y="298"/>
                    <a:pt x="2" y="298"/>
                  </a:cubicBezTo>
                  <a:cubicBezTo>
                    <a:pt x="4" y="301"/>
                    <a:pt x="4" y="301"/>
                    <a:pt x="4" y="301"/>
                  </a:cubicBezTo>
                  <a:cubicBezTo>
                    <a:pt x="5" y="308"/>
                    <a:pt x="5" y="308"/>
                    <a:pt x="5" y="308"/>
                  </a:cubicBezTo>
                  <a:cubicBezTo>
                    <a:pt x="1" y="322"/>
                    <a:pt x="1" y="322"/>
                    <a:pt x="1" y="322"/>
                  </a:cubicBezTo>
                  <a:cubicBezTo>
                    <a:pt x="1" y="323"/>
                    <a:pt x="1" y="324"/>
                    <a:pt x="2" y="324"/>
                  </a:cubicBezTo>
                  <a:cubicBezTo>
                    <a:pt x="17" y="340"/>
                    <a:pt x="17" y="340"/>
                    <a:pt x="17" y="340"/>
                  </a:cubicBezTo>
                  <a:cubicBezTo>
                    <a:pt x="19" y="347"/>
                    <a:pt x="19" y="347"/>
                    <a:pt x="19" y="347"/>
                  </a:cubicBezTo>
                  <a:cubicBezTo>
                    <a:pt x="20" y="347"/>
                    <a:pt x="20" y="348"/>
                    <a:pt x="20" y="348"/>
                  </a:cubicBezTo>
                  <a:cubicBezTo>
                    <a:pt x="27" y="355"/>
                    <a:pt x="27" y="355"/>
                    <a:pt x="27" y="355"/>
                  </a:cubicBezTo>
                  <a:cubicBezTo>
                    <a:pt x="43" y="375"/>
                    <a:pt x="43" y="375"/>
                    <a:pt x="43" y="375"/>
                  </a:cubicBezTo>
                  <a:cubicBezTo>
                    <a:pt x="43" y="375"/>
                    <a:pt x="43" y="376"/>
                    <a:pt x="43" y="376"/>
                  </a:cubicBezTo>
                  <a:cubicBezTo>
                    <a:pt x="59" y="387"/>
                    <a:pt x="59" y="387"/>
                    <a:pt x="59" y="387"/>
                  </a:cubicBezTo>
                  <a:cubicBezTo>
                    <a:pt x="59" y="387"/>
                    <a:pt x="59" y="387"/>
                    <a:pt x="60" y="387"/>
                  </a:cubicBezTo>
                  <a:cubicBezTo>
                    <a:pt x="72" y="388"/>
                    <a:pt x="72" y="388"/>
                    <a:pt x="72" y="388"/>
                  </a:cubicBezTo>
                  <a:cubicBezTo>
                    <a:pt x="72" y="392"/>
                    <a:pt x="72" y="392"/>
                    <a:pt x="72" y="392"/>
                  </a:cubicBezTo>
                  <a:cubicBezTo>
                    <a:pt x="72" y="393"/>
                    <a:pt x="72" y="394"/>
                    <a:pt x="73" y="394"/>
                  </a:cubicBezTo>
                  <a:cubicBezTo>
                    <a:pt x="79" y="402"/>
                    <a:pt x="79" y="402"/>
                    <a:pt x="79" y="402"/>
                  </a:cubicBezTo>
                  <a:cubicBezTo>
                    <a:pt x="88" y="410"/>
                    <a:pt x="88" y="410"/>
                    <a:pt x="88" y="410"/>
                  </a:cubicBezTo>
                  <a:cubicBezTo>
                    <a:pt x="103" y="418"/>
                    <a:pt x="103" y="418"/>
                    <a:pt x="103" y="418"/>
                  </a:cubicBezTo>
                  <a:cubicBezTo>
                    <a:pt x="103" y="419"/>
                    <a:pt x="103" y="419"/>
                    <a:pt x="104" y="419"/>
                  </a:cubicBezTo>
                  <a:cubicBezTo>
                    <a:pt x="114" y="421"/>
                    <a:pt x="114" y="421"/>
                    <a:pt x="114" y="421"/>
                  </a:cubicBezTo>
                  <a:cubicBezTo>
                    <a:pt x="115" y="421"/>
                    <a:pt x="115" y="421"/>
                    <a:pt x="115" y="421"/>
                  </a:cubicBezTo>
                  <a:cubicBezTo>
                    <a:pt x="115" y="421"/>
                    <a:pt x="116" y="421"/>
                    <a:pt x="116" y="420"/>
                  </a:cubicBezTo>
                  <a:cubicBezTo>
                    <a:pt x="131" y="410"/>
                    <a:pt x="131" y="410"/>
                    <a:pt x="131" y="410"/>
                  </a:cubicBezTo>
                  <a:cubicBezTo>
                    <a:pt x="131" y="410"/>
                    <a:pt x="131" y="410"/>
                    <a:pt x="132" y="409"/>
                  </a:cubicBezTo>
                  <a:cubicBezTo>
                    <a:pt x="134" y="404"/>
                    <a:pt x="134" y="404"/>
                    <a:pt x="134" y="404"/>
                  </a:cubicBezTo>
                  <a:cubicBezTo>
                    <a:pt x="144" y="408"/>
                    <a:pt x="144" y="408"/>
                    <a:pt x="144" y="408"/>
                  </a:cubicBezTo>
                  <a:cubicBezTo>
                    <a:pt x="145" y="409"/>
                    <a:pt x="145" y="409"/>
                    <a:pt x="145" y="409"/>
                  </a:cubicBezTo>
                  <a:cubicBezTo>
                    <a:pt x="153" y="408"/>
                    <a:pt x="153" y="408"/>
                    <a:pt x="153" y="408"/>
                  </a:cubicBezTo>
                  <a:cubicBezTo>
                    <a:pt x="153" y="408"/>
                    <a:pt x="153" y="408"/>
                    <a:pt x="153" y="408"/>
                  </a:cubicBezTo>
                  <a:cubicBezTo>
                    <a:pt x="170" y="400"/>
                    <a:pt x="170" y="400"/>
                    <a:pt x="170" y="400"/>
                  </a:cubicBezTo>
                  <a:cubicBezTo>
                    <a:pt x="177" y="398"/>
                    <a:pt x="177" y="398"/>
                    <a:pt x="177" y="398"/>
                  </a:cubicBezTo>
                  <a:cubicBezTo>
                    <a:pt x="178" y="397"/>
                    <a:pt x="178" y="397"/>
                    <a:pt x="179" y="396"/>
                  </a:cubicBezTo>
                  <a:cubicBezTo>
                    <a:pt x="181" y="390"/>
                    <a:pt x="181" y="390"/>
                    <a:pt x="181" y="390"/>
                  </a:cubicBezTo>
                  <a:cubicBezTo>
                    <a:pt x="181" y="389"/>
                    <a:pt x="181" y="389"/>
                    <a:pt x="181" y="389"/>
                  </a:cubicBezTo>
                  <a:cubicBezTo>
                    <a:pt x="181" y="385"/>
                    <a:pt x="181" y="385"/>
                    <a:pt x="181" y="385"/>
                  </a:cubicBezTo>
                  <a:cubicBezTo>
                    <a:pt x="189" y="388"/>
                    <a:pt x="189" y="388"/>
                    <a:pt x="189" y="388"/>
                  </a:cubicBezTo>
                  <a:cubicBezTo>
                    <a:pt x="190" y="388"/>
                    <a:pt x="191" y="388"/>
                    <a:pt x="192" y="387"/>
                  </a:cubicBezTo>
                  <a:cubicBezTo>
                    <a:pt x="205" y="376"/>
                    <a:pt x="205" y="376"/>
                    <a:pt x="205" y="376"/>
                  </a:cubicBezTo>
                  <a:cubicBezTo>
                    <a:pt x="212" y="377"/>
                    <a:pt x="212" y="377"/>
                    <a:pt x="212" y="377"/>
                  </a:cubicBezTo>
                  <a:cubicBezTo>
                    <a:pt x="212" y="377"/>
                    <a:pt x="213" y="377"/>
                    <a:pt x="214" y="376"/>
                  </a:cubicBezTo>
                  <a:cubicBezTo>
                    <a:pt x="228" y="366"/>
                    <a:pt x="228" y="366"/>
                    <a:pt x="228" y="366"/>
                  </a:cubicBezTo>
                  <a:cubicBezTo>
                    <a:pt x="230" y="365"/>
                    <a:pt x="230" y="365"/>
                    <a:pt x="230" y="365"/>
                  </a:cubicBezTo>
                  <a:cubicBezTo>
                    <a:pt x="231" y="364"/>
                    <a:pt x="231" y="363"/>
                    <a:pt x="231" y="362"/>
                  </a:cubicBezTo>
                  <a:cubicBezTo>
                    <a:pt x="229" y="356"/>
                    <a:pt x="229" y="356"/>
                    <a:pt x="229" y="356"/>
                  </a:cubicBezTo>
                  <a:cubicBezTo>
                    <a:pt x="234" y="350"/>
                    <a:pt x="234" y="350"/>
                    <a:pt x="234" y="350"/>
                  </a:cubicBezTo>
                  <a:cubicBezTo>
                    <a:pt x="234" y="349"/>
                    <a:pt x="234" y="348"/>
                    <a:pt x="234" y="347"/>
                  </a:cubicBezTo>
                  <a:cubicBezTo>
                    <a:pt x="229" y="340"/>
                    <a:pt x="229" y="340"/>
                    <a:pt x="229" y="340"/>
                  </a:cubicBezTo>
                  <a:cubicBezTo>
                    <a:pt x="231" y="328"/>
                    <a:pt x="231" y="328"/>
                    <a:pt x="231" y="328"/>
                  </a:cubicBezTo>
                  <a:cubicBezTo>
                    <a:pt x="239" y="313"/>
                    <a:pt x="239" y="313"/>
                    <a:pt x="239" y="313"/>
                  </a:cubicBezTo>
                  <a:cubicBezTo>
                    <a:pt x="246" y="303"/>
                    <a:pt x="246" y="303"/>
                    <a:pt x="246" y="303"/>
                  </a:cubicBezTo>
                  <a:cubicBezTo>
                    <a:pt x="246" y="303"/>
                    <a:pt x="246" y="302"/>
                    <a:pt x="246" y="302"/>
                  </a:cubicBezTo>
                  <a:cubicBezTo>
                    <a:pt x="250" y="287"/>
                    <a:pt x="250" y="287"/>
                    <a:pt x="250" y="287"/>
                  </a:cubicBezTo>
                  <a:cubicBezTo>
                    <a:pt x="251" y="279"/>
                    <a:pt x="251" y="279"/>
                    <a:pt x="251" y="279"/>
                  </a:cubicBezTo>
                  <a:cubicBezTo>
                    <a:pt x="255" y="273"/>
                    <a:pt x="255" y="273"/>
                    <a:pt x="255" y="273"/>
                  </a:cubicBezTo>
                  <a:cubicBezTo>
                    <a:pt x="256" y="272"/>
                    <a:pt x="256" y="272"/>
                    <a:pt x="256" y="272"/>
                  </a:cubicBezTo>
                  <a:cubicBezTo>
                    <a:pt x="260" y="257"/>
                    <a:pt x="260" y="257"/>
                    <a:pt x="260" y="257"/>
                  </a:cubicBezTo>
                  <a:cubicBezTo>
                    <a:pt x="262" y="255"/>
                    <a:pt x="262" y="255"/>
                    <a:pt x="262" y="255"/>
                  </a:cubicBezTo>
                  <a:cubicBezTo>
                    <a:pt x="263" y="255"/>
                    <a:pt x="263" y="254"/>
                    <a:pt x="263" y="254"/>
                  </a:cubicBezTo>
                  <a:cubicBezTo>
                    <a:pt x="265" y="245"/>
                    <a:pt x="265" y="245"/>
                    <a:pt x="265" y="245"/>
                  </a:cubicBezTo>
                  <a:cubicBezTo>
                    <a:pt x="265" y="232"/>
                    <a:pt x="265" y="232"/>
                    <a:pt x="265" y="232"/>
                  </a:cubicBezTo>
                  <a:cubicBezTo>
                    <a:pt x="269" y="231"/>
                    <a:pt x="269" y="231"/>
                    <a:pt x="269" y="231"/>
                  </a:cubicBezTo>
                  <a:cubicBezTo>
                    <a:pt x="275" y="236"/>
                    <a:pt x="275" y="236"/>
                    <a:pt x="275" y="236"/>
                  </a:cubicBezTo>
                  <a:cubicBezTo>
                    <a:pt x="275" y="239"/>
                    <a:pt x="275" y="239"/>
                    <a:pt x="275" y="239"/>
                  </a:cubicBezTo>
                  <a:cubicBezTo>
                    <a:pt x="276" y="240"/>
                    <a:pt x="276" y="240"/>
                    <a:pt x="278" y="241"/>
                  </a:cubicBezTo>
                  <a:cubicBezTo>
                    <a:pt x="293" y="243"/>
                    <a:pt x="293" y="243"/>
                    <a:pt x="293" y="243"/>
                  </a:cubicBezTo>
                  <a:cubicBezTo>
                    <a:pt x="293" y="243"/>
                    <a:pt x="294" y="243"/>
                    <a:pt x="294" y="243"/>
                  </a:cubicBezTo>
                  <a:cubicBezTo>
                    <a:pt x="301" y="240"/>
                    <a:pt x="301" y="240"/>
                    <a:pt x="301" y="240"/>
                  </a:cubicBezTo>
                  <a:cubicBezTo>
                    <a:pt x="302" y="239"/>
                    <a:pt x="302" y="239"/>
                    <a:pt x="302" y="238"/>
                  </a:cubicBezTo>
                  <a:cubicBezTo>
                    <a:pt x="306" y="231"/>
                    <a:pt x="306" y="231"/>
                    <a:pt x="306" y="231"/>
                  </a:cubicBezTo>
                  <a:cubicBezTo>
                    <a:pt x="306" y="231"/>
                    <a:pt x="306" y="231"/>
                    <a:pt x="306" y="231"/>
                  </a:cubicBezTo>
                  <a:cubicBezTo>
                    <a:pt x="309" y="215"/>
                    <a:pt x="309" y="215"/>
                    <a:pt x="309" y="215"/>
                  </a:cubicBezTo>
                  <a:cubicBezTo>
                    <a:pt x="313" y="208"/>
                    <a:pt x="313" y="208"/>
                    <a:pt x="313" y="208"/>
                  </a:cubicBezTo>
                  <a:cubicBezTo>
                    <a:pt x="313" y="208"/>
                    <a:pt x="313" y="208"/>
                    <a:pt x="313" y="207"/>
                  </a:cubicBezTo>
                  <a:cubicBezTo>
                    <a:pt x="314" y="197"/>
                    <a:pt x="314" y="197"/>
                    <a:pt x="314" y="197"/>
                  </a:cubicBezTo>
                  <a:cubicBezTo>
                    <a:pt x="316" y="192"/>
                    <a:pt x="316" y="192"/>
                    <a:pt x="316" y="192"/>
                  </a:cubicBezTo>
                  <a:cubicBezTo>
                    <a:pt x="322" y="192"/>
                    <a:pt x="322" y="192"/>
                    <a:pt x="322" y="192"/>
                  </a:cubicBezTo>
                  <a:cubicBezTo>
                    <a:pt x="323" y="192"/>
                    <a:pt x="323" y="192"/>
                    <a:pt x="323" y="192"/>
                  </a:cubicBezTo>
                  <a:cubicBezTo>
                    <a:pt x="331" y="190"/>
                    <a:pt x="331" y="190"/>
                    <a:pt x="331" y="190"/>
                  </a:cubicBezTo>
                  <a:cubicBezTo>
                    <a:pt x="331" y="190"/>
                    <a:pt x="332" y="189"/>
                    <a:pt x="332" y="189"/>
                  </a:cubicBezTo>
                  <a:cubicBezTo>
                    <a:pt x="338" y="175"/>
                    <a:pt x="338" y="175"/>
                    <a:pt x="338" y="175"/>
                  </a:cubicBezTo>
                  <a:cubicBezTo>
                    <a:pt x="343" y="174"/>
                    <a:pt x="343" y="174"/>
                    <a:pt x="343" y="174"/>
                  </a:cubicBezTo>
                  <a:cubicBezTo>
                    <a:pt x="344" y="174"/>
                    <a:pt x="344" y="174"/>
                    <a:pt x="345" y="173"/>
                  </a:cubicBezTo>
                  <a:cubicBezTo>
                    <a:pt x="351" y="166"/>
                    <a:pt x="351" y="166"/>
                    <a:pt x="351" y="166"/>
                  </a:cubicBezTo>
                  <a:cubicBezTo>
                    <a:pt x="351" y="166"/>
                    <a:pt x="351" y="166"/>
                    <a:pt x="351" y="165"/>
                  </a:cubicBezTo>
                  <a:cubicBezTo>
                    <a:pt x="356" y="151"/>
                    <a:pt x="356" y="151"/>
                    <a:pt x="356" y="151"/>
                  </a:cubicBezTo>
                  <a:cubicBezTo>
                    <a:pt x="361" y="144"/>
                    <a:pt x="361" y="144"/>
                    <a:pt x="361" y="144"/>
                  </a:cubicBezTo>
                  <a:cubicBezTo>
                    <a:pt x="361" y="143"/>
                    <a:pt x="361" y="143"/>
                    <a:pt x="361" y="142"/>
                  </a:cubicBezTo>
                  <a:cubicBezTo>
                    <a:pt x="360" y="127"/>
                    <a:pt x="360" y="127"/>
                    <a:pt x="360" y="127"/>
                  </a:cubicBezTo>
                  <a:cubicBezTo>
                    <a:pt x="363" y="120"/>
                    <a:pt x="363" y="120"/>
                    <a:pt x="363" y="120"/>
                  </a:cubicBezTo>
                  <a:cubicBezTo>
                    <a:pt x="363" y="120"/>
                    <a:pt x="363" y="119"/>
                    <a:pt x="363" y="119"/>
                  </a:cubicBezTo>
                  <a:cubicBezTo>
                    <a:pt x="362" y="113"/>
                    <a:pt x="362" y="113"/>
                    <a:pt x="362" y="113"/>
                  </a:cubicBezTo>
                  <a:cubicBezTo>
                    <a:pt x="367" y="111"/>
                    <a:pt x="367" y="111"/>
                    <a:pt x="367" y="111"/>
                  </a:cubicBezTo>
                  <a:cubicBezTo>
                    <a:pt x="407" y="133"/>
                    <a:pt x="407" y="133"/>
                    <a:pt x="407" y="133"/>
                  </a:cubicBezTo>
                  <a:cubicBezTo>
                    <a:pt x="408" y="133"/>
                    <a:pt x="410" y="133"/>
                    <a:pt x="411" y="132"/>
                  </a:cubicBezTo>
                  <a:cubicBezTo>
                    <a:pt x="416" y="124"/>
                    <a:pt x="416" y="124"/>
                    <a:pt x="416" y="124"/>
                  </a:cubicBezTo>
                  <a:cubicBezTo>
                    <a:pt x="416" y="124"/>
                    <a:pt x="416" y="123"/>
                    <a:pt x="416" y="123"/>
                  </a:cubicBezTo>
                  <a:cubicBezTo>
                    <a:pt x="418" y="109"/>
                    <a:pt x="418" y="109"/>
                    <a:pt x="418" y="109"/>
                  </a:cubicBezTo>
                  <a:cubicBezTo>
                    <a:pt x="418" y="109"/>
                    <a:pt x="418" y="109"/>
                    <a:pt x="418" y="108"/>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38">
              <a:extLst>
                <a:ext uri="{FF2B5EF4-FFF2-40B4-BE49-F238E27FC236}">
                  <a16:creationId xmlns:a16="http://schemas.microsoft.com/office/drawing/2014/main" id="{30FC787F-CDDA-4B34-880F-E44B6823EDED}"/>
                </a:ext>
              </a:extLst>
            </p:cNvPr>
            <p:cNvSpPr>
              <a:spLocks/>
            </p:cNvSpPr>
            <p:nvPr/>
          </p:nvSpPr>
          <p:spPr bwMode="auto">
            <a:xfrm>
              <a:off x="7155038" y="2962140"/>
              <a:ext cx="437645" cy="501320"/>
            </a:xfrm>
            <a:custGeom>
              <a:avLst/>
              <a:gdLst>
                <a:gd name="T0" fmla="*/ 383 w 393"/>
                <a:gd name="T1" fmla="*/ 164 h 450"/>
                <a:gd name="T2" fmla="*/ 386 w 393"/>
                <a:gd name="T3" fmla="*/ 164 h 450"/>
                <a:gd name="T4" fmla="*/ 366 w 393"/>
                <a:gd name="T5" fmla="*/ 2 h 450"/>
                <a:gd name="T6" fmla="*/ 319 w 393"/>
                <a:gd name="T7" fmla="*/ 26 h 450"/>
                <a:gd name="T8" fmla="*/ 289 w 393"/>
                <a:gd name="T9" fmla="*/ 51 h 450"/>
                <a:gd name="T10" fmla="*/ 255 w 393"/>
                <a:gd name="T11" fmla="*/ 76 h 450"/>
                <a:gd name="T12" fmla="*/ 247 w 393"/>
                <a:gd name="T13" fmla="*/ 75 h 450"/>
                <a:gd name="T14" fmla="*/ 229 w 393"/>
                <a:gd name="T15" fmla="*/ 82 h 450"/>
                <a:gd name="T16" fmla="*/ 219 w 393"/>
                <a:gd name="T17" fmla="*/ 88 h 450"/>
                <a:gd name="T18" fmla="*/ 207 w 393"/>
                <a:gd name="T19" fmla="*/ 96 h 450"/>
                <a:gd name="T20" fmla="*/ 193 w 393"/>
                <a:gd name="T21" fmla="*/ 90 h 450"/>
                <a:gd name="T22" fmla="*/ 172 w 393"/>
                <a:gd name="T23" fmla="*/ 94 h 450"/>
                <a:gd name="T24" fmla="*/ 169 w 393"/>
                <a:gd name="T25" fmla="*/ 89 h 450"/>
                <a:gd name="T26" fmla="*/ 181 w 393"/>
                <a:gd name="T27" fmla="*/ 81 h 450"/>
                <a:gd name="T28" fmla="*/ 160 w 393"/>
                <a:gd name="T29" fmla="*/ 79 h 450"/>
                <a:gd name="T30" fmla="*/ 149 w 393"/>
                <a:gd name="T31" fmla="*/ 75 h 450"/>
                <a:gd name="T32" fmla="*/ 140 w 393"/>
                <a:gd name="T33" fmla="*/ 75 h 450"/>
                <a:gd name="T34" fmla="*/ 119 w 393"/>
                <a:gd name="T35" fmla="*/ 69 h 450"/>
                <a:gd name="T36" fmla="*/ 2 w 393"/>
                <a:gd name="T37" fmla="*/ 88 h 450"/>
                <a:gd name="T38" fmla="*/ 36 w 393"/>
                <a:gd name="T39" fmla="*/ 396 h 450"/>
                <a:gd name="T40" fmla="*/ 49 w 393"/>
                <a:gd name="T41" fmla="*/ 392 h 450"/>
                <a:gd name="T42" fmla="*/ 56 w 393"/>
                <a:gd name="T43" fmla="*/ 397 h 450"/>
                <a:gd name="T44" fmla="*/ 85 w 393"/>
                <a:gd name="T45" fmla="*/ 400 h 450"/>
                <a:gd name="T46" fmla="*/ 90 w 393"/>
                <a:gd name="T47" fmla="*/ 410 h 450"/>
                <a:gd name="T48" fmla="*/ 111 w 393"/>
                <a:gd name="T49" fmla="*/ 426 h 450"/>
                <a:gd name="T50" fmla="*/ 125 w 393"/>
                <a:gd name="T51" fmla="*/ 424 h 450"/>
                <a:gd name="T52" fmla="*/ 144 w 393"/>
                <a:gd name="T53" fmla="*/ 437 h 450"/>
                <a:gd name="T54" fmla="*/ 157 w 393"/>
                <a:gd name="T55" fmla="*/ 432 h 450"/>
                <a:gd name="T56" fmla="*/ 165 w 393"/>
                <a:gd name="T57" fmla="*/ 429 h 450"/>
                <a:gd name="T58" fmla="*/ 176 w 393"/>
                <a:gd name="T59" fmla="*/ 432 h 450"/>
                <a:gd name="T60" fmla="*/ 190 w 393"/>
                <a:gd name="T61" fmla="*/ 433 h 450"/>
                <a:gd name="T62" fmla="*/ 201 w 393"/>
                <a:gd name="T63" fmla="*/ 427 h 450"/>
                <a:gd name="T64" fmla="*/ 211 w 393"/>
                <a:gd name="T65" fmla="*/ 417 h 450"/>
                <a:gd name="T66" fmla="*/ 221 w 393"/>
                <a:gd name="T67" fmla="*/ 426 h 450"/>
                <a:gd name="T68" fmla="*/ 236 w 393"/>
                <a:gd name="T69" fmla="*/ 435 h 450"/>
                <a:gd name="T70" fmla="*/ 248 w 393"/>
                <a:gd name="T71" fmla="*/ 448 h 450"/>
                <a:gd name="T72" fmla="*/ 251 w 393"/>
                <a:gd name="T73" fmla="*/ 450 h 450"/>
                <a:gd name="T74" fmla="*/ 277 w 393"/>
                <a:gd name="T75" fmla="*/ 434 h 450"/>
                <a:gd name="T76" fmla="*/ 280 w 393"/>
                <a:gd name="T77" fmla="*/ 425 h 450"/>
                <a:gd name="T78" fmla="*/ 282 w 393"/>
                <a:gd name="T79" fmla="*/ 403 h 450"/>
                <a:gd name="T80" fmla="*/ 283 w 393"/>
                <a:gd name="T81" fmla="*/ 394 h 450"/>
                <a:gd name="T82" fmla="*/ 285 w 393"/>
                <a:gd name="T83" fmla="*/ 383 h 450"/>
                <a:gd name="T84" fmla="*/ 291 w 393"/>
                <a:gd name="T85" fmla="*/ 370 h 450"/>
                <a:gd name="T86" fmla="*/ 306 w 393"/>
                <a:gd name="T87" fmla="*/ 385 h 450"/>
                <a:gd name="T88" fmla="*/ 311 w 393"/>
                <a:gd name="T89" fmla="*/ 375 h 450"/>
                <a:gd name="T90" fmla="*/ 312 w 393"/>
                <a:gd name="T91" fmla="*/ 362 h 450"/>
                <a:gd name="T92" fmla="*/ 315 w 393"/>
                <a:gd name="T93" fmla="*/ 353 h 450"/>
                <a:gd name="T94" fmla="*/ 317 w 393"/>
                <a:gd name="T95" fmla="*/ 339 h 450"/>
                <a:gd name="T96" fmla="*/ 328 w 393"/>
                <a:gd name="T97" fmla="*/ 327 h 450"/>
                <a:gd name="T98" fmla="*/ 338 w 393"/>
                <a:gd name="T99" fmla="*/ 319 h 450"/>
                <a:gd name="T100" fmla="*/ 361 w 393"/>
                <a:gd name="T101" fmla="*/ 309 h 450"/>
                <a:gd name="T102" fmla="*/ 371 w 393"/>
                <a:gd name="T103" fmla="*/ 293 h 450"/>
                <a:gd name="T104" fmla="*/ 384 w 393"/>
                <a:gd name="T105" fmla="*/ 268 h 450"/>
                <a:gd name="T106" fmla="*/ 384 w 393"/>
                <a:gd name="T107" fmla="*/ 258 h 450"/>
                <a:gd name="T108" fmla="*/ 383 w 393"/>
                <a:gd name="T109" fmla="*/ 248 h 450"/>
                <a:gd name="T110" fmla="*/ 387 w 393"/>
                <a:gd name="T111" fmla="*/ 236 h 450"/>
                <a:gd name="T112" fmla="*/ 393 w 393"/>
                <a:gd name="T113" fmla="*/ 19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3" h="450">
                  <a:moveTo>
                    <a:pt x="384" y="171"/>
                  </a:moveTo>
                  <a:cubicBezTo>
                    <a:pt x="384" y="170"/>
                    <a:pt x="383" y="169"/>
                    <a:pt x="382" y="168"/>
                  </a:cubicBezTo>
                  <a:cubicBezTo>
                    <a:pt x="382" y="167"/>
                    <a:pt x="383" y="165"/>
                    <a:pt x="383" y="164"/>
                  </a:cubicBezTo>
                  <a:cubicBezTo>
                    <a:pt x="383" y="164"/>
                    <a:pt x="384" y="164"/>
                    <a:pt x="384" y="164"/>
                  </a:cubicBezTo>
                  <a:cubicBezTo>
                    <a:pt x="384" y="164"/>
                    <a:pt x="385" y="164"/>
                    <a:pt x="385" y="164"/>
                  </a:cubicBezTo>
                  <a:cubicBezTo>
                    <a:pt x="385" y="164"/>
                    <a:pt x="386" y="164"/>
                    <a:pt x="386" y="164"/>
                  </a:cubicBezTo>
                  <a:cubicBezTo>
                    <a:pt x="388" y="163"/>
                    <a:pt x="391" y="161"/>
                    <a:pt x="392" y="160"/>
                  </a:cubicBezTo>
                  <a:cubicBezTo>
                    <a:pt x="393" y="159"/>
                    <a:pt x="393" y="158"/>
                    <a:pt x="393" y="158"/>
                  </a:cubicBezTo>
                  <a:cubicBezTo>
                    <a:pt x="366" y="2"/>
                    <a:pt x="366" y="2"/>
                    <a:pt x="366" y="2"/>
                  </a:cubicBezTo>
                  <a:cubicBezTo>
                    <a:pt x="366" y="1"/>
                    <a:pt x="366" y="0"/>
                    <a:pt x="365" y="0"/>
                  </a:cubicBezTo>
                  <a:cubicBezTo>
                    <a:pt x="364" y="0"/>
                    <a:pt x="363" y="0"/>
                    <a:pt x="363" y="0"/>
                  </a:cubicBezTo>
                  <a:cubicBezTo>
                    <a:pt x="319" y="26"/>
                    <a:pt x="319" y="26"/>
                    <a:pt x="319" y="26"/>
                  </a:cubicBezTo>
                  <a:cubicBezTo>
                    <a:pt x="303" y="37"/>
                    <a:pt x="303" y="37"/>
                    <a:pt x="303" y="37"/>
                  </a:cubicBezTo>
                  <a:cubicBezTo>
                    <a:pt x="296" y="43"/>
                    <a:pt x="296" y="43"/>
                    <a:pt x="296" y="43"/>
                  </a:cubicBezTo>
                  <a:cubicBezTo>
                    <a:pt x="289" y="51"/>
                    <a:pt x="289" y="51"/>
                    <a:pt x="289" y="51"/>
                  </a:cubicBezTo>
                  <a:cubicBezTo>
                    <a:pt x="281" y="62"/>
                    <a:pt x="281" y="62"/>
                    <a:pt x="281" y="62"/>
                  </a:cubicBezTo>
                  <a:cubicBezTo>
                    <a:pt x="278" y="66"/>
                    <a:pt x="271" y="73"/>
                    <a:pt x="268" y="74"/>
                  </a:cubicBezTo>
                  <a:cubicBezTo>
                    <a:pt x="265" y="75"/>
                    <a:pt x="259" y="76"/>
                    <a:pt x="255" y="76"/>
                  </a:cubicBezTo>
                  <a:cubicBezTo>
                    <a:pt x="254" y="76"/>
                    <a:pt x="254" y="76"/>
                    <a:pt x="254" y="76"/>
                  </a:cubicBezTo>
                  <a:cubicBezTo>
                    <a:pt x="253" y="76"/>
                    <a:pt x="252" y="76"/>
                    <a:pt x="251" y="76"/>
                  </a:cubicBezTo>
                  <a:cubicBezTo>
                    <a:pt x="250" y="75"/>
                    <a:pt x="248" y="75"/>
                    <a:pt x="247" y="75"/>
                  </a:cubicBezTo>
                  <a:cubicBezTo>
                    <a:pt x="247" y="75"/>
                    <a:pt x="246" y="75"/>
                    <a:pt x="246" y="75"/>
                  </a:cubicBezTo>
                  <a:cubicBezTo>
                    <a:pt x="242" y="75"/>
                    <a:pt x="236" y="79"/>
                    <a:pt x="230" y="82"/>
                  </a:cubicBezTo>
                  <a:cubicBezTo>
                    <a:pt x="229" y="82"/>
                    <a:pt x="229" y="82"/>
                    <a:pt x="229" y="82"/>
                  </a:cubicBezTo>
                  <a:cubicBezTo>
                    <a:pt x="228" y="83"/>
                    <a:pt x="227" y="84"/>
                    <a:pt x="226" y="85"/>
                  </a:cubicBezTo>
                  <a:cubicBezTo>
                    <a:pt x="224" y="86"/>
                    <a:pt x="223" y="87"/>
                    <a:pt x="222" y="87"/>
                  </a:cubicBezTo>
                  <a:cubicBezTo>
                    <a:pt x="221" y="88"/>
                    <a:pt x="220" y="88"/>
                    <a:pt x="219" y="88"/>
                  </a:cubicBezTo>
                  <a:cubicBezTo>
                    <a:pt x="217" y="89"/>
                    <a:pt x="215" y="90"/>
                    <a:pt x="214" y="90"/>
                  </a:cubicBezTo>
                  <a:cubicBezTo>
                    <a:pt x="213" y="91"/>
                    <a:pt x="212" y="92"/>
                    <a:pt x="211" y="93"/>
                  </a:cubicBezTo>
                  <a:cubicBezTo>
                    <a:pt x="210" y="94"/>
                    <a:pt x="208" y="96"/>
                    <a:pt x="207" y="96"/>
                  </a:cubicBezTo>
                  <a:cubicBezTo>
                    <a:pt x="206" y="96"/>
                    <a:pt x="203" y="95"/>
                    <a:pt x="202" y="94"/>
                  </a:cubicBezTo>
                  <a:cubicBezTo>
                    <a:pt x="201" y="94"/>
                    <a:pt x="200" y="93"/>
                    <a:pt x="198" y="93"/>
                  </a:cubicBezTo>
                  <a:cubicBezTo>
                    <a:pt x="197" y="91"/>
                    <a:pt x="195" y="90"/>
                    <a:pt x="193" y="90"/>
                  </a:cubicBezTo>
                  <a:cubicBezTo>
                    <a:pt x="191" y="89"/>
                    <a:pt x="187" y="89"/>
                    <a:pt x="184" y="89"/>
                  </a:cubicBezTo>
                  <a:cubicBezTo>
                    <a:pt x="181" y="89"/>
                    <a:pt x="178" y="89"/>
                    <a:pt x="176" y="90"/>
                  </a:cubicBezTo>
                  <a:cubicBezTo>
                    <a:pt x="175" y="91"/>
                    <a:pt x="173" y="92"/>
                    <a:pt x="172" y="94"/>
                  </a:cubicBezTo>
                  <a:cubicBezTo>
                    <a:pt x="171" y="95"/>
                    <a:pt x="170" y="96"/>
                    <a:pt x="169" y="96"/>
                  </a:cubicBezTo>
                  <a:cubicBezTo>
                    <a:pt x="169" y="97"/>
                    <a:pt x="166" y="97"/>
                    <a:pt x="165" y="97"/>
                  </a:cubicBezTo>
                  <a:cubicBezTo>
                    <a:pt x="166" y="95"/>
                    <a:pt x="168" y="90"/>
                    <a:pt x="169" y="89"/>
                  </a:cubicBezTo>
                  <a:cubicBezTo>
                    <a:pt x="170" y="89"/>
                    <a:pt x="172" y="89"/>
                    <a:pt x="173" y="89"/>
                  </a:cubicBezTo>
                  <a:cubicBezTo>
                    <a:pt x="177" y="88"/>
                    <a:pt x="181" y="88"/>
                    <a:pt x="182" y="85"/>
                  </a:cubicBezTo>
                  <a:cubicBezTo>
                    <a:pt x="183" y="83"/>
                    <a:pt x="181" y="81"/>
                    <a:pt x="181" y="81"/>
                  </a:cubicBezTo>
                  <a:cubicBezTo>
                    <a:pt x="179" y="78"/>
                    <a:pt x="171" y="71"/>
                    <a:pt x="168" y="71"/>
                  </a:cubicBezTo>
                  <a:cubicBezTo>
                    <a:pt x="165" y="71"/>
                    <a:pt x="164" y="74"/>
                    <a:pt x="162" y="76"/>
                  </a:cubicBezTo>
                  <a:cubicBezTo>
                    <a:pt x="161" y="77"/>
                    <a:pt x="161" y="78"/>
                    <a:pt x="160" y="79"/>
                  </a:cubicBezTo>
                  <a:cubicBezTo>
                    <a:pt x="158" y="79"/>
                    <a:pt x="155" y="78"/>
                    <a:pt x="154" y="77"/>
                  </a:cubicBezTo>
                  <a:cubicBezTo>
                    <a:pt x="153" y="77"/>
                    <a:pt x="152" y="76"/>
                    <a:pt x="152" y="76"/>
                  </a:cubicBezTo>
                  <a:cubicBezTo>
                    <a:pt x="151" y="76"/>
                    <a:pt x="150" y="75"/>
                    <a:pt x="149" y="75"/>
                  </a:cubicBezTo>
                  <a:cubicBezTo>
                    <a:pt x="146" y="73"/>
                    <a:pt x="144" y="75"/>
                    <a:pt x="143" y="76"/>
                  </a:cubicBezTo>
                  <a:cubicBezTo>
                    <a:pt x="143" y="76"/>
                    <a:pt x="143" y="76"/>
                    <a:pt x="143" y="76"/>
                  </a:cubicBezTo>
                  <a:cubicBezTo>
                    <a:pt x="142" y="76"/>
                    <a:pt x="141" y="75"/>
                    <a:pt x="140" y="75"/>
                  </a:cubicBezTo>
                  <a:cubicBezTo>
                    <a:pt x="138" y="74"/>
                    <a:pt x="137" y="73"/>
                    <a:pt x="135" y="73"/>
                  </a:cubicBezTo>
                  <a:cubicBezTo>
                    <a:pt x="132" y="72"/>
                    <a:pt x="123" y="71"/>
                    <a:pt x="120" y="70"/>
                  </a:cubicBezTo>
                  <a:cubicBezTo>
                    <a:pt x="119" y="69"/>
                    <a:pt x="119" y="69"/>
                    <a:pt x="119" y="69"/>
                  </a:cubicBezTo>
                  <a:cubicBezTo>
                    <a:pt x="118" y="68"/>
                    <a:pt x="117" y="67"/>
                    <a:pt x="116" y="68"/>
                  </a:cubicBezTo>
                  <a:cubicBezTo>
                    <a:pt x="81" y="75"/>
                    <a:pt x="81" y="75"/>
                    <a:pt x="81" y="75"/>
                  </a:cubicBezTo>
                  <a:cubicBezTo>
                    <a:pt x="2" y="88"/>
                    <a:pt x="2" y="88"/>
                    <a:pt x="2" y="88"/>
                  </a:cubicBezTo>
                  <a:cubicBezTo>
                    <a:pt x="1" y="88"/>
                    <a:pt x="0" y="89"/>
                    <a:pt x="0" y="91"/>
                  </a:cubicBezTo>
                  <a:cubicBezTo>
                    <a:pt x="14" y="199"/>
                    <a:pt x="14" y="199"/>
                    <a:pt x="14" y="199"/>
                  </a:cubicBezTo>
                  <a:cubicBezTo>
                    <a:pt x="14" y="206"/>
                    <a:pt x="23" y="364"/>
                    <a:pt x="36" y="396"/>
                  </a:cubicBezTo>
                  <a:cubicBezTo>
                    <a:pt x="37" y="398"/>
                    <a:pt x="38" y="398"/>
                    <a:pt x="39" y="398"/>
                  </a:cubicBezTo>
                  <a:cubicBezTo>
                    <a:pt x="41" y="398"/>
                    <a:pt x="43" y="397"/>
                    <a:pt x="45" y="395"/>
                  </a:cubicBezTo>
                  <a:cubicBezTo>
                    <a:pt x="46" y="394"/>
                    <a:pt x="48" y="392"/>
                    <a:pt x="49" y="392"/>
                  </a:cubicBezTo>
                  <a:cubicBezTo>
                    <a:pt x="49" y="392"/>
                    <a:pt x="50" y="393"/>
                    <a:pt x="51" y="394"/>
                  </a:cubicBezTo>
                  <a:cubicBezTo>
                    <a:pt x="52" y="395"/>
                    <a:pt x="54" y="397"/>
                    <a:pt x="56" y="397"/>
                  </a:cubicBezTo>
                  <a:cubicBezTo>
                    <a:pt x="56" y="397"/>
                    <a:pt x="56" y="397"/>
                    <a:pt x="56" y="397"/>
                  </a:cubicBezTo>
                  <a:cubicBezTo>
                    <a:pt x="59" y="397"/>
                    <a:pt x="61" y="396"/>
                    <a:pt x="63" y="395"/>
                  </a:cubicBezTo>
                  <a:cubicBezTo>
                    <a:pt x="65" y="394"/>
                    <a:pt x="67" y="393"/>
                    <a:pt x="68" y="393"/>
                  </a:cubicBezTo>
                  <a:cubicBezTo>
                    <a:pt x="73" y="394"/>
                    <a:pt x="82" y="397"/>
                    <a:pt x="85" y="400"/>
                  </a:cubicBezTo>
                  <a:cubicBezTo>
                    <a:pt x="85" y="401"/>
                    <a:pt x="86" y="403"/>
                    <a:pt x="87" y="404"/>
                  </a:cubicBezTo>
                  <a:cubicBezTo>
                    <a:pt x="87" y="406"/>
                    <a:pt x="88" y="407"/>
                    <a:pt x="89" y="408"/>
                  </a:cubicBezTo>
                  <a:cubicBezTo>
                    <a:pt x="90" y="410"/>
                    <a:pt x="90" y="410"/>
                    <a:pt x="90" y="410"/>
                  </a:cubicBezTo>
                  <a:cubicBezTo>
                    <a:pt x="92" y="414"/>
                    <a:pt x="97" y="422"/>
                    <a:pt x="101" y="424"/>
                  </a:cubicBezTo>
                  <a:cubicBezTo>
                    <a:pt x="103" y="425"/>
                    <a:pt x="106" y="426"/>
                    <a:pt x="110" y="426"/>
                  </a:cubicBezTo>
                  <a:cubicBezTo>
                    <a:pt x="110" y="426"/>
                    <a:pt x="111" y="426"/>
                    <a:pt x="111" y="426"/>
                  </a:cubicBezTo>
                  <a:cubicBezTo>
                    <a:pt x="113" y="426"/>
                    <a:pt x="116" y="426"/>
                    <a:pt x="118" y="425"/>
                  </a:cubicBezTo>
                  <a:cubicBezTo>
                    <a:pt x="121" y="425"/>
                    <a:pt x="123" y="424"/>
                    <a:pt x="125" y="424"/>
                  </a:cubicBezTo>
                  <a:cubicBezTo>
                    <a:pt x="125" y="424"/>
                    <a:pt x="125" y="424"/>
                    <a:pt x="125" y="424"/>
                  </a:cubicBezTo>
                  <a:cubicBezTo>
                    <a:pt x="127" y="425"/>
                    <a:pt x="128" y="425"/>
                    <a:pt x="129" y="425"/>
                  </a:cubicBezTo>
                  <a:cubicBezTo>
                    <a:pt x="130" y="426"/>
                    <a:pt x="133" y="428"/>
                    <a:pt x="135" y="430"/>
                  </a:cubicBezTo>
                  <a:cubicBezTo>
                    <a:pt x="138" y="433"/>
                    <a:pt x="141" y="436"/>
                    <a:pt x="144" y="437"/>
                  </a:cubicBezTo>
                  <a:cubicBezTo>
                    <a:pt x="145" y="438"/>
                    <a:pt x="147" y="438"/>
                    <a:pt x="147" y="438"/>
                  </a:cubicBezTo>
                  <a:cubicBezTo>
                    <a:pt x="149" y="438"/>
                    <a:pt x="152" y="437"/>
                    <a:pt x="154" y="436"/>
                  </a:cubicBezTo>
                  <a:cubicBezTo>
                    <a:pt x="156" y="435"/>
                    <a:pt x="157" y="434"/>
                    <a:pt x="157" y="432"/>
                  </a:cubicBezTo>
                  <a:cubicBezTo>
                    <a:pt x="158" y="431"/>
                    <a:pt x="159" y="429"/>
                    <a:pt x="159" y="429"/>
                  </a:cubicBezTo>
                  <a:cubicBezTo>
                    <a:pt x="159" y="429"/>
                    <a:pt x="160" y="429"/>
                    <a:pt x="163" y="429"/>
                  </a:cubicBezTo>
                  <a:cubicBezTo>
                    <a:pt x="164" y="429"/>
                    <a:pt x="164" y="429"/>
                    <a:pt x="165" y="429"/>
                  </a:cubicBezTo>
                  <a:cubicBezTo>
                    <a:pt x="166" y="429"/>
                    <a:pt x="166" y="429"/>
                    <a:pt x="166" y="429"/>
                  </a:cubicBezTo>
                  <a:cubicBezTo>
                    <a:pt x="168" y="429"/>
                    <a:pt x="172" y="429"/>
                    <a:pt x="173" y="430"/>
                  </a:cubicBezTo>
                  <a:cubicBezTo>
                    <a:pt x="174" y="430"/>
                    <a:pt x="175" y="432"/>
                    <a:pt x="176" y="432"/>
                  </a:cubicBezTo>
                  <a:cubicBezTo>
                    <a:pt x="177" y="434"/>
                    <a:pt x="179" y="436"/>
                    <a:pt x="182" y="437"/>
                  </a:cubicBezTo>
                  <a:cubicBezTo>
                    <a:pt x="184" y="437"/>
                    <a:pt x="185" y="436"/>
                    <a:pt x="187" y="434"/>
                  </a:cubicBezTo>
                  <a:cubicBezTo>
                    <a:pt x="188" y="434"/>
                    <a:pt x="189" y="433"/>
                    <a:pt x="190" y="433"/>
                  </a:cubicBezTo>
                  <a:cubicBezTo>
                    <a:pt x="190" y="433"/>
                    <a:pt x="191" y="433"/>
                    <a:pt x="192" y="433"/>
                  </a:cubicBezTo>
                  <a:cubicBezTo>
                    <a:pt x="194" y="433"/>
                    <a:pt x="196" y="434"/>
                    <a:pt x="197" y="433"/>
                  </a:cubicBezTo>
                  <a:cubicBezTo>
                    <a:pt x="199" y="432"/>
                    <a:pt x="200" y="430"/>
                    <a:pt x="201" y="427"/>
                  </a:cubicBezTo>
                  <a:cubicBezTo>
                    <a:pt x="201" y="426"/>
                    <a:pt x="202" y="425"/>
                    <a:pt x="202" y="425"/>
                  </a:cubicBezTo>
                  <a:cubicBezTo>
                    <a:pt x="204" y="423"/>
                    <a:pt x="208" y="420"/>
                    <a:pt x="210" y="418"/>
                  </a:cubicBezTo>
                  <a:cubicBezTo>
                    <a:pt x="211" y="417"/>
                    <a:pt x="211" y="417"/>
                    <a:pt x="211" y="417"/>
                  </a:cubicBezTo>
                  <a:cubicBezTo>
                    <a:pt x="212" y="416"/>
                    <a:pt x="215" y="414"/>
                    <a:pt x="216" y="414"/>
                  </a:cubicBezTo>
                  <a:cubicBezTo>
                    <a:pt x="217" y="415"/>
                    <a:pt x="218" y="418"/>
                    <a:pt x="218" y="420"/>
                  </a:cubicBezTo>
                  <a:cubicBezTo>
                    <a:pt x="219" y="423"/>
                    <a:pt x="220" y="425"/>
                    <a:pt x="221" y="426"/>
                  </a:cubicBezTo>
                  <a:cubicBezTo>
                    <a:pt x="222" y="428"/>
                    <a:pt x="226" y="433"/>
                    <a:pt x="229" y="434"/>
                  </a:cubicBezTo>
                  <a:cubicBezTo>
                    <a:pt x="230" y="435"/>
                    <a:pt x="232" y="435"/>
                    <a:pt x="234" y="435"/>
                  </a:cubicBezTo>
                  <a:cubicBezTo>
                    <a:pt x="234" y="435"/>
                    <a:pt x="236" y="435"/>
                    <a:pt x="236" y="435"/>
                  </a:cubicBezTo>
                  <a:cubicBezTo>
                    <a:pt x="238" y="436"/>
                    <a:pt x="240" y="439"/>
                    <a:pt x="242" y="440"/>
                  </a:cubicBezTo>
                  <a:cubicBezTo>
                    <a:pt x="243" y="441"/>
                    <a:pt x="243" y="441"/>
                    <a:pt x="243" y="441"/>
                  </a:cubicBezTo>
                  <a:cubicBezTo>
                    <a:pt x="244" y="442"/>
                    <a:pt x="247" y="446"/>
                    <a:pt x="248" y="448"/>
                  </a:cubicBezTo>
                  <a:cubicBezTo>
                    <a:pt x="249" y="449"/>
                    <a:pt x="249" y="449"/>
                    <a:pt x="249" y="449"/>
                  </a:cubicBezTo>
                  <a:cubicBezTo>
                    <a:pt x="250" y="449"/>
                    <a:pt x="250" y="450"/>
                    <a:pt x="251" y="450"/>
                  </a:cubicBezTo>
                  <a:cubicBezTo>
                    <a:pt x="251" y="450"/>
                    <a:pt x="251" y="450"/>
                    <a:pt x="251" y="450"/>
                  </a:cubicBezTo>
                  <a:cubicBezTo>
                    <a:pt x="259" y="448"/>
                    <a:pt x="259" y="448"/>
                    <a:pt x="259" y="448"/>
                  </a:cubicBezTo>
                  <a:cubicBezTo>
                    <a:pt x="260" y="448"/>
                    <a:pt x="268" y="445"/>
                    <a:pt x="270" y="443"/>
                  </a:cubicBezTo>
                  <a:cubicBezTo>
                    <a:pt x="272" y="441"/>
                    <a:pt x="276" y="437"/>
                    <a:pt x="277" y="434"/>
                  </a:cubicBezTo>
                  <a:cubicBezTo>
                    <a:pt x="277" y="433"/>
                    <a:pt x="277" y="431"/>
                    <a:pt x="277" y="429"/>
                  </a:cubicBezTo>
                  <a:cubicBezTo>
                    <a:pt x="277" y="429"/>
                    <a:pt x="277" y="427"/>
                    <a:pt x="277" y="427"/>
                  </a:cubicBezTo>
                  <a:cubicBezTo>
                    <a:pt x="277" y="426"/>
                    <a:pt x="279" y="426"/>
                    <a:pt x="280" y="425"/>
                  </a:cubicBezTo>
                  <a:cubicBezTo>
                    <a:pt x="282" y="424"/>
                    <a:pt x="284" y="424"/>
                    <a:pt x="285" y="422"/>
                  </a:cubicBezTo>
                  <a:cubicBezTo>
                    <a:pt x="287" y="416"/>
                    <a:pt x="284" y="405"/>
                    <a:pt x="283" y="405"/>
                  </a:cubicBezTo>
                  <a:cubicBezTo>
                    <a:pt x="283" y="404"/>
                    <a:pt x="282" y="403"/>
                    <a:pt x="282" y="403"/>
                  </a:cubicBezTo>
                  <a:cubicBezTo>
                    <a:pt x="281" y="402"/>
                    <a:pt x="281" y="401"/>
                    <a:pt x="281" y="401"/>
                  </a:cubicBezTo>
                  <a:cubicBezTo>
                    <a:pt x="281" y="400"/>
                    <a:pt x="281" y="397"/>
                    <a:pt x="283" y="395"/>
                  </a:cubicBezTo>
                  <a:cubicBezTo>
                    <a:pt x="283" y="395"/>
                    <a:pt x="283" y="394"/>
                    <a:pt x="283" y="394"/>
                  </a:cubicBezTo>
                  <a:cubicBezTo>
                    <a:pt x="284" y="393"/>
                    <a:pt x="285" y="393"/>
                    <a:pt x="285" y="392"/>
                  </a:cubicBezTo>
                  <a:cubicBezTo>
                    <a:pt x="285" y="390"/>
                    <a:pt x="285" y="388"/>
                    <a:pt x="285" y="386"/>
                  </a:cubicBezTo>
                  <a:cubicBezTo>
                    <a:pt x="285" y="385"/>
                    <a:pt x="285" y="384"/>
                    <a:pt x="285" y="383"/>
                  </a:cubicBezTo>
                  <a:cubicBezTo>
                    <a:pt x="285" y="382"/>
                    <a:pt x="287" y="379"/>
                    <a:pt x="288" y="377"/>
                  </a:cubicBezTo>
                  <a:cubicBezTo>
                    <a:pt x="288" y="376"/>
                    <a:pt x="288" y="376"/>
                    <a:pt x="289" y="375"/>
                  </a:cubicBezTo>
                  <a:cubicBezTo>
                    <a:pt x="289" y="374"/>
                    <a:pt x="290" y="371"/>
                    <a:pt x="291" y="370"/>
                  </a:cubicBezTo>
                  <a:cubicBezTo>
                    <a:pt x="292" y="370"/>
                    <a:pt x="295" y="372"/>
                    <a:pt x="296" y="373"/>
                  </a:cubicBezTo>
                  <a:cubicBezTo>
                    <a:pt x="297" y="373"/>
                    <a:pt x="298" y="376"/>
                    <a:pt x="298" y="377"/>
                  </a:cubicBezTo>
                  <a:cubicBezTo>
                    <a:pt x="300" y="381"/>
                    <a:pt x="302" y="385"/>
                    <a:pt x="306" y="385"/>
                  </a:cubicBezTo>
                  <a:cubicBezTo>
                    <a:pt x="306" y="385"/>
                    <a:pt x="306" y="385"/>
                    <a:pt x="306" y="385"/>
                  </a:cubicBezTo>
                  <a:cubicBezTo>
                    <a:pt x="309" y="384"/>
                    <a:pt x="310" y="381"/>
                    <a:pt x="310" y="378"/>
                  </a:cubicBezTo>
                  <a:cubicBezTo>
                    <a:pt x="310" y="377"/>
                    <a:pt x="311" y="376"/>
                    <a:pt x="311" y="375"/>
                  </a:cubicBezTo>
                  <a:cubicBezTo>
                    <a:pt x="311" y="375"/>
                    <a:pt x="312" y="374"/>
                    <a:pt x="312" y="373"/>
                  </a:cubicBezTo>
                  <a:cubicBezTo>
                    <a:pt x="314" y="371"/>
                    <a:pt x="316" y="369"/>
                    <a:pt x="315" y="367"/>
                  </a:cubicBezTo>
                  <a:cubicBezTo>
                    <a:pt x="315" y="365"/>
                    <a:pt x="313" y="363"/>
                    <a:pt x="312" y="362"/>
                  </a:cubicBezTo>
                  <a:cubicBezTo>
                    <a:pt x="311" y="361"/>
                    <a:pt x="310" y="360"/>
                    <a:pt x="310" y="360"/>
                  </a:cubicBezTo>
                  <a:cubicBezTo>
                    <a:pt x="310" y="359"/>
                    <a:pt x="311" y="358"/>
                    <a:pt x="312" y="357"/>
                  </a:cubicBezTo>
                  <a:cubicBezTo>
                    <a:pt x="313" y="356"/>
                    <a:pt x="314" y="354"/>
                    <a:pt x="315" y="353"/>
                  </a:cubicBezTo>
                  <a:cubicBezTo>
                    <a:pt x="315" y="351"/>
                    <a:pt x="315" y="349"/>
                    <a:pt x="315" y="348"/>
                  </a:cubicBezTo>
                  <a:cubicBezTo>
                    <a:pt x="315" y="346"/>
                    <a:pt x="314" y="345"/>
                    <a:pt x="315" y="345"/>
                  </a:cubicBezTo>
                  <a:cubicBezTo>
                    <a:pt x="315" y="343"/>
                    <a:pt x="316" y="339"/>
                    <a:pt x="317" y="339"/>
                  </a:cubicBezTo>
                  <a:cubicBezTo>
                    <a:pt x="317" y="338"/>
                    <a:pt x="320" y="337"/>
                    <a:pt x="321" y="337"/>
                  </a:cubicBezTo>
                  <a:cubicBezTo>
                    <a:pt x="324" y="336"/>
                    <a:pt x="327" y="334"/>
                    <a:pt x="328" y="332"/>
                  </a:cubicBezTo>
                  <a:cubicBezTo>
                    <a:pt x="329" y="331"/>
                    <a:pt x="329" y="329"/>
                    <a:pt x="328" y="327"/>
                  </a:cubicBezTo>
                  <a:cubicBezTo>
                    <a:pt x="328" y="326"/>
                    <a:pt x="328" y="325"/>
                    <a:pt x="328" y="325"/>
                  </a:cubicBezTo>
                  <a:cubicBezTo>
                    <a:pt x="329" y="322"/>
                    <a:pt x="332" y="317"/>
                    <a:pt x="333" y="317"/>
                  </a:cubicBezTo>
                  <a:cubicBezTo>
                    <a:pt x="334" y="317"/>
                    <a:pt x="336" y="318"/>
                    <a:pt x="338" y="319"/>
                  </a:cubicBezTo>
                  <a:cubicBezTo>
                    <a:pt x="340" y="321"/>
                    <a:pt x="342" y="322"/>
                    <a:pt x="345" y="322"/>
                  </a:cubicBezTo>
                  <a:cubicBezTo>
                    <a:pt x="345" y="322"/>
                    <a:pt x="346" y="322"/>
                    <a:pt x="346" y="322"/>
                  </a:cubicBezTo>
                  <a:cubicBezTo>
                    <a:pt x="351" y="321"/>
                    <a:pt x="356" y="315"/>
                    <a:pt x="361" y="309"/>
                  </a:cubicBezTo>
                  <a:cubicBezTo>
                    <a:pt x="362" y="308"/>
                    <a:pt x="362" y="308"/>
                    <a:pt x="362" y="308"/>
                  </a:cubicBezTo>
                  <a:cubicBezTo>
                    <a:pt x="363" y="306"/>
                    <a:pt x="365" y="303"/>
                    <a:pt x="367" y="300"/>
                  </a:cubicBezTo>
                  <a:cubicBezTo>
                    <a:pt x="368" y="297"/>
                    <a:pt x="370" y="295"/>
                    <a:pt x="371" y="293"/>
                  </a:cubicBezTo>
                  <a:cubicBezTo>
                    <a:pt x="372" y="292"/>
                    <a:pt x="373" y="291"/>
                    <a:pt x="375" y="290"/>
                  </a:cubicBezTo>
                  <a:cubicBezTo>
                    <a:pt x="377" y="288"/>
                    <a:pt x="380" y="286"/>
                    <a:pt x="381" y="284"/>
                  </a:cubicBezTo>
                  <a:cubicBezTo>
                    <a:pt x="383" y="279"/>
                    <a:pt x="384" y="269"/>
                    <a:pt x="384" y="268"/>
                  </a:cubicBezTo>
                  <a:cubicBezTo>
                    <a:pt x="384" y="267"/>
                    <a:pt x="384" y="266"/>
                    <a:pt x="383" y="264"/>
                  </a:cubicBezTo>
                  <a:cubicBezTo>
                    <a:pt x="383" y="263"/>
                    <a:pt x="383" y="261"/>
                    <a:pt x="383" y="261"/>
                  </a:cubicBezTo>
                  <a:cubicBezTo>
                    <a:pt x="383" y="260"/>
                    <a:pt x="383" y="259"/>
                    <a:pt x="384" y="258"/>
                  </a:cubicBezTo>
                  <a:cubicBezTo>
                    <a:pt x="384" y="256"/>
                    <a:pt x="385" y="254"/>
                    <a:pt x="385" y="253"/>
                  </a:cubicBezTo>
                  <a:cubicBezTo>
                    <a:pt x="385" y="252"/>
                    <a:pt x="384" y="251"/>
                    <a:pt x="384" y="249"/>
                  </a:cubicBezTo>
                  <a:cubicBezTo>
                    <a:pt x="383" y="249"/>
                    <a:pt x="383" y="249"/>
                    <a:pt x="383" y="248"/>
                  </a:cubicBezTo>
                  <a:cubicBezTo>
                    <a:pt x="384" y="248"/>
                    <a:pt x="385" y="248"/>
                    <a:pt x="386" y="247"/>
                  </a:cubicBezTo>
                  <a:cubicBezTo>
                    <a:pt x="388" y="245"/>
                    <a:pt x="388" y="241"/>
                    <a:pt x="388" y="237"/>
                  </a:cubicBezTo>
                  <a:cubicBezTo>
                    <a:pt x="387" y="236"/>
                    <a:pt x="387" y="236"/>
                    <a:pt x="387" y="236"/>
                  </a:cubicBezTo>
                  <a:cubicBezTo>
                    <a:pt x="387" y="234"/>
                    <a:pt x="386" y="229"/>
                    <a:pt x="386" y="228"/>
                  </a:cubicBezTo>
                  <a:cubicBezTo>
                    <a:pt x="390" y="206"/>
                    <a:pt x="390" y="206"/>
                    <a:pt x="390" y="206"/>
                  </a:cubicBezTo>
                  <a:cubicBezTo>
                    <a:pt x="390" y="205"/>
                    <a:pt x="392" y="200"/>
                    <a:pt x="393" y="198"/>
                  </a:cubicBezTo>
                  <a:cubicBezTo>
                    <a:pt x="393" y="192"/>
                    <a:pt x="390" y="180"/>
                    <a:pt x="387" y="174"/>
                  </a:cubicBezTo>
                  <a:cubicBezTo>
                    <a:pt x="387" y="173"/>
                    <a:pt x="386" y="172"/>
                    <a:pt x="384" y="171"/>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39">
              <a:extLst>
                <a:ext uri="{FF2B5EF4-FFF2-40B4-BE49-F238E27FC236}">
                  <a16:creationId xmlns:a16="http://schemas.microsoft.com/office/drawing/2014/main" id="{EDB62FE9-93E3-4F14-9AD3-F22120392C86}"/>
                </a:ext>
              </a:extLst>
            </p:cNvPr>
            <p:cNvSpPr>
              <a:spLocks/>
            </p:cNvSpPr>
            <p:nvPr/>
          </p:nvSpPr>
          <p:spPr bwMode="auto">
            <a:xfrm>
              <a:off x="6885174" y="3053105"/>
              <a:ext cx="323432" cy="557921"/>
            </a:xfrm>
            <a:custGeom>
              <a:avLst/>
              <a:gdLst>
                <a:gd name="T0" fmla="*/ 283 w 291"/>
                <a:gd name="T1" fmla="*/ 334 h 502"/>
                <a:gd name="T2" fmla="*/ 283 w 291"/>
                <a:gd name="T3" fmla="*/ 321 h 502"/>
                <a:gd name="T4" fmla="*/ 284 w 291"/>
                <a:gd name="T5" fmla="*/ 314 h 502"/>
                <a:gd name="T6" fmla="*/ 247 w 291"/>
                <a:gd name="T7" fmla="*/ 7 h 502"/>
                <a:gd name="T8" fmla="*/ 115 w 291"/>
                <a:gd name="T9" fmla="*/ 15 h 502"/>
                <a:gd name="T10" fmla="*/ 68 w 291"/>
                <a:gd name="T11" fmla="*/ 20 h 502"/>
                <a:gd name="T12" fmla="*/ 31 w 291"/>
                <a:gd name="T13" fmla="*/ 41 h 502"/>
                <a:gd name="T14" fmla="*/ 9 w 291"/>
                <a:gd name="T15" fmla="*/ 31 h 502"/>
                <a:gd name="T16" fmla="*/ 34 w 291"/>
                <a:gd name="T17" fmla="*/ 310 h 502"/>
                <a:gd name="T18" fmla="*/ 30 w 291"/>
                <a:gd name="T19" fmla="*/ 326 h 502"/>
                <a:gd name="T20" fmla="*/ 27 w 291"/>
                <a:gd name="T21" fmla="*/ 342 h 502"/>
                <a:gd name="T22" fmla="*/ 39 w 291"/>
                <a:gd name="T23" fmla="*/ 359 h 502"/>
                <a:gd name="T24" fmla="*/ 40 w 291"/>
                <a:gd name="T25" fmla="*/ 375 h 502"/>
                <a:gd name="T26" fmla="*/ 40 w 291"/>
                <a:gd name="T27" fmla="*/ 389 h 502"/>
                <a:gd name="T28" fmla="*/ 31 w 291"/>
                <a:gd name="T29" fmla="*/ 412 h 502"/>
                <a:gd name="T30" fmla="*/ 13 w 291"/>
                <a:gd name="T31" fmla="*/ 437 h 502"/>
                <a:gd name="T32" fmla="*/ 8 w 291"/>
                <a:gd name="T33" fmla="*/ 453 h 502"/>
                <a:gd name="T34" fmla="*/ 4 w 291"/>
                <a:gd name="T35" fmla="*/ 476 h 502"/>
                <a:gd name="T36" fmla="*/ 0 w 291"/>
                <a:gd name="T37" fmla="*/ 490 h 502"/>
                <a:gd name="T38" fmla="*/ 13 w 291"/>
                <a:gd name="T39" fmla="*/ 502 h 502"/>
                <a:gd name="T40" fmla="*/ 21 w 291"/>
                <a:gd name="T41" fmla="*/ 487 h 502"/>
                <a:gd name="T42" fmla="*/ 33 w 291"/>
                <a:gd name="T43" fmla="*/ 489 h 502"/>
                <a:gd name="T44" fmla="*/ 38 w 291"/>
                <a:gd name="T45" fmla="*/ 486 h 502"/>
                <a:gd name="T46" fmla="*/ 50 w 291"/>
                <a:gd name="T47" fmla="*/ 488 h 502"/>
                <a:gd name="T48" fmla="*/ 52 w 291"/>
                <a:gd name="T49" fmla="*/ 482 h 502"/>
                <a:gd name="T50" fmla="*/ 64 w 291"/>
                <a:gd name="T51" fmla="*/ 478 h 502"/>
                <a:gd name="T52" fmla="*/ 94 w 291"/>
                <a:gd name="T53" fmla="*/ 493 h 502"/>
                <a:gd name="T54" fmla="*/ 100 w 291"/>
                <a:gd name="T55" fmla="*/ 481 h 502"/>
                <a:gd name="T56" fmla="*/ 108 w 291"/>
                <a:gd name="T57" fmla="*/ 474 h 502"/>
                <a:gd name="T58" fmla="*/ 116 w 291"/>
                <a:gd name="T59" fmla="*/ 467 h 502"/>
                <a:gd name="T60" fmla="*/ 126 w 291"/>
                <a:gd name="T61" fmla="*/ 476 h 502"/>
                <a:gd name="T62" fmla="*/ 137 w 291"/>
                <a:gd name="T63" fmla="*/ 481 h 502"/>
                <a:gd name="T64" fmla="*/ 141 w 291"/>
                <a:gd name="T65" fmla="*/ 472 h 502"/>
                <a:gd name="T66" fmla="*/ 145 w 291"/>
                <a:gd name="T67" fmla="*/ 459 h 502"/>
                <a:gd name="T68" fmla="*/ 152 w 291"/>
                <a:gd name="T69" fmla="*/ 450 h 502"/>
                <a:gd name="T70" fmla="*/ 157 w 291"/>
                <a:gd name="T71" fmla="*/ 439 h 502"/>
                <a:gd name="T72" fmla="*/ 166 w 291"/>
                <a:gd name="T73" fmla="*/ 453 h 502"/>
                <a:gd name="T74" fmla="*/ 199 w 291"/>
                <a:gd name="T75" fmla="*/ 453 h 502"/>
                <a:gd name="T76" fmla="*/ 201 w 291"/>
                <a:gd name="T77" fmla="*/ 436 h 502"/>
                <a:gd name="T78" fmla="*/ 212 w 291"/>
                <a:gd name="T79" fmla="*/ 423 h 502"/>
                <a:gd name="T80" fmla="*/ 223 w 291"/>
                <a:gd name="T81" fmla="*/ 401 h 502"/>
                <a:gd name="T82" fmla="*/ 236 w 291"/>
                <a:gd name="T83" fmla="*/ 389 h 502"/>
                <a:gd name="T84" fmla="*/ 236 w 291"/>
                <a:gd name="T85" fmla="*/ 371 h 502"/>
                <a:gd name="T86" fmla="*/ 237 w 291"/>
                <a:gd name="T87" fmla="*/ 365 h 502"/>
                <a:gd name="T88" fmla="*/ 247 w 291"/>
                <a:gd name="T89" fmla="*/ 362 h 502"/>
                <a:gd name="T90" fmla="*/ 266 w 291"/>
                <a:gd name="T91" fmla="*/ 361 h 502"/>
                <a:gd name="T92" fmla="*/ 288 w 291"/>
                <a:gd name="T93" fmla="*/ 351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1" h="502">
                  <a:moveTo>
                    <a:pt x="290" y="342"/>
                  </a:moveTo>
                  <a:cubicBezTo>
                    <a:pt x="289" y="340"/>
                    <a:pt x="288" y="338"/>
                    <a:pt x="286" y="337"/>
                  </a:cubicBezTo>
                  <a:cubicBezTo>
                    <a:pt x="285" y="336"/>
                    <a:pt x="283" y="335"/>
                    <a:pt x="283" y="334"/>
                  </a:cubicBezTo>
                  <a:cubicBezTo>
                    <a:pt x="283" y="334"/>
                    <a:pt x="284" y="333"/>
                    <a:pt x="284" y="332"/>
                  </a:cubicBezTo>
                  <a:cubicBezTo>
                    <a:pt x="285" y="330"/>
                    <a:pt x="286" y="329"/>
                    <a:pt x="286" y="327"/>
                  </a:cubicBezTo>
                  <a:cubicBezTo>
                    <a:pt x="286" y="325"/>
                    <a:pt x="284" y="323"/>
                    <a:pt x="283" y="321"/>
                  </a:cubicBezTo>
                  <a:cubicBezTo>
                    <a:pt x="282" y="320"/>
                    <a:pt x="281" y="319"/>
                    <a:pt x="281" y="319"/>
                  </a:cubicBezTo>
                  <a:cubicBezTo>
                    <a:pt x="281" y="318"/>
                    <a:pt x="282" y="317"/>
                    <a:pt x="283" y="316"/>
                  </a:cubicBezTo>
                  <a:cubicBezTo>
                    <a:pt x="284" y="316"/>
                    <a:pt x="284" y="315"/>
                    <a:pt x="284" y="314"/>
                  </a:cubicBezTo>
                  <a:cubicBezTo>
                    <a:pt x="262" y="118"/>
                    <a:pt x="262" y="118"/>
                    <a:pt x="262" y="118"/>
                  </a:cubicBezTo>
                  <a:cubicBezTo>
                    <a:pt x="248" y="9"/>
                    <a:pt x="248" y="9"/>
                    <a:pt x="248" y="9"/>
                  </a:cubicBezTo>
                  <a:cubicBezTo>
                    <a:pt x="248" y="8"/>
                    <a:pt x="248" y="8"/>
                    <a:pt x="247" y="7"/>
                  </a:cubicBezTo>
                  <a:cubicBezTo>
                    <a:pt x="239" y="1"/>
                    <a:pt x="239" y="1"/>
                    <a:pt x="239" y="1"/>
                  </a:cubicBezTo>
                  <a:cubicBezTo>
                    <a:pt x="238" y="0"/>
                    <a:pt x="237" y="0"/>
                    <a:pt x="237" y="0"/>
                  </a:cubicBezTo>
                  <a:cubicBezTo>
                    <a:pt x="115" y="15"/>
                    <a:pt x="115" y="15"/>
                    <a:pt x="115" y="15"/>
                  </a:cubicBezTo>
                  <a:cubicBezTo>
                    <a:pt x="73" y="20"/>
                    <a:pt x="73" y="20"/>
                    <a:pt x="73" y="20"/>
                  </a:cubicBezTo>
                  <a:cubicBezTo>
                    <a:pt x="69" y="20"/>
                    <a:pt x="69" y="20"/>
                    <a:pt x="69" y="20"/>
                  </a:cubicBezTo>
                  <a:cubicBezTo>
                    <a:pt x="69" y="20"/>
                    <a:pt x="68" y="20"/>
                    <a:pt x="68" y="20"/>
                  </a:cubicBezTo>
                  <a:cubicBezTo>
                    <a:pt x="53" y="31"/>
                    <a:pt x="53" y="31"/>
                    <a:pt x="53" y="31"/>
                  </a:cubicBezTo>
                  <a:cubicBezTo>
                    <a:pt x="38" y="39"/>
                    <a:pt x="38" y="39"/>
                    <a:pt x="38" y="39"/>
                  </a:cubicBezTo>
                  <a:cubicBezTo>
                    <a:pt x="31" y="41"/>
                    <a:pt x="31" y="41"/>
                    <a:pt x="31" y="41"/>
                  </a:cubicBezTo>
                  <a:cubicBezTo>
                    <a:pt x="22" y="39"/>
                    <a:pt x="22" y="39"/>
                    <a:pt x="22" y="39"/>
                  </a:cubicBezTo>
                  <a:cubicBezTo>
                    <a:pt x="12" y="32"/>
                    <a:pt x="12" y="32"/>
                    <a:pt x="12" y="32"/>
                  </a:cubicBezTo>
                  <a:cubicBezTo>
                    <a:pt x="11" y="31"/>
                    <a:pt x="10" y="31"/>
                    <a:pt x="9" y="31"/>
                  </a:cubicBezTo>
                  <a:cubicBezTo>
                    <a:pt x="9" y="32"/>
                    <a:pt x="8" y="33"/>
                    <a:pt x="8" y="34"/>
                  </a:cubicBezTo>
                  <a:cubicBezTo>
                    <a:pt x="8" y="38"/>
                    <a:pt x="8" y="38"/>
                    <a:pt x="8" y="38"/>
                  </a:cubicBezTo>
                  <a:cubicBezTo>
                    <a:pt x="34" y="310"/>
                    <a:pt x="34" y="310"/>
                    <a:pt x="34" y="310"/>
                  </a:cubicBezTo>
                  <a:cubicBezTo>
                    <a:pt x="31" y="312"/>
                    <a:pt x="27" y="315"/>
                    <a:pt x="27" y="318"/>
                  </a:cubicBezTo>
                  <a:cubicBezTo>
                    <a:pt x="27" y="320"/>
                    <a:pt x="28" y="322"/>
                    <a:pt x="29" y="324"/>
                  </a:cubicBezTo>
                  <a:cubicBezTo>
                    <a:pt x="30" y="324"/>
                    <a:pt x="30" y="326"/>
                    <a:pt x="30" y="326"/>
                  </a:cubicBezTo>
                  <a:cubicBezTo>
                    <a:pt x="30" y="326"/>
                    <a:pt x="29" y="328"/>
                    <a:pt x="29" y="329"/>
                  </a:cubicBezTo>
                  <a:cubicBezTo>
                    <a:pt x="28" y="330"/>
                    <a:pt x="27" y="332"/>
                    <a:pt x="26" y="333"/>
                  </a:cubicBezTo>
                  <a:cubicBezTo>
                    <a:pt x="26" y="336"/>
                    <a:pt x="26" y="340"/>
                    <a:pt x="27" y="342"/>
                  </a:cubicBezTo>
                  <a:cubicBezTo>
                    <a:pt x="28" y="345"/>
                    <a:pt x="31" y="350"/>
                    <a:pt x="33" y="353"/>
                  </a:cubicBezTo>
                  <a:cubicBezTo>
                    <a:pt x="34" y="353"/>
                    <a:pt x="35" y="354"/>
                    <a:pt x="36" y="355"/>
                  </a:cubicBezTo>
                  <a:cubicBezTo>
                    <a:pt x="37" y="356"/>
                    <a:pt x="39" y="358"/>
                    <a:pt x="39" y="359"/>
                  </a:cubicBezTo>
                  <a:cubicBezTo>
                    <a:pt x="39" y="359"/>
                    <a:pt x="39" y="361"/>
                    <a:pt x="39" y="362"/>
                  </a:cubicBezTo>
                  <a:cubicBezTo>
                    <a:pt x="38" y="364"/>
                    <a:pt x="38" y="365"/>
                    <a:pt x="38" y="366"/>
                  </a:cubicBezTo>
                  <a:cubicBezTo>
                    <a:pt x="38" y="369"/>
                    <a:pt x="39" y="372"/>
                    <a:pt x="40" y="375"/>
                  </a:cubicBezTo>
                  <a:cubicBezTo>
                    <a:pt x="41" y="378"/>
                    <a:pt x="43" y="380"/>
                    <a:pt x="43" y="382"/>
                  </a:cubicBezTo>
                  <a:cubicBezTo>
                    <a:pt x="43" y="383"/>
                    <a:pt x="42" y="387"/>
                    <a:pt x="41" y="388"/>
                  </a:cubicBezTo>
                  <a:cubicBezTo>
                    <a:pt x="41" y="388"/>
                    <a:pt x="40" y="388"/>
                    <a:pt x="40" y="389"/>
                  </a:cubicBezTo>
                  <a:cubicBezTo>
                    <a:pt x="37" y="392"/>
                    <a:pt x="33" y="400"/>
                    <a:pt x="31" y="404"/>
                  </a:cubicBezTo>
                  <a:cubicBezTo>
                    <a:pt x="31" y="406"/>
                    <a:pt x="31" y="407"/>
                    <a:pt x="31" y="409"/>
                  </a:cubicBezTo>
                  <a:cubicBezTo>
                    <a:pt x="31" y="410"/>
                    <a:pt x="31" y="412"/>
                    <a:pt x="31" y="412"/>
                  </a:cubicBezTo>
                  <a:cubicBezTo>
                    <a:pt x="29" y="416"/>
                    <a:pt x="24" y="424"/>
                    <a:pt x="22" y="428"/>
                  </a:cubicBezTo>
                  <a:cubicBezTo>
                    <a:pt x="20" y="429"/>
                    <a:pt x="18" y="433"/>
                    <a:pt x="16" y="434"/>
                  </a:cubicBezTo>
                  <a:cubicBezTo>
                    <a:pt x="15" y="435"/>
                    <a:pt x="14" y="436"/>
                    <a:pt x="13" y="437"/>
                  </a:cubicBezTo>
                  <a:cubicBezTo>
                    <a:pt x="11" y="438"/>
                    <a:pt x="9" y="440"/>
                    <a:pt x="8" y="441"/>
                  </a:cubicBezTo>
                  <a:cubicBezTo>
                    <a:pt x="7" y="444"/>
                    <a:pt x="6" y="449"/>
                    <a:pt x="7" y="451"/>
                  </a:cubicBezTo>
                  <a:cubicBezTo>
                    <a:pt x="7" y="452"/>
                    <a:pt x="8" y="453"/>
                    <a:pt x="8" y="453"/>
                  </a:cubicBezTo>
                  <a:cubicBezTo>
                    <a:pt x="9" y="456"/>
                    <a:pt x="8" y="463"/>
                    <a:pt x="7" y="465"/>
                  </a:cubicBezTo>
                  <a:cubicBezTo>
                    <a:pt x="6" y="465"/>
                    <a:pt x="5" y="466"/>
                    <a:pt x="5" y="467"/>
                  </a:cubicBezTo>
                  <a:cubicBezTo>
                    <a:pt x="3" y="469"/>
                    <a:pt x="4" y="473"/>
                    <a:pt x="4" y="476"/>
                  </a:cubicBezTo>
                  <a:cubicBezTo>
                    <a:pt x="4" y="478"/>
                    <a:pt x="4" y="481"/>
                    <a:pt x="4" y="482"/>
                  </a:cubicBezTo>
                  <a:cubicBezTo>
                    <a:pt x="4" y="482"/>
                    <a:pt x="3" y="483"/>
                    <a:pt x="3" y="484"/>
                  </a:cubicBezTo>
                  <a:cubicBezTo>
                    <a:pt x="1" y="486"/>
                    <a:pt x="0" y="488"/>
                    <a:pt x="0" y="490"/>
                  </a:cubicBezTo>
                  <a:cubicBezTo>
                    <a:pt x="0" y="492"/>
                    <a:pt x="2" y="493"/>
                    <a:pt x="3" y="495"/>
                  </a:cubicBezTo>
                  <a:cubicBezTo>
                    <a:pt x="4" y="496"/>
                    <a:pt x="5" y="497"/>
                    <a:pt x="5" y="497"/>
                  </a:cubicBezTo>
                  <a:cubicBezTo>
                    <a:pt x="5" y="500"/>
                    <a:pt x="8" y="502"/>
                    <a:pt x="13" y="502"/>
                  </a:cubicBezTo>
                  <a:cubicBezTo>
                    <a:pt x="14" y="502"/>
                    <a:pt x="15" y="502"/>
                    <a:pt x="17" y="501"/>
                  </a:cubicBezTo>
                  <a:cubicBezTo>
                    <a:pt x="20" y="500"/>
                    <a:pt x="22" y="495"/>
                    <a:pt x="22" y="492"/>
                  </a:cubicBezTo>
                  <a:cubicBezTo>
                    <a:pt x="23" y="490"/>
                    <a:pt x="22" y="489"/>
                    <a:pt x="21" y="487"/>
                  </a:cubicBezTo>
                  <a:cubicBezTo>
                    <a:pt x="20" y="487"/>
                    <a:pt x="20" y="486"/>
                    <a:pt x="20" y="486"/>
                  </a:cubicBezTo>
                  <a:cubicBezTo>
                    <a:pt x="21" y="486"/>
                    <a:pt x="23" y="487"/>
                    <a:pt x="25" y="488"/>
                  </a:cubicBezTo>
                  <a:cubicBezTo>
                    <a:pt x="28" y="489"/>
                    <a:pt x="31" y="489"/>
                    <a:pt x="33" y="489"/>
                  </a:cubicBezTo>
                  <a:cubicBezTo>
                    <a:pt x="34" y="489"/>
                    <a:pt x="36" y="488"/>
                    <a:pt x="37" y="486"/>
                  </a:cubicBezTo>
                  <a:cubicBezTo>
                    <a:pt x="37" y="486"/>
                    <a:pt x="37" y="486"/>
                    <a:pt x="38" y="486"/>
                  </a:cubicBezTo>
                  <a:cubicBezTo>
                    <a:pt x="38" y="486"/>
                    <a:pt x="38" y="486"/>
                    <a:pt x="38" y="486"/>
                  </a:cubicBezTo>
                  <a:cubicBezTo>
                    <a:pt x="38" y="488"/>
                    <a:pt x="37" y="491"/>
                    <a:pt x="40" y="492"/>
                  </a:cubicBezTo>
                  <a:cubicBezTo>
                    <a:pt x="40" y="493"/>
                    <a:pt x="41" y="493"/>
                    <a:pt x="42" y="493"/>
                  </a:cubicBezTo>
                  <a:cubicBezTo>
                    <a:pt x="45" y="493"/>
                    <a:pt x="49" y="491"/>
                    <a:pt x="50" y="488"/>
                  </a:cubicBezTo>
                  <a:cubicBezTo>
                    <a:pt x="51" y="486"/>
                    <a:pt x="50" y="484"/>
                    <a:pt x="49" y="483"/>
                  </a:cubicBezTo>
                  <a:cubicBezTo>
                    <a:pt x="49" y="482"/>
                    <a:pt x="49" y="482"/>
                    <a:pt x="49" y="482"/>
                  </a:cubicBezTo>
                  <a:cubicBezTo>
                    <a:pt x="50" y="482"/>
                    <a:pt x="51" y="482"/>
                    <a:pt x="52" y="482"/>
                  </a:cubicBezTo>
                  <a:cubicBezTo>
                    <a:pt x="54" y="482"/>
                    <a:pt x="56" y="482"/>
                    <a:pt x="57" y="482"/>
                  </a:cubicBezTo>
                  <a:cubicBezTo>
                    <a:pt x="58" y="482"/>
                    <a:pt x="59" y="481"/>
                    <a:pt x="60" y="480"/>
                  </a:cubicBezTo>
                  <a:cubicBezTo>
                    <a:pt x="61" y="479"/>
                    <a:pt x="63" y="478"/>
                    <a:pt x="64" y="478"/>
                  </a:cubicBezTo>
                  <a:cubicBezTo>
                    <a:pt x="69" y="478"/>
                    <a:pt x="80" y="483"/>
                    <a:pt x="85" y="487"/>
                  </a:cubicBezTo>
                  <a:cubicBezTo>
                    <a:pt x="85" y="487"/>
                    <a:pt x="86" y="488"/>
                    <a:pt x="87" y="488"/>
                  </a:cubicBezTo>
                  <a:cubicBezTo>
                    <a:pt x="89" y="491"/>
                    <a:pt x="91" y="493"/>
                    <a:pt x="94" y="493"/>
                  </a:cubicBezTo>
                  <a:cubicBezTo>
                    <a:pt x="97" y="492"/>
                    <a:pt x="99" y="488"/>
                    <a:pt x="100" y="484"/>
                  </a:cubicBezTo>
                  <a:cubicBezTo>
                    <a:pt x="100" y="483"/>
                    <a:pt x="100" y="482"/>
                    <a:pt x="100" y="481"/>
                  </a:cubicBezTo>
                  <a:cubicBezTo>
                    <a:pt x="100" y="481"/>
                    <a:pt x="100" y="481"/>
                    <a:pt x="100" y="481"/>
                  </a:cubicBezTo>
                  <a:cubicBezTo>
                    <a:pt x="100" y="481"/>
                    <a:pt x="100" y="481"/>
                    <a:pt x="100" y="481"/>
                  </a:cubicBezTo>
                  <a:cubicBezTo>
                    <a:pt x="101" y="479"/>
                    <a:pt x="103" y="476"/>
                    <a:pt x="104" y="475"/>
                  </a:cubicBezTo>
                  <a:cubicBezTo>
                    <a:pt x="105" y="475"/>
                    <a:pt x="107" y="474"/>
                    <a:pt x="108" y="474"/>
                  </a:cubicBezTo>
                  <a:cubicBezTo>
                    <a:pt x="109" y="473"/>
                    <a:pt x="110" y="473"/>
                    <a:pt x="111" y="472"/>
                  </a:cubicBezTo>
                  <a:cubicBezTo>
                    <a:pt x="113" y="472"/>
                    <a:pt x="113" y="470"/>
                    <a:pt x="114" y="469"/>
                  </a:cubicBezTo>
                  <a:cubicBezTo>
                    <a:pt x="115" y="469"/>
                    <a:pt x="116" y="468"/>
                    <a:pt x="116" y="467"/>
                  </a:cubicBezTo>
                  <a:cubicBezTo>
                    <a:pt x="117" y="468"/>
                    <a:pt x="118" y="469"/>
                    <a:pt x="118" y="470"/>
                  </a:cubicBezTo>
                  <a:cubicBezTo>
                    <a:pt x="119" y="472"/>
                    <a:pt x="120" y="473"/>
                    <a:pt x="121" y="474"/>
                  </a:cubicBezTo>
                  <a:cubicBezTo>
                    <a:pt x="122" y="475"/>
                    <a:pt x="124" y="476"/>
                    <a:pt x="126" y="476"/>
                  </a:cubicBezTo>
                  <a:cubicBezTo>
                    <a:pt x="127" y="476"/>
                    <a:pt x="128" y="476"/>
                    <a:pt x="129" y="476"/>
                  </a:cubicBezTo>
                  <a:cubicBezTo>
                    <a:pt x="129" y="476"/>
                    <a:pt x="130" y="477"/>
                    <a:pt x="131" y="478"/>
                  </a:cubicBezTo>
                  <a:cubicBezTo>
                    <a:pt x="133" y="480"/>
                    <a:pt x="135" y="481"/>
                    <a:pt x="137" y="481"/>
                  </a:cubicBezTo>
                  <a:cubicBezTo>
                    <a:pt x="137" y="481"/>
                    <a:pt x="138" y="481"/>
                    <a:pt x="139" y="481"/>
                  </a:cubicBezTo>
                  <a:cubicBezTo>
                    <a:pt x="141" y="480"/>
                    <a:pt x="141" y="477"/>
                    <a:pt x="141" y="474"/>
                  </a:cubicBezTo>
                  <a:cubicBezTo>
                    <a:pt x="141" y="473"/>
                    <a:pt x="141" y="472"/>
                    <a:pt x="141" y="472"/>
                  </a:cubicBezTo>
                  <a:cubicBezTo>
                    <a:pt x="142" y="471"/>
                    <a:pt x="143" y="470"/>
                    <a:pt x="143" y="469"/>
                  </a:cubicBezTo>
                  <a:cubicBezTo>
                    <a:pt x="145" y="468"/>
                    <a:pt x="147" y="466"/>
                    <a:pt x="147" y="464"/>
                  </a:cubicBezTo>
                  <a:cubicBezTo>
                    <a:pt x="148" y="462"/>
                    <a:pt x="147" y="460"/>
                    <a:pt x="145" y="459"/>
                  </a:cubicBezTo>
                  <a:cubicBezTo>
                    <a:pt x="145" y="458"/>
                    <a:pt x="145" y="457"/>
                    <a:pt x="144" y="457"/>
                  </a:cubicBezTo>
                  <a:cubicBezTo>
                    <a:pt x="145" y="456"/>
                    <a:pt x="147" y="453"/>
                    <a:pt x="149" y="451"/>
                  </a:cubicBezTo>
                  <a:cubicBezTo>
                    <a:pt x="150" y="451"/>
                    <a:pt x="151" y="450"/>
                    <a:pt x="152" y="450"/>
                  </a:cubicBezTo>
                  <a:cubicBezTo>
                    <a:pt x="155" y="449"/>
                    <a:pt x="157" y="448"/>
                    <a:pt x="158" y="445"/>
                  </a:cubicBezTo>
                  <a:cubicBezTo>
                    <a:pt x="159" y="443"/>
                    <a:pt x="158" y="442"/>
                    <a:pt x="157" y="440"/>
                  </a:cubicBezTo>
                  <a:cubicBezTo>
                    <a:pt x="157" y="440"/>
                    <a:pt x="157" y="440"/>
                    <a:pt x="157" y="439"/>
                  </a:cubicBezTo>
                  <a:cubicBezTo>
                    <a:pt x="158" y="440"/>
                    <a:pt x="159" y="441"/>
                    <a:pt x="160" y="442"/>
                  </a:cubicBezTo>
                  <a:cubicBezTo>
                    <a:pt x="160" y="442"/>
                    <a:pt x="161" y="445"/>
                    <a:pt x="162" y="446"/>
                  </a:cubicBezTo>
                  <a:cubicBezTo>
                    <a:pt x="163" y="449"/>
                    <a:pt x="164" y="452"/>
                    <a:pt x="166" y="453"/>
                  </a:cubicBezTo>
                  <a:cubicBezTo>
                    <a:pt x="168" y="455"/>
                    <a:pt x="173" y="456"/>
                    <a:pt x="174" y="457"/>
                  </a:cubicBezTo>
                  <a:cubicBezTo>
                    <a:pt x="176" y="457"/>
                    <a:pt x="186" y="459"/>
                    <a:pt x="191" y="458"/>
                  </a:cubicBezTo>
                  <a:cubicBezTo>
                    <a:pt x="193" y="458"/>
                    <a:pt x="198" y="455"/>
                    <a:pt x="199" y="453"/>
                  </a:cubicBezTo>
                  <a:cubicBezTo>
                    <a:pt x="201" y="451"/>
                    <a:pt x="201" y="447"/>
                    <a:pt x="201" y="444"/>
                  </a:cubicBezTo>
                  <a:cubicBezTo>
                    <a:pt x="201" y="442"/>
                    <a:pt x="201" y="441"/>
                    <a:pt x="201" y="439"/>
                  </a:cubicBezTo>
                  <a:cubicBezTo>
                    <a:pt x="201" y="438"/>
                    <a:pt x="201" y="436"/>
                    <a:pt x="201" y="436"/>
                  </a:cubicBezTo>
                  <a:cubicBezTo>
                    <a:pt x="202" y="425"/>
                    <a:pt x="204" y="423"/>
                    <a:pt x="204" y="423"/>
                  </a:cubicBezTo>
                  <a:cubicBezTo>
                    <a:pt x="205" y="423"/>
                    <a:pt x="206" y="423"/>
                    <a:pt x="207" y="423"/>
                  </a:cubicBezTo>
                  <a:cubicBezTo>
                    <a:pt x="209" y="423"/>
                    <a:pt x="210" y="424"/>
                    <a:pt x="212" y="423"/>
                  </a:cubicBezTo>
                  <a:cubicBezTo>
                    <a:pt x="215" y="422"/>
                    <a:pt x="219" y="418"/>
                    <a:pt x="221" y="416"/>
                  </a:cubicBezTo>
                  <a:cubicBezTo>
                    <a:pt x="222" y="414"/>
                    <a:pt x="222" y="411"/>
                    <a:pt x="222" y="407"/>
                  </a:cubicBezTo>
                  <a:cubicBezTo>
                    <a:pt x="222" y="405"/>
                    <a:pt x="222" y="402"/>
                    <a:pt x="223" y="401"/>
                  </a:cubicBezTo>
                  <a:cubicBezTo>
                    <a:pt x="223" y="400"/>
                    <a:pt x="225" y="400"/>
                    <a:pt x="226" y="399"/>
                  </a:cubicBezTo>
                  <a:cubicBezTo>
                    <a:pt x="227" y="398"/>
                    <a:pt x="229" y="398"/>
                    <a:pt x="230" y="397"/>
                  </a:cubicBezTo>
                  <a:cubicBezTo>
                    <a:pt x="232" y="395"/>
                    <a:pt x="235" y="391"/>
                    <a:pt x="236" y="389"/>
                  </a:cubicBezTo>
                  <a:cubicBezTo>
                    <a:pt x="237" y="387"/>
                    <a:pt x="239" y="382"/>
                    <a:pt x="239" y="380"/>
                  </a:cubicBezTo>
                  <a:cubicBezTo>
                    <a:pt x="239" y="378"/>
                    <a:pt x="238" y="376"/>
                    <a:pt x="237" y="374"/>
                  </a:cubicBezTo>
                  <a:cubicBezTo>
                    <a:pt x="237" y="373"/>
                    <a:pt x="236" y="372"/>
                    <a:pt x="236" y="371"/>
                  </a:cubicBezTo>
                  <a:cubicBezTo>
                    <a:pt x="236" y="370"/>
                    <a:pt x="236" y="370"/>
                    <a:pt x="236" y="369"/>
                  </a:cubicBezTo>
                  <a:cubicBezTo>
                    <a:pt x="235" y="368"/>
                    <a:pt x="235" y="366"/>
                    <a:pt x="235" y="365"/>
                  </a:cubicBezTo>
                  <a:cubicBezTo>
                    <a:pt x="235" y="365"/>
                    <a:pt x="236" y="365"/>
                    <a:pt x="237" y="365"/>
                  </a:cubicBezTo>
                  <a:cubicBezTo>
                    <a:pt x="238" y="365"/>
                    <a:pt x="240" y="365"/>
                    <a:pt x="241" y="365"/>
                  </a:cubicBezTo>
                  <a:cubicBezTo>
                    <a:pt x="242" y="365"/>
                    <a:pt x="243" y="364"/>
                    <a:pt x="244" y="364"/>
                  </a:cubicBezTo>
                  <a:cubicBezTo>
                    <a:pt x="245" y="363"/>
                    <a:pt x="246" y="362"/>
                    <a:pt x="247" y="362"/>
                  </a:cubicBezTo>
                  <a:cubicBezTo>
                    <a:pt x="247" y="362"/>
                    <a:pt x="249" y="364"/>
                    <a:pt x="250" y="364"/>
                  </a:cubicBezTo>
                  <a:cubicBezTo>
                    <a:pt x="251" y="366"/>
                    <a:pt x="253" y="368"/>
                    <a:pt x="256" y="368"/>
                  </a:cubicBezTo>
                  <a:cubicBezTo>
                    <a:pt x="260" y="368"/>
                    <a:pt x="263" y="364"/>
                    <a:pt x="266" y="361"/>
                  </a:cubicBezTo>
                  <a:cubicBezTo>
                    <a:pt x="268" y="359"/>
                    <a:pt x="270" y="357"/>
                    <a:pt x="271" y="356"/>
                  </a:cubicBezTo>
                  <a:cubicBezTo>
                    <a:pt x="273" y="356"/>
                    <a:pt x="275" y="355"/>
                    <a:pt x="277" y="355"/>
                  </a:cubicBezTo>
                  <a:cubicBezTo>
                    <a:pt x="281" y="354"/>
                    <a:pt x="286" y="354"/>
                    <a:pt x="288" y="351"/>
                  </a:cubicBezTo>
                  <a:cubicBezTo>
                    <a:pt x="290" y="349"/>
                    <a:pt x="291" y="344"/>
                    <a:pt x="290" y="342"/>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40">
              <a:extLst>
                <a:ext uri="{FF2B5EF4-FFF2-40B4-BE49-F238E27FC236}">
                  <a16:creationId xmlns:a16="http://schemas.microsoft.com/office/drawing/2014/main" id="{1FC387CB-36AE-4BAC-AB8B-DE8863A8B399}"/>
                </a:ext>
              </a:extLst>
            </p:cNvPr>
            <p:cNvSpPr>
              <a:spLocks/>
            </p:cNvSpPr>
            <p:nvPr/>
          </p:nvSpPr>
          <p:spPr bwMode="auto">
            <a:xfrm>
              <a:off x="6572860" y="2384004"/>
              <a:ext cx="598350" cy="269864"/>
            </a:xfrm>
            <a:custGeom>
              <a:avLst/>
              <a:gdLst>
                <a:gd name="T0" fmla="*/ 525 w 538"/>
                <a:gd name="T1" fmla="*/ 91 h 242"/>
                <a:gd name="T2" fmla="*/ 515 w 538"/>
                <a:gd name="T3" fmla="*/ 79 h 242"/>
                <a:gd name="T4" fmla="*/ 505 w 538"/>
                <a:gd name="T5" fmla="*/ 60 h 242"/>
                <a:gd name="T6" fmla="*/ 486 w 538"/>
                <a:gd name="T7" fmla="*/ 45 h 242"/>
                <a:gd name="T8" fmla="*/ 471 w 538"/>
                <a:gd name="T9" fmla="*/ 50 h 242"/>
                <a:gd name="T10" fmla="*/ 438 w 538"/>
                <a:gd name="T11" fmla="*/ 48 h 242"/>
                <a:gd name="T12" fmla="*/ 420 w 538"/>
                <a:gd name="T13" fmla="*/ 22 h 242"/>
                <a:gd name="T14" fmla="*/ 361 w 538"/>
                <a:gd name="T15" fmla="*/ 37 h 242"/>
                <a:gd name="T16" fmla="*/ 340 w 538"/>
                <a:gd name="T17" fmla="*/ 44 h 242"/>
                <a:gd name="T18" fmla="*/ 307 w 538"/>
                <a:gd name="T19" fmla="*/ 74 h 242"/>
                <a:gd name="T20" fmla="*/ 287 w 538"/>
                <a:gd name="T21" fmla="*/ 71 h 242"/>
                <a:gd name="T22" fmla="*/ 255 w 538"/>
                <a:gd name="T23" fmla="*/ 72 h 242"/>
                <a:gd name="T24" fmla="*/ 230 w 538"/>
                <a:gd name="T25" fmla="*/ 47 h 242"/>
                <a:gd name="T26" fmla="*/ 211 w 538"/>
                <a:gd name="T27" fmla="*/ 31 h 242"/>
                <a:gd name="T28" fmla="*/ 185 w 538"/>
                <a:gd name="T29" fmla="*/ 29 h 242"/>
                <a:gd name="T30" fmla="*/ 175 w 538"/>
                <a:gd name="T31" fmla="*/ 26 h 242"/>
                <a:gd name="T32" fmla="*/ 158 w 538"/>
                <a:gd name="T33" fmla="*/ 44 h 242"/>
                <a:gd name="T34" fmla="*/ 146 w 538"/>
                <a:gd name="T35" fmla="*/ 11 h 242"/>
                <a:gd name="T36" fmla="*/ 135 w 538"/>
                <a:gd name="T37" fmla="*/ 0 h 242"/>
                <a:gd name="T38" fmla="*/ 98 w 538"/>
                <a:gd name="T39" fmla="*/ 32 h 242"/>
                <a:gd name="T40" fmla="*/ 76 w 538"/>
                <a:gd name="T41" fmla="*/ 47 h 242"/>
                <a:gd name="T42" fmla="*/ 52 w 538"/>
                <a:gd name="T43" fmla="*/ 50 h 242"/>
                <a:gd name="T44" fmla="*/ 8 w 538"/>
                <a:gd name="T45" fmla="*/ 80 h 242"/>
                <a:gd name="T46" fmla="*/ 4 w 538"/>
                <a:gd name="T47" fmla="*/ 92 h 242"/>
                <a:gd name="T48" fmla="*/ 28 w 538"/>
                <a:gd name="T49" fmla="*/ 115 h 242"/>
                <a:gd name="T50" fmla="*/ 136 w 538"/>
                <a:gd name="T51" fmla="*/ 142 h 242"/>
                <a:gd name="T52" fmla="*/ 160 w 538"/>
                <a:gd name="T53" fmla="*/ 142 h 242"/>
                <a:gd name="T54" fmla="*/ 194 w 538"/>
                <a:gd name="T55" fmla="*/ 163 h 242"/>
                <a:gd name="T56" fmla="*/ 219 w 538"/>
                <a:gd name="T57" fmla="*/ 174 h 242"/>
                <a:gd name="T58" fmla="*/ 221 w 538"/>
                <a:gd name="T59" fmla="*/ 198 h 242"/>
                <a:gd name="T60" fmla="*/ 224 w 538"/>
                <a:gd name="T61" fmla="*/ 214 h 242"/>
                <a:gd name="T62" fmla="*/ 231 w 538"/>
                <a:gd name="T63" fmla="*/ 225 h 242"/>
                <a:gd name="T64" fmla="*/ 242 w 538"/>
                <a:gd name="T65" fmla="*/ 241 h 242"/>
                <a:gd name="T66" fmla="*/ 249 w 538"/>
                <a:gd name="T67" fmla="*/ 239 h 242"/>
                <a:gd name="T68" fmla="*/ 271 w 538"/>
                <a:gd name="T69" fmla="*/ 184 h 242"/>
                <a:gd name="T70" fmla="*/ 285 w 538"/>
                <a:gd name="T71" fmla="*/ 153 h 242"/>
                <a:gd name="T72" fmla="*/ 293 w 538"/>
                <a:gd name="T73" fmla="*/ 166 h 242"/>
                <a:gd name="T74" fmla="*/ 304 w 538"/>
                <a:gd name="T75" fmla="*/ 154 h 242"/>
                <a:gd name="T76" fmla="*/ 320 w 538"/>
                <a:gd name="T77" fmla="*/ 150 h 242"/>
                <a:gd name="T78" fmla="*/ 310 w 538"/>
                <a:gd name="T79" fmla="*/ 168 h 242"/>
                <a:gd name="T80" fmla="*/ 326 w 538"/>
                <a:gd name="T81" fmla="*/ 161 h 242"/>
                <a:gd name="T82" fmla="*/ 342 w 538"/>
                <a:gd name="T83" fmla="*/ 139 h 242"/>
                <a:gd name="T84" fmla="*/ 365 w 538"/>
                <a:gd name="T85" fmla="*/ 129 h 242"/>
                <a:gd name="T86" fmla="*/ 389 w 538"/>
                <a:gd name="T87" fmla="*/ 124 h 242"/>
                <a:gd name="T88" fmla="*/ 416 w 538"/>
                <a:gd name="T89" fmla="*/ 106 h 242"/>
                <a:gd name="T90" fmla="*/ 445 w 538"/>
                <a:gd name="T91" fmla="*/ 113 h 242"/>
                <a:gd name="T92" fmla="*/ 470 w 538"/>
                <a:gd name="T93" fmla="*/ 128 h 242"/>
                <a:gd name="T94" fmla="*/ 478 w 538"/>
                <a:gd name="T95" fmla="*/ 106 h 242"/>
                <a:gd name="T96" fmla="*/ 528 w 538"/>
                <a:gd name="T97" fmla="*/ 108 h 242"/>
                <a:gd name="T98" fmla="*/ 538 w 538"/>
                <a:gd name="T99" fmla="*/ 10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8" h="242">
                  <a:moveTo>
                    <a:pt x="538" y="102"/>
                  </a:moveTo>
                  <a:cubicBezTo>
                    <a:pt x="533" y="95"/>
                    <a:pt x="533" y="95"/>
                    <a:pt x="533" y="95"/>
                  </a:cubicBezTo>
                  <a:cubicBezTo>
                    <a:pt x="533" y="94"/>
                    <a:pt x="533" y="94"/>
                    <a:pt x="532" y="94"/>
                  </a:cubicBezTo>
                  <a:cubicBezTo>
                    <a:pt x="525" y="91"/>
                    <a:pt x="525" y="91"/>
                    <a:pt x="525" y="91"/>
                  </a:cubicBezTo>
                  <a:cubicBezTo>
                    <a:pt x="525" y="85"/>
                    <a:pt x="525" y="85"/>
                    <a:pt x="525" y="85"/>
                  </a:cubicBezTo>
                  <a:cubicBezTo>
                    <a:pt x="525" y="84"/>
                    <a:pt x="524" y="83"/>
                    <a:pt x="524" y="83"/>
                  </a:cubicBezTo>
                  <a:cubicBezTo>
                    <a:pt x="516" y="79"/>
                    <a:pt x="516" y="79"/>
                    <a:pt x="516" y="79"/>
                  </a:cubicBezTo>
                  <a:cubicBezTo>
                    <a:pt x="516" y="79"/>
                    <a:pt x="516" y="79"/>
                    <a:pt x="515" y="79"/>
                  </a:cubicBezTo>
                  <a:cubicBezTo>
                    <a:pt x="514" y="79"/>
                    <a:pt x="514" y="79"/>
                    <a:pt x="514" y="79"/>
                  </a:cubicBezTo>
                  <a:cubicBezTo>
                    <a:pt x="508" y="75"/>
                    <a:pt x="508" y="75"/>
                    <a:pt x="508" y="75"/>
                  </a:cubicBezTo>
                  <a:cubicBezTo>
                    <a:pt x="507" y="68"/>
                    <a:pt x="507" y="68"/>
                    <a:pt x="507" y="68"/>
                  </a:cubicBezTo>
                  <a:cubicBezTo>
                    <a:pt x="505" y="60"/>
                    <a:pt x="505" y="60"/>
                    <a:pt x="505" y="60"/>
                  </a:cubicBezTo>
                  <a:cubicBezTo>
                    <a:pt x="500" y="52"/>
                    <a:pt x="500" y="52"/>
                    <a:pt x="500" y="52"/>
                  </a:cubicBezTo>
                  <a:cubicBezTo>
                    <a:pt x="494" y="45"/>
                    <a:pt x="494" y="45"/>
                    <a:pt x="494" y="45"/>
                  </a:cubicBezTo>
                  <a:cubicBezTo>
                    <a:pt x="493" y="44"/>
                    <a:pt x="492" y="44"/>
                    <a:pt x="491" y="44"/>
                  </a:cubicBezTo>
                  <a:cubicBezTo>
                    <a:pt x="486" y="45"/>
                    <a:pt x="486" y="45"/>
                    <a:pt x="486" y="45"/>
                  </a:cubicBezTo>
                  <a:cubicBezTo>
                    <a:pt x="485" y="45"/>
                    <a:pt x="485" y="46"/>
                    <a:pt x="485" y="46"/>
                  </a:cubicBezTo>
                  <a:cubicBezTo>
                    <a:pt x="480" y="53"/>
                    <a:pt x="480" y="53"/>
                    <a:pt x="480" y="53"/>
                  </a:cubicBezTo>
                  <a:cubicBezTo>
                    <a:pt x="475" y="55"/>
                    <a:pt x="475" y="55"/>
                    <a:pt x="475" y="55"/>
                  </a:cubicBezTo>
                  <a:cubicBezTo>
                    <a:pt x="471" y="50"/>
                    <a:pt x="471" y="50"/>
                    <a:pt x="471" y="50"/>
                  </a:cubicBezTo>
                  <a:cubicBezTo>
                    <a:pt x="470" y="49"/>
                    <a:pt x="469" y="49"/>
                    <a:pt x="468" y="49"/>
                  </a:cubicBezTo>
                  <a:cubicBezTo>
                    <a:pt x="454" y="54"/>
                    <a:pt x="454" y="54"/>
                    <a:pt x="454" y="54"/>
                  </a:cubicBezTo>
                  <a:cubicBezTo>
                    <a:pt x="441" y="53"/>
                    <a:pt x="441" y="53"/>
                    <a:pt x="441" y="53"/>
                  </a:cubicBezTo>
                  <a:cubicBezTo>
                    <a:pt x="438" y="48"/>
                    <a:pt x="438" y="48"/>
                    <a:pt x="438" y="48"/>
                  </a:cubicBezTo>
                  <a:cubicBezTo>
                    <a:pt x="438" y="22"/>
                    <a:pt x="438" y="22"/>
                    <a:pt x="438" y="22"/>
                  </a:cubicBezTo>
                  <a:cubicBezTo>
                    <a:pt x="438" y="21"/>
                    <a:pt x="437" y="20"/>
                    <a:pt x="437" y="20"/>
                  </a:cubicBezTo>
                  <a:cubicBezTo>
                    <a:pt x="436" y="19"/>
                    <a:pt x="435" y="19"/>
                    <a:pt x="435" y="19"/>
                  </a:cubicBezTo>
                  <a:cubicBezTo>
                    <a:pt x="420" y="22"/>
                    <a:pt x="420" y="22"/>
                    <a:pt x="420" y="22"/>
                  </a:cubicBezTo>
                  <a:cubicBezTo>
                    <a:pt x="412" y="25"/>
                    <a:pt x="412" y="25"/>
                    <a:pt x="412" y="25"/>
                  </a:cubicBezTo>
                  <a:cubicBezTo>
                    <a:pt x="398" y="33"/>
                    <a:pt x="398" y="33"/>
                    <a:pt x="398" y="33"/>
                  </a:cubicBezTo>
                  <a:cubicBezTo>
                    <a:pt x="392" y="35"/>
                    <a:pt x="392" y="35"/>
                    <a:pt x="392" y="35"/>
                  </a:cubicBezTo>
                  <a:cubicBezTo>
                    <a:pt x="361" y="37"/>
                    <a:pt x="361" y="37"/>
                    <a:pt x="361" y="37"/>
                  </a:cubicBezTo>
                  <a:cubicBezTo>
                    <a:pt x="361" y="37"/>
                    <a:pt x="361" y="37"/>
                    <a:pt x="361" y="37"/>
                  </a:cubicBezTo>
                  <a:cubicBezTo>
                    <a:pt x="354" y="40"/>
                    <a:pt x="354" y="40"/>
                    <a:pt x="354" y="40"/>
                  </a:cubicBezTo>
                  <a:cubicBezTo>
                    <a:pt x="341" y="43"/>
                    <a:pt x="341" y="43"/>
                    <a:pt x="341" y="43"/>
                  </a:cubicBezTo>
                  <a:cubicBezTo>
                    <a:pt x="340" y="43"/>
                    <a:pt x="340" y="43"/>
                    <a:pt x="340" y="44"/>
                  </a:cubicBezTo>
                  <a:cubicBezTo>
                    <a:pt x="333" y="51"/>
                    <a:pt x="333" y="51"/>
                    <a:pt x="333" y="51"/>
                  </a:cubicBezTo>
                  <a:cubicBezTo>
                    <a:pt x="318" y="60"/>
                    <a:pt x="318" y="60"/>
                    <a:pt x="318" y="60"/>
                  </a:cubicBezTo>
                  <a:cubicBezTo>
                    <a:pt x="317" y="60"/>
                    <a:pt x="317" y="60"/>
                    <a:pt x="317" y="61"/>
                  </a:cubicBezTo>
                  <a:cubicBezTo>
                    <a:pt x="307" y="74"/>
                    <a:pt x="307" y="74"/>
                    <a:pt x="307" y="74"/>
                  </a:cubicBezTo>
                  <a:cubicBezTo>
                    <a:pt x="302" y="72"/>
                    <a:pt x="302" y="72"/>
                    <a:pt x="302" y="72"/>
                  </a:cubicBezTo>
                  <a:cubicBezTo>
                    <a:pt x="302" y="72"/>
                    <a:pt x="301" y="72"/>
                    <a:pt x="301" y="72"/>
                  </a:cubicBezTo>
                  <a:cubicBezTo>
                    <a:pt x="294" y="73"/>
                    <a:pt x="294" y="73"/>
                    <a:pt x="294" y="73"/>
                  </a:cubicBezTo>
                  <a:cubicBezTo>
                    <a:pt x="287" y="71"/>
                    <a:pt x="287" y="71"/>
                    <a:pt x="287" y="71"/>
                  </a:cubicBezTo>
                  <a:cubicBezTo>
                    <a:pt x="280" y="65"/>
                    <a:pt x="280" y="65"/>
                    <a:pt x="280" y="65"/>
                  </a:cubicBezTo>
                  <a:cubicBezTo>
                    <a:pt x="280" y="65"/>
                    <a:pt x="279" y="64"/>
                    <a:pt x="278" y="65"/>
                  </a:cubicBezTo>
                  <a:cubicBezTo>
                    <a:pt x="261" y="71"/>
                    <a:pt x="261" y="71"/>
                    <a:pt x="261" y="71"/>
                  </a:cubicBezTo>
                  <a:cubicBezTo>
                    <a:pt x="255" y="72"/>
                    <a:pt x="255" y="72"/>
                    <a:pt x="255" y="72"/>
                  </a:cubicBezTo>
                  <a:cubicBezTo>
                    <a:pt x="248" y="69"/>
                    <a:pt x="248" y="69"/>
                    <a:pt x="248" y="69"/>
                  </a:cubicBezTo>
                  <a:cubicBezTo>
                    <a:pt x="244" y="62"/>
                    <a:pt x="244" y="62"/>
                    <a:pt x="244" y="62"/>
                  </a:cubicBezTo>
                  <a:cubicBezTo>
                    <a:pt x="244" y="61"/>
                    <a:pt x="244" y="61"/>
                    <a:pt x="244" y="61"/>
                  </a:cubicBezTo>
                  <a:cubicBezTo>
                    <a:pt x="230" y="47"/>
                    <a:pt x="230" y="47"/>
                    <a:pt x="230" y="47"/>
                  </a:cubicBezTo>
                  <a:cubicBezTo>
                    <a:pt x="226" y="39"/>
                    <a:pt x="226" y="39"/>
                    <a:pt x="226" y="39"/>
                  </a:cubicBezTo>
                  <a:cubicBezTo>
                    <a:pt x="226" y="39"/>
                    <a:pt x="225" y="38"/>
                    <a:pt x="224" y="38"/>
                  </a:cubicBezTo>
                  <a:cubicBezTo>
                    <a:pt x="218" y="37"/>
                    <a:pt x="218" y="37"/>
                    <a:pt x="218" y="37"/>
                  </a:cubicBezTo>
                  <a:cubicBezTo>
                    <a:pt x="211" y="31"/>
                    <a:pt x="211" y="31"/>
                    <a:pt x="211" y="31"/>
                  </a:cubicBezTo>
                  <a:cubicBezTo>
                    <a:pt x="211" y="30"/>
                    <a:pt x="210" y="30"/>
                    <a:pt x="210" y="30"/>
                  </a:cubicBezTo>
                  <a:cubicBezTo>
                    <a:pt x="201" y="29"/>
                    <a:pt x="201" y="29"/>
                    <a:pt x="201" y="29"/>
                  </a:cubicBezTo>
                  <a:cubicBezTo>
                    <a:pt x="186" y="29"/>
                    <a:pt x="186" y="29"/>
                    <a:pt x="186" y="29"/>
                  </a:cubicBezTo>
                  <a:cubicBezTo>
                    <a:pt x="186" y="29"/>
                    <a:pt x="186" y="29"/>
                    <a:pt x="185" y="29"/>
                  </a:cubicBezTo>
                  <a:cubicBezTo>
                    <a:pt x="178" y="32"/>
                    <a:pt x="178" y="32"/>
                    <a:pt x="178" y="32"/>
                  </a:cubicBezTo>
                  <a:cubicBezTo>
                    <a:pt x="179" y="29"/>
                    <a:pt x="179" y="29"/>
                    <a:pt x="179" y="29"/>
                  </a:cubicBezTo>
                  <a:cubicBezTo>
                    <a:pt x="180" y="28"/>
                    <a:pt x="179" y="27"/>
                    <a:pt x="178" y="26"/>
                  </a:cubicBezTo>
                  <a:cubicBezTo>
                    <a:pt x="177" y="25"/>
                    <a:pt x="176" y="26"/>
                    <a:pt x="175" y="26"/>
                  </a:cubicBezTo>
                  <a:cubicBezTo>
                    <a:pt x="168" y="33"/>
                    <a:pt x="168" y="33"/>
                    <a:pt x="168" y="33"/>
                  </a:cubicBezTo>
                  <a:cubicBezTo>
                    <a:pt x="161" y="38"/>
                    <a:pt x="161" y="38"/>
                    <a:pt x="161" y="38"/>
                  </a:cubicBezTo>
                  <a:cubicBezTo>
                    <a:pt x="161" y="38"/>
                    <a:pt x="160" y="38"/>
                    <a:pt x="160" y="39"/>
                  </a:cubicBezTo>
                  <a:cubicBezTo>
                    <a:pt x="158" y="44"/>
                    <a:pt x="158" y="44"/>
                    <a:pt x="158" y="44"/>
                  </a:cubicBezTo>
                  <a:cubicBezTo>
                    <a:pt x="158" y="42"/>
                    <a:pt x="158" y="42"/>
                    <a:pt x="158" y="42"/>
                  </a:cubicBezTo>
                  <a:cubicBezTo>
                    <a:pt x="159" y="28"/>
                    <a:pt x="159" y="28"/>
                    <a:pt x="159" y="28"/>
                  </a:cubicBezTo>
                  <a:cubicBezTo>
                    <a:pt x="159" y="27"/>
                    <a:pt x="159" y="26"/>
                    <a:pt x="159" y="26"/>
                  </a:cubicBezTo>
                  <a:cubicBezTo>
                    <a:pt x="146" y="11"/>
                    <a:pt x="146" y="11"/>
                    <a:pt x="146" y="11"/>
                  </a:cubicBezTo>
                  <a:cubicBezTo>
                    <a:pt x="146" y="11"/>
                    <a:pt x="146" y="10"/>
                    <a:pt x="146" y="10"/>
                  </a:cubicBezTo>
                  <a:cubicBezTo>
                    <a:pt x="141" y="8"/>
                    <a:pt x="141" y="8"/>
                    <a:pt x="141" y="8"/>
                  </a:cubicBezTo>
                  <a:cubicBezTo>
                    <a:pt x="136" y="1"/>
                    <a:pt x="136" y="1"/>
                    <a:pt x="136" y="1"/>
                  </a:cubicBezTo>
                  <a:cubicBezTo>
                    <a:pt x="136" y="0"/>
                    <a:pt x="135" y="0"/>
                    <a:pt x="135" y="0"/>
                  </a:cubicBezTo>
                  <a:cubicBezTo>
                    <a:pt x="134" y="0"/>
                    <a:pt x="133" y="0"/>
                    <a:pt x="132" y="1"/>
                  </a:cubicBezTo>
                  <a:cubicBezTo>
                    <a:pt x="116" y="19"/>
                    <a:pt x="116" y="19"/>
                    <a:pt x="116" y="19"/>
                  </a:cubicBezTo>
                  <a:cubicBezTo>
                    <a:pt x="112" y="25"/>
                    <a:pt x="112" y="25"/>
                    <a:pt x="112" y="25"/>
                  </a:cubicBezTo>
                  <a:cubicBezTo>
                    <a:pt x="98" y="32"/>
                    <a:pt x="98" y="32"/>
                    <a:pt x="98" y="32"/>
                  </a:cubicBezTo>
                  <a:cubicBezTo>
                    <a:pt x="98" y="32"/>
                    <a:pt x="97" y="32"/>
                    <a:pt x="97" y="32"/>
                  </a:cubicBezTo>
                  <a:cubicBezTo>
                    <a:pt x="90" y="40"/>
                    <a:pt x="90" y="40"/>
                    <a:pt x="90" y="40"/>
                  </a:cubicBezTo>
                  <a:cubicBezTo>
                    <a:pt x="83" y="45"/>
                    <a:pt x="83" y="45"/>
                    <a:pt x="83" y="45"/>
                  </a:cubicBezTo>
                  <a:cubicBezTo>
                    <a:pt x="76" y="47"/>
                    <a:pt x="76" y="47"/>
                    <a:pt x="76" y="47"/>
                  </a:cubicBezTo>
                  <a:cubicBezTo>
                    <a:pt x="68" y="48"/>
                    <a:pt x="68" y="48"/>
                    <a:pt x="68" y="48"/>
                  </a:cubicBezTo>
                  <a:cubicBezTo>
                    <a:pt x="61" y="50"/>
                    <a:pt x="61" y="50"/>
                    <a:pt x="61" y="50"/>
                  </a:cubicBezTo>
                  <a:cubicBezTo>
                    <a:pt x="54" y="50"/>
                    <a:pt x="54" y="50"/>
                    <a:pt x="54" y="50"/>
                  </a:cubicBezTo>
                  <a:cubicBezTo>
                    <a:pt x="53" y="50"/>
                    <a:pt x="53" y="50"/>
                    <a:pt x="52" y="50"/>
                  </a:cubicBezTo>
                  <a:cubicBezTo>
                    <a:pt x="44" y="55"/>
                    <a:pt x="44" y="55"/>
                    <a:pt x="44" y="55"/>
                  </a:cubicBezTo>
                  <a:cubicBezTo>
                    <a:pt x="44" y="55"/>
                    <a:pt x="44" y="55"/>
                    <a:pt x="44" y="55"/>
                  </a:cubicBezTo>
                  <a:cubicBezTo>
                    <a:pt x="30" y="70"/>
                    <a:pt x="30" y="70"/>
                    <a:pt x="30" y="70"/>
                  </a:cubicBezTo>
                  <a:cubicBezTo>
                    <a:pt x="8" y="80"/>
                    <a:pt x="8" y="80"/>
                    <a:pt x="8" y="80"/>
                  </a:cubicBezTo>
                  <a:cubicBezTo>
                    <a:pt x="1" y="84"/>
                    <a:pt x="1" y="84"/>
                    <a:pt x="1" y="84"/>
                  </a:cubicBezTo>
                  <a:cubicBezTo>
                    <a:pt x="0" y="85"/>
                    <a:pt x="0" y="86"/>
                    <a:pt x="0" y="86"/>
                  </a:cubicBezTo>
                  <a:cubicBezTo>
                    <a:pt x="0" y="87"/>
                    <a:pt x="0" y="88"/>
                    <a:pt x="1" y="88"/>
                  </a:cubicBezTo>
                  <a:cubicBezTo>
                    <a:pt x="4" y="92"/>
                    <a:pt x="4" y="92"/>
                    <a:pt x="4" y="92"/>
                  </a:cubicBezTo>
                  <a:cubicBezTo>
                    <a:pt x="4" y="92"/>
                    <a:pt x="5" y="92"/>
                    <a:pt x="5" y="93"/>
                  </a:cubicBezTo>
                  <a:cubicBezTo>
                    <a:pt x="13" y="95"/>
                    <a:pt x="13" y="95"/>
                    <a:pt x="13" y="95"/>
                  </a:cubicBezTo>
                  <a:cubicBezTo>
                    <a:pt x="19" y="101"/>
                    <a:pt x="19" y="101"/>
                    <a:pt x="19" y="101"/>
                  </a:cubicBezTo>
                  <a:cubicBezTo>
                    <a:pt x="28" y="115"/>
                    <a:pt x="28" y="115"/>
                    <a:pt x="28" y="115"/>
                  </a:cubicBezTo>
                  <a:cubicBezTo>
                    <a:pt x="28" y="115"/>
                    <a:pt x="29" y="116"/>
                    <a:pt x="29" y="116"/>
                  </a:cubicBezTo>
                  <a:cubicBezTo>
                    <a:pt x="108" y="131"/>
                    <a:pt x="108" y="131"/>
                    <a:pt x="108" y="131"/>
                  </a:cubicBezTo>
                  <a:cubicBezTo>
                    <a:pt x="134" y="142"/>
                    <a:pt x="134" y="142"/>
                    <a:pt x="134" y="142"/>
                  </a:cubicBezTo>
                  <a:cubicBezTo>
                    <a:pt x="135" y="142"/>
                    <a:pt x="135" y="143"/>
                    <a:pt x="136" y="142"/>
                  </a:cubicBezTo>
                  <a:cubicBezTo>
                    <a:pt x="138" y="142"/>
                    <a:pt x="138" y="142"/>
                    <a:pt x="138" y="142"/>
                  </a:cubicBezTo>
                  <a:cubicBezTo>
                    <a:pt x="153" y="144"/>
                    <a:pt x="153" y="144"/>
                    <a:pt x="153" y="144"/>
                  </a:cubicBezTo>
                  <a:cubicBezTo>
                    <a:pt x="153" y="144"/>
                    <a:pt x="154" y="144"/>
                    <a:pt x="154" y="144"/>
                  </a:cubicBezTo>
                  <a:cubicBezTo>
                    <a:pt x="160" y="142"/>
                    <a:pt x="160" y="142"/>
                    <a:pt x="160" y="142"/>
                  </a:cubicBezTo>
                  <a:cubicBezTo>
                    <a:pt x="168" y="145"/>
                    <a:pt x="168" y="145"/>
                    <a:pt x="168" y="145"/>
                  </a:cubicBezTo>
                  <a:cubicBezTo>
                    <a:pt x="187" y="147"/>
                    <a:pt x="187" y="147"/>
                    <a:pt x="187" y="147"/>
                  </a:cubicBezTo>
                  <a:cubicBezTo>
                    <a:pt x="193" y="150"/>
                    <a:pt x="193" y="150"/>
                    <a:pt x="193" y="150"/>
                  </a:cubicBezTo>
                  <a:cubicBezTo>
                    <a:pt x="194" y="163"/>
                    <a:pt x="194" y="163"/>
                    <a:pt x="194" y="163"/>
                  </a:cubicBezTo>
                  <a:cubicBezTo>
                    <a:pt x="194" y="164"/>
                    <a:pt x="195" y="165"/>
                    <a:pt x="196" y="165"/>
                  </a:cubicBezTo>
                  <a:cubicBezTo>
                    <a:pt x="203" y="165"/>
                    <a:pt x="203" y="165"/>
                    <a:pt x="203" y="165"/>
                  </a:cubicBezTo>
                  <a:cubicBezTo>
                    <a:pt x="214" y="169"/>
                    <a:pt x="214" y="169"/>
                    <a:pt x="214" y="169"/>
                  </a:cubicBezTo>
                  <a:cubicBezTo>
                    <a:pt x="219" y="174"/>
                    <a:pt x="219" y="174"/>
                    <a:pt x="219" y="174"/>
                  </a:cubicBezTo>
                  <a:cubicBezTo>
                    <a:pt x="219" y="174"/>
                    <a:pt x="219" y="174"/>
                    <a:pt x="219" y="174"/>
                  </a:cubicBezTo>
                  <a:cubicBezTo>
                    <a:pt x="218" y="175"/>
                    <a:pt x="218" y="176"/>
                    <a:pt x="219" y="177"/>
                  </a:cubicBezTo>
                  <a:cubicBezTo>
                    <a:pt x="222" y="184"/>
                    <a:pt x="222" y="184"/>
                    <a:pt x="222" y="184"/>
                  </a:cubicBezTo>
                  <a:cubicBezTo>
                    <a:pt x="221" y="198"/>
                    <a:pt x="221" y="198"/>
                    <a:pt x="221" y="198"/>
                  </a:cubicBezTo>
                  <a:cubicBezTo>
                    <a:pt x="218" y="205"/>
                    <a:pt x="218" y="205"/>
                    <a:pt x="218" y="205"/>
                  </a:cubicBezTo>
                  <a:cubicBezTo>
                    <a:pt x="218" y="205"/>
                    <a:pt x="218" y="206"/>
                    <a:pt x="218" y="207"/>
                  </a:cubicBezTo>
                  <a:cubicBezTo>
                    <a:pt x="221" y="213"/>
                    <a:pt x="221" y="213"/>
                    <a:pt x="221" y="213"/>
                  </a:cubicBezTo>
                  <a:cubicBezTo>
                    <a:pt x="221" y="214"/>
                    <a:pt x="223" y="215"/>
                    <a:pt x="224" y="214"/>
                  </a:cubicBezTo>
                  <a:cubicBezTo>
                    <a:pt x="231" y="212"/>
                    <a:pt x="231" y="212"/>
                    <a:pt x="231" y="212"/>
                  </a:cubicBezTo>
                  <a:cubicBezTo>
                    <a:pt x="235" y="212"/>
                    <a:pt x="235" y="212"/>
                    <a:pt x="235" y="212"/>
                  </a:cubicBezTo>
                  <a:cubicBezTo>
                    <a:pt x="231" y="224"/>
                    <a:pt x="231" y="224"/>
                    <a:pt x="231" y="224"/>
                  </a:cubicBezTo>
                  <a:cubicBezTo>
                    <a:pt x="231" y="224"/>
                    <a:pt x="231" y="224"/>
                    <a:pt x="231" y="225"/>
                  </a:cubicBezTo>
                  <a:cubicBezTo>
                    <a:pt x="232" y="232"/>
                    <a:pt x="232" y="232"/>
                    <a:pt x="232" y="232"/>
                  </a:cubicBezTo>
                  <a:cubicBezTo>
                    <a:pt x="232" y="232"/>
                    <a:pt x="232" y="233"/>
                    <a:pt x="233" y="233"/>
                  </a:cubicBezTo>
                  <a:cubicBezTo>
                    <a:pt x="240" y="240"/>
                    <a:pt x="240" y="240"/>
                    <a:pt x="240" y="240"/>
                  </a:cubicBezTo>
                  <a:cubicBezTo>
                    <a:pt x="241" y="240"/>
                    <a:pt x="241" y="241"/>
                    <a:pt x="242" y="241"/>
                  </a:cubicBezTo>
                  <a:cubicBezTo>
                    <a:pt x="245" y="242"/>
                    <a:pt x="245" y="242"/>
                    <a:pt x="245" y="242"/>
                  </a:cubicBezTo>
                  <a:cubicBezTo>
                    <a:pt x="246" y="242"/>
                    <a:pt x="246" y="242"/>
                    <a:pt x="246" y="242"/>
                  </a:cubicBezTo>
                  <a:cubicBezTo>
                    <a:pt x="247" y="242"/>
                    <a:pt x="247" y="242"/>
                    <a:pt x="248" y="241"/>
                  </a:cubicBezTo>
                  <a:cubicBezTo>
                    <a:pt x="248" y="241"/>
                    <a:pt x="249" y="240"/>
                    <a:pt x="249" y="239"/>
                  </a:cubicBezTo>
                  <a:cubicBezTo>
                    <a:pt x="248" y="233"/>
                    <a:pt x="248" y="233"/>
                    <a:pt x="248" y="233"/>
                  </a:cubicBezTo>
                  <a:cubicBezTo>
                    <a:pt x="256" y="221"/>
                    <a:pt x="256" y="221"/>
                    <a:pt x="256" y="221"/>
                  </a:cubicBezTo>
                  <a:cubicBezTo>
                    <a:pt x="267" y="198"/>
                    <a:pt x="267" y="198"/>
                    <a:pt x="267" y="198"/>
                  </a:cubicBezTo>
                  <a:cubicBezTo>
                    <a:pt x="271" y="184"/>
                    <a:pt x="271" y="184"/>
                    <a:pt x="271" y="184"/>
                  </a:cubicBezTo>
                  <a:cubicBezTo>
                    <a:pt x="275" y="176"/>
                    <a:pt x="275" y="176"/>
                    <a:pt x="275" y="176"/>
                  </a:cubicBezTo>
                  <a:cubicBezTo>
                    <a:pt x="281" y="168"/>
                    <a:pt x="281" y="168"/>
                    <a:pt x="281" y="168"/>
                  </a:cubicBezTo>
                  <a:cubicBezTo>
                    <a:pt x="282" y="168"/>
                    <a:pt x="282" y="168"/>
                    <a:pt x="282" y="167"/>
                  </a:cubicBezTo>
                  <a:cubicBezTo>
                    <a:pt x="285" y="153"/>
                    <a:pt x="285" y="153"/>
                    <a:pt x="285" y="153"/>
                  </a:cubicBezTo>
                  <a:cubicBezTo>
                    <a:pt x="285" y="153"/>
                    <a:pt x="285" y="153"/>
                    <a:pt x="285" y="153"/>
                  </a:cubicBezTo>
                  <a:cubicBezTo>
                    <a:pt x="287" y="158"/>
                    <a:pt x="287" y="158"/>
                    <a:pt x="287" y="158"/>
                  </a:cubicBezTo>
                  <a:cubicBezTo>
                    <a:pt x="291" y="165"/>
                    <a:pt x="291" y="165"/>
                    <a:pt x="291" y="165"/>
                  </a:cubicBezTo>
                  <a:cubicBezTo>
                    <a:pt x="291" y="166"/>
                    <a:pt x="292" y="166"/>
                    <a:pt x="293" y="166"/>
                  </a:cubicBezTo>
                  <a:cubicBezTo>
                    <a:pt x="293" y="166"/>
                    <a:pt x="294" y="166"/>
                    <a:pt x="295" y="166"/>
                  </a:cubicBezTo>
                  <a:cubicBezTo>
                    <a:pt x="302" y="159"/>
                    <a:pt x="302" y="159"/>
                    <a:pt x="302" y="159"/>
                  </a:cubicBezTo>
                  <a:cubicBezTo>
                    <a:pt x="302" y="159"/>
                    <a:pt x="302" y="158"/>
                    <a:pt x="303" y="158"/>
                  </a:cubicBezTo>
                  <a:cubicBezTo>
                    <a:pt x="304" y="154"/>
                    <a:pt x="304" y="154"/>
                    <a:pt x="304" y="154"/>
                  </a:cubicBezTo>
                  <a:cubicBezTo>
                    <a:pt x="310" y="147"/>
                    <a:pt x="310" y="147"/>
                    <a:pt x="310" y="147"/>
                  </a:cubicBezTo>
                  <a:cubicBezTo>
                    <a:pt x="316" y="145"/>
                    <a:pt x="316" y="145"/>
                    <a:pt x="316" y="145"/>
                  </a:cubicBezTo>
                  <a:cubicBezTo>
                    <a:pt x="321" y="146"/>
                    <a:pt x="321" y="146"/>
                    <a:pt x="321" y="146"/>
                  </a:cubicBezTo>
                  <a:cubicBezTo>
                    <a:pt x="320" y="150"/>
                    <a:pt x="320" y="150"/>
                    <a:pt x="320" y="150"/>
                  </a:cubicBezTo>
                  <a:cubicBezTo>
                    <a:pt x="314" y="155"/>
                    <a:pt x="314" y="155"/>
                    <a:pt x="314" y="155"/>
                  </a:cubicBezTo>
                  <a:cubicBezTo>
                    <a:pt x="313" y="156"/>
                    <a:pt x="313" y="156"/>
                    <a:pt x="313" y="156"/>
                  </a:cubicBezTo>
                  <a:cubicBezTo>
                    <a:pt x="309" y="166"/>
                    <a:pt x="309" y="166"/>
                    <a:pt x="309" y="166"/>
                  </a:cubicBezTo>
                  <a:cubicBezTo>
                    <a:pt x="309" y="166"/>
                    <a:pt x="309" y="167"/>
                    <a:pt x="310" y="168"/>
                  </a:cubicBezTo>
                  <a:cubicBezTo>
                    <a:pt x="310" y="169"/>
                    <a:pt x="311" y="169"/>
                    <a:pt x="312" y="169"/>
                  </a:cubicBezTo>
                  <a:cubicBezTo>
                    <a:pt x="319" y="170"/>
                    <a:pt x="319" y="170"/>
                    <a:pt x="319" y="170"/>
                  </a:cubicBezTo>
                  <a:cubicBezTo>
                    <a:pt x="320" y="170"/>
                    <a:pt x="321" y="170"/>
                    <a:pt x="321" y="169"/>
                  </a:cubicBezTo>
                  <a:cubicBezTo>
                    <a:pt x="326" y="161"/>
                    <a:pt x="326" y="161"/>
                    <a:pt x="326" y="161"/>
                  </a:cubicBezTo>
                  <a:cubicBezTo>
                    <a:pt x="333" y="154"/>
                    <a:pt x="333" y="154"/>
                    <a:pt x="333" y="154"/>
                  </a:cubicBezTo>
                  <a:cubicBezTo>
                    <a:pt x="341" y="148"/>
                    <a:pt x="341" y="148"/>
                    <a:pt x="341" y="148"/>
                  </a:cubicBezTo>
                  <a:cubicBezTo>
                    <a:pt x="341" y="148"/>
                    <a:pt x="342" y="147"/>
                    <a:pt x="342" y="147"/>
                  </a:cubicBezTo>
                  <a:cubicBezTo>
                    <a:pt x="342" y="139"/>
                    <a:pt x="342" y="139"/>
                    <a:pt x="342" y="139"/>
                  </a:cubicBezTo>
                  <a:cubicBezTo>
                    <a:pt x="346" y="132"/>
                    <a:pt x="346" y="132"/>
                    <a:pt x="346" y="132"/>
                  </a:cubicBezTo>
                  <a:cubicBezTo>
                    <a:pt x="351" y="129"/>
                    <a:pt x="351" y="129"/>
                    <a:pt x="351" y="129"/>
                  </a:cubicBezTo>
                  <a:cubicBezTo>
                    <a:pt x="358" y="128"/>
                    <a:pt x="358" y="128"/>
                    <a:pt x="358" y="128"/>
                  </a:cubicBezTo>
                  <a:cubicBezTo>
                    <a:pt x="365" y="129"/>
                    <a:pt x="365" y="129"/>
                    <a:pt x="365" y="129"/>
                  </a:cubicBezTo>
                  <a:cubicBezTo>
                    <a:pt x="365" y="129"/>
                    <a:pt x="366" y="129"/>
                    <a:pt x="366" y="129"/>
                  </a:cubicBezTo>
                  <a:cubicBezTo>
                    <a:pt x="380" y="124"/>
                    <a:pt x="380" y="124"/>
                    <a:pt x="380" y="124"/>
                  </a:cubicBezTo>
                  <a:cubicBezTo>
                    <a:pt x="388" y="124"/>
                    <a:pt x="388" y="124"/>
                    <a:pt x="388" y="124"/>
                  </a:cubicBezTo>
                  <a:cubicBezTo>
                    <a:pt x="388" y="124"/>
                    <a:pt x="388" y="124"/>
                    <a:pt x="389" y="124"/>
                  </a:cubicBezTo>
                  <a:cubicBezTo>
                    <a:pt x="396" y="120"/>
                    <a:pt x="396" y="120"/>
                    <a:pt x="396" y="120"/>
                  </a:cubicBezTo>
                  <a:cubicBezTo>
                    <a:pt x="396" y="120"/>
                    <a:pt x="397" y="119"/>
                    <a:pt x="397" y="119"/>
                  </a:cubicBezTo>
                  <a:cubicBezTo>
                    <a:pt x="403" y="108"/>
                    <a:pt x="403" y="108"/>
                    <a:pt x="403" y="108"/>
                  </a:cubicBezTo>
                  <a:cubicBezTo>
                    <a:pt x="416" y="106"/>
                    <a:pt x="416" y="106"/>
                    <a:pt x="416" y="106"/>
                  </a:cubicBezTo>
                  <a:cubicBezTo>
                    <a:pt x="423" y="108"/>
                    <a:pt x="423" y="108"/>
                    <a:pt x="423" y="108"/>
                  </a:cubicBezTo>
                  <a:cubicBezTo>
                    <a:pt x="423" y="109"/>
                    <a:pt x="424" y="109"/>
                    <a:pt x="424" y="109"/>
                  </a:cubicBezTo>
                  <a:cubicBezTo>
                    <a:pt x="431" y="108"/>
                    <a:pt x="431" y="108"/>
                    <a:pt x="431" y="108"/>
                  </a:cubicBezTo>
                  <a:cubicBezTo>
                    <a:pt x="445" y="113"/>
                    <a:pt x="445" y="113"/>
                    <a:pt x="445" y="113"/>
                  </a:cubicBezTo>
                  <a:cubicBezTo>
                    <a:pt x="460" y="125"/>
                    <a:pt x="460" y="125"/>
                    <a:pt x="460" y="125"/>
                  </a:cubicBezTo>
                  <a:cubicBezTo>
                    <a:pt x="460" y="125"/>
                    <a:pt x="461" y="126"/>
                    <a:pt x="461" y="126"/>
                  </a:cubicBezTo>
                  <a:cubicBezTo>
                    <a:pt x="468" y="129"/>
                    <a:pt x="468" y="129"/>
                    <a:pt x="468" y="129"/>
                  </a:cubicBezTo>
                  <a:cubicBezTo>
                    <a:pt x="469" y="129"/>
                    <a:pt x="470" y="129"/>
                    <a:pt x="470" y="128"/>
                  </a:cubicBezTo>
                  <a:cubicBezTo>
                    <a:pt x="471" y="128"/>
                    <a:pt x="472" y="127"/>
                    <a:pt x="472" y="126"/>
                  </a:cubicBezTo>
                  <a:cubicBezTo>
                    <a:pt x="472" y="113"/>
                    <a:pt x="472" y="113"/>
                    <a:pt x="472" y="113"/>
                  </a:cubicBezTo>
                  <a:cubicBezTo>
                    <a:pt x="473" y="107"/>
                    <a:pt x="473" y="107"/>
                    <a:pt x="473" y="107"/>
                  </a:cubicBezTo>
                  <a:cubicBezTo>
                    <a:pt x="478" y="106"/>
                    <a:pt x="478" y="106"/>
                    <a:pt x="478" y="106"/>
                  </a:cubicBezTo>
                  <a:cubicBezTo>
                    <a:pt x="484" y="110"/>
                    <a:pt x="484" y="110"/>
                    <a:pt x="484" y="110"/>
                  </a:cubicBezTo>
                  <a:cubicBezTo>
                    <a:pt x="485" y="110"/>
                    <a:pt x="486" y="110"/>
                    <a:pt x="487" y="110"/>
                  </a:cubicBezTo>
                  <a:cubicBezTo>
                    <a:pt x="493" y="107"/>
                    <a:pt x="493" y="107"/>
                    <a:pt x="493" y="107"/>
                  </a:cubicBezTo>
                  <a:cubicBezTo>
                    <a:pt x="528" y="108"/>
                    <a:pt x="528" y="108"/>
                    <a:pt x="528" y="108"/>
                  </a:cubicBezTo>
                  <a:cubicBezTo>
                    <a:pt x="528" y="108"/>
                    <a:pt x="529" y="108"/>
                    <a:pt x="529" y="108"/>
                  </a:cubicBezTo>
                  <a:cubicBezTo>
                    <a:pt x="536" y="106"/>
                    <a:pt x="536" y="106"/>
                    <a:pt x="536" y="106"/>
                  </a:cubicBezTo>
                  <a:cubicBezTo>
                    <a:pt x="537" y="105"/>
                    <a:pt x="537" y="105"/>
                    <a:pt x="538" y="104"/>
                  </a:cubicBezTo>
                  <a:cubicBezTo>
                    <a:pt x="538" y="103"/>
                    <a:pt x="538" y="103"/>
                    <a:pt x="538" y="102"/>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41">
              <a:extLst>
                <a:ext uri="{FF2B5EF4-FFF2-40B4-BE49-F238E27FC236}">
                  <a16:creationId xmlns:a16="http://schemas.microsoft.com/office/drawing/2014/main" id="{27C8C310-515E-43D8-8E3C-90474C0AD395}"/>
                </a:ext>
              </a:extLst>
            </p:cNvPr>
            <p:cNvSpPr>
              <a:spLocks/>
            </p:cNvSpPr>
            <p:nvPr/>
          </p:nvSpPr>
          <p:spPr bwMode="auto">
            <a:xfrm>
              <a:off x="6733565" y="2348629"/>
              <a:ext cx="67719" cy="59633"/>
            </a:xfrm>
            <a:custGeom>
              <a:avLst/>
              <a:gdLst>
                <a:gd name="T0" fmla="*/ 12 w 61"/>
                <a:gd name="T1" fmla="*/ 50 h 53"/>
                <a:gd name="T2" fmla="*/ 15 w 61"/>
                <a:gd name="T3" fmla="*/ 53 h 53"/>
                <a:gd name="T4" fmla="*/ 24 w 61"/>
                <a:gd name="T5" fmla="*/ 36 h 53"/>
                <a:gd name="T6" fmla="*/ 38 w 61"/>
                <a:gd name="T7" fmla="*/ 20 h 53"/>
                <a:gd name="T8" fmla="*/ 44 w 61"/>
                <a:gd name="T9" fmla="*/ 14 h 53"/>
                <a:gd name="T10" fmla="*/ 46 w 61"/>
                <a:gd name="T11" fmla="*/ 7 h 53"/>
                <a:gd name="T12" fmla="*/ 48 w 61"/>
                <a:gd name="T13" fmla="*/ 5 h 53"/>
                <a:gd name="T14" fmla="*/ 57 w 61"/>
                <a:gd name="T15" fmla="*/ 5 h 53"/>
                <a:gd name="T16" fmla="*/ 61 w 61"/>
                <a:gd name="T17" fmla="*/ 2 h 53"/>
                <a:gd name="T18" fmla="*/ 57 w 61"/>
                <a:gd name="T19" fmla="*/ 0 h 53"/>
                <a:gd name="T20" fmla="*/ 43 w 61"/>
                <a:gd name="T21" fmla="*/ 1 h 53"/>
                <a:gd name="T22" fmla="*/ 28 w 61"/>
                <a:gd name="T23" fmla="*/ 6 h 53"/>
                <a:gd name="T24" fmla="*/ 14 w 61"/>
                <a:gd name="T25" fmla="*/ 14 h 53"/>
                <a:gd name="T26" fmla="*/ 3 w 61"/>
                <a:gd name="T27" fmla="*/ 29 h 53"/>
                <a:gd name="T28" fmla="*/ 0 w 61"/>
                <a:gd name="T29" fmla="*/ 35 h 53"/>
                <a:gd name="T30" fmla="*/ 2 w 61"/>
                <a:gd name="T31" fmla="*/ 40 h 53"/>
                <a:gd name="T32" fmla="*/ 11 w 61"/>
                <a:gd name="T33" fmla="*/ 40 h 53"/>
                <a:gd name="T34" fmla="*/ 12 w 61"/>
                <a:gd name="T35" fmla="*/ 35 h 53"/>
                <a:gd name="T36" fmla="*/ 14 w 61"/>
                <a:gd name="T37" fmla="*/ 32 h 53"/>
                <a:gd name="T38" fmla="*/ 14 w 61"/>
                <a:gd name="T39" fmla="*/ 32 h 53"/>
                <a:gd name="T40" fmla="*/ 17 w 61"/>
                <a:gd name="T41" fmla="*/ 35 h 53"/>
                <a:gd name="T42" fmla="*/ 17 w 61"/>
                <a:gd name="T43" fmla="*/ 42 h 53"/>
                <a:gd name="T44" fmla="*/ 16 w 61"/>
                <a:gd name="T45" fmla="*/ 44 h 53"/>
                <a:gd name="T46" fmla="*/ 12 w 61"/>
                <a:gd name="T47" fmla="*/ 5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 h="53">
                  <a:moveTo>
                    <a:pt x="12" y="50"/>
                  </a:moveTo>
                  <a:cubicBezTo>
                    <a:pt x="15" y="53"/>
                    <a:pt x="15" y="53"/>
                    <a:pt x="15" y="53"/>
                  </a:cubicBezTo>
                  <a:cubicBezTo>
                    <a:pt x="24" y="36"/>
                    <a:pt x="24" y="36"/>
                    <a:pt x="24" y="36"/>
                  </a:cubicBezTo>
                  <a:cubicBezTo>
                    <a:pt x="38" y="20"/>
                    <a:pt x="38" y="20"/>
                    <a:pt x="38" y="20"/>
                  </a:cubicBezTo>
                  <a:cubicBezTo>
                    <a:pt x="44" y="14"/>
                    <a:pt x="44" y="14"/>
                    <a:pt x="44" y="14"/>
                  </a:cubicBezTo>
                  <a:cubicBezTo>
                    <a:pt x="46" y="7"/>
                    <a:pt x="46" y="7"/>
                    <a:pt x="46" y="7"/>
                  </a:cubicBezTo>
                  <a:cubicBezTo>
                    <a:pt x="46" y="6"/>
                    <a:pt x="47" y="5"/>
                    <a:pt x="48" y="5"/>
                  </a:cubicBezTo>
                  <a:cubicBezTo>
                    <a:pt x="57" y="5"/>
                    <a:pt x="57" y="5"/>
                    <a:pt x="57" y="5"/>
                  </a:cubicBezTo>
                  <a:cubicBezTo>
                    <a:pt x="61" y="2"/>
                    <a:pt x="61" y="2"/>
                    <a:pt x="61" y="2"/>
                  </a:cubicBezTo>
                  <a:cubicBezTo>
                    <a:pt x="57" y="0"/>
                    <a:pt x="57" y="0"/>
                    <a:pt x="57" y="0"/>
                  </a:cubicBezTo>
                  <a:cubicBezTo>
                    <a:pt x="43" y="1"/>
                    <a:pt x="43" y="1"/>
                    <a:pt x="43" y="1"/>
                  </a:cubicBezTo>
                  <a:cubicBezTo>
                    <a:pt x="28" y="6"/>
                    <a:pt x="28" y="6"/>
                    <a:pt x="28" y="6"/>
                  </a:cubicBezTo>
                  <a:cubicBezTo>
                    <a:pt x="14" y="14"/>
                    <a:pt x="14" y="14"/>
                    <a:pt x="14" y="14"/>
                  </a:cubicBezTo>
                  <a:cubicBezTo>
                    <a:pt x="3" y="29"/>
                    <a:pt x="3" y="29"/>
                    <a:pt x="3" y="29"/>
                  </a:cubicBezTo>
                  <a:cubicBezTo>
                    <a:pt x="0" y="35"/>
                    <a:pt x="0" y="35"/>
                    <a:pt x="0" y="35"/>
                  </a:cubicBezTo>
                  <a:cubicBezTo>
                    <a:pt x="2" y="40"/>
                    <a:pt x="2" y="40"/>
                    <a:pt x="2" y="40"/>
                  </a:cubicBezTo>
                  <a:cubicBezTo>
                    <a:pt x="11" y="40"/>
                    <a:pt x="11" y="40"/>
                    <a:pt x="11" y="40"/>
                  </a:cubicBezTo>
                  <a:cubicBezTo>
                    <a:pt x="12" y="35"/>
                    <a:pt x="12" y="35"/>
                    <a:pt x="12" y="35"/>
                  </a:cubicBezTo>
                  <a:cubicBezTo>
                    <a:pt x="12" y="33"/>
                    <a:pt x="13" y="32"/>
                    <a:pt x="14" y="32"/>
                  </a:cubicBezTo>
                  <a:cubicBezTo>
                    <a:pt x="14" y="32"/>
                    <a:pt x="14" y="32"/>
                    <a:pt x="14" y="32"/>
                  </a:cubicBezTo>
                  <a:cubicBezTo>
                    <a:pt x="16" y="33"/>
                    <a:pt x="17" y="34"/>
                    <a:pt x="17" y="35"/>
                  </a:cubicBezTo>
                  <a:cubicBezTo>
                    <a:pt x="17" y="42"/>
                    <a:pt x="17" y="42"/>
                    <a:pt x="17" y="42"/>
                  </a:cubicBezTo>
                  <a:cubicBezTo>
                    <a:pt x="17" y="43"/>
                    <a:pt x="17" y="43"/>
                    <a:pt x="16" y="44"/>
                  </a:cubicBezTo>
                  <a:lnTo>
                    <a:pt x="12" y="50"/>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42">
              <a:extLst>
                <a:ext uri="{FF2B5EF4-FFF2-40B4-BE49-F238E27FC236}">
                  <a16:creationId xmlns:a16="http://schemas.microsoft.com/office/drawing/2014/main" id="{450AFAF0-639A-4A1F-82EB-96A803D7AE06}"/>
                </a:ext>
              </a:extLst>
            </p:cNvPr>
            <p:cNvSpPr>
              <a:spLocks/>
            </p:cNvSpPr>
            <p:nvPr/>
          </p:nvSpPr>
          <p:spPr bwMode="auto">
            <a:xfrm>
              <a:off x="6725480" y="2345597"/>
              <a:ext cx="79847" cy="66708"/>
            </a:xfrm>
            <a:custGeom>
              <a:avLst/>
              <a:gdLst>
                <a:gd name="T0" fmla="*/ 59 w 79"/>
                <a:gd name="T1" fmla="*/ 20 h 66"/>
                <a:gd name="T2" fmla="*/ 60 w 79"/>
                <a:gd name="T3" fmla="*/ 12 h 66"/>
                <a:gd name="T4" fmla="*/ 71 w 79"/>
                <a:gd name="T5" fmla="*/ 12 h 66"/>
                <a:gd name="T6" fmla="*/ 79 w 79"/>
                <a:gd name="T7" fmla="*/ 5 h 66"/>
                <a:gd name="T8" fmla="*/ 71 w 79"/>
                <a:gd name="T9" fmla="*/ 0 h 66"/>
                <a:gd name="T10" fmla="*/ 55 w 79"/>
                <a:gd name="T11" fmla="*/ 1 h 66"/>
                <a:gd name="T12" fmla="*/ 36 w 79"/>
                <a:gd name="T13" fmla="*/ 7 h 66"/>
                <a:gd name="T14" fmla="*/ 21 w 79"/>
                <a:gd name="T15" fmla="*/ 18 h 66"/>
                <a:gd name="T16" fmla="*/ 9 w 79"/>
                <a:gd name="T17" fmla="*/ 34 h 66"/>
                <a:gd name="T18" fmla="*/ 0 w 79"/>
                <a:gd name="T19" fmla="*/ 42 h 66"/>
                <a:gd name="T20" fmla="*/ 8 w 79"/>
                <a:gd name="T21" fmla="*/ 51 h 66"/>
                <a:gd name="T22" fmla="*/ 16 w 79"/>
                <a:gd name="T23" fmla="*/ 51 h 66"/>
                <a:gd name="T24" fmla="*/ 20 w 79"/>
                <a:gd name="T25" fmla="*/ 49 h 66"/>
                <a:gd name="T26" fmla="*/ 23 w 79"/>
                <a:gd name="T27" fmla="*/ 49 h 66"/>
                <a:gd name="T28" fmla="*/ 16 w 79"/>
                <a:gd name="T29" fmla="*/ 58 h 66"/>
                <a:gd name="T30" fmla="*/ 25 w 79"/>
                <a:gd name="T31" fmla="*/ 66 h 66"/>
                <a:gd name="T32" fmla="*/ 36 w 79"/>
                <a:gd name="T33" fmla="*/ 44 h 66"/>
                <a:gd name="T34" fmla="*/ 50 w 79"/>
                <a:gd name="T35" fmla="*/ 27 h 66"/>
                <a:gd name="T36" fmla="*/ 59 w 79"/>
                <a:gd name="T37" fmla="*/ 20 h 66"/>
                <a:gd name="T38" fmla="*/ 59 w 79"/>
                <a:gd name="T39" fmla="*/ 2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9" h="66">
                  <a:moveTo>
                    <a:pt x="59" y="20"/>
                  </a:moveTo>
                  <a:lnTo>
                    <a:pt x="60" y="12"/>
                  </a:lnTo>
                  <a:lnTo>
                    <a:pt x="71" y="12"/>
                  </a:lnTo>
                  <a:lnTo>
                    <a:pt x="79" y="5"/>
                  </a:lnTo>
                  <a:lnTo>
                    <a:pt x="71" y="0"/>
                  </a:lnTo>
                  <a:lnTo>
                    <a:pt x="55" y="1"/>
                  </a:lnTo>
                  <a:lnTo>
                    <a:pt x="36" y="7"/>
                  </a:lnTo>
                  <a:lnTo>
                    <a:pt x="21" y="18"/>
                  </a:lnTo>
                  <a:lnTo>
                    <a:pt x="9" y="34"/>
                  </a:lnTo>
                  <a:lnTo>
                    <a:pt x="0" y="42"/>
                  </a:lnTo>
                  <a:lnTo>
                    <a:pt x="8" y="51"/>
                  </a:lnTo>
                  <a:lnTo>
                    <a:pt x="16" y="51"/>
                  </a:lnTo>
                  <a:lnTo>
                    <a:pt x="20" y="49"/>
                  </a:lnTo>
                  <a:lnTo>
                    <a:pt x="23" y="49"/>
                  </a:lnTo>
                  <a:lnTo>
                    <a:pt x="16" y="58"/>
                  </a:lnTo>
                  <a:lnTo>
                    <a:pt x="25" y="66"/>
                  </a:lnTo>
                  <a:lnTo>
                    <a:pt x="36" y="44"/>
                  </a:lnTo>
                  <a:lnTo>
                    <a:pt x="50" y="27"/>
                  </a:lnTo>
                  <a:lnTo>
                    <a:pt x="59" y="20"/>
                  </a:lnTo>
                  <a:lnTo>
                    <a:pt x="59" y="20"/>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43">
              <a:extLst>
                <a:ext uri="{FF2B5EF4-FFF2-40B4-BE49-F238E27FC236}">
                  <a16:creationId xmlns:a16="http://schemas.microsoft.com/office/drawing/2014/main" id="{A655B145-E651-453A-A697-278413D710C9}"/>
                </a:ext>
              </a:extLst>
            </p:cNvPr>
            <p:cNvSpPr>
              <a:spLocks noEditPoints="1"/>
            </p:cNvSpPr>
            <p:nvPr/>
          </p:nvSpPr>
          <p:spPr bwMode="auto">
            <a:xfrm>
              <a:off x="6957947" y="2528538"/>
              <a:ext cx="406312" cy="551857"/>
            </a:xfrm>
            <a:custGeom>
              <a:avLst/>
              <a:gdLst>
                <a:gd name="T0" fmla="*/ 363 w 366"/>
                <a:gd name="T1" fmla="*/ 296 h 496"/>
                <a:gd name="T2" fmla="*/ 350 w 366"/>
                <a:gd name="T3" fmla="*/ 266 h 496"/>
                <a:gd name="T4" fmla="*/ 342 w 366"/>
                <a:gd name="T5" fmla="*/ 242 h 496"/>
                <a:gd name="T6" fmla="*/ 323 w 366"/>
                <a:gd name="T7" fmla="*/ 193 h 496"/>
                <a:gd name="T8" fmla="*/ 297 w 366"/>
                <a:gd name="T9" fmla="*/ 181 h 496"/>
                <a:gd name="T10" fmla="*/ 275 w 366"/>
                <a:gd name="T11" fmla="*/ 196 h 496"/>
                <a:gd name="T12" fmla="*/ 263 w 366"/>
                <a:gd name="T13" fmla="*/ 210 h 496"/>
                <a:gd name="T14" fmla="*/ 253 w 366"/>
                <a:gd name="T15" fmla="*/ 230 h 496"/>
                <a:gd name="T16" fmla="*/ 239 w 366"/>
                <a:gd name="T17" fmla="*/ 240 h 496"/>
                <a:gd name="T18" fmla="*/ 225 w 366"/>
                <a:gd name="T19" fmla="*/ 208 h 496"/>
                <a:gd name="T20" fmla="*/ 248 w 366"/>
                <a:gd name="T21" fmla="*/ 189 h 496"/>
                <a:gd name="T22" fmla="*/ 257 w 366"/>
                <a:gd name="T23" fmla="*/ 163 h 496"/>
                <a:gd name="T24" fmla="*/ 263 w 366"/>
                <a:gd name="T25" fmla="*/ 115 h 496"/>
                <a:gd name="T26" fmla="*/ 255 w 366"/>
                <a:gd name="T27" fmla="*/ 91 h 496"/>
                <a:gd name="T28" fmla="*/ 252 w 366"/>
                <a:gd name="T29" fmla="*/ 72 h 496"/>
                <a:gd name="T30" fmla="*/ 249 w 366"/>
                <a:gd name="T31" fmla="*/ 58 h 496"/>
                <a:gd name="T32" fmla="*/ 233 w 366"/>
                <a:gd name="T33" fmla="*/ 38 h 496"/>
                <a:gd name="T34" fmla="*/ 201 w 366"/>
                <a:gd name="T35" fmla="*/ 30 h 496"/>
                <a:gd name="T36" fmla="*/ 179 w 366"/>
                <a:gd name="T37" fmla="*/ 24 h 496"/>
                <a:gd name="T38" fmla="*/ 160 w 366"/>
                <a:gd name="T39" fmla="*/ 10 h 496"/>
                <a:gd name="T40" fmla="*/ 139 w 366"/>
                <a:gd name="T41" fmla="*/ 6 h 496"/>
                <a:gd name="T42" fmla="*/ 123 w 366"/>
                <a:gd name="T43" fmla="*/ 0 h 496"/>
                <a:gd name="T44" fmla="*/ 108 w 366"/>
                <a:gd name="T45" fmla="*/ 10 h 496"/>
                <a:gd name="T46" fmla="*/ 95 w 366"/>
                <a:gd name="T47" fmla="*/ 27 h 496"/>
                <a:gd name="T48" fmla="*/ 106 w 366"/>
                <a:gd name="T49" fmla="*/ 49 h 496"/>
                <a:gd name="T50" fmla="*/ 90 w 366"/>
                <a:gd name="T51" fmla="*/ 56 h 496"/>
                <a:gd name="T52" fmla="*/ 80 w 366"/>
                <a:gd name="T53" fmla="*/ 95 h 496"/>
                <a:gd name="T54" fmla="*/ 76 w 366"/>
                <a:gd name="T55" fmla="*/ 101 h 496"/>
                <a:gd name="T56" fmla="*/ 66 w 366"/>
                <a:gd name="T57" fmla="*/ 106 h 496"/>
                <a:gd name="T58" fmla="*/ 68 w 366"/>
                <a:gd name="T59" fmla="*/ 96 h 496"/>
                <a:gd name="T60" fmla="*/ 54 w 366"/>
                <a:gd name="T61" fmla="*/ 90 h 496"/>
                <a:gd name="T62" fmla="*/ 48 w 366"/>
                <a:gd name="T63" fmla="*/ 104 h 496"/>
                <a:gd name="T64" fmla="*/ 36 w 366"/>
                <a:gd name="T65" fmla="*/ 108 h 496"/>
                <a:gd name="T66" fmla="*/ 21 w 366"/>
                <a:gd name="T67" fmla="*/ 136 h 496"/>
                <a:gd name="T68" fmla="*/ 15 w 366"/>
                <a:gd name="T69" fmla="*/ 154 h 496"/>
                <a:gd name="T70" fmla="*/ 16 w 366"/>
                <a:gd name="T71" fmla="*/ 176 h 496"/>
                <a:gd name="T72" fmla="*/ 1 w 366"/>
                <a:gd name="T73" fmla="*/ 215 h 496"/>
                <a:gd name="T74" fmla="*/ 5 w 366"/>
                <a:gd name="T75" fmla="*/ 232 h 496"/>
                <a:gd name="T76" fmla="*/ 2 w 366"/>
                <a:gd name="T77" fmla="*/ 269 h 496"/>
                <a:gd name="T78" fmla="*/ 28 w 366"/>
                <a:gd name="T79" fmla="*/ 318 h 496"/>
                <a:gd name="T80" fmla="*/ 42 w 366"/>
                <a:gd name="T81" fmla="*/ 396 h 496"/>
                <a:gd name="T82" fmla="*/ 21 w 366"/>
                <a:gd name="T83" fmla="*/ 468 h 496"/>
                <a:gd name="T84" fmla="*/ 3 w 366"/>
                <a:gd name="T85" fmla="*/ 491 h 496"/>
                <a:gd name="T86" fmla="*/ 8 w 366"/>
                <a:gd name="T87" fmla="*/ 496 h 496"/>
                <a:gd name="T88" fmla="*/ 181 w 366"/>
                <a:gd name="T89" fmla="*/ 483 h 496"/>
                <a:gd name="T90" fmla="*/ 302 w 366"/>
                <a:gd name="T91" fmla="*/ 446 h 496"/>
                <a:gd name="T92" fmla="*/ 318 w 366"/>
                <a:gd name="T93" fmla="*/ 394 h 496"/>
                <a:gd name="T94" fmla="*/ 325 w 366"/>
                <a:gd name="T95" fmla="*/ 386 h 496"/>
                <a:gd name="T96" fmla="*/ 335 w 366"/>
                <a:gd name="T97" fmla="*/ 359 h 496"/>
                <a:gd name="T98" fmla="*/ 341 w 366"/>
                <a:gd name="T99" fmla="*/ 346 h 496"/>
                <a:gd name="T100" fmla="*/ 349 w 366"/>
                <a:gd name="T101" fmla="*/ 356 h 496"/>
                <a:gd name="T102" fmla="*/ 364 w 366"/>
                <a:gd name="T103" fmla="*/ 329 h 496"/>
                <a:gd name="T104" fmla="*/ 364 w 366"/>
                <a:gd name="T105" fmla="*/ 307 h 496"/>
                <a:gd name="T106" fmla="*/ 66 w 366"/>
                <a:gd name="T107" fmla="*/ 122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6" h="496">
                  <a:moveTo>
                    <a:pt x="364" y="307"/>
                  </a:moveTo>
                  <a:cubicBezTo>
                    <a:pt x="365" y="307"/>
                    <a:pt x="365" y="306"/>
                    <a:pt x="366" y="305"/>
                  </a:cubicBezTo>
                  <a:cubicBezTo>
                    <a:pt x="366" y="303"/>
                    <a:pt x="366" y="299"/>
                    <a:pt x="364" y="297"/>
                  </a:cubicBezTo>
                  <a:cubicBezTo>
                    <a:pt x="364" y="296"/>
                    <a:pt x="363" y="296"/>
                    <a:pt x="363" y="296"/>
                  </a:cubicBezTo>
                  <a:cubicBezTo>
                    <a:pt x="361" y="295"/>
                    <a:pt x="359" y="290"/>
                    <a:pt x="358" y="288"/>
                  </a:cubicBezTo>
                  <a:cubicBezTo>
                    <a:pt x="358" y="287"/>
                    <a:pt x="357" y="286"/>
                    <a:pt x="357" y="285"/>
                  </a:cubicBezTo>
                  <a:cubicBezTo>
                    <a:pt x="356" y="283"/>
                    <a:pt x="354" y="279"/>
                    <a:pt x="353" y="277"/>
                  </a:cubicBezTo>
                  <a:cubicBezTo>
                    <a:pt x="352" y="274"/>
                    <a:pt x="351" y="270"/>
                    <a:pt x="350" y="266"/>
                  </a:cubicBezTo>
                  <a:cubicBezTo>
                    <a:pt x="350" y="264"/>
                    <a:pt x="349" y="262"/>
                    <a:pt x="349" y="261"/>
                  </a:cubicBezTo>
                  <a:cubicBezTo>
                    <a:pt x="349" y="260"/>
                    <a:pt x="348" y="259"/>
                    <a:pt x="348" y="257"/>
                  </a:cubicBezTo>
                  <a:cubicBezTo>
                    <a:pt x="347" y="253"/>
                    <a:pt x="346" y="248"/>
                    <a:pt x="345" y="246"/>
                  </a:cubicBezTo>
                  <a:cubicBezTo>
                    <a:pt x="344" y="244"/>
                    <a:pt x="343" y="243"/>
                    <a:pt x="342" y="242"/>
                  </a:cubicBezTo>
                  <a:cubicBezTo>
                    <a:pt x="341" y="240"/>
                    <a:pt x="341" y="239"/>
                    <a:pt x="340" y="238"/>
                  </a:cubicBezTo>
                  <a:cubicBezTo>
                    <a:pt x="339" y="235"/>
                    <a:pt x="338" y="229"/>
                    <a:pt x="336" y="224"/>
                  </a:cubicBezTo>
                  <a:cubicBezTo>
                    <a:pt x="335" y="218"/>
                    <a:pt x="334" y="212"/>
                    <a:pt x="332" y="209"/>
                  </a:cubicBezTo>
                  <a:cubicBezTo>
                    <a:pt x="331" y="204"/>
                    <a:pt x="326" y="197"/>
                    <a:pt x="323" y="193"/>
                  </a:cubicBezTo>
                  <a:cubicBezTo>
                    <a:pt x="322" y="191"/>
                    <a:pt x="318" y="187"/>
                    <a:pt x="316" y="185"/>
                  </a:cubicBezTo>
                  <a:cubicBezTo>
                    <a:pt x="314" y="184"/>
                    <a:pt x="309" y="183"/>
                    <a:pt x="308" y="182"/>
                  </a:cubicBezTo>
                  <a:cubicBezTo>
                    <a:pt x="306" y="182"/>
                    <a:pt x="300" y="181"/>
                    <a:pt x="299" y="181"/>
                  </a:cubicBezTo>
                  <a:cubicBezTo>
                    <a:pt x="299" y="180"/>
                    <a:pt x="298" y="181"/>
                    <a:pt x="297" y="181"/>
                  </a:cubicBezTo>
                  <a:cubicBezTo>
                    <a:pt x="295" y="183"/>
                    <a:pt x="289" y="188"/>
                    <a:pt x="286" y="190"/>
                  </a:cubicBezTo>
                  <a:cubicBezTo>
                    <a:pt x="286" y="190"/>
                    <a:pt x="284" y="190"/>
                    <a:pt x="283" y="191"/>
                  </a:cubicBezTo>
                  <a:cubicBezTo>
                    <a:pt x="282" y="191"/>
                    <a:pt x="280" y="192"/>
                    <a:pt x="279" y="192"/>
                  </a:cubicBezTo>
                  <a:cubicBezTo>
                    <a:pt x="278" y="193"/>
                    <a:pt x="276" y="195"/>
                    <a:pt x="275" y="196"/>
                  </a:cubicBezTo>
                  <a:cubicBezTo>
                    <a:pt x="273" y="198"/>
                    <a:pt x="272" y="199"/>
                    <a:pt x="271" y="200"/>
                  </a:cubicBezTo>
                  <a:cubicBezTo>
                    <a:pt x="271" y="200"/>
                    <a:pt x="270" y="200"/>
                    <a:pt x="269" y="200"/>
                  </a:cubicBezTo>
                  <a:cubicBezTo>
                    <a:pt x="267" y="201"/>
                    <a:pt x="264" y="201"/>
                    <a:pt x="263" y="204"/>
                  </a:cubicBezTo>
                  <a:cubicBezTo>
                    <a:pt x="262" y="205"/>
                    <a:pt x="263" y="208"/>
                    <a:pt x="263" y="210"/>
                  </a:cubicBezTo>
                  <a:cubicBezTo>
                    <a:pt x="264" y="210"/>
                    <a:pt x="264" y="211"/>
                    <a:pt x="264" y="212"/>
                  </a:cubicBezTo>
                  <a:cubicBezTo>
                    <a:pt x="264" y="215"/>
                    <a:pt x="262" y="221"/>
                    <a:pt x="261" y="224"/>
                  </a:cubicBezTo>
                  <a:cubicBezTo>
                    <a:pt x="260" y="224"/>
                    <a:pt x="257" y="227"/>
                    <a:pt x="254" y="229"/>
                  </a:cubicBezTo>
                  <a:cubicBezTo>
                    <a:pt x="254" y="229"/>
                    <a:pt x="254" y="229"/>
                    <a:pt x="253" y="230"/>
                  </a:cubicBezTo>
                  <a:cubicBezTo>
                    <a:pt x="250" y="236"/>
                    <a:pt x="250" y="236"/>
                    <a:pt x="250" y="236"/>
                  </a:cubicBezTo>
                  <a:cubicBezTo>
                    <a:pt x="245" y="243"/>
                    <a:pt x="245" y="243"/>
                    <a:pt x="245" y="243"/>
                  </a:cubicBezTo>
                  <a:cubicBezTo>
                    <a:pt x="240" y="241"/>
                    <a:pt x="240" y="241"/>
                    <a:pt x="240" y="241"/>
                  </a:cubicBezTo>
                  <a:cubicBezTo>
                    <a:pt x="240" y="241"/>
                    <a:pt x="240" y="240"/>
                    <a:pt x="239" y="240"/>
                  </a:cubicBezTo>
                  <a:cubicBezTo>
                    <a:pt x="232" y="240"/>
                    <a:pt x="232" y="240"/>
                    <a:pt x="232" y="240"/>
                  </a:cubicBezTo>
                  <a:cubicBezTo>
                    <a:pt x="224" y="232"/>
                    <a:pt x="224" y="232"/>
                    <a:pt x="224" y="232"/>
                  </a:cubicBezTo>
                  <a:cubicBezTo>
                    <a:pt x="224" y="222"/>
                    <a:pt x="224" y="222"/>
                    <a:pt x="224" y="222"/>
                  </a:cubicBezTo>
                  <a:cubicBezTo>
                    <a:pt x="225" y="208"/>
                    <a:pt x="225" y="208"/>
                    <a:pt x="225" y="208"/>
                  </a:cubicBezTo>
                  <a:cubicBezTo>
                    <a:pt x="231" y="203"/>
                    <a:pt x="231" y="203"/>
                    <a:pt x="231" y="203"/>
                  </a:cubicBezTo>
                  <a:cubicBezTo>
                    <a:pt x="239" y="202"/>
                    <a:pt x="239" y="202"/>
                    <a:pt x="239" y="202"/>
                  </a:cubicBezTo>
                  <a:cubicBezTo>
                    <a:pt x="240" y="202"/>
                    <a:pt x="240" y="202"/>
                    <a:pt x="241" y="201"/>
                  </a:cubicBezTo>
                  <a:cubicBezTo>
                    <a:pt x="248" y="189"/>
                    <a:pt x="248" y="189"/>
                    <a:pt x="248" y="189"/>
                  </a:cubicBezTo>
                  <a:cubicBezTo>
                    <a:pt x="248" y="189"/>
                    <a:pt x="248" y="189"/>
                    <a:pt x="248" y="188"/>
                  </a:cubicBezTo>
                  <a:cubicBezTo>
                    <a:pt x="249" y="174"/>
                    <a:pt x="249" y="174"/>
                    <a:pt x="249" y="174"/>
                  </a:cubicBezTo>
                  <a:cubicBezTo>
                    <a:pt x="251" y="167"/>
                    <a:pt x="251" y="167"/>
                    <a:pt x="251" y="167"/>
                  </a:cubicBezTo>
                  <a:cubicBezTo>
                    <a:pt x="257" y="163"/>
                    <a:pt x="257" y="163"/>
                    <a:pt x="257" y="163"/>
                  </a:cubicBezTo>
                  <a:cubicBezTo>
                    <a:pt x="265" y="156"/>
                    <a:pt x="265" y="156"/>
                    <a:pt x="265" y="156"/>
                  </a:cubicBezTo>
                  <a:cubicBezTo>
                    <a:pt x="265" y="155"/>
                    <a:pt x="266" y="155"/>
                    <a:pt x="265" y="154"/>
                  </a:cubicBezTo>
                  <a:cubicBezTo>
                    <a:pt x="263" y="131"/>
                    <a:pt x="263" y="131"/>
                    <a:pt x="263" y="131"/>
                  </a:cubicBezTo>
                  <a:cubicBezTo>
                    <a:pt x="263" y="115"/>
                    <a:pt x="263" y="115"/>
                    <a:pt x="263" y="115"/>
                  </a:cubicBezTo>
                  <a:cubicBezTo>
                    <a:pt x="263" y="115"/>
                    <a:pt x="263" y="115"/>
                    <a:pt x="263" y="115"/>
                  </a:cubicBezTo>
                  <a:cubicBezTo>
                    <a:pt x="259" y="99"/>
                    <a:pt x="259" y="99"/>
                    <a:pt x="259" y="99"/>
                  </a:cubicBezTo>
                  <a:cubicBezTo>
                    <a:pt x="256" y="92"/>
                    <a:pt x="256" y="92"/>
                    <a:pt x="256" y="92"/>
                  </a:cubicBezTo>
                  <a:cubicBezTo>
                    <a:pt x="256" y="91"/>
                    <a:pt x="255" y="91"/>
                    <a:pt x="255" y="91"/>
                  </a:cubicBezTo>
                  <a:cubicBezTo>
                    <a:pt x="247" y="86"/>
                    <a:pt x="247" y="86"/>
                    <a:pt x="247" y="86"/>
                  </a:cubicBezTo>
                  <a:cubicBezTo>
                    <a:pt x="244" y="80"/>
                    <a:pt x="244" y="80"/>
                    <a:pt x="244" y="80"/>
                  </a:cubicBezTo>
                  <a:cubicBezTo>
                    <a:pt x="246" y="73"/>
                    <a:pt x="246" y="73"/>
                    <a:pt x="246" y="73"/>
                  </a:cubicBezTo>
                  <a:cubicBezTo>
                    <a:pt x="252" y="72"/>
                    <a:pt x="252" y="72"/>
                    <a:pt x="252" y="72"/>
                  </a:cubicBezTo>
                  <a:cubicBezTo>
                    <a:pt x="253" y="72"/>
                    <a:pt x="254" y="71"/>
                    <a:pt x="254" y="70"/>
                  </a:cubicBezTo>
                  <a:cubicBezTo>
                    <a:pt x="254" y="63"/>
                    <a:pt x="254" y="63"/>
                    <a:pt x="254" y="63"/>
                  </a:cubicBezTo>
                  <a:cubicBezTo>
                    <a:pt x="254" y="62"/>
                    <a:pt x="253" y="61"/>
                    <a:pt x="253" y="61"/>
                  </a:cubicBezTo>
                  <a:cubicBezTo>
                    <a:pt x="249" y="58"/>
                    <a:pt x="249" y="58"/>
                    <a:pt x="249" y="58"/>
                  </a:cubicBezTo>
                  <a:cubicBezTo>
                    <a:pt x="244" y="51"/>
                    <a:pt x="244" y="51"/>
                    <a:pt x="244" y="51"/>
                  </a:cubicBezTo>
                  <a:cubicBezTo>
                    <a:pt x="242" y="45"/>
                    <a:pt x="242" y="45"/>
                    <a:pt x="242" y="45"/>
                  </a:cubicBezTo>
                  <a:cubicBezTo>
                    <a:pt x="241" y="44"/>
                    <a:pt x="241" y="44"/>
                    <a:pt x="240" y="43"/>
                  </a:cubicBezTo>
                  <a:cubicBezTo>
                    <a:pt x="233" y="38"/>
                    <a:pt x="233" y="38"/>
                    <a:pt x="233" y="38"/>
                  </a:cubicBezTo>
                  <a:cubicBezTo>
                    <a:pt x="232" y="38"/>
                    <a:pt x="232" y="38"/>
                    <a:pt x="231" y="38"/>
                  </a:cubicBezTo>
                  <a:cubicBezTo>
                    <a:pt x="225" y="38"/>
                    <a:pt x="225" y="38"/>
                    <a:pt x="225" y="38"/>
                  </a:cubicBezTo>
                  <a:cubicBezTo>
                    <a:pt x="217" y="34"/>
                    <a:pt x="217" y="34"/>
                    <a:pt x="217" y="34"/>
                  </a:cubicBezTo>
                  <a:cubicBezTo>
                    <a:pt x="201" y="30"/>
                    <a:pt x="201" y="30"/>
                    <a:pt x="201" y="30"/>
                  </a:cubicBezTo>
                  <a:cubicBezTo>
                    <a:pt x="194" y="26"/>
                    <a:pt x="194" y="26"/>
                    <a:pt x="194" y="26"/>
                  </a:cubicBezTo>
                  <a:cubicBezTo>
                    <a:pt x="194" y="26"/>
                    <a:pt x="193" y="26"/>
                    <a:pt x="193" y="26"/>
                  </a:cubicBezTo>
                  <a:cubicBezTo>
                    <a:pt x="185" y="26"/>
                    <a:pt x="185" y="26"/>
                    <a:pt x="185" y="26"/>
                  </a:cubicBezTo>
                  <a:cubicBezTo>
                    <a:pt x="179" y="24"/>
                    <a:pt x="179" y="24"/>
                    <a:pt x="179" y="24"/>
                  </a:cubicBezTo>
                  <a:cubicBezTo>
                    <a:pt x="176" y="18"/>
                    <a:pt x="176" y="18"/>
                    <a:pt x="176" y="18"/>
                  </a:cubicBezTo>
                  <a:cubicBezTo>
                    <a:pt x="175" y="18"/>
                    <a:pt x="175" y="17"/>
                    <a:pt x="175" y="17"/>
                  </a:cubicBezTo>
                  <a:cubicBezTo>
                    <a:pt x="167" y="13"/>
                    <a:pt x="167" y="13"/>
                    <a:pt x="167" y="13"/>
                  </a:cubicBezTo>
                  <a:cubicBezTo>
                    <a:pt x="160" y="10"/>
                    <a:pt x="160" y="10"/>
                    <a:pt x="160" y="10"/>
                  </a:cubicBezTo>
                  <a:cubicBezTo>
                    <a:pt x="159" y="10"/>
                    <a:pt x="159" y="10"/>
                    <a:pt x="159" y="10"/>
                  </a:cubicBezTo>
                  <a:cubicBezTo>
                    <a:pt x="153" y="12"/>
                    <a:pt x="153" y="12"/>
                    <a:pt x="153" y="12"/>
                  </a:cubicBezTo>
                  <a:cubicBezTo>
                    <a:pt x="146" y="12"/>
                    <a:pt x="146" y="12"/>
                    <a:pt x="146" y="12"/>
                  </a:cubicBezTo>
                  <a:cubicBezTo>
                    <a:pt x="145" y="10"/>
                    <a:pt x="141" y="7"/>
                    <a:pt x="139" y="6"/>
                  </a:cubicBezTo>
                  <a:cubicBezTo>
                    <a:pt x="138" y="6"/>
                    <a:pt x="136" y="5"/>
                    <a:pt x="135" y="5"/>
                  </a:cubicBezTo>
                  <a:cubicBezTo>
                    <a:pt x="134" y="5"/>
                    <a:pt x="133" y="4"/>
                    <a:pt x="132" y="4"/>
                  </a:cubicBezTo>
                  <a:cubicBezTo>
                    <a:pt x="131" y="4"/>
                    <a:pt x="130" y="3"/>
                    <a:pt x="130" y="3"/>
                  </a:cubicBezTo>
                  <a:cubicBezTo>
                    <a:pt x="128" y="1"/>
                    <a:pt x="125" y="0"/>
                    <a:pt x="123" y="0"/>
                  </a:cubicBezTo>
                  <a:cubicBezTo>
                    <a:pt x="120" y="0"/>
                    <a:pt x="119" y="2"/>
                    <a:pt x="117" y="4"/>
                  </a:cubicBezTo>
                  <a:cubicBezTo>
                    <a:pt x="116" y="5"/>
                    <a:pt x="116" y="5"/>
                    <a:pt x="115" y="6"/>
                  </a:cubicBezTo>
                  <a:cubicBezTo>
                    <a:pt x="115" y="6"/>
                    <a:pt x="114" y="7"/>
                    <a:pt x="113" y="7"/>
                  </a:cubicBezTo>
                  <a:cubicBezTo>
                    <a:pt x="111" y="8"/>
                    <a:pt x="109" y="8"/>
                    <a:pt x="108" y="10"/>
                  </a:cubicBezTo>
                  <a:cubicBezTo>
                    <a:pt x="106" y="11"/>
                    <a:pt x="105" y="13"/>
                    <a:pt x="104" y="15"/>
                  </a:cubicBezTo>
                  <a:cubicBezTo>
                    <a:pt x="104" y="16"/>
                    <a:pt x="103" y="17"/>
                    <a:pt x="103" y="18"/>
                  </a:cubicBezTo>
                  <a:cubicBezTo>
                    <a:pt x="102" y="19"/>
                    <a:pt x="101" y="20"/>
                    <a:pt x="100" y="21"/>
                  </a:cubicBezTo>
                  <a:cubicBezTo>
                    <a:pt x="98" y="23"/>
                    <a:pt x="96" y="25"/>
                    <a:pt x="95" y="27"/>
                  </a:cubicBezTo>
                  <a:cubicBezTo>
                    <a:pt x="94" y="30"/>
                    <a:pt x="95" y="35"/>
                    <a:pt x="95" y="36"/>
                  </a:cubicBezTo>
                  <a:cubicBezTo>
                    <a:pt x="96" y="38"/>
                    <a:pt x="98" y="43"/>
                    <a:pt x="100" y="45"/>
                  </a:cubicBezTo>
                  <a:cubicBezTo>
                    <a:pt x="101" y="46"/>
                    <a:pt x="102" y="47"/>
                    <a:pt x="104" y="47"/>
                  </a:cubicBezTo>
                  <a:cubicBezTo>
                    <a:pt x="105" y="48"/>
                    <a:pt x="106" y="48"/>
                    <a:pt x="106" y="49"/>
                  </a:cubicBezTo>
                  <a:cubicBezTo>
                    <a:pt x="107" y="50"/>
                    <a:pt x="107" y="51"/>
                    <a:pt x="107" y="52"/>
                  </a:cubicBezTo>
                  <a:cubicBezTo>
                    <a:pt x="106" y="52"/>
                    <a:pt x="105" y="52"/>
                    <a:pt x="104" y="52"/>
                  </a:cubicBezTo>
                  <a:cubicBezTo>
                    <a:pt x="102" y="51"/>
                    <a:pt x="100" y="51"/>
                    <a:pt x="99" y="52"/>
                  </a:cubicBezTo>
                  <a:cubicBezTo>
                    <a:pt x="97" y="52"/>
                    <a:pt x="94" y="54"/>
                    <a:pt x="90" y="56"/>
                  </a:cubicBezTo>
                  <a:cubicBezTo>
                    <a:pt x="88" y="58"/>
                    <a:pt x="84" y="61"/>
                    <a:pt x="82" y="62"/>
                  </a:cubicBezTo>
                  <a:cubicBezTo>
                    <a:pt x="81" y="63"/>
                    <a:pt x="77" y="68"/>
                    <a:pt x="77" y="71"/>
                  </a:cubicBezTo>
                  <a:cubicBezTo>
                    <a:pt x="76" y="75"/>
                    <a:pt x="77" y="81"/>
                    <a:pt x="79" y="87"/>
                  </a:cubicBezTo>
                  <a:cubicBezTo>
                    <a:pt x="79" y="90"/>
                    <a:pt x="80" y="93"/>
                    <a:pt x="80" y="95"/>
                  </a:cubicBezTo>
                  <a:cubicBezTo>
                    <a:pt x="80" y="97"/>
                    <a:pt x="80" y="101"/>
                    <a:pt x="80" y="103"/>
                  </a:cubicBezTo>
                  <a:cubicBezTo>
                    <a:pt x="80" y="104"/>
                    <a:pt x="79" y="108"/>
                    <a:pt x="79" y="110"/>
                  </a:cubicBezTo>
                  <a:cubicBezTo>
                    <a:pt x="78" y="111"/>
                    <a:pt x="78" y="111"/>
                    <a:pt x="78" y="111"/>
                  </a:cubicBezTo>
                  <a:cubicBezTo>
                    <a:pt x="79" y="107"/>
                    <a:pt x="79" y="103"/>
                    <a:pt x="76" y="101"/>
                  </a:cubicBezTo>
                  <a:cubicBezTo>
                    <a:pt x="76" y="101"/>
                    <a:pt x="75" y="100"/>
                    <a:pt x="74" y="100"/>
                  </a:cubicBezTo>
                  <a:cubicBezTo>
                    <a:pt x="73" y="100"/>
                    <a:pt x="71" y="101"/>
                    <a:pt x="70" y="102"/>
                  </a:cubicBezTo>
                  <a:cubicBezTo>
                    <a:pt x="68" y="104"/>
                    <a:pt x="68" y="106"/>
                    <a:pt x="68" y="109"/>
                  </a:cubicBezTo>
                  <a:cubicBezTo>
                    <a:pt x="67" y="108"/>
                    <a:pt x="67" y="107"/>
                    <a:pt x="66" y="106"/>
                  </a:cubicBezTo>
                  <a:cubicBezTo>
                    <a:pt x="66" y="105"/>
                    <a:pt x="65" y="104"/>
                    <a:pt x="65" y="104"/>
                  </a:cubicBezTo>
                  <a:cubicBezTo>
                    <a:pt x="65" y="103"/>
                    <a:pt x="66" y="102"/>
                    <a:pt x="66" y="102"/>
                  </a:cubicBezTo>
                  <a:cubicBezTo>
                    <a:pt x="66" y="101"/>
                    <a:pt x="67" y="100"/>
                    <a:pt x="67" y="99"/>
                  </a:cubicBezTo>
                  <a:cubicBezTo>
                    <a:pt x="67" y="98"/>
                    <a:pt x="68" y="97"/>
                    <a:pt x="68" y="96"/>
                  </a:cubicBezTo>
                  <a:cubicBezTo>
                    <a:pt x="71" y="88"/>
                    <a:pt x="74" y="79"/>
                    <a:pt x="68" y="76"/>
                  </a:cubicBezTo>
                  <a:cubicBezTo>
                    <a:pt x="65" y="74"/>
                    <a:pt x="62" y="76"/>
                    <a:pt x="58" y="82"/>
                  </a:cubicBezTo>
                  <a:cubicBezTo>
                    <a:pt x="57" y="83"/>
                    <a:pt x="56" y="85"/>
                    <a:pt x="55" y="87"/>
                  </a:cubicBezTo>
                  <a:cubicBezTo>
                    <a:pt x="55" y="88"/>
                    <a:pt x="55" y="89"/>
                    <a:pt x="54" y="90"/>
                  </a:cubicBezTo>
                  <a:cubicBezTo>
                    <a:pt x="54" y="90"/>
                    <a:pt x="53" y="91"/>
                    <a:pt x="53" y="92"/>
                  </a:cubicBezTo>
                  <a:cubicBezTo>
                    <a:pt x="51" y="94"/>
                    <a:pt x="50" y="96"/>
                    <a:pt x="49" y="97"/>
                  </a:cubicBezTo>
                  <a:cubicBezTo>
                    <a:pt x="49" y="98"/>
                    <a:pt x="49" y="100"/>
                    <a:pt x="48" y="101"/>
                  </a:cubicBezTo>
                  <a:cubicBezTo>
                    <a:pt x="48" y="102"/>
                    <a:pt x="48" y="104"/>
                    <a:pt x="48" y="104"/>
                  </a:cubicBezTo>
                  <a:cubicBezTo>
                    <a:pt x="47" y="107"/>
                    <a:pt x="44" y="110"/>
                    <a:pt x="44" y="110"/>
                  </a:cubicBezTo>
                  <a:cubicBezTo>
                    <a:pt x="44" y="110"/>
                    <a:pt x="43" y="109"/>
                    <a:pt x="42" y="109"/>
                  </a:cubicBezTo>
                  <a:cubicBezTo>
                    <a:pt x="41" y="108"/>
                    <a:pt x="39" y="108"/>
                    <a:pt x="38" y="108"/>
                  </a:cubicBezTo>
                  <a:cubicBezTo>
                    <a:pt x="37" y="108"/>
                    <a:pt x="37" y="108"/>
                    <a:pt x="36" y="108"/>
                  </a:cubicBezTo>
                  <a:cubicBezTo>
                    <a:pt x="31" y="110"/>
                    <a:pt x="26" y="120"/>
                    <a:pt x="25" y="123"/>
                  </a:cubicBezTo>
                  <a:cubicBezTo>
                    <a:pt x="25" y="125"/>
                    <a:pt x="25" y="126"/>
                    <a:pt x="26" y="128"/>
                  </a:cubicBezTo>
                  <a:cubicBezTo>
                    <a:pt x="26" y="129"/>
                    <a:pt x="26" y="130"/>
                    <a:pt x="26" y="130"/>
                  </a:cubicBezTo>
                  <a:cubicBezTo>
                    <a:pt x="26" y="132"/>
                    <a:pt x="23" y="134"/>
                    <a:pt x="21" y="136"/>
                  </a:cubicBezTo>
                  <a:cubicBezTo>
                    <a:pt x="20" y="137"/>
                    <a:pt x="20" y="137"/>
                    <a:pt x="20" y="137"/>
                  </a:cubicBezTo>
                  <a:cubicBezTo>
                    <a:pt x="20" y="137"/>
                    <a:pt x="19" y="138"/>
                    <a:pt x="18" y="138"/>
                  </a:cubicBezTo>
                  <a:cubicBezTo>
                    <a:pt x="16" y="140"/>
                    <a:pt x="13" y="141"/>
                    <a:pt x="12" y="143"/>
                  </a:cubicBezTo>
                  <a:cubicBezTo>
                    <a:pt x="12" y="146"/>
                    <a:pt x="13" y="150"/>
                    <a:pt x="15" y="154"/>
                  </a:cubicBezTo>
                  <a:cubicBezTo>
                    <a:pt x="16" y="156"/>
                    <a:pt x="17" y="158"/>
                    <a:pt x="17" y="159"/>
                  </a:cubicBezTo>
                  <a:cubicBezTo>
                    <a:pt x="17" y="160"/>
                    <a:pt x="16" y="163"/>
                    <a:pt x="16" y="165"/>
                  </a:cubicBezTo>
                  <a:cubicBezTo>
                    <a:pt x="16" y="167"/>
                    <a:pt x="15" y="170"/>
                    <a:pt x="15" y="172"/>
                  </a:cubicBezTo>
                  <a:cubicBezTo>
                    <a:pt x="15" y="173"/>
                    <a:pt x="16" y="174"/>
                    <a:pt x="16" y="176"/>
                  </a:cubicBezTo>
                  <a:cubicBezTo>
                    <a:pt x="16" y="177"/>
                    <a:pt x="17" y="178"/>
                    <a:pt x="17" y="179"/>
                  </a:cubicBezTo>
                  <a:cubicBezTo>
                    <a:pt x="17" y="181"/>
                    <a:pt x="16" y="184"/>
                    <a:pt x="16" y="186"/>
                  </a:cubicBezTo>
                  <a:cubicBezTo>
                    <a:pt x="15" y="191"/>
                    <a:pt x="9" y="205"/>
                    <a:pt x="8" y="208"/>
                  </a:cubicBezTo>
                  <a:cubicBezTo>
                    <a:pt x="1" y="215"/>
                    <a:pt x="1" y="215"/>
                    <a:pt x="1" y="215"/>
                  </a:cubicBezTo>
                  <a:cubicBezTo>
                    <a:pt x="1" y="216"/>
                    <a:pt x="1" y="216"/>
                    <a:pt x="1" y="217"/>
                  </a:cubicBezTo>
                  <a:cubicBezTo>
                    <a:pt x="0" y="224"/>
                    <a:pt x="0" y="224"/>
                    <a:pt x="0" y="224"/>
                  </a:cubicBezTo>
                  <a:cubicBezTo>
                    <a:pt x="0" y="224"/>
                    <a:pt x="0" y="225"/>
                    <a:pt x="0" y="225"/>
                  </a:cubicBezTo>
                  <a:cubicBezTo>
                    <a:pt x="5" y="232"/>
                    <a:pt x="5" y="232"/>
                    <a:pt x="5" y="232"/>
                  </a:cubicBezTo>
                  <a:cubicBezTo>
                    <a:pt x="7" y="239"/>
                    <a:pt x="11" y="250"/>
                    <a:pt x="10" y="253"/>
                  </a:cubicBezTo>
                  <a:cubicBezTo>
                    <a:pt x="10" y="254"/>
                    <a:pt x="9" y="256"/>
                    <a:pt x="8" y="257"/>
                  </a:cubicBezTo>
                  <a:cubicBezTo>
                    <a:pt x="7" y="258"/>
                    <a:pt x="6" y="260"/>
                    <a:pt x="5" y="261"/>
                  </a:cubicBezTo>
                  <a:cubicBezTo>
                    <a:pt x="4" y="263"/>
                    <a:pt x="2" y="266"/>
                    <a:pt x="2" y="269"/>
                  </a:cubicBezTo>
                  <a:cubicBezTo>
                    <a:pt x="2" y="272"/>
                    <a:pt x="4" y="277"/>
                    <a:pt x="4" y="277"/>
                  </a:cubicBezTo>
                  <a:cubicBezTo>
                    <a:pt x="4" y="279"/>
                    <a:pt x="5" y="280"/>
                    <a:pt x="6" y="283"/>
                  </a:cubicBezTo>
                  <a:cubicBezTo>
                    <a:pt x="10" y="295"/>
                    <a:pt x="16" y="314"/>
                    <a:pt x="26" y="318"/>
                  </a:cubicBezTo>
                  <a:cubicBezTo>
                    <a:pt x="27" y="318"/>
                    <a:pt x="28" y="318"/>
                    <a:pt x="28" y="318"/>
                  </a:cubicBezTo>
                  <a:cubicBezTo>
                    <a:pt x="28" y="319"/>
                    <a:pt x="28" y="319"/>
                    <a:pt x="27" y="320"/>
                  </a:cubicBezTo>
                  <a:cubicBezTo>
                    <a:pt x="27" y="326"/>
                    <a:pt x="35" y="340"/>
                    <a:pt x="38" y="344"/>
                  </a:cubicBezTo>
                  <a:cubicBezTo>
                    <a:pt x="38" y="347"/>
                    <a:pt x="41" y="367"/>
                    <a:pt x="42" y="374"/>
                  </a:cubicBezTo>
                  <a:cubicBezTo>
                    <a:pt x="42" y="379"/>
                    <a:pt x="42" y="390"/>
                    <a:pt x="42" y="396"/>
                  </a:cubicBezTo>
                  <a:cubicBezTo>
                    <a:pt x="41" y="402"/>
                    <a:pt x="39" y="416"/>
                    <a:pt x="38" y="423"/>
                  </a:cubicBezTo>
                  <a:cubicBezTo>
                    <a:pt x="37" y="424"/>
                    <a:pt x="36" y="428"/>
                    <a:pt x="35" y="430"/>
                  </a:cubicBezTo>
                  <a:cubicBezTo>
                    <a:pt x="33" y="434"/>
                    <a:pt x="27" y="445"/>
                    <a:pt x="27" y="446"/>
                  </a:cubicBezTo>
                  <a:cubicBezTo>
                    <a:pt x="21" y="468"/>
                    <a:pt x="21" y="468"/>
                    <a:pt x="21" y="468"/>
                  </a:cubicBezTo>
                  <a:cubicBezTo>
                    <a:pt x="17" y="475"/>
                    <a:pt x="17" y="475"/>
                    <a:pt x="17" y="475"/>
                  </a:cubicBezTo>
                  <a:cubicBezTo>
                    <a:pt x="12" y="482"/>
                    <a:pt x="12" y="482"/>
                    <a:pt x="12" y="482"/>
                  </a:cubicBezTo>
                  <a:cubicBezTo>
                    <a:pt x="5" y="489"/>
                    <a:pt x="5" y="489"/>
                    <a:pt x="5" y="489"/>
                  </a:cubicBezTo>
                  <a:cubicBezTo>
                    <a:pt x="3" y="491"/>
                    <a:pt x="3" y="491"/>
                    <a:pt x="3" y="491"/>
                  </a:cubicBezTo>
                  <a:cubicBezTo>
                    <a:pt x="2" y="492"/>
                    <a:pt x="1" y="493"/>
                    <a:pt x="2" y="494"/>
                  </a:cubicBezTo>
                  <a:cubicBezTo>
                    <a:pt x="2" y="495"/>
                    <a:pt x="3" y="496"/>
                    <a:pt x="4" y="496"/>
                  </a:cubicBezTo>
                  <a:cubicBezTo>
                    <a:pt x="8" y="496"/>
                    <a:pt x="8" y="496"/>
                    <a:pt x="8" y="496"/>
                  </a:cubicBezTo>
                  <a:cubicBezTo>
                    <a:pt x="8" y="496"/>
                    <a:pt x="8" y="496"/>
                    <a:pt x="8" y="496"/>
                  </a:cubicBezTo>
                  <a:cubicBezTo>
                    <a:pt x="50" y="491"/>
                    <a:pt x="50" y="491"/>
                    <a:pt x="50" y="491"/>
                  </a:cubicBezTo>
                  <a:cubicBezTo>
                    <a:pt x="171" y="476"/>
                    <a:pt x="171" y="476"/>
                    <a:pt x="171" y="476"/>
                  </a:cubicBezTo>
                  <a:cubicBezTo>
                    <a:pt x="179" y="482"/>
                    <a:pt x="179" y="482"/>
                    <a:pt x="179" y="482"/>
                  </a:cubicBezTo>
                  <a:cubicBezTo>
                    <a:pt x="180" y="483"/>
                    <a:pt x="180" y="483"/>
                    <a:pt x="181" y="483"/>
                  </a:cubicBezTo>
                  <a:cubicBezTo>
                    <a:pt x="260" y="470"/>
                    <a:pt x="260" y="470"/>
                    <a:pt x="260" y="470"/>
                  </a:cubicBezTo>
                  <a:cubicBezTo>
                    <a:pt x="295" y="462"/>
                    <a:pt x="295" y="462"/>
                    <a:pt x="295" y="462"/>
                  </a:cubicBezTo>
                  <a:cubicBezTo>
                    <a:pt x="296" y="462"/>
                    <a:pt x="297" y="462"/>
                    <a:pt x="297" y="461"/>
                  </a:cubicBezTo>
                  <a:cubicBezTo>
                    <a:pt x="302" y="446"/>
                    <a:pt x="302" y="446"/>
                    <a:pt x="302" y="446"/>
                  </a:cubicBezTo>
                  <a:cubicBezTo>
                    <a:pt x="315" y="424"/>
                    <a:pt x="315" y="424"/>
                    <a:pt x="315" y="424"/>
                  </a:cubicBezTo>
                  <a:cubicBezTo>
                    <a:pt x="315" y="423"/>
                    <a:pt x="315" y="423"/>
                    <a:pt x="315" y="422"/>
                  </a:cubicBezTo>
                  <a:cubicBezTo>
                    <a:pt x="315" y="422"/>
                    <a:pt x="315" y="406"/>
                    <a:pt x="316" y="401"/>
                  </a:cubicBezTo>
                  <a:cubicBezTo>
                    <a:pt x="316" y="399"/>
                    <a:pt x="317" y="396"/>
                    <a:pt x="318" y="394"/>
                  </a:cubicBezTo>
                  <a:cubicBezTo>
                    <a:pt x="318" y="393"/>
                    <a:pt x="319" y="393"/>
                    <a:pt x="319" y="392"/>
                  </a:cubicBezTo>
                  <a:cubicBezTo>
                    <a:pt x="319" y="391"/>
                    <a:pt x="320" y="391"/>
                    <a:pt x="320" y="391"/>
                  </a:cubicBezTo>
                  <a:cubicBezTo>
                    <a:pt x="320" y="390"/>
                    <a:pt x="320" y="390"/>
                    <a:pt x="320" y="389"/>
                  </a:cubicBezTo>
                  <a:cubicBezTo>
                    <a:pt x="321" y="389"/>
                    <a:pt x="323" y="387"/>
                    <a:pt x="325" y="386"/>
                  </a:cubicBezTo>
                  <a:cubicBezTo>
                    <a:pt x="326" y="385"/>
                    <a:pt x="328" y="384"/>
                    <a:pt x="329" y="383"/>
                  </a:cubicBezTo>
                  <a:cubicBezTo>
                    <a:pt x="332" y="381"/>
                    <a:pt x="335" y="378"/>
                    <a:pt x="335" y="375"/>
                  </a:cubicBezTo>
                  <a:cubicBezTo>
                    <a:pt x="336" y="372"/>
                    <a:pt x="335" y="369"/>
                    <a:pt x="335" y="366"/>
                  </a:cubicBezTo>
                  <a:cubicBezTo>
                    <a:pt x="335" y="363"/>
                    <a:pt x="334" y="360"/>
                    <a:pt x="335" y="359"/>
                  </a:cubicBezTo>
                  <a:cubicBezTo>
                    <a:pt x="335" y="358"/>
                    <a:pt x="336" y="357"/>
                    <a:pt x="337" y="356"/>
                  </a:cubicBezTo>
                  <a:cubicBezTo>
                    <a:pt x="338" y="355"/>
                    <a:pt x="339" y="353"/>
                    <a:pt x="340" y="352"/>
                  </a:cubicBezTo>
                  <a:cubicBezTo>
                    <a:pt x="340" y="351"/>
                    <a:pt x="340" y="350"/>
                    <a:pt x="340" y="349"/>
                  </a:cubicBezTo>
                  <a:cubicBezTo>
                    <a:pt x="340" y="348"/>
                    <a:pt x="340" y="346"/>
                    <a:pt x="341" y="346"/>
                  </a:cubicBezTo>
                  <a:cubicBezTo>
                    <a:pt x="342" y="345"/>
                    <a:pt x="345" y="343"/>
                    <a:pt x="346" y="343"/>
                  </a:cubicBezTo>
                  <a:cubicBezTo>
                    <a:pt x="346" y="343"/>
                    <a:pt x="347" y="345"/>
                    <a:pt x="348" y="346"/>
                  </a:cubicBezTo>
                  <a:cubicBezTo>
                    <a:pt x="350" y="350"/>
                    <a:pt x="350" y="352"/>
                    <a:pt x="350" y="352"/>
                  </a:cubicBezTo>
                  <a:cubicBezTo>
                    <a:pt x="348" y="354"/>
                    <a:pt x="348" y="355"/>
                    <a:pt x="349" y="356"/>
                  </a:cubicBezTo>
                  <a:cubicBezTo>
                    <a:pt x="350" y="357"/>
                    <a:pt x="351" y="357"/>
                    <a:pt x="352" y="357"/>
                  </a:cubicBezTo>
                  <a:cubicBezTo>
                    <a:pt x="354" y="357"/>
                    <a:pt x="357" y="355"/>
                    <a:pt x="358" y="354"/>
                  </a:cubicBezTo>
                  <a:cubicBezTo>
                    <a:pt x="360" y="353"/>
                    <a:pt x="362" y="348"/>
                    <a:pt x="363" y="346"/>
                  </a:cubicBezTo>
                  <a:cubicBezTo>
                    <a:pt x="364" y="342"/>
                    <a:pt x="365" y="333"/>
                    <a:pt x="364" y="329"/>
                  </a:cubicBezTo>
                  <a:cubicBezTo>
                    <a:pt x="364" y="328"/>
                    <a:pt x="364" y="327"/>
                    <a:pt x="363" y="325"/>
                  </a:cubicBezTo>
                  <a:cubicBezTo>
                    <a:pt x="363" y="324"/>
                    <a:pt x="362" y="323"/>
                    <a:pt x="362" y="322"/>
                  </a:cubicBezTo>
                  <a:cubicBezTo>
                    <a:pt x="362" y="318"/>
                    <a:pt x="362" y="311"/>
                    <a:pt x="363" y="308"/>
                  </a:cubicBezTo>
                  <a:cubicBezTo>
                    <a:pt x="363" y="308"/>
                    <a:pt x="364" y="308"/>
                    <a:pt x="364" y="307"/>
                  </a:cubicBezTo>
                  <a:close/>
                  <a:moveTo>
                    <a:pt x="67" y="117"/>
                  </a:moveTo>
                  <a:cubicBezTo>
                    <a:pt x="67" y="116"/>
                    <a:pt x="67" y="115"/>
                    <a:pt x="68" y="115"/>
                  </a:cubicBezTo>
                  <a:cubicBezTo>
                    <a:pt x="68" y="116"/>
                    <a:pt x="68" y="117"/>
                    <a:pt x="67" y="118"/>
                  </a:cubicBezTo>
                  <a:cubicBezTo>
                    <a:pt x="67" y="120"/>
                    <a:pt x="66" y="121"/>
                    <a:pt x="66" y="122"/>
                  </a:cubicBezTo>
                  <a:cubicBezTo>
                    <a:pt x="66" y="121"/>
                    <a:pt x="66" y="120"/>
                    <a:pt x="66" y="119"/>
                  </a:cubicBezTo>
                  <a:cubicBezTo>
                    <a:pt x="66" y="119"/>
                    <a:pt x="66" y="117"/>
                    <a:pt x="67" y="117"/>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44">
              <a:extLst>
                <a:ext uri="{FF2B5EF4-FFF2-40B4-BE49-F238E27FC236}">
                  <a16:creationId xmlns:a16="http://schemas.microsoft.com/office/drawing/2014/main" id="{F63A45A3-50D0-4815-9E4E-A55077931D2C}"/>
                </a:ext>
              </a:extLst>
            </p:cNvPr>
            <p:cNvSpPr>
              <a:spLocks/>
            </p:cNvSpPr>
            <p:nvPr/>
          </p:nvSpPr>
          <p:spPr bwMode="auto">
            <a:xfrm>
              <a:off x="7557308" y="2861067"/>
              <a:ext cx="605425" cy="398226"/>
            </a:xfrm>
            <a:custGeom>
              <a:avLst/>
              <a:gdLst>
                <a:gd name="T0" fmla="*/ 519 w 545"/>
                <a:gd name="T1" fmla="*/ 179 h 358"/>
                <a:gd name="T2" fmla="*/ 514 w 545"/>
                <a:gd name="T3" fmla="*/ 177 h 358"/>
                <a:gd name="T4" fmla="*/ 507 w 545"/>
                <a:gd name="T5" fmla="*/ 167 h 358"/>
                <a:gd name="T6" fmla="*/ 498 w 545"/>
                <a:gd name="T7" fmla="*/ 162 h 358"/>
                <a:gd name="T8" fmla="*/ 490 w 545"/>
                <a:gd name="T9" fmla="*/ 144 h 358"/>
                <a:gd name="T10" fmla="*/ 496 w 545"/>
                <a:gd name="T11" fmla="*/ 138 h 358"/>
                <a:gd name="T12" fmla="*/ 494 w 545"/>
                <a:gd name="T13" fmla="*/ 120 h 358"/>
                <a:gd name="T14" fmla="*/ 491 w 545"/>
                <a:gd name="T15" fmla="*/ 119 h 358"/>
                <a:gd name="T16" fmla="*/ 492 w 545"/>
                <a:gd name="T17" fmla="*/ 112 h 358"/>
                <a:gd name="T18" fmla="*/ 505 w 545"/>
                <a:gd name="T19" fmla="*/ 89 h 358"/>
                <a:gd name="T20" fmla="*/ 505 w 545"/>
                <a:gd name="T21" fmla="*/ 81 h 358"/>
                <a:gd name="T22" fmla="*/ 515 w 545"/>
                <a:gd name="T23" fmla="*/ 66 h 358"/>
                <a:gd name="T24" fmla="*/ 515 w 545"/>
                <a:gd name="T25" fmla="*/ 61 h 358"/>
                <a:gd name="T26" fmla="*/ 505 w 545"/>
                <a:gd name="T27" fmla="*/ 55 h 358"/>
                <a:gd name="T28" fmla="*/ 460 w 545"/>
                <a:gd name="T29" fmla="*/ 11 h 358"/>
                <a:gd name="T30" fmla="*/ 454 w 545"/>
                <a:gd name="T31" fmla="*/ 11 h 358"/>
                <a:gd name="T32" fmla="*/ 451 w 545"/>
                <a:gd name="T33" fmla="*/ 6 h 358"/>
                <a:gd name="T34" fmla="*/ 444 w 545"/>
                <a:gd name="T35" fmla="*/ 2 h 358"/>
                <a:gd name="T36" fmla="*/ 362 w 545"/>
                <a:gd name="T37" fmla="*/ 19 h 358"/>
                <a:gd name="T38" fmla="*/ 136 w 545"/>
                <a:gd name="T39" fmla="*/ 65 h 358"/>
                <a:gd name="T40" fmla="*/ 65 w 545"/>
                <a:gd name="T41" fmla="*/ 51 h 358"/>
                <a:gd name="T42" fmla="*/ 62 w 545"/>
                <a:gd name="T43" fmla="*/ 47 h 358"/>
                <a:gd name="T44" fmla="*/ 35 w 545"/>
                <a:gd name="T45" fmla="*/ 67 h 358"/>
                <a:gd name="T46" fmla="*/ 20 w 545"/>
                <a:gd name="T47" fmla="*/ 78 h 358"/>
                <a:gd name="T48" fmla="*/ 2 w 545"/>
                <a:gd name="T49" fmla="*/ 92 h 358"/>
                <a:gd name="T50" fmla="*/ 27 w 545"/>
                <a:gd name="T51" fmla="*/ 249 h 358"/>
                <a:gd name="T52" fmla="*/ 47 w 545"/>
                <a:gd name="T53" fmla="*/ 358 h 358"/>
                <a:gd name="T54" fmla="*/ 49 w 545"/>
                <a:gd name="T55" fmla="*/ 358 h 358"/>
                <a:gd name="T56" fmla="*/ 292 w 545"/>
                <a:gd name="T57" fmla="*/ 313 h 358"/>
                <a:gd name="T58" fmla="*/ 466 w 545"/>
                <a:gd name="T59" fmla="*/ 274 h 358"/>
                <a:gd name="T60" fmla="*/ 471 w 545"/>
                <a:gd name="T61" fmla="*/ 261 h 358"/>
                <a:gd name="T62" fmla="*/ 485 w 545"/>
                <a:gd name="T63" fmla="*/ 256 h 358"/>
                <a:gd name="T64" fmla="*/ 489 w 545"/>
                <a:gd name="T65" fmla="*/ 257 h 358"/>
                <a:gd name="T66" fmla="*/ 493 w 545"/>
                <a:gd name="T67" fmla="*/ 259 h 358"/>
                <a:gd name="T68" fmla="*/ 501 w 545"/>
                <a:gd name="T69" fmla="*/ 257 h 358"/>
                <a:gd name="T70" fmla="*/ 508 w 545"/>
                <a:gd name="T71" fmla="*/ 251 h 358"/>
                <a:gd name="T72" fmla="*/ 519 w 545"/>
                <a:gd name="T73" fmla="*/ 236 h 358"/>
                <a:gd name="T74" fmla="*/ 520 w 545"/>
                <a:gd name="T75" fmla="*/ 232 h 358"/>
                <a:gd name="T76" fmla="*/ 524 w 545"/>
                <a:gd name="T77" fmla="*/ 226 h 358"/>
                <a:gd name="T78" fmla="*/ 531 w 545"/>
                <a:gd name="T79" fmla="*/ 218 h 358"/>
                <a:gd name="T80" fmla="*/ 544 w 545"/>
                <a:gd name="T81" fmla="*/ 20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5" h="358">
                  <a:moveTo>
                    <a:pt x="526" y="186"/>
                  </a:moveTo>
                  <a:cubicBezTo>
                    <a:pt x="519" y="179"/>
                    <a:pt x="519" y="179"/>
                    <a:pt x="519" y="179"/>
                  </a:cubicBezTo>
                  <a:cubicBezTo>
                    <a:pt x="519" y="178"/>
                    <a:pt x="518" y="178"/>
                    <a:pt x="518" y="178"/>
                  </a:cubicBezTo>
                  <a:cubicBezTo>
                    <a:pt x="514" y="177"/>
                    <a:pt x="514" y="177"/>
                    <a:pt x="514" y="177"/>
                  </a:cubicBezTo>
                  <a:cubicBezTo>
                    <a:pt x="511" y="175"/>
                    <a:pt x="508" y="173"/>
                    <a:pt x="508" y="173"/>
                  </a:cubicBezTo>
                  <a:cubicBezTo>
                    <a:pt x="507" y="172"/>
                    <a:pt x="507" y="169"/>
                    <a:pt x="507" y="167"/>
                  </a:cubicBezTo>
                  <a:cubicBezTo>
                    <a:pt x="507" y="166"/>
                    <a:pt x="506" y="165"/>
                    <a:pt x="505" y="164"/>
                  </a:cubicBezTo>
                  <a:cubicBezTo>
                    <a:pt x="502" y="164"/>
                    <a:pt x="499" y="162"/>
                    <a:pt x="498" y="162"/>
                  </a:cubicBezTo>
                  <a:cubicBezTo>
                    <a:pt x="496" y="161"/>
                    <a:pt x="493" y="157"/>
                    <a:pt x="492" y="155"/>
                  </a:cubicBezTo>
                  <a:cubicBezTo>
                    <a:pt x="491" y="152"/>
                    <a:pt x="490" y="146"/>
                    <a:pt x="490" y="144"/>
                  </a:cubicBezTo>
                  <a:cubicBezTo>
                    <a:pt x="490" y="144"/>
                    <a:pt x="492" y="142"/>
                    <a:pt x="493" y="141"/>
                  </a:cubicBezTo>
                  <a:cubicBezTo>
                    <a:pt x="494" y="140"/>
                    <a:pt x="495" y="139"/>
                    <a:pt x="496" y="138"/>
                  </a:cubicBezTo>
                  <a:cubicBezTo>
                    <a:pt x="496" y="136"/>
                    <a:pt x="498" y="132"/>
                    <a:pt x="498" y="129"/>
                  </a:cubicBezTo>
                  <a:cubicBezTo>
                    <a:pt x="498" y="126"/>
                    <a:pt x="496" y="122"/>
                    <a:pt x="494" y="120"/>
                  </a:cubicBezTo>
                  <a:cubicBezTo>
                    <a:pt x="493" y="120"/>
                    <a:pt x="492" y="119"/>
                    <a:pt x="491" y="119"/>
                  </a:cubicBezTo>
                  <a:cubicBezTo>
                    <a:pt x="491" y="119"/>
                    <a:pt x="491" y="119"/>
                    <a:pt x="491" y="119"/>
                  </a:cubicBezTo>
                  <a:cubicBezTo>
                    <a:pt x="490" y="118"/>
                    <a:pt x="489" y="116"/>
                    <a:pt x="489" y="115"/>
                  </a:cubicBezTo>
                  <a:cubicBezTo>
                    <a:pt x="489" y="115"/>
                    <a:pt x="491" y="113"/>
                    <a:pt x="492" y="112"/>
                  </a:cubicBezTo>
                  <a:cubicBezTo>
                    <a:pt x="493" y="111"/>
                    <a:pt x="495" y="110"/>
                    <a:pt x="495" y="109"/>
                  </a:cubicBezTo>
                  <a:cubicBezTo>
                    <a:pt x="499" y="105"/>
                    <a:pt x="503" y="94"/>
                    <a:pt x="505" y="89"/>
                  </a:cubicBezTo>
                  <a:cubicBezTo>
                    <a:pt x="505" y="87"/>
                    <a:pt x="505" y="86"/>
                    <a:pt x="505" y="84"/>
                  </a:cubicBezTo>
                  <a:cubicBezTo>
                    <a:pt x="505" y="83"/>
                    <a:pt x="504" y="82"/>
                    <a:pt x="505" y="81"/>
                  </a:cubicBezTo>
                  <a:cubicBezTo>
                    <a:pt x="505" y="80"/>
                    <a:pt x="506" y="76"/>
                    <a:pt x="507" y="75"/>
                  </a:cubicBezTo>
                  <a:cubicBezTo>
                    <a:pt x="508" y="73"/>
                    <a:pt x="513" y="68"/>
                    <a:pt x="515" y="66"/>
                  </a:cubicBezTo>
                  <a:cubicBezTo>
                    <a:pt x="515" y="66"/>
                    <a:pt x="515" y="65"/>
                    <a:pt x="515" y="64"/>
                  </a:cubicBezTo>
                  <a:cubicBezTo>
                    <a:pt x="515" y="61"/>
                    <a:pt x="515" y="61"/>
                    <a:pt x="515" y="61"/>
                  </a:cubicBezTo>
                  <a:cubicBezTo>
                    <a:pt x="515" y="61"/>
                    <a:pt x="515" y="60"/>
                    <a:pt x="514" y="59"/>
                  </a:cubicBezTo>
                  <a:cubicBezTo>
                    <a:pt x="513" y="59"/>
                    <a:pt x="507" y="56"/>
                    <a:pt x="505" y="55"/>
                  </a:cubicBezTo>
                  <a:cubicBezTo>
                    <a:pt x="485" y="51"/>
                    <a:pt x="483" y="41"/>
                    <a:pt x="480" y="32"/>
                  </a:cubicBezTo>
                  <a:cubicBezTo>
                    <a:pt x="478" y="23"/>
                    <a:pt x="476" y="14"/>
                    <a:pt x="460" y="11"/>
                  </a:cubicBezTo>
                  <a:cubicBezTo>
                    <a:pt x="459" y="11"/>
                    <a:pt x="458" y="11"/>
                    <a:pt x="457" y="11"/>
                  </a:cubicBezTo>
                  <a:cubicBezTo>
                    <a:pt x="456" y="11"/>
                    <a:pt x="455" y="11"/>
                    <a:pt x="454" y="11"/>
                  </a:cubicBezTo>
                  <a:cubicBezTo>
                    <a:pt x="454" y="11"/>
                    <a:pt x="453" y="10"/>
                    <a:pt x="453" y="9"/>
                  </a:cubicBezTo>
                  <a:cubicBezTo>
                    <a:pt x="453" y="8"/>
                    <a:pt x="452" y="7"/>
                    <a:pt x="451" y="6"/>
                  </a:cubicBezTo>
                  <a:cubicBezTo>
                    <a:pt x="450" y="5"/>
                    <a:pt x="446" y="3"/>
                    <a:pt x="444" y="3"/>
                  </a:cubicBezTo>
                  <a:cubicBezTo>
                    <a:pt x="444" y="2"/>
                    <a:pt x="444" y="2"/>
                    <a:pt x="444" y="2"/>
                  </a:cubicBezTo>
                  <a:cubicBezTo>
                    <a:pt x="443" y="1"/>
                    <a:pt x="442" y="0"/>
                    <a:pt x="441" y="1"/>
                  </a:cubicBezTo>
                  <a:cubicBezTo>
                    <a:pt x="362" y="19"/>
                    <a:pt x="362" y="19"/>
                    <a:pt x="362" y="19"/>
                  </a:cubicBezTo>
                  <a:cubicBezTo>
                    <a:pt x="242" y="44"/>
                    <a:pt x="242" y="44"/>
                    <a:pt x="242" y="44"/>
                  </a:cubicBezTo>
                  <a:cubicBezTo>
                    <a:pt x="136" y="65"/>
                    <a:pt x="136" y="65"/>
                    <a:pt x="136" y="65"/>
                  </a:cubicBezTo>
                  <a:cubicBezTo>
                    <a:pt x="69" y="77"/>
                    <a:pt x="69" y="77"/>
                    <a:pt x="69" y="77"/>
                  </a:cubicBezTo>
                  <a:cubicBezTo>
                    <a:pt x="65" y="51"/>
                    <a:pt x="65" y="51"/>
                    <a:pt x="65" y="51"/>
                  </a:cubicBezTo>
                  <a:cubicBezTo>
                    <a:pt x="64" y="49"/>
                    <a:pt x="64" y="49"/>
                    <a:pt x="64" y="49"/>
                  </a:cubicBezTo>
                  <a:cubicBezTo>
                    <a:pt x="64" y="48"/>
                    <a:pt x="63" y="47"/>
                    <a:pt x="62" y="47"/>
                  </a:cubicBezTo>
                  <a:cubicBezTo>
                    <a:pt x="61" y="47"/>
                    <a:pt x="61" y="47"/>
                    <a:pt x="60" y="47"/>
                  </a:cubicBezTo>
                  <a:cubicBezTo>
                    <a:pt x="35" y="67"/>
                    <a:pt x="35" y="67"/>
                    <a:pt x="35" y="67"/>
                  </a:cubicBezTo>
                  <a:cubicBezTo>
                    <a:pt x="35" y="67"/>
                    <a:pt x="29" y="72"/>
                    <a:pt x="27" y="73"/>
                  </a:cubicBezTo>
                  <a:cubicBezTo>
                    <a:pt x="25" y="74"/>
                    <a:pt x="23" y="76"/>
                    <a:pt x="20" y="78"/>
                  </a:cubicBezTo>
                  <a:cubicBezTo>
                    <a:pt x="17" y="81"/>
                    <a:pt x="14" y="84"/>
                    <a:pt x="12" y="85"/>
                  </a:cubicBezTo>
                  <a:cubicBezTo>
                    <a:pt x="9" y="87"/>
                    <a:pt x="2" y="92"/>
                    <a:pt x="2" y="92"/>
                  </a:cubicBezTo>
                  <a:cubicBezTo>
                    <a:pt x="1" y="93"/>
                    <a:pt x="0" y="94"/>
                    <a:pt x="1" y="95"/>
                  </a:cubicBezTo>
                  <a:cubicBezTo>
                    <a:pt x="27" y="249"/>
                    <a:pt x="27" y="249"/>
                    <a:pt x="27" y="249"/>
                  </a:cubicBezTo>
                  <a:cubicBezTo>
                    <a:pt x="46" y="356"/>
                    <a:pt x="46" y="356"/>
                    <a:pt x="46" y="356"/>
                  </a:cubicBezTo>
                  <a:cubicBezTo>
                    <a:pt x="46" y="357"/>
                    <a:pt x="47" y="357"/>
                    <a:pt x="47" y="358"/>
                  </a:cubicBezTo>
                  <a:cubicBezTo>
                    <a:pt x="47" y="358"/>
                    <a:pt x="48" y="358"/>
                    <a:pt x="48" y="358"/>
                  </a:cubicBezTo>
                  <a:cubicBezTo>
                    <a:pt x="49" y="358"/>
                    <a:pt x="49" y="358"/>
                    <a:pt x="49" y="358"/>
                  </a:cubicBezTo>
                  <a:cubicBezTo>
                    <a:pt x="141" y="342"/>
                    <a:pt x="141" y="342"/>
                    <a:pt x="141" y="342"/>
                  </a:cubicBezTo>
                  <a:cubicBezTo>
                    <a:pt x="292" y="313"/>
                    <a:pt x="292" y="313"/>
                    <a:pt x="292" y="313"/>
                  </a:cubicBezTo>
                  <a:cubicBezTo>
                    <a:pt x="464" y="276"/>
                    <a:pt x="464" y="276"/>
                    <a:pt x="464" y="276"/>
                  </a:cubicBezTo>
                  <a:cubicBezTo>
                    <a:pt x="465" y="276"/>
                    <a:pt x="465" y="275"/>
                    <a:pt x="466" y="274"/>
                  </a:cubicBezTo>
                  <a:cubicBezTo>
                    <a:pt x="466" y="272"/>
                    <a:pt x="467" y="268"/>
                    <a:pt x="468" y="267"/>
                  </a:cubicBezTo>
                  <a:cubicBezTo>
                    <a:pt x="469" y="265"/>
                    <a:pt x="470" y="262"/>
                    <a:pt x="471" y="261"/>
                  </a:cubicBezTo>
                  <a:cubicBezTo>
                    <a:pt x="473" y="260"/>
                    <a:pt x="476" y="258"/>
                    <a:pt x="478" y="257"/>
                  </a:cubicBezTo>
                  <a:cubicBezTo>
                    <a:pt x="479" y="257"/>
                    <a:pt x="483" y="256"/>
                    <a:pt x="485" y="256"/>
                  </a:cubicBezTo>
                  <a:cubicBezTo>
                    <a:pt x="486" y="256"/>
                    <a:pt x="488" y="256"/>
                    <a:pt x="489" y="256"/>
                  </a:cubicBezTo>
                  <a:cubicBezTo>
                    <a:pt x="489" y="256"/>
                    <a:pt x="489" y="257"/>
                    <a:pt x="489" y="257"/>
                  </a:cubicBezTo>
                  <a:cubicBezTo>
                    <a:pt x="490" y="258"/>
                    <a:pt x="491" y="258"/>
                    <a:pt x="492" y="259"/>
                  </a:cubicBezTo>
                  <a:cubicBezTo>
                    <a:pt x="492" y="259"/>
                    <a:pt x="493" y="259"/>
                    <a:pt x="493" y="259"/>
                  </a:cubicBezTo>
                  <a:cubicBezTo>
                    <a:pt x="495" y="259"/>
                    <a:pt x="497" y="258"/>
                    <a:pt x="498" y="258"/>
                  </a:cubicBezTo>
                  <a:cubicBezTo>
                    <a:pt x="499" y="257"/>
                    <a:pt x="500" y="257"/>
                    <a:pt x="501" y="257"/>
                  </a:cubicBezTo>
                  <a:cubicBezTo>
                    <a:pt x="502" y="256"/>
                    <a:pt x="504" y="255"/>
                    <a:pt x="506" y="253"/>
                  </a:cubicBezTo>
                  <a:cubicBezTo>
                    <a:pt x="507" y="252"/>
                    <a:pt x="508" y="252"/>
                    <a:pt x="508" y="251"/>
                  </a:cubicBezTo>
                  <a:cubicBezTo>
                    <a:pt x="511" y="250"/>
                    <a:pt x="516" y="244"/>
                    <a:pt x="518" y="242"/>
                  </a:cubicBezTo>
                  <a:cubicBezTo>
                    <a:pt x="518" y="240"/>
                    <a:pt x="519" y="238"/>
                    <a:pt x="519" y="236"/>
                  </a:cubicBezTo>
                  <a:cubicBezTo>
                    <a:pt x="519" y="235"/>
                    <a:pt x="520" y="234"/>
                    <a:pt x="520" y="233"/>
                  </a:cubicBezTo>
                  <a:cubicBezTo>
                    <a:pt x="520" y="232"/>
                    <a:pt x="520" y="232"/>
                    <a:pt x="520" y="232"/>
                  </a:cubicBezTo>
                  <a:cubicBezTo>
                    <a:pt x="521" y="231"/>
                    <a:pt x="521" y="229"/>
                    <a:pt x="522" y="228"/>
                  </a:cubicBezTo>
                  <a:cubicBezTo>
                    <a:pt x="522" y="227"/>
                    <a:pt x="524" y="226"/>
                    <a:pt x="524" y="226"/>
                  </a:cubicBezTo>
                  <a:cubicBezTo>
                    <a:pt x="525" y="226"/>
                    <a:pt x="525" y="225"/>
                    <a:pt x="525" y="225"/>
                  </a:cubicBezTo>
                  <a:cubicBezTo>
                    <a:pt x="531" y="218"/>
                    <a:pt x="531" y="218"/>
                    <a:pt x="531" y="218"/>
                  </a:cubicBezTo>
                  <a:cubicBezTo>
                    <a:pt x="539" y="210"/>
                    <a:pt x="539" y="210"/>
                    <a:pt x="539" y="210"/>
                  </a:cubicBezTo>
                  <a:cubicBezTo>
                    <a:pt x="542" y="207"/>
                    <a:pt x="545" y="203"/>
                    <a:pt x="544" y="200"/>
                  </a:cubicBezTo>
                  <a:cubicBezTo>
                    <a:pt x="543" y="194"/>
                    <a:pt x="530" y="188"/>
                    <a:pt x="526" y="186"/>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5">
              <a:extLst>
                <a:ext uri="{FF2B5EF4-FFF2-40B4-BE49-F238E27FC236}">
                  <a16:creationId xmlns:a16="http://schemas.microsoft.com/office/drawing/2014/main" id="{686AA9B7-111B-4909-B0B4-DDEFA316429A}"/>
                </a:ext>
              </a:extLst>
            </p:cNvPr>
            <p:cNvSpPr>
              <a:spLocks/>
            </p:cNvSpPr>
            <p:nvPr/>
          </p:nvSpPr>
          <p:spPr bwMode="auto">
            <a:xfrm>
              <a:off x="8220344" y="2900485"/>
              <a:ext cx="177888" cy="104105"/>
            </a:xfrm>
            <a:custGeom>
              <a:avLst/>
              <a:gdLst>
                <a:gd name="T0" fmla="*/ 40 w 160"/>
                <a:gd name="T1" fmla="*/ 50 h 94"/>
                <a:gd name="T2" fmla="*/ 55 w 160"/>
                <a:gd name="T3" fmla="*/ 42 h 94"/>
                <a:gd name="T4" fmla="*/ 62 w 160"/>
                <a:gd name="T5" fmla="*/ 42 h 94"/>
                <a:gd name="T6" fmla="*/ 66 w 160"/>
                <a:gd name="T7" fmla="*/ 35 h 94"/>
                <a:gd name="T8" fmla="*/ 73 w 160"/>
                <a:gd name="T9" fmla="*/ 32 h 94"/>
                <a:gd name="T10" fmla="*/ 87 w 160"/>
                <a:gd name="T11" fmla="*/ 24 h 94"/>
                <a:gd name="T12" fmla="*/ 102 w 160"/>
                <a:gd name="T13" fmla="*/ 20 h 94"/>
                <a:gd name="T14" fmla="*/ 126 w 160"/>
                <a:gd name="T15" fmla="*/ 7 h 94"/>
                <a:gd name="T16" fmla="*/ 126 w 160"/>
                <a:gd name="T17" fmla="*/ 15 h 94"/>
                <a:gd name="T18" fmla="*/ 118 w 160"/>
                <a:gd name="T19" fmla="*/ 21 h 94"/>
                <a:gd name="T20" fmla="*/ 113 w 160"/>
                <a:gd name="T21" fmla="*/ 28 h 94"/>
                <a:gd name="T22" fmla="*/ 120 w 160"/>
                <a:gd name="T23" fmla="*/ 28 h 94"/>
                <a:gd name="T24" fmla="*/ 125 w 160"/>
                <a:gd name="T25" fmla="*/ 25 h 94"/>
                <a:gd name="T26" fmla="*/ 134 w 160"/>
                <a:gd name="T27" fmla="*/ 10 h 94"/>
                <a:gd name="T28" fmla="*/ 141 w 160"/>
                <a:gd name="T29" fmla="*/ 6 h 94"/>
                <a:gd name="T30" fmla="*/ 149 w 160"/>
                <a:gd name="T31" fmla="*/ 4 h 94"/>
                <a:gd name="T32" fmla="*/ 151 w 160"/>
                <a:gd name="T33" fmla="*/ 5 h 94"/>
                <a:gd name="T34" fmla="*/ 151 w 160"/>
                <a:gd name="T35" fmla="*/ 6 h 94"/>
                <a:gd name="T36" fmla="*/ 149 w 160"/>
                <a:gd name="T37" fmla="*/ 15 h 94"/>
                <a:gd name="T38" fmla="*/ 134 w 160"/>
                <a:gd name="T39" fmla="*/ 28 h 94"/>
                <a:gd name="T40" fmla="*/ 126 w 160"/>
                <a:gd name="T41" fmla="*/ 29 h 94"/>
                <a:gd name="T42" fmla="*/ 125 w 160"/>
                <a:gd name="T43" fmla="*/ 35 h 94"/>
                <a:gd name="T44" fmla="*/ 110 w 160"/>
                <a:gd name="T45" fmla="*/ 46 h 94"/>
                <a:gd name="T46" fmla="*/ 102 w 160"/>
                <a:gd name="T47" fmla="*/ 46 h 94"/>
                <a:gd name="T48" fmla="*/ 94 w 160"/>
                <a:gd name="T49" fmla="*/ 52 h 94"/>
                <a:gd name="T50" fmla="*/ 87 w 160"/>
                <a:gd name="T51" fmla="*/ 55 h 94"/>
                <a:gd name="T52" fmla="*/ 71 w 160"/>
                <a:gd name="T53" fmla="*/ 64 h 94"/>
                <a:gd name="T54" fmla="*/ 63 w 160"/>
                <a:gd name="T55" fmla="*/ 67 h 94"/>
                <a:gd name="T56" fmla="*/ 55 w 160"/>
                <a:gd name="T57" fmla="*/ 74 h 94"/>
                <a:gd name="T58" fmla="*/ 52 w 160"/>
                <a:gd name="T59" fmla="*/ 74 h 94"/>
                <a:gd name="T60" fmla="*/ 18 w 160"/>
                <a:gd name="T61" fmla="*/ 91 h 94"/>
                <a:gd name="T62" fmla="*/ 3 w 160"/>
                <a:gd name="T63" fmla="*/ 94 h 94"/>
                <a:gd name="T64" fmla="*/ 0 w 160"/>
                <a:gd name="T65" fmla="*/ 92 h 94"/>
                <a:gd name="T66" fmla="*/ 1 w 160"/>
                <a:gd name="T67" fmla="*/ 85 h 94"/>
                <a:gd name="T68" fmla="*/ 4 w 160"/>
                <a:gd name="T69" fmla="*/ 76 h 94"/>
                <a:gd name="T70" fmla="*/ 17 w 160"/>
                <a:gd name="T71" fmla="*/ 67 h 94"/>
                <a:gd name="T72" fmla="*/ 40 w 160"/>
                <a:gd name="T73" fmla="*/ 5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 h="94">
                  <a:moveTo>
                    <a:pt x="40" y="50"/>
                  </a:moveTo>
                  <a:cubicBezTo>
                    <a:pt x="55" y="42"/>
                    <a:pt x="55" y="42"/>
                    <a:pt x="55" y="42"/>
                  </a:cubicBezTo>
                  <a:cubicBezTo>
                    <a:pt x="62" y="42"/>
                    <a:pt x="62" y="42"/>
                    <a:pt x="62" y="42"/>
                  </a:cubicBezTo>
                  <a:cubicBezTo>
                    <a:pt x="66" y="35"/>
                    <a:pt x="66" y="35"/>
                    <a:pt x="66" y="35"/>
                  </a:cubicBezTo>
                  <a:cubicBezTo>
                    <a:pt x="73" y="32"/>
                    <a:pt x="73" y="32"/>
                    <a:pt x="73" y="32"/>
                  </a:cubicBezTo>
                  <a:cubicBezTo>
                    <a:pt x="87" y="24"/>
                    <a:pt x="87" y="24"/>
                    <a:pt x="87" y="24"/>
                  </a:cubicBezTo>
                  <a:cubicBezTo>
                    <a:pt x="102" y="20"/>
                    <a:pt x="102" y="20"/>
                    <a:pt x="102" y="20"/>
                  </a:cubicBezTo>
                  <a:cubicBezTo>
                    <a:pt x="102" y="20"/>
                    <a:pt x="123" y="0"/>
                    <a:pt x="126" y="7"/>
                  </a:cubicBezTo>
                  <a:cubicBezTo>
                    <a:pt x="126" y="15"/>
                    <a:pt x="126" y="15"/>
                    <a:pt x="126" y="15"/>
                  </a:cubicBezTo>
                  <a:cubicBezTo>
                    <a:pt x="118" y="21"/>
                    <a:pt x="118" y="21"/>
                    <a:pt x="118" y="21"/>
                  </a:cubicBezTo>
                  <a:cubicBezTo>
                    <a:pt x="113" y="28"/>
                    <a:pt x="113" y="28"/>
                    <a:pt x="113" y="28"/>
                  </a:cubicBezTo>
                  <a:cubicBezTo>
                    <a:pt x="120" y="28"/>
                    <a:pt x="120" y="28"/>
                    <a:pt x="120" y="28"/>
                  </a:cubicBezTo>
                  <a:cubicBezTo>
                    <a:pt x="125" y="25"/>
                    <a:pt x="125" y="25"/>
                    <a:pt x="125" y="25"/>
                  </a:cubicBezTo>
                  <a:cubicBezTo>
                    <a:pt x="134" y="10"/>
                    <a:pt x="134" y="10"/>
                    <a:pt x="134" y="10"/>
                  </a:cubicBezTo>
                  <a:cubicBezTo>
                    <a:pt x="141" y="6"/>
                    <a:pt x="141" y="6"/>
                    <a:pt x="141" y="6"/>
                  </a:cubicBezTo>
                  <a:cubicBezTo>
                    <a:pt x="149" y="4"/>
                    <a:pt x="149" y="4"/>
                    <a:pt x="149" y="4"/>
                  </a:cubicBezTo>
                  <a:cubicBezTo>
                    <a:pt x="151" y="5"/>
                    <a:pt x="151" y="5"/>
                    <a:pt x="151" y="5"/>
                  </a:cubicBezTo>
                  <a:cubicBezTo>
                    <a:pt x="151" y="6"/>
                    <a:pt x="151" y="6"/>
                    <a:pt x="151" y="6"/>
                  </a:cubicBezTo>
                  <a:cubicBezTo>
                    <a:pt x="151" y="6"/>
                    <a:pt x="160" y="5"/>
                    <a:pt x="149" y="15"/>
                  </a:cubicBezTo>
                  <a:cubicBezTo>
                    <a:pt x="134" y="28"/>
                    <a:pt x="134" y="28"/>
                    <a:pt x="134" y="28"/>
                  </a:cubicBezTo>
                  <a:cubicBezTo>
                    <a:pt x="126" y="29"/>
                    <a:pt x="126" y="29"/>
                    <a:pt x="126" y="29"/>
                  </a:cubicBezTo>
                  <a:cubicBezTo>
                    <a:pt x="125" y="35"/>
                    <a:pt x="125" y="35"/>
                    <a:pt x="125" y="35"/>
                  </a:cubicBezTo>
                  <a:cubicBezTo>
                    <a:pt x="110" y="46"/>
                    <a:pt x="110" y="46"/>
                    <a:pt x="110" y="46"/>
                  </a:cubicBezTo>
                  <a:cubicBezTo>
                    <a:pt x="102" y="46"/>
                    <a:pt x="102" y="46"/>
                    <a:pt x="102" y="46"/>
                  </a:cubicBezTo>
                  <a:cubicBezTo>
                    <a:pt x="94" y="52"/>
                    <a:pt x="94" y="52"/>
                    <a:pt x="94" y="52"/>
                  </a:cubicBezTo>
                  <a:cubicBezTo>
                    <a:pt x="87" y="55"/>
                    <a:pt x="87" y="55"/>
                    <a:pt x="87" y="55"/>
                  </a:cubicBezTo>
                  <a:cubicBezTo>
                    <a:pt x="71" y="64"/>
                    <a:pt x="71" y="64"/>
                    <a:pt x="71" y="64"/>
                  </a:cubicBezTo>
                  <a:cubicBezTo>
                    <a:pt x="63" y="67"/>
                    <a:pt x="63" y="67"/>
                    <a:pt x="63" y="67"/>
                  </a:cubicBezTo>
                  <a:cubicBezTo>
                    <a:pt x="55" y="74"/>
                    <a:pt x="55" y="74"/>
                    <a:pt x="55" y="74"/>
                  </a:cubicBezTo>
                  <a:cubicBezTo>
                    <a:pt x="52" y="74"/>
                    <a:pt x="52" y="74"/>
                    <a:pt x="52" y="74"/>
                  </a:cubicBezTo>
                  <a:cubicBezTo>
                    <a:pt x="33" y="91"/>
                    <a:pt x="18" y="91"/>
                    <a:pt x="18" y="91"/>
                  </a:cubicBezTo>
                  <a:cubicBezTo>
                    <a:pt x="3" y="94"/>
                    <a:pt x="3" y="94"/>
                    <a:pt x="3" y="94"/>
                  </a:cubicBezTo>
                  <a:cubicBezTo>
                    <a:pt x="0" y="92"/>
                    <a:pt x="0" y="92"/>
                    <a:pt x="0" y="92"/>
                  </a:cubicBezTo>
                  <a:cubicBezTo>
                    <a:pt x="1" y="85"/>
                    <a:pt x="1" y="85"/>
                    <a:pt x="1" y="85"/>
                  </a:cubicBezTo>
                  <a:cubicBezTo>
                    <a:pt x="4" y="76"/>
                    <a:pt x="4" y="76"/>
                    <a:pt x="4" y="76"/>
                  </a:cubicBezTo>
                  <a:cubicBezTo>
                    <a:pt x="17" y="67"/>
                    <a:pt x="17" y="67"/>
                    <a:pt x="17" y="67"/>
                  </a:cubicBezTo>
                  <a:cubicBezTo>
                    <a:pt x="17" y="67"/>
                    <a:pt x="12" y="56"/>
                    <a:pt x="40" y="50"/>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6">
              <a:extLst>
                <a:ext uri="{FF2B5EF4-FFF2-40B4-BE49-F238E27FC236}">
                  <a16:creationId xmlns:a16="http://schemas.microsoft.com/office/drawing/2014/main" id="{DADCBD58-FB71-4704-83A4-FC7B26B23EC5}"/>
                </a:ext>
              </a:extLst>
            </p:cNvPr>
            <p:cNvSpPr>
              <a:spLocks noEditPoints="1"/>
            </p:cNvSpPr>
            <p:nvPr/>
          </p:nvSpPr>
          <p:spPr bwMode="auto">
            <a:xfrm>
              <a:off x="7621994" y="2435551"/>
              <a:ext cx="623618" cy="559942"/>
            </a:xfrm>
            <a:custGeom>
              <a:avLst/>
              <a:gdLst>
                <a:gd name="T0" fmla="*/ 537 w 561"/>
                <a:gd name="T1" fmla="*/ 337 h 504"/>
                <a:gd name="T2" fmla="*/ 534 w 561"/>
                <a:gd name="T3" fmla="*/ 250 h 504"/>
                <a:gd name="T4" fmla="*/ 504 w 561"/>
                <a:gd name="T5" fmla="*/ 157 h 504"/>
                <a:gd name="T6" fmla="*/ 501 w 561"/>
                <a:gd name="T7" fmla="*/ 147 h 504"/>
                <a:gd name="T8" fmla="*/ 487 w 561"/>
                <a:gd name="T9" fmla="*/ 109 h 504"/>
                <a:gd name="T10" fmla="*/ 490 w 561"/>
                <a:gd name="T11" fmla="*/ 83 h 504"/>
                <a:gd name="T12" fmla="*/ 487 w 561"/>
                <a:gd name="T13" fmla="*/ 68 h 504"/>
                <a:gd name="T14" fmla="*/ 475 w 561"/>
                <a:gd name="T15" fmla="*/ 45 h 504"/>
                <a:gd name="T16" fmla="*/ 469 w 561"/>
                <a:gd name="T17" fmla="*/ 20 h 504"/>
                <a:gd name="T18" fmla="*/ 466 w 561"/>
                <a:gd name="T19" fmla="*/ 2 h 504"/>
                <a:gd name="T20" fmla="*/ 352 w 561"/>
                <a:gd name="T21" fmla="*/ 28 h 504"/>
                <a:gd name="T22" fmla="*/ 303 w 561"/>
                <a:gd name="T23" fmla="*/ 66 h 504"/>
                <a:gd name="T24" fmla="*/ 274 w 561"/>
                <a:gd name="T25" fmla="*/ 124 h 504"/>
                <a:gd name="T26" fmla="*/ 262 w 561"/>
                <a:gd name="T27" fmla="*/ 139 h 504"/>
                <a:gd name="T28" fmla="*/ 242 w 561"/>
                <a:gd name="T29" fmla="*/ 160 h 504"/>
                <a:gd name="T30" fmla="*/ 253 w 561"/>
                <a:gd name="T31" fmla="*/ 178 h 504"/>
                <a:gd name="T32" fmla="*/ 254 w 561"/>
                <a:gd name="T33" fmla="*/ 169 h 504"/>
                <a:gd name="T34" fmla="*/ 264 w 561"/>
                <a:gd name="T35" fmla="*/ 177 h 504"/>
                <a:gd name="T36" fmla="*/ 255 w 561"/>
                <a:gd name="T37" fmla="*/ 186 h 504"/>
                <a:gd name="T38" fmla="*/ 263 w 561"/>
                <a:gd name="T39" fmla="*/ 208 h 504"/>
                <a:gd name="T40" fmla="*/ 263 w 561"/>
                <a:gd name="T41" fmla="*/ 227 h 504"/>
                <a:gd name="T42" fmla="*/ 247 w 561"/>
                <a:gd name="T43" fmla="*/ 236 h 504"/>
                <a:gd name="T44" fmla="*/ 233 w 561"/>
                <a:gd name="T45" fmla="*/ 252 h 504"/>
                <a:gd name="T46" fmla="*/ 217 w 561"/>
                <a:gd name="T47" fmla="*/ 267 h 504"/>
                <a:gd name="T48" fmla="*/ 195 w 561"/>
                <a:gd name="T49" fmla="*/ 268 h 504"/>
                <a:gd name="T50" fmla="*/ 155 w 561"/>
                <a:gd name="T51" fmla="*/ 276 h 504"/>
                <a:gd name="T52" fmla="*/ 50 w 561"/>
                <a:gd name="T53" fmla="*/ 296 h 504"/>
                <a:gd name="T54" fmla="*/ 38 w 561"/>
                <a:gd name="T55" fmla="*/ 305 h 504"/>
                <a:gd name="T56" fmla="*/ 42 w 561"/>
                <a:gd name="T57" fmla="*/ 326 h 504"/>
                <a:gd name="T58" fmla="*/ 58 w 561"/>
                <a:gd name="T59" fmla="*/ 329 h 504"/>
                <a:gd name="T60" fmla="*/ 64 w 561"/>
                <a:gd name="T61" fmla="*/ 352 h 504"/>
                <a:gd name="T62" fmla="*/ 47 w 561"/>
                <a:gd name="T63" fmla="*/ 380 h 504"/>
                <a:gd name="T64" fmla="*/ 4 w 561"/>
                <a:gd name="T65" fmla="*/ 428 h 504"/>
                <a:gd name="T66" fmla="*/ 9 w 561"/>
                <a:gd name="T67" fmla="*/ 465 h 504"/>
                <a:gd name="T68" fmla="*/ 381 w 561"/>
                <a:gd name="T69" fmla="*/ 389 h 504"/>
                <a:gd name="T70" fmla="*/ 395 w 561"/>
                <a:gd name="T71" fmla="*/ 401 h 504"/>
                <a:gd name="T72" fmla="*/ 451 w 561"/>
                <a:gd name="T73" fmla="*/ 446 h 504"/>
                <a:gd name="T74" fmla="*/ 526 w 561"/>
                <a:gd name="T75" fmla="*/ 472 h 504"/>
                <a:gd name="T76" fmla="*/ 532 w 561"/>
                <a:gd name="T77" fmla="*/ 484 h 504"/>
                <a:gd name="T78" fmla="*/ 535 w 561"/>
                <a:gd name="T79" fmla="*/ 503 h 504"/>
                <a:gd name="T80" fmla="*/ 547 w 561"/>
                <a:gd name="T81" fmla="*/ 491 h 504"/>
                <a:gd name="T82" fmla="*/ 556 w 561"/>
                <a:gd name="T83" fmla="*/ 465 h 504"/>
                <a:gd name="T84" fmla="*/ 553 w 561"/>
                <a:gd name="T85" fmla="*/ 451 h 504"/>
                <a:gd name="T86" fmla="*/ 465 w 561"/>
                <a:gd name="T87" fmla="*/ 13 h 504"/>
                <a:gd name="T88" fmla="*/ 496 w 561"/>
                <a:gd name="T89" fmla="*/ 150 h 504"/>
                <a:gd name="T90" fmla="*/ 495 w 561"/>
                <a:gd name="T91" fmla="*/ 157 h 504"/>
                <a:gd name="T92" fmla="*/ 482 w 561"/>
                <a:gd name="T93" fmla="*/ 107 h 504"/>
                <a:gd name="T94" fmla="*/ 482 w 561"/>
                <a:gd name="T95" fmla="*/ 76 h 504"/>
                <a:gd name="T96" fmla="*/ 470 w 561"/>
                <a:gd name="T97" fmla="*/ 39 h 504"/>
                <a:gd name="T98" fmla="*/ 470 w 561"/>
                <a:gd name="T99" fmla="*/ 45 h 504"/>
                <a:gd name="T100" fmla="*/ 464 w 561"/>
                <a:gd name="T101" fmla="*/ 20 h 504"/>
                <a:gd name="T102" fmla="*/ 486 w 561"/>
                <a:gd name="T103" fmla="*/ 90 h 504"/>
                <a:gd name="T104" fmla="*/ 482 w 561"/>
                <a:gd name="T105" fmla="*/ 69 h 504"/>
                <a:gd name="T106" fmla="*/ 470 w 561"/>
                <a:gd name="T107" fmla="*/ 32 h 504"/>
                <a:gd name="T108" fmla="*/ 556 w 561"/>
                <a:gd name="T109" fmla="*/ 44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61" h="504">
                  <a:moveTo>
                    <a:pt x="560" y="434"/>
                  </a:moveTo>
                  <a:cubicBezTo>
                    <a:pt x="560" y="431"/>
                    <a:pt x="557" y="427"/>
                    <a:pt x="555" y="425"/>
                  </a:cubicBezTo>
                  <a:cubicBezTo>
                    <a:pt x="554" y="419"/>
                    <a:pt x="543" y="361"/>
                    <a:pt x="540" y="342"/>
                  </a:cubicBezTo>
                  <a:cubicBezTo>
                    <a:pt x="540" y="340"/>
                    <a:pt x="539" y="338"/>
                    <a:pt x="537" y="337"/>
                  </a:cubicBezTo>
                  <a:cubicBezTo>
                    <a:pt x="538" y="266"/>
                    <a:pt x="538" y="266"/>
                    <a:pt x="538" y="266"/>
                  </a:cubicBezTo>
                  <a:cubicBezTo>
                    <a:pt x="539" y="264"/>
                    <a:pt x="540" y="259"/>
                    <a:pt x="539" y="257"/>
                  </a:cubicBezTo>
                  <a:cubicBezTo>
                    <a:pt x="539" y="255"/>
                    <a:pt x="538" y="254"/>
                    <a:pt x="536" y="252"/>
                  </a:cubicBezTo>
                  <a:cubicBezTo>
                    <a:pt x="536" y="252"/>
                    <a:pt x="534" y="250"/>
                    <a:pt x="534" y="250"/>
                  </a:cubicBezTo>
                  <a:cubicBezTo>
                    <a:pt x="534" y="249"/>
                    <a:pt x="533" y="244"/>
                    <a:pt x="533" y="244"/>
                  </a:cubicBezTo>
                  <a:cubicBezTo>
                    <a:pt x="532" y="241"/>
                    <a:pt x="525" y="190"/>
                    <a:pt x="517" y="171"/>
                  </a:cubicBezTo>
                  <a:cubicBezTo>
                    <a:pt x="515" y="167"/>
                    <a:pt x="510" y="157"/>
                    <a:pt x="505" y="157"/>
                  </a:cubicBezTo>
                  <a:cubicBezTo>
                    <a:pt x="505" y="157"/>
                    <a:pt x="504" y="157"/>
                    <a:pt x="504" y="157"/>
                  </a:cubicBezTo>
                  <a:cubicBezTo>
                    <a:pt x="501" y="158"/>
                    <a:pt x="501" y="160"/>
                    <a:pt x="500" y="163"/>
                  </a:cubicBezTo>
                  <a:cubicBezTo>
                    <a:pt x="500" y="162"/>
                    <a:pt x="500" y="161"/>
                    <a:pt x="500" y="160"/>
                  </a:cubicBezTo>
                  <a:cubicBezTo>
                    <a:pt x="500" y="159"/>
                    <a:pt x="500" y="156"/>
                    <a:pt x="500" y="154"/>
                  </a:cubicBezTo>
                  <a:cubicBezTo>
                    <a:pt x="501" y="151"/>
                    <a:pt x="501" y="149"/>
                    <a:pt x="501" y="147"/>
                  </a:cubicBezTo>
                  <a:cubicBezTo>
                    <a:pt x="501" y="143"/>
                    <a:pt x="498" y="135"/>
                    <a:pt x="497" y="131"/>
                  </a:cubicBezTo>
                  <a:cubicBezTo>
                    <a:pt x="496" y="130"/>
                    <a:pt x="495" y="129"/>
                    <a:pt x="494" y="127"/>
                  </a:cubicBezTo>
                  <a:cubicBezTo>
                    <a:pt x="493" y="126"/>
                    <a:pt x="493" y="125"/>
                    <a:pt x="492" y="124"/>
                  </a:cubicBezTo>
                  <a:cubicBezTo>
                    <a:pt x="491" y="120"/>
                    <a:pt x="488" y="113"/>
                    <a:pt x="487" y="109"/>
                  </a:cubicBezTo>
                  <a:cubicBezTo>
                    <a:pt x="487" y="106"/>
                    <a:pt x="486" y="99"/>
                    <a:pt x="487" y="96"/>
                  </a:cubicBezTo>
                  <a:cubicBezTo>
                    <a:pt x="487" y="95"/>
                    <a:pt x="488" y="95"/>
                    <a:pt x="488" y="95"/>
                  </a:cubicBezTo>
                  <a:cubicBezTo>
                    <a:pt x="489" y="94"/>
                    <a:pt x="490" y="93"/>
                    <a:pt x="490" y="92"/>
                  </a:cubicBezTo>
                  <a:cubicBezTo>
                    <a:pt x="491" y="90"/>
                    <a:pt x="490" y="86"/>
                    <a:pt x="490" y="83"/>
                  </a:cubicBezTo>
                  <a:cubicBezTo>
                    <a:pt x="489" y="82"/>
                    <a:pt x="489" y="81"/>
                    <a:pt x="488" y="79"/>
                  </a:cubicBezTo>
                  <a:cubicBezTo>
                    <a:pt x="488" y="78"/>
                    <a:pt x="487" y="76"/>
                    <a:pt x="487" y="76"/>
                  </a:cubicBezTo>
                  <a:cubicBezTo>
                    <a:pt x="487" y="75"/>
                    <a:pt x="487" y="73"/>
                    <a:pt x="487" y="72"/>
                  </a:cubicBezTo>
                  <a:cubicBezTo>
                    <a:pt x="487" y="71"/>
                    <a:pt x="488" y="69"/>
                    <a:pt x="487" y="68"/>
                  </a:cubicBezTo>
                  <a:cubicBezTo>
                    <a:pt x="487" y="66"/>
                    <a:pt x="486" y="62"/>
                    <a:pt x="485" y="59"/>
                  </a:cubicBezTo>
                  <a:cubicBezTo>
                    <a:pt x="484" y="58"/>
                    <a:pt x="482" y="57"/>
                    <a:pt x="481" y="55"/>
                  </a:cubicBezTo>
                  <a:cubicBezTo>
                    <a:pt x="480" y="54"/>
                    <a:pt x="478" y="53"/>
                    <a:pt x="478" y="52"/>
                  </a:cubicBezTo>
                  <a:cubicBezTo>
                    <a:pt x="477" y="51"/>
                    <a:pt x="476" y="47"/>
                    <a:pt x="475" y="45"/>
                  </a:cubicBezTo>
                  <a:cubicBezTo>
                    <a:pt x="475" y="44"/>
                    <a:pt x="475" y="41"/>
                    <a:pt x="475" y="38"/>
                  </a:cubicBezTo>
                  <a:cubicBezTo>
                    <a:pt x="475" y="34"/>
                    <a:pt x="475" y="30"/>
                    <a:pt x="474" y="27"/>
                  </a:cubicBezTo>
                  <a:cubicBezTo>
                    <a:pt x="474" y="26"/>
                    <a:pt x="472" y="24"/>
                    <a:pt x="471" y="23"/>
                  </a:cubicBezTo>
                  <a:cubicBezTo>
                    <a:pt x="470" y="22"/>
                    <a:pt x="469" y="20"/>
                    <a:pt x="469" y="20"/>
                  </a:cubicBezTo>
                  <a:cubicBezTo>
                    <a:pt x="469" y="19"/>
                    <a:pt x="469" y="18"/>
                    <a:pt x="469" y="17"/>
                  </a:cubicBezTo>
                  <a:cubicBezTo>
                    <a:pt x="470" y="15"/>
                    <a:pt x="470" y="14"/>
                    <a:pt x="470" y="12"/>
                  </a:cubicBezTo>
                  <a:cubicBezTo>
                    <a:pt x="470" y="11"/>
                    <a:pt x="468" y="7"/>
                    <a:pt x="468" y="6"/>
                  </a:cubicBezTo>
                  <a:cubicBezTo>
                    <a:pt x="466" y="2"/>
                    <a:pt x="466" y="2"/>
                    <a:pt x="466" y="2"/>
                  </a:cubicBezTo>
                  <a:cubicBezTo>
                    <a:pt x="466" y="1"/>
                    <a:pt x="465" y="0"/>
                    <a:pt x="463" y="1"/>
                  </a:cubicBezTo>
                  <a:cubicBezTo>
                    <a:pt x="406" y="17"/>
                    <a:pt x="406" y="17"/>
                    <a:pt x="406" y="17"/>
                  </a:cubicBezTo>
                  <a:cubicBezTo>
                    <a:pt x="406" y="17"/>
                    <a:pt x="367" y="27"/>
                    <a:pt x="354" y="28"/>
                  </a:cubicBezTo>
                  <a:cubicBezTo>
                    <a:pt x="353" y="28"/>
                    <a:pt x="352" y="28"/>
                    <a:pt x="352" y="28"/>
                  </a:cubicBezTo>
                  <a:cubicBezTo>
                    <a:pt x="350" y="28"/>
                    <a:pt x="348" y="28"/>
                    <a:pt x="347" y="28"/>
                  </a:cubicBezTo>
                  <a:cubicBezTo>
                    <a:pt x="342" y="29"/>
                    <a:pt x="334" y="34"/>
                    <a:pt x="331" y="36"/>
                  </a:cubicBezTo>
                  <a:cubicBezTo>
                    <a:pt x="323" y="42"/>
                    <a:pt x="311" y="57"/>
                    <a:pt x="304" y="65"/>
                  </a:cubicBezTo>
                  <a:cubicBezTo>
                    <a:pt x="303" y="66"/>
                    <a:pt x="303" y="66"/>
                    <a:pt x="303" y="66"/>
                  </a:cubicBezTo>
                  <a:cubicBezTo>
                    <a:pt x="296" y="75"/>
                    <a:pt x="282" y="95"/>
                    <a:pt x="279" y="106"/>
                  </a:cubicBezTo>
                  <a:cubicBezTo>
                    <a:pt x="279" y="108"/>
                    <a:pt x="279" y="110"/>
                    <a:pt x="280" y="112"/>
                  </a:cubicBezTo>
                  <a:cubicBezTo>
                    <a:pt x="280" y="113"/>
                    <a:pt x="280" y="115"/>
                    <a:pt x="280" y="116"/>
                  </a:cubicBezTo>
                  <a:cubicBezTo>
                    <a:pt x="279" y="118"/>
                    <a:pt x="276" y="121"/>
                    <a:pt x="274" y="124"/>
                  </a:cubicBezTo>
                  <a:cubicBezTo>
                    <a:pt x="272" y="126"/>
                    <a:pt x="270" y="128"/>
                    <a:pt x="269" y="130"/>
                  </a:cubicBezTo>
                  <a:cubicBezTo>
                    <a:pt x="268" y="131"/>
                    <a:pt x="268" y="132"/>
                    <a:pt x="267" y="133"/>
                  </a:cubicBezTo>
                  <a:cubicBezTo>
                    <a:pt x="267" y="134"/>
                    <a:pt x="266" y="135"/>
                    <a:pt x="266" y="136"/>
                  </a:cubicBezTo>
                  <a:cubicBezTo>
                    <a:pt x="265" y="137"/>
                    <a:pt x="263" y="138"/>
                    <a:pt x="262" y="139"/>
                  </a:cubicBezTo>
                  <a:cubicBezTo>
                    <a:pt x="260" y="140"/>
                    <a:pt x="259" y="141"/>
                    <a:pt x="258" y="142"/>
                  </a:cubicBezTo>
                  <a:cubicBezTo>
                    <a:pt x="256" y="144"/>
                    <a:pt x="256" y="144"/>
                    <a:pt x="256" y="144"/>
                  </a:cubicBezTo>
                  <a:cubicBezTo>
                    <a:pt x="252" y="148"/>
                    <a:pt x="246" y="153"/>
                    <a:pt x="244" y="157"/>
                  </a:cubicBezTo>
                  <a:cubicBezTo>
                    <a:pt x="244" y="158"/>
                    <a:pt x="243" y="159"/>
                    <a:pt x="242" y="160"/>
                  </a:cubicBezTo>
                  <a:cubicBezTo>
                    <a:pt x="238" y="164"/>
                    <a:pt x="236" y="167"/>
                    <a:pt x="236" y="169"/>
                  </a:cubicBezTo>
                  <a:cubicBezTo>
                    <a:pt x="237" y="171"/>
                    <a:pt x="239" y="173"/>
                    <a:pt x="241" y="174"/>
                  </a:cubicBezTo>
                  <a:cubicBezTo>
                    <a:pt x="242" y="174"/>
                    <a:pt x="244" y="175"/>
                    <a:pt x="244" y="176"/>
                  </a:cubicBezTo>
                  <a:cubicBezTo>
                    <a:pt x="246" y="178"/>
                    <a:pt x="253" y="178"/>
                    <a:pt x="253" y="178"/>
                  </a:cubicBezTo>
                  <a:cubicBezTo>
                    <a:pt x="253" y="178"/>
                    <a:pt x="254" y="178"/>
                    <a:pt x="254" y="178"/>
                  </a:cubicBezTo>
                  <a:cubicBezTo>
                    <a:pt x="255" y="178"/>
                    <a:pt x="256" y="177"/>
                    <a:pt x="256" y="176"/>
                  </a:cubicBezTo>
                  <a:cubicBezTo>
                    <a:pt x="257" y="175"/>
                    <a:pt x="256" y="173"/>
                    <a:pt x="255" y="171"/>
                  </a:cubicBezTo>
                  <a:cubicBezTo>
                    <a:pt x="255" y="170"/>
                    <a:pt x="254" y="169"/>
                    <a:pt x="254" y="169"/>
                  </a:cubicBezTo>
                  <a:cubicBezTo>
                    <a:pt x="255" y="168"/>
                    <a:pt x="257" y="167"/>
                    <a:pt x="258" y="166"/>
                  </a:cubicBezTo>
                  <a:cubicBezTo>
                    <a:pt x="258" y="167"/>
                    <a:pt x="258" y="168"/>
                    <a:pt x="258" y="169"/>
                  </a:cubicBezTo>
                  <a:cubicBezTo>
                    <a:pt x="257" y="172"/>
                    <a:pt x="257" y="175"/>
                    <a:pt x="259" y="177"/>
                  </a:cubicBezTo>
                  <a:cubicBezTo>
                    <a:pt x="261" y="178"/>
                    <a:pt x="262" y="177"/>
                    <a:pt x="264" y="177"/>
                  </a:cubicBezTo>
                  <a:cubicBezTo>
                    <a:pt x="264" y="178"/>
                    <a:pt x="264" y="179"/>
                    <a:pt x="263" y="180"/>
                  </a:cubicBezTo>
                  <a:cubicBezTo>
                    <a:pt x="263" y="181"/>
                    <a:pt x="263" y="182"/>
                    <a:pt x="263" y="182"/>
                  </a:cubicBezTo>
                  <a:cubicBezTo>
                    <a:pt x="263" y="183"/>
                    <a:pt x="262" y="183"/>
                    <a:pt x="261" y="183"/>
                  </a:cubicBezTo>
                  <a:cubicBezTo>
                    <a:pt x="259" y="183"/>
                    <a:pt x="256" y="184"/>
                    <a:pt x="255" y="186"/>
                  </a:cubicBezTo>
                  <a:cubicBezTo>
                    <a:pt x="254" y="190"/>
                    <a:pt x="257" y="194"/>
                    <a:pt x="260" y="198"/>
                  </a:cubicBezTo>
                  <a:cubicBezTo>
                    <a:pt x="261" y="200"/>
                    <a:pt x="262" y="202"/>
                    <a:pt x="263" y="203"/>
                  </a:cubicBezTo>
                  <a:cubicBezTo>
                    <a:pt x="263" y="203"/>
                    <a:pt x="263" y="204"/>
                    <a:pt x="263" y="205"/>
                  </a:cubicBezTo>
                  <a:cubicBezTo>
                    <a:pt x="263" y="206"/>
                    <a:pt x="263" y="207"/>
                    <a:pt x="263" y="208"/>
                  </a:cubicBezTo>
                  <a:cubicBezTo>
                    <a:pt x="264" y="209"/>
                    <a:pt x="264" y="210"/>
                    <a:pt x="265" y="212"/>
                  </a:cubicBezTo>
                  <a:cubicBezTo>
                    <a:pt x="265" y="213"/>
                    <a:pt x="266" y="214"/>
                    <a:pt x="266" y="215"/>
                  </a:cubicBezTo>
                  <a:cubicBezTo>
                    <a:pt x="267" y="218"/>
                    <a:pt x="267" y="221"/>
                    <a:pt x="267" y="222"/>
                  </a:cubicBezTo>
                  <a:cubicBezTo>
                    <a:pt x="266" y="223"/>
                    <a:pt x="264" y="227"/>
                    <a:pt x="263" y="227"/>
                  </a:cubicBezTo>
                  <a:cubicBezTo>
                    <a:pt x="262" y="227"/>
                    <a:pt x="261" y="227"/>
                    <a:pt x="261" y="227"/>
                  </a:cubicBezTo>
                  <a:cubicBezTo>
                    <a:pt x="258" y="227"/>
                    <a:pt x="257" y="227"/>
                    <a:pt x="255" y="227"/>
                  </a:cubicBezTo>
                  <a:cubicBezTo>
                    <a:pt x="253" y="228"/>
                    <a:pt x="251" y="231"/>
                    <a:pt x="249" y="233"/>
                  </a:cubicBezTo>
                  <a:cubicBezTo>
                    <a:pt x="248" y="235"/>
                    <a:pt x="247" y="236"/>
                    <a:pt x="247" y="236"/>
                  </a:cubicBezTo>
                  <a:cubicBezTo>
                    <a:pt x="246" y="237"/>
                    <a:pt x="244" y="238"/>
                    <a:pt x="243" y="239"/>
                  </a:cubicBezTo>
                  <a:cubicBezTo>
                    <a:pt x="241" y="241"/>
                    <a:pt x="238" y="242"/>
                    <a:pt x="237" y="244"/>
                  </a:cubicBezTo>
                  <a:cubicBezTo>
                    <a:pt x="236" y="245"/>
                    <a:pt x="235" y="247"/>
                    <a:pt x="234" y="249"/>
                  </a:cubicBezTo>
                  <a:cubicBezTo>
                    <a:pt x="234" y="250"/>
                    <a:pt x="233" y="251"/>
                    <a:pt x="233" y="252"/>
                  </a:cubicBezTo>
                  <a:cubicBezTo>
                    <a:pt x="231" y="254"/>
                    <a:pt x="228" y="257"/>
                    <a:pt x="227" y="259"/>
                  </a:cubicBezTo>
                  <a:cubicBezTo>
                    <a:pt x="226" y="259"/>
                    <a:pt x="225" y="260"/>
                    <a:pt x="224" y="260"/>
                  </a:cubicBezTo>
                  <a:cubicBezTo>
                    <a:pt x="222" y="261"/>
                    <a:pt x="220" y="262"/>
                    <a:pt x="219" y="263"/>
                  </a:cubicBezTo>
                  <a:cubicBezTo>
                    <a:pt x="218" y="264"/>
                    <a:pt x="218" y="265"/>
                    <a:pt x="217" y="267"/>
                  </a:cubicBezTo>
                  <a:cubicBezTo>
                    <a:pt x="216" y="268"/>
                    <a:pt x="216" y="269"/>
                    <a:pt x="216" y="270"/>
                  </a:cubicBezTo>
                  <a:cubicBezTo>
                    <a:pt x="215" y="270"/>
                    <a:pt x="214" y="269"/>
                    <a:pt x="214" y="269"/>
                  </a:cubicBezTo>
                  <a:cubicBezTo>
                    <a:pt x="213" y="268"/>
                    <a:pt x="212" y="268"/>
                    <a:pt x="211" y="267"/>
                  </a:cubicBezTo>
                  <a:cubicBezTo>
                    <a:pt x="207" y="267"/>
                    <a:pt x="199" y="268"/>
                    <a:pt x="195" y="268"/>
                  </a:cubicBezTo>
                  <a:cubicBezTo>
                    <a:pt x="191" y="269"/>
                    <a:pt x="183" y="270"/>
                    <a:pt x="179" y="272"/>
                  </a:cubicBezTo>
                  <a:cubicBezTo>
                    <a:pt x="177" y="273"/>
                    <a:pt x="175" y="274"/>
                    <a:pt x="173" y="276"/>
                  </a:cubicBezTo>
                  <a:cubicBezTo>
                    <a:pt x="170" y="278"/>
                    <a:pt x="166" y="280"/>
                    <a:pt x="164" y="280"/>
                  </a:cubicBezTo>
                  <a:cubicBezTo>
                    <a:pt x="162" y="280"/>
                    <a:pt x="158" y="278"/>
                    <a:pt x="155" y="276"/>
                  </a:cubicBezTo>
                  <a:cubicBezTo>
                    <a:pt x="152" y="275"/>
                    <a:pt x="148" y="273"/>
                    <a:pt x="146" y="273"/>
                  </a:cubicBezTo>
                  <a:cubicBezTo>
                    <a:pt x="141" y="272"/>
                    <a:pt x="131" y="272"/>
                    <a:pt x="123" y="273"/>
                  </a:cubicBezTo>
                  <a:cubicBezTo>
                    <a:pt x="120" y="274"/>
                    <a:pt x="117" y="274"/>
                    <a:pt x="115" y="274"/>
                  </a:cubicBezTo>
                  <a:cubicBezTo>
                    <a:pt x="92" y="275"/>
                    <a:pt x="70" y="286"/>
                    <a:pt x="50" y="296"/>
                  </a:cubicBezTo>
                  <a:cubicBezTo>
                    <a:pt x="47" y="298"/>
                    <a:pt x="47" y="298"/>
                    <a:pt x="47" y="298"/>
                  </a:cubicBezTo>
                  <a:cubicBezTo>
                    <a:pt x="46" y="298"/>
                    <a:pt x="45" y="299"/>
                    <a:pt x="44" y="299"/>
                  </a:cubicBezTo>
                  <a:cubicBezTo>
                    <a:pt x="42" y="300"/>
                    <a:pt x="39" y="301"/>
                    <a:pt x="38" y="302"/>
                  </a:cubicBezTo>
                  <a:cubicBezTo>
                    <a:pt x="37" y="303"/>
                    <a:pt x="37" y="305"/>
                    <a:pt x="38" y="305"/>
                  </a:cubicBezTo>
                  <a:cubicBezTo>
                    <a:pt x="38" y="307"/>
                    <a:pt x="39" y="309"/>
                    <a:pt x="40" y="312"/>
                  </a:cubicBezTo>
                  <a:cubicBezTo>
                    <a:pt x="41" y="314"/>
                    <a:pt x="42" y="317"/>
                    <a:pt x="42" y="318"/>
                  </a:cubicBezTo>
                  <a:cubicBezTo>
                    <a:pt x="42" y="319"/>
                    <a:pt x="42" y="319"/>
                    <a:pt x="41" y="320"/>
                  </a:cubicBezTo>
                  <a:cubicBezTo>
                    <a:pt x="41" y="322"/>
                    <a:pt x="40" y="324"/>
                    <a:pt x="42" y="326"/>
                  </a:cubicBezTo>
                  <a:cubicBezTo>
                    <a:pt x="43" y="328"/>
                    <a:pt x="47" y="328"/>
                    <a:pt x="50" y="328"/>
                  </a:cubicBezTo>
                  <a:cubicBezTo>
                    <a:pt x="53" y="328"/>
                    <a:pt x="53" y="328"/>
                    <a:pt x="53" y="328"/>
                  </a:cubicBezTo>
                  <a:cubicBezTo>
                    <a:pt x="57" y="328"/>
                    <a:pt x="58" y="328"/>
                    <a:pt x="58" y="328"/>
                  </a:cubicBezTo>
                  <a:cubicBezTo>
                    <a:pt x="58" y="329"/>
                    <a:pt x="58" y="329"/>
                    <a:pt x="58" y="329"/>
                  </a:cubicBezTo>
                  <a:cubicBezTo>
                    <a:pt x="58" y="329"/>
                    <a:pt x="57" y="330"/>
                    <a:pt x="57" y="330"/>
                  </a:cubicBezTo>
                  <a:cubicBezTo>
                    <a:pt x="55" y="332"/>
                    <a:pt x="54" y="333"/>
                    <a:pt x="54" y="335"/>
                  </a:cubicBezTo>
                  <a:cubicBezTo>
                    <a:pt x="54" y="338"/>
                    <a:pt x="57" y="342"/>
                    <a:pt x="60" y="346"/>
                  </a:cubicBezTo>
                  <a:cubicBezTo>
                    <a:pt x="61" y="348"/>
                    <a:pt x="63" y="351"/>
                    <a:pt x="64" y="352"/>
                  </a:cubicBezTo>
                  <a:cubicBezTo>
                    <a:pt x="64" y="354"/>
                    <a:pt x="64" y="357"/>
                    <a:pt x="64" y="358"/>
                  </a:cubicBezTo>
                  <a:cubicBezTo>
                    <a:pt x="63" y="361"/>
                    <a:pt x="60" y="363"/>
                    <a:pt x="57" y="366"/>
                  </a:cubicBezTo>
                  <a:cubicBezTo>
                    <a:pt x="54" y="368"/>
                    <a:pt x="52" y="370"/>
                    <a:pt x="51" y="372"/>
                  </a:cubicBezTo>
                  <a:cubicBezTo>
                    <a:pt x="50" y="374"/>
                    <a:pt x="48" y="379"/>
                    <a:pt x="47" y="380"/>
                  </a:cubicBezTo>
                  <a:cubicBezTo>
                    <a:pt x="42" y="387"/>
                    <a:pt x="42" y="387"/>
                    <a:pt x="42" y="387"/>
                  </a:cubicBezTo>
                  <a:cubicBezTo>
                    <a:pt x="32" y="397"/>
                    <a:pt x="32" y="397"/>
                    <a:pt x="32" y="397"/>
                  </a:cubicBezTo>
                  <a:cubicBezTo>
                    <a:pt x="20" y="412"/>
                    <a:pt x="20" y="412"/>
                    <a:pt x="20" y="412"/>
                  </a:cubicBezTo>
                  <a:cubicBezTo>
                    <a:pt x="4" y="428"/>
                    <a:pt x="4" y="428"/>
                    <a:pt x="4" y="428"/>
                  </a:cubicBezTo>
                  <a:cubicBezTo>
                    <a:pt x="1" y="430"/>
                    <a:pt x="1" y="430"/>
                    <a:pt x="1" y="430"/>
                  </a:cubicBezTo>
                  <a:cubicBezTo>
                    <a:pt x="0" y="431"/>
                    <a:pt x="0" y="432"/>
                    <a:pt x="0" y="433"/>
                  </a:cubicBezTo>
                  <a:cubicBezTo>
                    <a:pt x="6" y="463"/>
                    <a:pt x="6" y="463"/>
                    <a:pt x="6" y="463"/>
                  </a:cubicBezTo>
                  <a:cubicBezTo>
                    <a:pt x="6" y="464"/>
                    <a:pt x="7" y="465"/>
                    <a:pt x="9" y="465"/>
                  </a:cubicBezTo>
                  <a:cubicBezTo>
                    <a:pt x="78" y="453"/>
                    <a:pt x="78" y="453"/>
                    <a:pt x="78" y="453"/>
                  </a:cubicBezTo>
                  <a:cubicBezTo>
                    <a:pt x="184" y="432"/>
                    <a:pt x="184" y="432"/>
                    <a:pt x="184" y="432"/>
                  </a:cubicBezTo>
                  <a:cubicBezTo>
                    <a:pt x="304" y="407"/>
                    <a:pt x="304" y="407"/>
                    <a:pt x="304" y="407"/>
                  </a:cubicBezTo>
                  <a:cubicBezTo>
                    <a:pt x="381" y="389"/>
                    <a:pt x="381" y="389"/>
                    <a:pt x="381" y="389"/>
                  </a:cubicBezTo>
                  <a:cubicBezTo>
                    <a:pt x="381" y="389"/>
                    <a:pt x="382" y="390"/>
                    <a:pt x="382" y="390"/>
                  </a:cubicBezTo>
                  <a:cubicBezTo>
                    <a:pt x="389" y="393"/>
                    <a:pt x="389" y="393"/>
                    <a:pt x="389" y="393"/>
                  </a:cubicBezTo>
                  <a:cubicBezTo>
                    <a:pt x="392" y="399"/>
                    <a:pt x="392" y="399"/>
                    <a:pt x="392" y="399"/>
                  </a:cubicBezTo>
                  <a:cubicBezTo>
                    <a:pt x="392" y="400"/>
                    <a:pt x="394" y="401"/>
                    <a:pt x="395" y="401"/>
                  </a:cubicBezTo>
                  <a:cubicBezTo>
                    <a:pt x="400" y="400"/>
                    <a:pt x="400" y="400"/>
                    <a:pt x="400" y="400"/>
                  </a:cubicBezTo>
                  <a:cubicBezTo>
                    <a:pt x="410" y="406"/>
                    <a:pt x="412" y="413"/>
                    <a:pt x="414" y="420"/>
                  </a:cubicBezTo>
                  <a:cubicBezTo>
                    <a:pt x="417" y="431"/>
                    <a:pt x="420" y="442"/>
                    <a:pt x="445" y="443"/>
                  </a:cubicBezTo>
                  <a:cubicBezTo>
                    <a:pt x="451" y="446"/>
                    <a:pt x="451" y="446"/>
                    <a:pt x="451" y="446"/>
                  </a:cubicBezTo>
                  <a:cubicBezTo>
                    <a:pt x="451" y="447"/>
                    <a:pt x="451" y="447"/>
                    <a:pt x="451" y="447"/>
                  </a:cubicBezTo>
                  <a:cubicBezTo>
                    <a:pt x="451" y="448"/>
                    <a:pt x="452" y="449"/>
                    <a:pt x="453" y="450"/>
                  </a:cubicBezTo>
                  <a:cubicBezTo>
                    <a:pt x="524" y="473"/>
                    <a:pt x="524" y="473"/>
                    <a:pt x="524" y="473"/>
                  </a:cubicBezTo>
                  <a:cubicBezTo>
                    <a:pt x="525" y="473"/>
                    <a:pt x="526" y="473"/>
                    <a:pt x="526" y="472"/>
                  </a:cubicBezTo>
                  <a:cubicBezTo>
                    <a:pt x="527" y="472"/>
                    <a:pt x="527" y="471"/>
                    <a:pt x="527" y="470"/>
                  </a:cubicBezTo>
                  <a:cubicBezTo>
                    <a:pt x="527" y="470"/>
                    <a:pt x="527" y="470"/>
                    <a:pt x="527" y="470"/>
                  </a:cubicBezTo>
                  <a:cubicBezTo>
                    <a:pt x="531" y="474"/>
                    <a:pt x="531" y="474"/>
                    <a:pt x="531" y="474"/>
                  </a:cubicBezTo>
                  <a:cubicBezTo>
                    <a:pt x="531" y="478"/>
                    <a:pt x="532" y="483"/>
                    <a:pt x="532" y="484"/>
                  </a:cubicBezTo>
                  <a:cubicBezTo>
                    <a:pt x="531" y="485"/>
                    <a:pt x="531" y="487"/>
                    <a:pt x="530" y="489"/>
                  </a:cubicBezTo>
                  <a:cubicBezTo>
                    <a:pt x="528" y="494"/>
                    <a:pt x="526" y="499"/>
                    <a:pt x="528" y="502"/>
                  </a:cubicBezTo>
                  <a:cubicBezTo>
                    <a:pt x="529" y="503"/>
                    <a:pt x="530" y="504"/>
                    <a:pt x="532" y="504"/>
                  </a:cubicBezTo>
                  <a:cubicBezTo>
                    <a:pt x="532" y="504"/>
                    <a:pt x="534" y="504"/>
                    <a:pt x="535" y="503"/>
                  </a:cubicBezTo>
                  <a:cubicBezTo>
                    <a:pt x="536" y="502"/>
                    <a:pt x="537" y="499"/>
                    <a:pt x="538" y="497"/>
                  </a:cubicBezTo>
                  <a:cubicBezTo>
                    <a:pt x="538" y="497"/>
                    <a:pt x="538" y="495"/>
                    <a:pt x="538" y="495"/>
                  </a:cubicBezTo>
                  <a:cubicBezTo>
                    <a:pt x="539" y="495"/>
                    <a:pt x="540" y="494"/>
                    <a:pt x="541" y="494"/>
                  </a:cubicBezTo>
                  <a:cubicBezTo>
                    <a:pt x="543" y="494"/>
                    <a:pt x="546" y="493"/>
                    <a:pt x="547" y="491"/>
                  </a:cubicBezTo>
                  <a:cubicBezTo>
                    <a:pt x="548" y="490"/>
                    <a:pt x="548" y="487"/>
                    <a:pt x="548" y="485"/>
                  </a:cubicBezTo>
                  <a:cubicBezTo>
                    <a:pt x="548" y="484"/>
                    <a:pt x="548" y="482"/>
                    <a:pt x="548" y="482"/>
                  </a:cubicBezTo>
                  <a:cubicBezTo>
                    <a:pt x="548" y="481"/>
                    <a:pt x="550" y="478"/>
                    <a:pt x="551" y="476"/>
                  </a:cubicBezTo>
                  <a:cubicBezTo>
                    <a:pt x="554" y="473"/>
                    <a:pt x="556" y="469"/>
                    <a:pt x="556" y="465"/>
                  </a:cubicBezTo>
                  <a:cubicBezTo>
                    <a:pt x="556" y="462"/>
                    <a:pt x="553" y="461"/>
                    <a:pt x="551" y="459"/>
                  </a:cubicBezTo>
                  <a:cubicBezTo>
                    <a:pt x="550" y="458"/>
                    <a:pt x="548" y="457"/>
                    <a:pt x="548" y="456"/>
                  </a:cubicBezTo>
                  <a:cubicBezTo>
                    <a:pt x="548" y="456"/>
                    <a:pt x="548" y="456"/>
                    <a:pt x="548" y="456"/>
                  </a:cubicBezTo>
                  <a:cubicBezTo>
                    <a:pt x="548" y="454"/>
                    <a:pt x="551" y="452"/>
                    <a:pt x="553" y="451"/>
                  </a:cubicBezTo>
                  <a:cubicBezTo>
                    <a:pt x="556" y="448"/>
                    <a:pt x="559" y="446"/>
                    <a:pt x="560" y="443"/>
                  </a:cubicBezTo>
                  <a:cubicBezTo>
                    <a:pt x="561" y="441"/>
                    <a:pt x="561" y="436"/>
                    <a:pt x="560" y="434"/>
                  </a:cubicBezTo>
                  <a:close/>
                  <a:moveTo>
                    <a:pt x="465" y="13"/>
                  </a:moveTo>
                  <a:cubicBezTo>
                    <a:pt x="465" y="13"/>
                    <a:pt x="465" y="13"/>
                    <a:pt x="465" y="13"/>
                  </a:cubicBezTo>
                  <a:cubicBezTo>
                    <a:pt x="465" y="13"/>
                    <a:pt x="465" y="13"/>
                    <a:pt x="465" y="13"/>
                  </a:cubicBezTo>
                  <a:cubicBezTo>
                    <a:pt x="465" y="13"/>
                    <a:pt x="465" y="13"/>
                    <a:pt x="465" y="13"/>
                  </a:cubicBezTo>
                  <a:close/>
                  <a:moveTo>
                    <a:pt x="496" y="148"/>
                  </a:moveTo>
                  <a:cubicBezTo>
                    <a:pt x="496" y="148"/>
                    <a:pt x="496" y="149"/>
                    <a:pt x="496" y="150"/>
                  </a:cubicBezTo>
                  <a:cubicBezTo>
                    <a:pt x="496" y="149"/>
                    <a:pt x="496" y="148"/>
                    <a:pt x="496" y="147"/>
                  </a:cubicBezTo>
                  <a:cubicBezTo>
                    <a:pt x="496" y="148"/>
                    <a:pt x="496" y="148"/>
                    <a:pt x="496" y="148"/>
                  </a:cubicBezTo>
                  <a:close/>
                  <a:moveTo>
                    <a:pt x="495" y="160"/>
                  </a:moveTo>
                  <a:cubicBezTo>
                    <a:pt x="495" y="159"/>
                    <a:pt x="495" y="158"/>
                    <a:pt x="495" y="157"/>
                  </a:cubicBezTo>
                  <a:cubicBezTo>
                    <a:pt x="495" y="158"/>
                    <a:pt x="495" y="160"/>
                    <a:pt x="495" y="160"/>
                  </a:cubicBezTo>
                  <a:cubicBezTo>
                    <a:pt x="495" y="160"/>
                    <a:pt x="495" y="160"/>
                    <a:pt x="495" y="160"/>
                  </a:cubicBezTo>
                  <a:close/>
                  <a:moveTo>
                    <a:pt x="482" y="98"/>
                  </a:moveTo>
                  <a:cubicBezTo>
                    <a:pt x="482" y="101"/>
                    <a:pt x="482" y="104"/>
                    <a:pt x="482" y="107"/>
                  </a:cubicBezTo>
                  <a:cubicBezTo>
                    <a:pt x="482" y="104"/>
                    <a:pt x="482" y="101"/>
                    <a:pt x="482" y="98"/>
                  </a:cubicBezTo>
                  <a:close/>
                  <a:moveTo>
                    <a:pt x="482" y="76"/>
                  </a:moveTo>
                  <a:cubicBezTo>
                    <a:pt x="482" y="76"/>
                    <a:pt x="482" y="75"/>
                    <a:pt x="482" y="75"/>
                  </a:cubicBezTo>
                  <a:cubicBezTo>
                    <a:pt x="482" y="75"/>
                    <a:pt x="482" y="76"/>
                    <a:pt x="482" y="76"/>
                  </a:cubicBezTo>
                  <a:cubicBezTo>
                    <a:pt x="482" y="76"/>
                    <a:pt x="482" y="76"/>
                    <a:pt x="482" y="76"/>
                  </a:cubicBezTo>
                  <a:close/>
                  <a:moveTo>
                    <a:pt x="470" y="39"/>
                  </a:moveTo>
                  <a:cubicBezTo>
                    <a:pt x="470" y="40"/>
                    <a:pt x="470" y="41"/>
                    <a:pt x="470" y="42"/>
                  </a:cubicBezTo>
                  <a:cubicBezTo>
                    <a:pt x="470" y="41"/>
                    <a:pt x="470" y="40"/>
                    <a:pt x="470" y="39"/>
                  </a:cubicBezTo>
                  <a:close/>
                  <a:moveTo>
                    <a:pt x="470" y="45"/>
                  </a:moveTo>
                  <a:cubicBezTo>
                    <a:pt x="470" y="45"/>
                    <a:pt x="470" y="45"/>
                    <a:pt x="470" y="46"/>
                  </a:cubicBezTo>
                  <a:cubicBezTo>
                    <a:pt x="470" y="46"/>
                    <a:pt x="470" y="46"/>
                    <a:pt x="470" y="46"/>
                  </a:cubicBezTo>
                  <a:cubicBezTo>
                    <a:pt x="470" y="45"/>
                    <a:pt x="470" y="45"/>
                    <a:pt x="470" y="45"/>
                  </a:cubicBezTo>
                  <a:close/>
                  <a:moveTo>
                    <a:pt x="464" y="20"/>
                  </a:moveTo>
                  <a:cubicBezTo>
                    <a:pt x="464" y="20"/>
                    <a:pt x="464" y="19"/>
                    <a:pt x="464" y="18"/>
                  </a:cubicBezTo>
                  <a:cubicBezTo>
                    <a:pt x="464" y="19"/>
                    <a:pt x="464" y="20"/>
                    <a:pt x="464" y="21"/>
                  </a:cubicBezTo>
                  <a:cubicBezTo>
                    <a:pt x="464" y="20"/>
                    <a:pt x="464" y="20"/>
                    <a:pt x="464" y="20"/>
                  </a:cubicBezTo>
                  <a:close/>
                  <a:moveTo>
                    <a:pt x="486" y="90"/>
                  </a:moveTo>
                  <a:cubicBezTo>
                    <a:pt x="486" y="90"/>
                    <a:pt x="485" y="90"/>
                    <a:pt x="485" y="90"/>
                  </a:cubicBezTo>
                  <a:cubicBezTo>
                    <a:pt x="485" y="90"/>
                    <a:pt x="485" y="89"/>
                    <a:pt x="485" y="88"/>
                  </a:cubicBezTo>
                  <a:cubicBezTo>
                    <a:pt x="486" y="90"/>
                    <a:pt x="486" y="90"/>
                    <a:pt x="486" y="90"/>
                  </a:cubicBezTo>
                  <a:close/>
                  <a:moveTo>
                    <a:pt x="482" y="69"/>
                  </a:moveTo>
                  <a:cubicBezTo>
                    <a:pt x="482" y="69"/>
                    <a:pt x="482" y="68"/>
                    <a:pt x="482" y="68"/>
                  </a:cubicBezTo>
                  <a:cubicBezTo>
                    <a:pt x="482" y="68"/>
                    <a:pt x="482" y="68"/>
                    <a:pt x="482" y="68"/>
                  </a:cubicBezTo>
                  <a:cubicBezTo>
                    <a:pt x="482" y="68"/>
                    <a:pt x="482" y="69"/>
                    <a:pt x="482" y="69"/>
                  </a:cubicBezTo>
                  <a:close/>
                  <a:moveTo>
                    <a:pt x="470" y="37"/>
                  </a:moveTo>
                  <a:cubicBezTo>
                    <a:pt x="470" y="35"/>
                    <a:pt x="470" y="34"/>
                    <a:pt x="470" y="33"/>
                  </a:cubicBezTo>
                  <a:cubicBezTo>
                    <a:pt x="470" y="34"/>
                    <a:pt x="470" y="35"/>
                    <a:pt x="470" y="37"/>
                  </a:cubicBezTo>
                  <a:close/>
                  <a:moveTo>
                    <a:pt x="470" y="32"/>
                  </a:moveTo>
                  <a:cubicBezTo>
                    <a:pt x="470" y="31"/>
                    <a:pt x="470" y="30"/>
                    <a:pt x="470" y="29"/>
                  </a:cubicBezTo>
                  <a:cubicBezTo>
                    <a:pt x="470" y="29"/>
                    <a:pt x="470" y="29"/>
                    <a:pt x="470" y="29"/>
                  </a:cubicBezTo>
                  <a:cubicBezTo>
                    <a:pt x="470" y="30"/>
                    <a:pt x="470" y="31"/>
                    <a:pt x="470" y="32"/>
                  </a:cubicBezTo>
                  <a:close/>
                  <a:moveTo>
                    <a:pt x="556" y="440"/>
                  </a:moveTo>
                  <a:cubicBezTo>
                    <a:pt x="556" y="439"/>
                    <a:pt x="556" y="438"/>
                    <a:pt x="556" y="436"/>
                  </a:cubicBezTo>
                  <a:cubicBezTo>
                    <a:pt x="556" y="438"/>
                    <a:pt x="556" y="439"/>
                    <a:pt x="556" y="440"/>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47">
              <a:extLst>
                <a:ext uri="{FF2B5EF4-FFF2-40B4-BE49-F238E27FC236}">
                  <a16:creationId xmlns:a16="http://schemas.microsoft.com/office/drawing/2014/main" id="{7776907B-FC47-4AE1-9DD5-B4B2551678BE}"/>
                </a:ext>
              </a:extLst>
            </p:cNvPr>
            <p:cNvSpPr>
              <a:spLocks/>
            </p:cNvSpPr>
            <p:nvPr/>
          </p:nvSpPr>
          <p:spPr bwMode="auto">
            <a:xfrm>
              <a:off x="8138475" y="2394111"/>
              <a:ext cx="173845" cy="328486"/>
            </a:xfrm>
            <a:custGeom>
              <a:avLst/>
              <a:gdLst>
                <a:gd name="T0" fmla="*/ 1 w 157"/>
                <a:gd name="T1" fmla="*/ 44 h 295"/>
                <a:gd name="T2" fmla="*/ 4 w 157"/>
                <a:gd name="T3" fmla="*/ 49 h 295"/>
                <a:gd name="T4" fmla="*/ 2 w 157"/>
                <a:gd name="T5" fmla="*/ 57 h 295"/>
                <a:gd name="T6" fmla="*/ 8 w 157"/>
                <a:gd name="T7" fmla="*/ 65 h 295"/>
                <a:gd name="T8" fmla="*/ 8 w 157"/>
                <a:gd name="T9" fmla="*/ 81 h 295"/>
                <a:gd name="T10" fmla="*/ 11 w 157"/>
                <a:gd name="T11" fmla="*/ 90 h 295"/>
                <a:gd name="T12" fmla="*/ 18 w 157"/>
                <a:gd name="T13" fmla="*/ 97 h 295"/>
                <a:gd name="T14" fmla="*/ 21 w 157"/>
                <a:gd name="T15" fmla="*/ 104 h 295"/>
                <a:gd name="T16" fmla="*/ 20 w 157"/>
                <a:gd name="T17" fmla="*/ 112 h 295"/>
                <a:gd name="T18" fmla="*/ 23 w 157"/>
                <a:gd name="T19" fmla="*/ 120 h 295"/>
                <a:gd name="T20" fmla="*/ 24 w 157"/>
                <a:gd name="T21" fmla="*/ 128 h 295"/>
                <a:gd name="T22" fmla="*/ 21 w 157"/>
                <a:gd name="T23" fmla="*/ 134 h 295"/>
                <a:gd name="T24" fmla="*/ 21 w 157"/>
                <a:gd name="T25" fmla="*/ 147 h 295"/>
                <a:gd name="T26" fmla="*/ 26 w 157"/>
                <a:gd name="T27" fmla="*/ 161 h 295"/>
                <a:gd name="T28" fmla="*/ 31 w 157"/>
                <a:gd name="T29" fmla="*/ 170 h 295"/>
                <a:gd name="T30" fmla="*/ 35 w 157"/>
                <a:gd name="T31" fmla="*/ 184 h 295"/>
                <a:gd name="T32" fmla="*/ 33 w 157"/>
                <a:gd name="T33" fmla="*/ 195 h 295"/>
                <a:gd name="T34" fmla="*/ 34 w 157"/>
                <a:gd name="T35" fmla="*/ 199 h 295"/>
                <a:gd name="T36" fmla="*/ 37 w 157"/>
                <a:gd name="T37" fmla="*/ 193 h 295"/>
                <a:gd name="T38" fmla="*/ 51 w 157"/>
                <a:gd name="T39" fmla="*/ 207 h 295"/>
                <a:gd name="T40" fmla="*/ 66 w 157"/>
                <a:gd name="T41" fmla="*/ 279 h 295"/>
                <a:gd name="T42" fmla="*/ 68 w 157"/>
                <a:gd name="T43" fmla="*/ 287 h 295"/>
                <a:gd name="T44" fmla="*/ 73 w 157"/>
                <a:gd name="T45" fmla="*/ 295 h 295"/>
                <a:gd name="T46" fmla="*/ 139 w 157"/>
                <a:gd name="T47" fmla="*/ 281 h 295"/>
                <a:gd name="T48" fmla="*/ 131 w 157"/>
                <a:gd name="T49" fmla="*/ 274 h 295"/>
                <a:gd name="T50" fmla="*/ 127 w 157"/>
                <a:gd name="T51" fmla="*/ 265 h 295"/>
                <a:gd name="T52" fmla="*/ 127 w 157"/>
                <a:gd name="T53" fmla="*/ 256 h 295"/>
                <a:gd name="T54" fmla="*/ 131 w 157"/>
                <a:gd name="T55" fmla="*/ 249 h 295"/>
                <a:gd name="T56" fmla="*/ 126 w 157"/>
                <a:gd name="T57" fmla="*/ 227 h 295"/>
                <a:gd name="T58" fmla="*/ 126 w 157"/>
                <a:gd name="T59" fmla="*/ 212 h 295"/>
                <a:gd name="T60" fmla="*/ 120 w 157"/>
                <a:gd name="T61" fmla="*/ 186 h 295"/>
                <a:gd name="T62" fmla="*/ 123 w 157"/>
                <a:gd name="T63" fmla="*/ 179 h 295"/>
                <a:gd name="T64" fmla="*/ 122 w 157"/>
                <a:gd name="T65" fmla="*/ 167 h 295"/>
                <a:gd name="T66" fmla="*/ 126 w 157"/>
                <a:gd name="T67" fmla="*/ 159 h 295"/>
                <a:gd name="T68" fmla="*/ 128 w 157"/>
                <a:gd name="T69" fmla="*/ 152 h 295"/>
                <a:gd name="T70" fmla="*/ 128 w 157"/>
                <a:gd name="T71" fmla="*/ 144 h 295"/>
                <a:gd name="T72" fmla="*/ 131 w 157"/>
                <a:gd name="T73" fmla="*/ 137 h 295"/>
                <a:gd name="T74" fmla="*/ 129 w 157"/>
                <a:gd name="T75" fmla="*/ 129 h 295"/>
                <a:gd name="T76" fmla="*/ 132 w 157"/>
                <a:gd name="T77" fmla="*/ 116 h 295"/>
                <a:gd name="T78" fmla="*/ 128 w 157"/>
                <a:gd name="T79" fmla="*/ 101 h 295"/>
                <a:gd name="T80" fmla="*/ 127 w 157"/>
                <a:gd name="T81" fmla="*/ 93 h 295"/>
                <a:gd name="T82" fmla="*/ 134 w 157"/>
                <a:gd name="T83" fmla="*/ 86 h 295"/>
                <a:gd name="T84" fmla="*/ 137 w 157"/>
                <a:gd name="T85" fmla="*/ 85 h 295"/>
                <a:gd name="T86" fmla="*/ 150 w 157"/>
                <a:gd name="T87" fmla="*/ 70 h 295"/>
                <a:gd name="T88" fmla="*/ 156 w 157"/>
                <a:gd name="T89" fmla="*/ 60 h 295"/>
                <a:gd name="T90" fmla="*/ 157 w 157"/>
                <a:gd name="T91" fmla="*/ 52 h 295"/>
                <a:gd name="T92" fmla="*/ 154 w 157"/>
                <a:gd name="T93" fmla="*/ 45 h 295"/>
                <a:gd name="T94" fmla="*/ 148 w 157"/>
                <a:gd name="T95" fmla="*/ 38 h 295"/>
                <a:gd name="T96" fmla="*/ 146 w 157"/>
                <a:gd name="T97" fmla="*/ 30 h 295"/>
                <a:gd name="T98" fmla="*/ 151 w 157"/>
                <a:gd name="T99" fmla="*/ 15 h 295"/>
                <a:gd name="T100" fmla="*/ 146 w 157"/>
                <a:gd name="T101" fmla="*/ 4 h 295"/>
                <a:gd name="T102" fmla="*/ 148 w 157"/>
                <a:gd name="T103" fmla="*/ 0 h 295"/>
                <a:gd name="T104" fmla="*/ 29 w 157"/>
                <a:gd name="T105" fmla="*/ 31 h 295"/>
                <a:gd name="T106" fmla="*/ 3 w 157"/>
                <a:gd name="T107" fmla="*/ 39 h 295"/>
                <a:gd name="T108" fmla="*/ 0 w 157"/>
                <a:gd name="T109" fmla="*/ 40 h 295"/>
                <a:gd name="T110" fmla="*/ 1 w 157"/>
                <a:gd name="T111" fmla="*/ 4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295">
                  <a:moveTo>
                    <a:pt x="1" y="44"/>
                  </a:moveTo>
                  <a:cubicBezTo>
                    <a:pt x="1" y="44"/>
                    <a:pt x="4" y="48"/>
                    <a:pt x="4" y="49"/>
                  </a:cubicBezTo>
                  <a:cubicBezTo>
                    <a:pt x="4" y="51"/>
                    <a:pt x="2" y="55"/>
                    <a:pt x="2" y="57"/>
                  </a:cubicBezTo>
                  <a:cubicBezTo>
                    <a:pt x="3" y="60"/>
                    <a:pt x="7" y="63"/>
                    <a:pt x="8" y="65"/>
                  </a:cubicBezTo>
                  <a:cubicBezTo>
                    <a:pt x="9" y="69"/>
                    <a:pt x="8" y="77"/>
                    <a:pt x="8" y="81"/>
                  </a:cubicBezTo>
                  <a:cubicBezTo>
                    <a:pt x="9" y="83"/>
                    <a:pt x="10" y="88"/>
                    <a:pt x="11" y="90"/>
                  </a:cubicBezTo>
                  <a:cubicBezTo>
                    <a:pt x="13" y="92"/>
                    <a:pt x="17" y="94"/>
                    <a:pt x="18" y="97"/>
                  </a:cubicBezTo>
                  <a:cubicBezTo>
                    <a:pt x="20" y="98"/>
                    <a:pt x="21" y="102"/>
                    <a:pt x="21" y="104"/>
                  </a:cubicBezTo>
                  <a:cubicBezTo>
                    <a:pt x="21" y="106"/>
                    <a:pt x="20" y="110"/>
                    <a:pt x="20" y="112"/>
                  </a:cubicBezTo>
                  <a:cubicBezTo>
                    <a:pt x="21" y="114"/>
                    <a:pt x="22" y="118"/>
                    <a:pt x="23" y="120"/>
                  </a:cubicBezTo>
                  <a:cubicBezTo>
                    <a:pt x="23" y="122"/>
                    <a:pt x="24" y="126"/>
                    <a:pt x="24" y="128"/>
                  </a:cubicBezTo>
                  <a:cubicBezTo>
                    <a:pt x="24" y="129"/>
                    <a:pt x="22" y="133"/>
                    <a:pt x="21" y="134"/>
                  </a:cubicBezTo>
                  <a:cubicBezTo>
                    <a:pt x="20" y="137"/>
                    <a:pt x="20" y="143"/>
                    <a:pt x="21" y="147"/>
                  </a:cubicBezTo>
                  <a:cubicBezTo>
                    <a:pt x="22" y="151"/>
                    <a:pt x="25" y="157"/>
                    <a:pt x="26" y="161"/>
                  </a:cubicBezTo>
                  <a:cubicBezTo>
                    <a:pt x="27" y="163"/>
                    <a:pt x="31" y="168"/>
                    <a:pt x="31" y="170"/>
                  </a:cubicBezTo>
                  <a:cubicBezTo>
                    <a:pt x="33" y="173"/>
                    <a:pt x="34" y="180"/>
                    <a:pt x="35" y="184"/>
                  </a:cubicBezTo>
                  <a:cubicBezTo>
                    <a:pt x="35" y="188"/>
                    <a:pt x="33" y="192"/>
                    <a:pt x="33" y="195"/>
                  </a:cubicBezTo>
                  <a:cubicBezTo>
                    <a:pt x="34" y="197"/>
                    <a:pt x="32" y="200"/>
                    <a:pt x="34" y="199"/>
                  </a:cubicBezTo>
                  <a:cubicBezTo>
                    <a:pt x="37" y="199"/>
                    <a:pt x="35" y="194"/>
                    <a:pt x="37" y="193"/>
                  </a:cubicBezTo>
                  <a:cubicBezTo>
                    <a:pt x="41" y="192"/>
                    <a:pt x="48" y="200"/>
                    <a:pt x="51" y="207"/>
                  </a:cubicBezTo>
                  <a:cubicBezTo>
                    <a:pt x="56" y="226"/>
                    <a:pt x="66" y="279"/>
                    <a:pt x="66" y="279"/>
                  </a:cubicBezTo>
                  <a:cubicBezTo>
                    <a:pt x="66" y="279"/>
                    <a:pt x="68" y="286"/>
                    <a:pt x="68" y="287"/>
                  </a:cubicBezTo>
                  <a:cubicBezTo>
                    <a:pt x="68" y="290"/>
                    <a:pt x="73" y="295"/>
                    <a:pt x="73" y="295"/>
                  </a:cubicBezTo>
                  <a:cubicBezTo>
                    <a:pt x="139" y="281"/>
                    <a:pt x="139" y="281"/>
                    <a:pt x="139" y="281"/>
                  </a:cubicBezTo>
                  <a:cubicBezTo>
                    <a:pt x="131" y="274"/>
                    <a:pt x="131" y="274"/>
                    <a:pt x="131" y="274"/>
                  </a:cubicBezTo>
                  <a:cubicBezTo>
                    <a:pt x="127" y="265"/>
                    <a:pt x="127" y="265"/>
                    <a:pt x="127" y="265"/>
                  </a:cubicBezTo>
                  <a:cubicBezTo>
                    <a:pt x="127" y="265"/>
                    <a:pt x="126" y="259"/>
                    <a:pt x="127" y="256"/>
                  </a:cubicBezTo>
                  <a:cubicBezTo>
                    <a:pt x="127" y="254"/>
                    <a:pt x="130" y="251"/>
                    <a:pt x="131" y="249"/>
                  </a:cubicBezTo>
                  <a:cubicBezTo>
                    <a:pt x="131" y="244"/>
                    <a:pt x="127" y="233"/>
                    <a:pt x="126" y="227"/>
                  </a:cubicBezTo>
                  <a:cubicBezTo>
                    <a:pt x="126" y="223"/>
                    <a:pt x="127" y="215"/>
                    <a:pt x="126" y="212"/>
                  </a:cubicBezTo>
                  <a:cubicBezTo>
                    <a:pt x="125" y="205"/>
                    <a:pt x="119" y="192"/>
                    <a:pt x="120" y="186"/>
                  </a:cubicBezTo>
                  <a:cubicBezTo>
                    <a:pt x="120" y="184"/>
                    <a:pt x="123" y="181"/>
                    <a:pt x="123" y="179"/>
                  </a:cubicBezTo>
                  <a:cubicBezTo>
                    <a:pt x="124" y="176"/>
                    <a:pt x="121" y="170"/>
                    <a:pt x="122" y="167"/>
                  </a:cubicBezTo>
                  <a:cubicBezTo>
                    <a:pt x="122" y="165"/>
                    <a:pt x="125" y="161"/>
                    <a:pt x="126" y="159"/>
                  </a:cubicBezTo>
                  <a:cubicBezTo>
                    <a:pt x="127" y="157"/>
                    <a:pt x="128" y="154"/>
                    <a:pt x="128" y="152"/>
                  </a:cubicBezTo>
                  <a:cubicBezTo>
                    <a:pt x="129" y="150"/>
                    <a:pt x="127" y="146"/>
                    <a:pt x="128" y="144"/>
                  </a:cubicBezTo>
                  <a:cubicBezTo>
                    <a:pt x="128" y="142"/>
                    <a:pt x="130" y="139"/>
                    <a:pt x="131" y="137"/>
                  </a:cubicBezTo>
                  <a:cubicBezTo>
                    <a:pt x="131" y="135"/>
                    <a:pt x="129" y="131"/>
                    <a:pt x="129" y="129"/>
                  </a:cubicBezTo>
                  <a:cubicBezTo>
                    <a:pt x="129" y="125"/>
                    <a:pt x="132" y="119"/>
                    <a:pt x="132" y="116"/>
                  </a:cubicBezTo>
                  <a:cubicBezTo>
                    <a:pt x="132" y="112"/>
                    <a:pt x="128" y="105"/>
                    <a:pt x="128" y="101"/>
                  </a:cubicBezTo>
                  <a:cubicBezTo>
                    <a:pt x="127" y="99"/>
                    <a:pt x="126" y="95"/>
                    <a:pt x="127" y="93"/>
                  </a:cubicBezTo>
                  <a:cubicBezTo>
                    <a:pt x="128" y="90"/>
                    <a:pt x="132" y="87"/>
                    <a:pt x="134" y="86"/>
                  </a:cubicBezTo>
                  <a:cubicBezTo>
                    <a:pt x="135" y="85"/>
                    <a:pt x="136" y="85"/>
                    <a:pt x="137" y="85"/>
                  </a:cubicBezTo>
                  <a:cubicBezTo>
                    <a:pt x="141" y="82"/>
                    <a:pt x="147" y="74"/>
                    <a:pt x="150" y="70"/>
                  </a:cubicBezTo>
                  <a:cubicBezTo>
                    <a:pt x="152" y="68"/>
                    <a:pt x="155" y="63"/>
                    <a:pt x="156" y="60"/>
                  </a:cubicBezTo>
                  <a:cubicBezTo>
                    <a:pt x="156" y="58"/>
                    <a:pt x="157" y="54"/>
                    <a:pt x="157" y="52"/>
                  </a:cubicBezTo>
                  <a:cubicBezTo>
                    <a:pt x="156" y="50"/>
                    <a:pt x="155" y="47"/>
                    <a:pt x="154" y="45"/>
                  </a:cubicBezTo>
                  <a:cubicBezTo>
                    <a:pt x="152" y="43"/>
                    <a:pt x="149" y="40"/>
                    <a:pt x="148" y="38"/>
                  </a:cubicBezTo>
                  <a:cubicBezTo>
                    <a:pt x="147" y="36"/>
                    <a:pt x="146" y="32"/>
                    <a:pt x="146" y="30"/>
                  </a:cubicBezTo>
                  <a:cubicBezTo>
                    <a:pt x="147" y="26"/>
                    <a:pt x="151" y="19"/>
                    <a:pt x="151" y="15"/>
                  </a:cubicBezTo>
                  <a:cubicBezTo>
                    <a:pt x="151" y="12"/>
                    <a:pt x="146" y="4"/>
                    <a:pt x="146" y="4"/>
                  </a:cubicBezTo>
                  <a:cubicBezTo>
                    <a:pt x="148" y="0"/>
                    <a:pt x="148" y="0"/>
                    <a:pt x="148" y="0"/>
                  </a:cubicBezTo>
                  <a:cubicBezTo>
                    <a:pt x="29" y="31"/>
                    <a:pt x="29" y="31"/>
                    <a:pt x="29" y="31"/>
                  </a:cubicBezTo>
                  <a:cubicBezTo>
                    <a:pt x="3" y="39"/>
                    <a:pt x="3" y="39"/>
                    <a:pt x="3" y="39"/>
                  </a:cubicBezTo>
                  <a:cubicBezTo>
                    <a:pt x="0" y="40"/>
                    <a:pt x="0" y="40"/>
                    <a:pt x="0" y="40"/>
                  </a:cubicBezTo>
                  <a:lnTo>
                    <a:pt x="1" y="44"/>
                  </a:ln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48">
              <a:extLst>
                <a:ext uri="{FF2B5EF4-FFF2-40B4-BE49-F238E27FC236}">
                  <a16:creationId xmlns:a16="http://schemas.microsoft.com/office/drawing/2014/main" id="{582313A6-E3BD-451A-B6C5-C9C10BC413C2}"/>
                </a:ext>
              </a:extLst>
            </p:cNvPr>
            <p:cNvSpPr>
              <a:spLocks/>
            </p:cNvSpPr>
            <p:nvPr/>
          </p:nvSpPr>
          <p:spPr bwMode="auto">
            <a:xfrm>
              <a:off x="8267848" y="2345597"/>
              <a:ext cx="178899" cy="363862"/>
            </a:xfrm>
            <a:custGeom>
              <a:avLst/>
              <a:gdLst>
                <a:gd name="T0" fmla="*/ 154 w 161"/>
                <a:gd name="T1" fmla="*/ 244 h 327"/>
                <a:gd name="T2" fmla="*/ 145 w 161"/>
                <a:gd name="T3" fmla="*/ 236 h 327"/>
                <a:gd name="T4" fmla="*/ 144 w 161"/>
                <a:gd name="T5" fmla="*/ 228 h 327"/>
                <a:gd name="T6" fmla="*/ 135 w 161"/>
                <a:gd name="T7" fmla="*/ 224 h 327"/>
                <a:gd name="T8" fmla="*/ 126 w 161"/>
                <a:gd name="T9" fmla="*/ 212 h 327"/>
                <a:gd name="T10" fmla="*/ 124 w 161"/>
                <a:gd name="T11" fmla="*/ 202 h 327"/>
                <a:gd name="T12" fmla="*/ 115 w 161"/>
                <a:gd name="T13" fmla="*/ 174 h 327"/>
                <a:gd name="T14" fmla="*/ 55 w 161"/>
                <a:gd name="T15" fmla="*/ 0 h 327"/>
                <a:gd name="T16" fmla="*/ 48 w 161"/>
                <a:gd name="T17" fmla="*/ 8 h 327"/>
                <a:gd name="T18" fmla="*/ 41 w 161"/>
                <a:gd name="T19" fmla="*/ 6 h 327"/>
                <a:gd name="T20" fmla="*/ 32 w 161"/>
                <a:gd name="T21" fmla="*/ 13 h 327"/>
                <a:gd name="T22" fmla="*/ 31 w 161"/>
                <a:gd name="T23" fmla="*/ 21 h 327"/>
                <a:gd name="T24" fmla="*/ 28 w 161"/>
                <a:gd name="T25" fmla="*/ 36 h 327"/>
                <a:gd name="T26" fmla="*/ 29 w 161"/>
                <a:gd name="T27" fmla="*/ 43 h 327"/>
                <a:gd name="T28" fmla="*/ 26 w 161"/>
                <a:gd name="T29" fmla="*/ 48 h 327"/>
                <a:gd name="T30" fmla="*/ 31 w 161"/>
                <a:gd name="T31" fmla="*/ 59 h 327"/>
                <a:gd name="T32" fmla="*/ 27 w 161"/>
                <a:gd name="T33" fmla="*/ 74 h 327"/>
                <a:gd name="T34" fmla="*/ 20 w 161"/>
                <a:gd name="T35" fmla="*/ 118 h 327"/>
                <a:gd name="T36" fmla="*/ 8 w 161"/>
                <a:gd name="T37" fmla="*/ 146 h 327"/>
                <a:gd name="T38" fmla="*/ 11 w 161"/>
                <a:gd name="T39" fmla="*/ 166 h 327"/>
                <a:gd name="T40" fmla="*/ 10 w 161"/>
                <a:gd name="T41" fmla="*/ 177 h 327"/>
                <a:gd name="T42" fmla="*/ 10 w 161"/>
                <a:gd name="T43" fmla="*/ 183 h 327"/>
                <a:gd name="T44" fmla="*/ 9 w 161"/>
                <a:gd name="T45" fmla="*/ 192 h 327"/>
                <a:gd name="T46" fmla="*/ 7 w 161"/>
                <a:gd name="T47" fmla="*/ 202 h 327"/>
                <a:gd name="T48" fmla="*/ 3 w 161"/>
                <a:gd name="T49" fmla="*/ 217 h 327"/>
                <a:gd name="T50" fmla="*/ 2 w 161"/>
                <a:gd name="T51" fmla="*/ 225 h 327"/>
                <a:gd name="T52" fmla="*/ 4 w 161"/>
                <a:gd name="T53" fmla="*/ 248 h 327"/>
                <a:gd name="T54" fmla="*/ 7 w 161"/>
                <a:gd name="T55" fmla="*/ 271 h 327"/>
                <a:gd name="T56" fmla="*/ 9 w 161"/>
                <a:gd name="T57" fmla="*/ 296 h 327"/>
                <a:gd name="T58" fmla="*/ 8 w 161"/>
                <a:gd name="T59" fmla="*/ 310 h 327"/>
                <a:gd name="T60" fmla="*/ 17 w 161"/>
                <a:gd name="T61" fmla="*/ 324 h 327"/>
                <a:gd name="T62" fmla="*/ 25 w 161"/>
                <a:gd name="T63" fmla="*/ 327 h 327"/>
                <a:gd name="T64" fmla="*/ 119 w 161"/>
                <a:gd name="T65" fmla="*/ 304 h 327"/>
                <a:gd name="T66" fmla="*/ 129 w 161"/>
                <a:gd name="T67" fmla="*/ 293 h 327"/>
                <a:gd name="T68" fmla="*/ 134 w 161"/>
                <a:gd name="T69" fmla="*/ 287 h 327"/>
                <a:gd name="T70" fmla="*/ 140 w 161"/>
                <a:gd name="T71" fmla="*/ 278 h 327"/>
                <a:gd name="T72" fmla="*/ 150 w 161"/>
                <a:gd name="T73" fmla="*/ 273 h 327"/>
                <a:gd name="T74" fmla="*/ 155 w 161"/>
                <a:gd name="T75" fmla="*/ 273 h 327"/>
                <a:gd name="T76" fmla="*/ 156 w 161"/>
                <a:gd name="T77" fmla="*/ 264 h 327"/>
                <a:gd name="T78" fmla="*/ 159 w 161"/>
                <a:gd name="T79" fmla="*/ 24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 h="327">
                  <a:moveTo>
                    <a:pt x="159" y="248"/>
                  </a:moveTo>
                  <a:cubicBezTo>
                    <a:pt x="159" y="247"/>
                    <a:pt x="159" y="246"/>
                    <a:pt x="154" y="244"/>
                  </a:cubicBezTo>
                  <a:cubicBezTo>
                    <a:pt x="153" y="244"/>
                    <a:pt x="152" y="243"/>
                    <a:pt x="151" y="243"/>
                  </a:cubicBezTo>
                  <a:cubicBezTo>
                    <a:pt x="149" y="241"/>
                    <a:pt x="146" y="238"/>
                    <a:pt x="145" y="236"/>
                  </a:cubicBezTo>
                  <a:cubicBezTo>
                    <a:pt x="145" y="236"/>
                    <a:pt x="145" y="235"/>
                    <a:pt x="145" y="234"/>
                  </a:cubicBezTo>
                  <a:cubicBezTo>
                    <a:pt x="145" y="232"/>
                    <a:pt x="145" y="230"/>
                    <a:pt x="144" y="228"/>
                  </a:cubicBezTo>
                  <a:cubicBezTo>
                    <a:pt x="143" y="227"/>
                    <a:pt x="140" y="226"/>
                    <a:pt x="138" y="225"/>
                  </a:cubicBezTo>
                  <a:cubicBezTo>
                    <a:pt x="137" y="225"/>
                    <a:pt x="136" y="224"/>
                    <a:pt x="135" y="224"/>
                  </a:cubicBezTo>
                  <a:cubicBezTo>
                    <a:pt x="134" y="223"/>
                    <a:pt x="130" y="220"/>
                    <a:pt x="129" y="218"/>
                  </a:cubicBezTo>
                  <a:cubicBezTo>
                    <a:pt x="128" y="217"/>
                    <a:pt x="127" y="214"/>
                    <a:pt x="126" y="212"/>
                  </a:cubicBezTo>
                  <a:cubicBezTo>
                    <a:pt x="125" y="210"/>
                    <a:pt x="124" y="206"/>
                    <a:pt x="124" y="205"/>
                  </a:cubicBezTo>
                  <a:cubicBezTo>
                    <a:pt x="123" y="204"/>
                    <a:pt x="123" y="203"/>
                    <a:pt x="124" y="202"/>
                  </a:cubicBezTo>
                  <a:cubicBezTo>
                    <a:pt x="124" y="200"/>
                    <a:pt x="124" y="198"/>
                    <a:pt x="124" y="197"/>
                  </a:cubicBezTo>
                  <a:cubicBezTo>
                    <a:pt x="122" y="191"/>
                    <a:pt x="115" y="175"/>
                    <a:pt x="115" y="174"/>
                  </a:cubicBezTo>
                  <a:cubicBezTo>
                    <a:pt x="59" y="6"/>
                    <a:pt x="59" y="6"/>
                    <a:pt x="59" y="6"/>
                  </a:cubicBezTo>
                  <a:cubicBezTo>
                    <a:pt x="59" y="2"/>
                    <a:pt x="58" y="0"/>
                    <a:pt x="55" y="0"/>
                  </a:cubicBezTo>
                  <a:cubicBezTo>
                    <a:pt x="53" y="0"/>
                    <a:pt x="51" y="3"/>
                    <a:pt x="49" y="5"/>
                  </a:cubicBezTo>
                  <a:cubicBezTo>
                    <a:pt x="49" y="6"/>
                    <a:pt x="48" y="8"/>
                    <a:pt x="48" y="8"/>
                  </a:cubicBezTo>
                  <a:cubicBezTo>
                    <a:pt x="47" y="8"/>
                    <a:pt x="46" y="8"/>
                    <a:pt x="46" y="7"/>
                  </a:cubicBezTo>
                  <a:cubicBezTo>
                    <a:pt x="44" y="7"/>
                    <a:pt x="43" y="6"/>
                    <a:pt x="41" y="6"/>
                  </a:cubicBezTo>
                  <a:cubicBezTo>
                    <a:pt x="41" y="6"/>
                    <a:pt x="41" y="6"/>
                    <a:pt x="41" y="6"/>
                  </a:cubicBezTo>
                  <a:cubicBezTo>
                    <a:pt x="37" y="7"/>
                    <a:pt x="33" y="10"/>
                    <a:pt x="32" y="13"/>
                  </a:cubicBezTo>
                  <a:cubicBezTo>
                    <a:pt x="31" y="15"/>
                    <a:pt x="31" y="17"/>
                    <a:pt x="31" y="19"/>
                  </a:cubicBezTo>
                  <a:cubicBezTo>
                    <a:pt x="31" y="20"/>
                    <a:pt x="31" y="21"/>
                    <a:pt x="31" y="21"/>
                  </a:cubicBezTo>
                  <a:cubicBezTo>
                    <a:pt x="31" y="23"/>
                    <a:pt x="30" y="25"/>
                    <a:pt x="30" y="27"/>
                  </a:cubicBezTo>
                  <a:cubicBezTo>
                    <a:pt x="29" y="31"/>
                    <a:pt x="28" y="34"/>
                    <a:pt x="28" y="36"/>
                  </a:cubicBezTo>
                  <a:cubicBezTo>
                    <a:pt x="28" y="38"/>
                    <a:pt x="28" y="39"/>
                    <a:pt x="29" y="40"/>
                  </a:cubicBezTo>
                  <a:cubicBezTo>
                    <a:pt x="29" y="41"/>
                    <a:pt x="29" y="42"/>
                    <a:pt x="29" y="43"/>
                  </a:cubicBezTo>
                  <a:cubicBezTo>
                    <a:pt x="29" y="43"/>
                    <a:pt x="29" y="43"/>
                    <a:pt x="29" y="43"/>
                  </a:cubicBezTo>
                  <a:cubicBezTo>
                    <a:pt x="27" y="45"/>
                    <a:pt x="26" y="47"/>
                    <a:pt x="26" y="48"/>
                  </a:cubicBezTo>
                  <a:cubicBezTo>
                    <a:pt x="26" y="50"/>
                    <a:pt x="28" y="53"/>
                    <a:pt x="29" y="55"/>
                  </a:cubicBezTo>
                  <a:cubicBezTo>
                    <a:pt x="30" y="56"/>
                    <a:pt x="31" y="58"/>
                    <a:pt x="31" y="59"/>
                  </a:cubicBezTo>
                  <a:cubicBezTo>
                    <a:pt x="31" y="61"/>
                    <a:pt x="30" y="64"/>
                    <a:pt x="29" y="67"/>
                  </a:cubicBezTo>
                  <a:cubicBezTo>
                    <a:pt x="28" y="69"/>
                    <a:pt x="27" y="72"/>
                    <a:pt x="27" y="74"/>
                  </a:cubicBezTo>
                  <a:cubicBezTo>
                    <a:pt x="27" y="76"/>
                    <a:pt x="27" y="81"/>
                    <a:pt x="29" y="83"/>
                  </a:cubicBezTo>
                  <a:cubicBezTo>
                    <a:pt x="38" y="100"/>
                    <a:pt x="30" y="108"/>
                    <a:pt x="20" y="118"/>
                  </a:cubicBezTo>
                  <a:cubicBezTo>
                    <a:pt x="15" y="124"/>
                    <a:pt x="10" y="129"/>
                    <a:pt x="8" y="136"/>
                  </a:cubicBezTo>
                  <a:cubicBezTo>
                    <a:pt x="7" y="138"/>
                    <a:pt x="8" y="143"/>
                    <a:pt x="8" y="146"/>
                  </a:cubicBezTo>
                  <a:cubicBezTo>
                    <a:pt x="10" y="150"/>
                    <a:pt x="12" y="157"/>
                    <a:pt x="13" y="160"/>
                  </a:cubicBezTo>
                  <a:cubicBezTo>
                    <a:pt x="13" y="161"/>
                    <a:pt x="12" y="164"/>
                    <a:pt x="11" y="166"/>
                  </a:cubicBezTo>
                  <a:cubicBezTo>
                    <a:pt x="10" y="168"/>
                    <a:pt x="10" y="171"/>
                    <a:pt x="10" y="173"/>
                  </a:cubicBezTo>
                  <a:cubicBezTo>
                    <a:pt x="10" y="174"/>
                    <a:pt x="10" y="176"/>
                    <a:pt x="10" y="177"/>
                  </a:cubicBezTo>
                  <a:cubicBezTo>
                    <a:pt x="11" y="178"/>
                    <a:pt x="11" y="180"/>
                    <a:pt x="11" y="180"/>
                  </a:cubicBezTo>
                  <a:cubicBezTo>
                    <a:pt x="11" y="181"/>
                    <a:pt x="10" y="182"/>
                    <a:pt x="10" y="183"/>
                  </a:cubicBezTo>
                  <a:cubicBezTo>
                    <a:pt x="9" y="185"/>
                    <a:pt x="8" y="186"/>
                    <a:pt x="8" y="188"/>
                  </a:cubicBezTo>
                  <a:cubicBezTo>
                    <a:pt x="8" y="189"/>
                    <a:pt x="8" y="191"/>
                    <a:pt x="9" y="192"/>
                  </a:cubicBezTo>
                  <a:cubicBezTo>
                    <a:pt x="9" y="194"/>
                    <a:pt x="9" y="195"/>
                    <a:pt x="9" y="196"/>
                  </a:cubicBezTo>
                  <a:cubicBezTo>
                    <a:pt x="9" y="197"/>
                    <a:pt x="8" y="200"/>
                    <a:pt x="7" y="202"/>
                  </a:cubicBezTo>
                  <a:cubicBezTo>
                    <a:pt x="6" y="203"/>
                    <a:pt x="3" y="208"/>
                    <a:pt x="2" y="211"/>
                  </a:cubicBezTo>
                  <a:cubicBezTo>
                    <a:pt x="2" y="213"/>
                    <a:pt x="3" y="215"/>
                    <a:pt x="3" y="217"/>
                  </a:cubicBezTo>
                  <a:cubicBezTo>
                    <a:pt x="4" y="219"/>
                    <a:pt x="4" y="221"/>
                    <a:pt x="4" y="222"/>
                  </a:cubicBezTo>
                  <a:cubicBezTo>
                    <a:pt x="4" y="223"/>
                    <a:pt x="3" y="224"/>
                    <a:pt x="2" y="225"/>
                  </a:cubicBezTo>
                  <a:cubicBezTo>
                    <a:pt x="1" y="226"/>
                    <a:pt x="0" y="228"/>
                    <a:pt x="0" y="230"/>
                  </a:cubicBezTo>
                  <a:cubicBezTo>
                    <a:pt x="0" y="234"/>
                    <a:pt x="2" y="242"/>
                    <a:pt x="4" y="248"/>
                  </a:cubicBezTo>
                  <a:cubicBezTo>
                    <a:pt x="5" y="251"/>
                    <a:pt x="5" y="254"/>
                    <a:pt x="6" y="256"/>
                  </a:cubicBezTo>
                  <a:cubicBezTo>
                    <a:pt x="6" y="259"/>
                    <a:pt x="7" y="268"/>
                    <a:pt x="7" y="271"/>
                  </a:cubicBezTo>
                  <a:cubicBezTo>
                    <a:pt x="8" y="276"/>
                    <a:pt x="11" y="289"/>
                    <a:pt x="10" y="293"/>
                  </a:cubicBezTo>
                  <a:cubicBezTo>
                    <a:pt x="10" y="294"/>
                    <a:pt x="9" y="295"/>
                    <a:pt x="9" y="296"/>
                  </a:cubicBezTo>
                  <a:cubicBezTo>
                    <a:pt x="8" y="298"/>
                    <a:pt x="8" y="299"/>
                    <a:pt x="8" y="300"/>
                  </a:cubicBezTo>
                  <a:cubicBezTo>
                    <a:pt x="7" y="302"/>
                    <a:pt x="7" y="307"/>
                    <a:pt x="8" y="310"/>
                  </a:cubicBezTo>
                  <a:cubicBezTo>
                    <a:pt x="8" y="312"/>
                    <a:pt x="11" y="317"/>
                    <a:pt x="12" y="319"/>
                  </a:cubicBezTo>
                  <a:cubicBezTo>
                    <a:pt x="13" y="320"/>
                    <a:pt x="15" y="322"/>
                    <a:pt x="17" y="324"/>
                  </a:cubicBezTo>
                  <a:cubicBezTo>
                    <a:pt x="18" y="325"/>
                    <a:pt x="20" y="327"/>
                    <a:pt x="23" y="327"/>
                  </a:cubicBezTo>
                  <a:cubicBezTo>
                    <a:pt x="24" y="327"/>
                    <a:pt x="25" y="327"/>
                    <a:pt x="25" y="327"/>
                  </a:cubicBezTo>
                  <a:cubicBezTo>
                    <a:pt x="118" y="305"/>
                    <a:pt x="118" y="305"/>
                    <a:pt x="118" y="305"/>
                  </a:cubicBezTo>
                  <a:cubicBezTo>
                    <a:pt x="119" y="305"/>
                    <a:pt x="119" y="305"/>
                    <a:pt x="119" y="304"/>
                  </a:cubicBezTo>
                  <a:cubicBezTo>
                    <a:pt x="129" y="293"/>
                    <a:pt x="129" y="293"/>
                    <a:pt x="129" y="293"/>
                  </a:cubicBezTo>
                  <a:cubicBezTo>
                    <a:pt x="129" y="293"/>
                    <a:pt x="129" y="293"/>
                    <a:pt x="129" y="293"/>
                  </a:cubicBezTo>
                  <a:cubicBezTo>
                    <a:pt x="130" y="290"/>
                    <a:pt x="131" y="288"/>
                    <a:pt x="132" y="287"/>
                  </a:cubicBezTo>
                  <a:cubicBezTo>
                    <a:pt x="132" y="287"/>
                    <a:pt x="133" y="287"/>
                    <a:pt x="134" y="287"/>
                  </a:cubicBezTo>
                  <a:cubicBezTo>
                    <a:pt x="137" y="286"/>
                    <a:pt x="138" y="283"/>
                    <a:pt x="139" y="281"/>
                  </a:cubicBezTo>
                  <a:cubicBezTo>
                    <a:pt x="139" y="280"/>
                    <a:pt x="140" y="279"/>
                    <a:pt x="140" y="278"/>
                  </a:cubicBezTo>
                  <a:cubicBezTo>
                    <a:pt x="141" y="277"/>
                    <a:pt x="144" y="275"/>
                    <a:pt x="147" y="274"/>
                  </a:cubicBezTo>
                  <a:cubicBezTo>
                    <a:pt x="150" y="273"/>
                    <a:pt x="150" y="273"/>
                    <a:pt x="150" y="273"/>
                  </a:cubicBezTo>
                  <a:cubicBezTo>
                    <a:pt x="150" y="274"/>
                    <a:pt x="151" y="274"/>
                    <a:pt x="152" y="274"/>
                  </a:cubicBezTo>
                  <a:cubicBezTo>
                    <a:pt x="153" y="274"/>
                    <a:pt x="154" y="274"/>
                    <a:pt x="155" y="273"/>
                  </a:cubicBezTo>
                  <a:cubicBezTo>
                    <a:pt x="157" y="271"/>
                    <a:pt x="157" y="268"/>
                    <a:pt x="156" y="266"/>
                  </a:cubicBezTo>
                  <a:cubicBezTo>
                    <a:pt x="156" y="265"/>
                    <a:pt x="156" y="264"/>
                    <a:pt x="156" y="264"/>
                  </a:cubicBezTo>
                  <a:cubicBezTo>
                    <a:pt x="156" y="263"/>
                    <a:pt x="157" y="261"/>
                    <a:pt x="158" y="259"/>
                  </a:cubicBezTo>
                  <a:cubicBezTo>
                    <a:pt x="159" y="255"/>
                    <a:pt x="161" y="251"/>
                    <a:pt x="159" y="248"/>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49">
              <a:extLst>
                <a:ext uri="{FF2B5EF4-FFF2-40B4-BE49-F238E27FC236}">
                  <a16:creationId xmlns:a16="http://schemas.microsoft.com/office/drawing/2014/main" id="{484F58AD-0F0E-4B64-A285-89299CB9B759}"/>
                </a:ext>
              </a:extLst>
            </p:cNvPr>
            <p:cNvSpPr>
              <a:spLocks/>
            </p:cNvSpPr>
            <p:nvPr/>
          </p:nvSpPr>
          <p:spPr bwMode="auto">
            <a:xfrm>
              <a:off x="4050087" y="3594855"/>
              <a:ext cx="699423" cy="819699"/>
            </a:xfrm>
            <a:custGeom>
              <a:avLst/>
              <a:gdLst>
                <a:gd name="T0" fmla="*/ 501 w 630"/>
                <a:gd name="T1" fmla="*/ 54 h 737"/>
                <a:gd name="T2" fmla="*/ 255 w 630"/>
                <a:gd name="T3" fmla="*/ 16 h 737"/>
                <a:gd name="T4" fmla="*/ 168 w 630"/>
                <a:gd name="T5" fmla="*/ 3 h 737"/>
                <a:gd name="T6" fmla="*/ 144 w 630"/>
                <a:gd name="T7" fmla="*/ 104 h 737"/>
                <a:gd name="T8" fmla="*/ 136 w 630"/>
                <a:gd name="T9" fmla="*/ 112 h 737"/>
                <a:gd name="T10" fmla="*/ 130 w 630"/>
                <a:gd name="T11" fmla="*/ 107 h 737"/>
                <a:gd name="T12" fmla="*/ 121 w 630"/>
                <a:gd name="T13" fmla="*/ 94 h 737"/>
                <a:gd name="T14" fmla="*/ 113 w 630"/>
                <a:gd name="T15" fmla="*/ 94 h 737"/>
                <a:gd name="T16" fmla="*/ 106 w 630"/>
                <a:gd name="T17" fmla="*/ 89 h 737"/>
                <a:gd name="T18" fmla="*/ 86 w 630"/>
                <a:gd name="T19" fmla="*/ 97 h 737"/>
                <a:gd name="T20" fmla="*/ 84 w 630"/>
                <a:gd name="T21" fmla="*/ 116 h 737"/>
                <a:gd name="T22" fmla="*/ 83 w 630"/>
                <a:gd name="T23" fmla="*/ 129 h 737"/>
                <a:gd name="T24" fmla="*/ 82 w 630"/>
                <a:gd name="T25" fmla="*/ 138 h 737"/>
                <a:gd name="T26" fmla="*/ 83 w 630"/>
                <a:gd name="T27" fmla="*/ 153 h 737"/>
                <a:gd name="T28" fmla="*/ 80 w 630"/>
                <a:gd name="T29" fmla="*/ 171 h 737"/>
                <a:gd name="T30" fmla="*/ 82 w 630"/>
                <a:gd name="T31" fmla="*/ 186 h 737"/>
                <a:gd name="T32" fmla="*/ 78 w 630"/>
                <a:gd name="T33" fmla="*/ 205 h 737"/>
                <a:gd name="T34" fmla="*/ 72 w 630"/>
                <a:gd name="T35" fmla="*/ 226 h 737"/>
                <a:gd name="T36" fmla="*/ 70 w 630"/>
                <a:gd name="T37" fmla="*/ 242 h 737"/>
                <a:gd name="T38" fmla="*/ 82 w 630"/>
                <a:gd name="T39" fmla="*/ 268 h 737"/>
                <a:gd name="T40" fmla="*/ 83 w 630"/>
                <a:gd name="T41" fmla="*/ 276 h 737"/>
                <a:gd name="T42" fmla="*/ 85 w 630"/>
                <a:gd name="T43" fmla="*/ 286 h 737"/>
                <a:gd name="T44" fmla="*/ 100 w 630"/>
                <a:gd name="T45" fmla="*/ 308 h 737"/>
                <a:gd name="T46" fmla="*/ 99 w 630"/>
                <a:gd name="T47" fmla="*/ 319 h 737"/>
                <a:gd name="T48" fmla="*/ 73 w 630"/>
                <a:gd name="T49" fmla="*/ 333 h 737"/>
                <a:gd name="T50" fmla="*/ 69 w 630"/>
                <a:gd name="T51" fmla="*/ 340 h 737"/>
                <a:gd name="T52" fmla="*/ 62 w 630"/>
                <a:gd name="T53" fmla="*/ 345 h 737"/>
                <a:gd name="T54" fmla="*/ 57 w 630"/>
                <a:gd name="T55" fmla="*/ 374 h 737"/>
                <a:gd name="T56" fmla="*/ 53 w 630"/>
                <a:gd name="T57" fmla="*/ 381 h 737"/>
                <a:gd name="T58" fmla="*/ 38 w 630"/>
                <a:gd name="T59" fmla="*/ 406 h 737"/>
                <a:gd name="T60" fmla="*/ 25 w 630"/>
                <a:gd name="T61" fmla="*/ 420 h 737"/>
                <a:gd name="T62" fmla="*/ 28 w 630"/>
                <a:gd name="T63" fmla="*/ 435 h 737"/>
                <a:gd name="T64" fmla="*/ 26 w 630"/>
                <a:gd name="T65" fmla="*/ 452 h 737"/>
                <a:gd name="T66" fmla="*/ 35 w 630"/>
                <a:gd name="T67" fmla="*/ 456 h 737"/>
                <a:gd name="T68" fmla="*/ 41 w 630"/>
                <a:gd name="T69" fmla="*/ 459 h 737"/>
                <a:gd name="T70" fmla="*/ 42 w 630"/>
                <a:gd name="T71" fmla="*/ 466 h 737"/>
                <a:gd name="T72" fmla="*/ 39 w 630"/>
                <a:gd name="T73" fmla="*/ 478 h 737"/>
                <a:gd name="T74" fmla="*/ 33 w 630"/>
                <a:gd name="T75" fmla="*/ 486 h 737"/>
                <a:gd name="T76" fmla="*/ 28 w 630"/>
                <a:gd name="T77" fmla="*/ 486 h 737"/>
                <a:gd name="T78" fmla="*/ 20 w 630"/>
                <a:gd name="T79" fmla="*/ 482 h 737"/>
                <a:gd name="T80" fmla="*/ 4 w 630"/>
                <a:gd name="T81" fmla="*/ 501 h 737"/>
                <a:gd name="T82" fmla="*/ 0 w 630"/>
                <a:gd name="T83" fmla="*/ 510 h 737"/>
                <a:gd name="T84" fmla="*/ 25 w 630"/>
                <a:gd name="T85" fmla="*/ 527 h 737"/>
                <a:gd name="T86" fmla="*/ 345 w 630"/>
                <a:gd name="T87" fmla="*/ 710 h 737"/>
                <a:gd name="T88" fmla="*/ 494 w 630"/>
                <a:gd name="T89" fmla="*/ 731 h 737"/>
                <a:gd name="T90" fmla="*/ 544 w 630"/>
                <a:gd name="T91" fmla="*/ 737 h 737"/>
                <a:gd name="T92" fmla="*/ 547 w 630"/>
                <a:gd name="T93" fmla="*/ 731 h 737"/>
                <a:gd name="T94" fmla="*/ 628 w 630"/>
                <a:gd name="T95" fmla="*/ 70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0" h="737">
                  <a:moveTo>
                    <a:pt x="628" y="70"/>
                  </a:moveTo>
                  <a:cubicBezTo>
                    <a:pt x="501" y="54"/>
                    <a:pt x="501" y="54"/>
                    <a:pt x="501" y="54"/>
                  </a:cubicBezTo>
                  <a:cubicBezTo>
                    <a:pt x="380" y="36"/>
                    <a:pt x="380" y="36"/>
                    <a:pt x="380" y="36"/>
                  </a:cubicBezTo>
                  <a:cubicBezTo>
                    <a:pt x="255" y="16"/>
                    <a:pt x="255" y="16"/>
                    <a:pt x="255" y="16"/>
                  </a:cubicBezTo>
                  <a:cubicBezTo>
                    <a:pt x="170" y="1"/>
                    <a:pt x="170" y="1"/>
                    <a:pt x="170" y="1"/>
                  </a:cubicBezTo>
                  <a:cubicBezTo>
                    <a:pt x="169" y="0"/>
                    <a:pt x="168" y="1"/>
                    <a:pt x="168" y="3"/>
                  </a:cubicBezTo>
                  <a:cubicBezTo>
                    <a:pt x="151" y="94"/>
                    <a:pt x="151" y="94"/>
                    <a:pt x="151" y="94"/>
                  </a:cubicBezTo>
                  <a:cubicBezTo>
                    <a:pt x="144" y="104"/>
                    <a:pt x="144" y="104"/>
                    <a:pt x="144" y="104"/>
                  </a:cubicBezTo>
                  <a:cubicBezTo>
                    <a:pt x="141" y="108"/>
                    <a:pt x="138" y="111"/>
                    <a:pt x="137" y="112"/>
                  </a:cubicBezTo>
                  <a:cubicBezTo>
                    <a:pt x="137" y="112"/>
                    <a:pt x="136" y="112"/>
                    <a:pt x="136" y="112"/>
                  </a:cubicBezTo>
                  <a:cubicBezTo>
                    <a:pt x="134" y="112"/>
                    <a:pt x="132" y="111"/>
                    <a:pt x="131" y="111"/>
                  </a:cubicBezTo>
                  <a:cubicBezTo>
                    <a:pt x="131" y="110"/>
                    <a:pt x="131" y="108"/>
                    <a:pt x="130" y="107"/>
                  </a:cubicBezTo>
                  <a:cubicBezTo>
                    <a:pt x="130" y="105"/>
                    <a:pt x="130" y="104"/>
                    <a:pt x="129" y="103"/>
                  </a:cubicBezTo>
                  <a:cubicBezTo>
                    <a:pt x="129" y="103"/>
                    <a:pt x="125" y="96"/>
                    <a:pt x="121" y="94"/>
                  </a:cubicBezTo>
                  <a:cubicBezTo>
                    <a:pt x="120" y="94"/>
                    <a:pt x="118" y="94"/>
                    <a:pt x="116" y="94"/>
                  </a:cubicBezTo>
                  <a:cubicBezTo>
                    <a:pt x="115" y="94"/>
                    <a:pt x="114" y="94"/>
                    <a:pt x="113" y="94"/>
                  </a:cubicBezTo>
                  <a:cubicBezTo>
                    <a:pt x="113" y="94"/>
                    <a:pt x="111" y="93"/>
                    <a:pt x="111" y="92"/>
                  </a:cubicBezTo>
                  <a:cubicBezTo>
                    <a:pt x="109" y="91"/>
                    <a:pt x="107" y="90"/>
                    <a:pt x="106" y="89"/>
                  </a:cubicBezTo>
                  <a:cubicBezTo>
                    <a:pt x="103" y="89"/>
                    <a:pt x="98" y="90"/>
                    <a:pt x="96" y="91"/>
                  </a:cubicBezTo>
                  <a:cubicBezTo>
                    <a:pt x="93" y="92"/>
                    <a:pt x="88" y="95"/>
                    <a:pt x="86" y="97"/>
                  </a:cubicBezTo>
                  <a:cubicBezTo>
                    <a:pt x="84" y="100"/>
                    <a:pt x="82" y="105"/>
                    <a:pt x="82" y="108"/>
                  </a:cubicBezTo>
                  <a:cubicBezTo>
                    <a:pt x="82" y="111"/>
                    <a:pt x="83" y="113"/>
                    <a:pt x="84" y="116"/>
                  </a:cubicBezTo>
                  <a:cubicBezTo>
                    <a:pt x="86" y="119"/>
                    <a:pt x="87" y="122"/>
                    <a:pt x="87" y="123"/>
                  </a:cubicBezTo>
                  <a:cubicBezTo>
                    <a:pt x="87" y="124"/>
                    <a:pt x="85" y="127"/>
                    <a:pt x="83" y="129"/>
                  </a:cubicBezTo>
                  <a:cubicBezTo>
                    <a:pt x="83" y="129"/>
                    <a:pt x="82" y="130"/>
                    <a:pt x="82" y="130"/>
                  </a:cubicBezTo>
                  <a:cubicBezTo>
                    <a:pt x="82" y="138"/>
                    <a:pt x="82" y="138"/>
                    <a:pt x="82" y="138"/>
                  </a:cubicBezTo>
                  <a:cubicBezTo>
                    <a:pt x="82" y="138"/>
                    <a:pt x="82" y="138"/>
                    <a:pt x="82" y="138"/>
                  </a:cubicBezTo>
                  <a:cubicBezTo>
                    <a:pt x="82" y="141"/>
                    <a:pt x="83" y="150"/>
                    <a:pt x="83" y="153"/>
                  </a:cubicBezTo>
                  <a:cubicBezTo>
                    <a:pt x="83" y="154"/>
                    <a:pt x="81" y="159"/>
                    <a:pt x="80" y="163"/>
                  </a:cubicBezTo>
                  <a:cubicBezTo>
                    <a:pt x="80" y="171"/>
                    <a:pt x="80" y="171"/>
                    <a:pt x="80" y="171"/>
                  </a:cubicBezTo>
                  <a:cubicBezTo>
                    <a:pt x="80" y="171"/>
                    <a:pt x="80" y="171"/>
                    <a:pt x="80" y="171"/>
                  </a:cubicBezTo>
                  <a:cubicBezTo>
                    <a:pt x="82" y="186"/>
                    <a:pt x="82" y="186"/>
                    <a:pt x="82" y="186"/>
                  </a:cubicBezTo>
                  <a:cubicBezTo>
                    <a:pt x="83" y="192"/>
                    <a:pt x="82" y="200"/>
                    <a:pt x="81" y="202"/>
                  </a:cubicBezTo>
                  <a:cubicBezTo>
                    <a:pt x="81" y="203"/>
                    <a:pt x="79" y="204"/>
                    <a:pt x="78" y="205"/>
                  </a:cubicBezTo>
                  <a:cubicBezTo>
                    <a:pt x="76" y="206"/>
                    <a:pt x="74" y="207"/>
                    <a:pt x="73" y="209"/>
                  </a:cubicBezTo>
                  <a:cubicBezTo>
                    <a:pt x="71" y="213"/>
                    <a:pt x="72" y="224"/>
                    <a:pt x="72" y="226"/>
                  </a:cubicBezTo>
                  <a:cubicBezTo>
                    <a:pt x="70" y="234"/>
                    <a:pt x="70" y="234"/>
                    <a:pt x="70" y="234"/>
                  </a:cubicBezTo>
                  <a:cubicBezTo>
                    <a:pt x="70" y="235"/>
                    <a:pt x="70" y="240"/>
                    <a:pt x="70" y="242"/>
                  </a:cubicBezTo>
                  <a:cubicBezTo>
                    <a:pt x="71" y="247"/>
                    <a:pt x="78" y="256"/>
                    <a:pt x="79" y="259"/>
                  </a:cubicBezTo>
                  <a:cubicBezTo>
                    <a:pt x="82" y="268"/>
                    <a:pt x="82" y="268"/>
                    <a:pt x="82" y="268"/>
                  </a:cubicBezTo>
                  <a:cubicBezTo>
                    <a:pt x="82" y="275"/>
                    <a:pt x="82" y="275"/>
                    <a:pt x="82" y="275"/>
                  </a:cubicBezTo>
                  <a:cubicBezTo>
                    <a:pt x="82" y="275"/>
                    <a:pt x="83" y="276"/>
                    <a:pt x="83" y="276"/>
                  </a:cubicBezTo>
                  <a:cubicBezTo>
                    <a:pt x="84" y="279"/>
                    <a:pt x="85" y="282"/>
                    <a:pt x="85" y="283"/>
                  </a:cubicBezTo>
                  <a:cubicBezTo>
                    <a:pt x="85" y="284"/>
                    <a:pt x="85" y="285"/>
                    <a:pt x="85" y="286"/>
                  </a:cubicBezTo>
                  <a:cubicBezTo>
                    <a:pt x="85" y="288"/>
                    <a:pt x="84" y="290"/>
                    <a:pt x="85" y="292"/>
                  </a:cubicBezTo>
                  <a:cubicBezTo>
                    <a:pt x="87" y="298"/>
                    <a:pt x="98" y="307"/>
                    <a:pt x="100" y="308"/>
                  </a:cubicBezTo>
                  <a:cubicBezTo>
                    <a:pt x="102" y="310"/>
                    <a:pt x="104" y="313"/>
                    <a:pt x="104" y="314"/>
                  </a:cubicBezTo>
                  <a:cubicBezTo>
                    <a:pt x="104" y="314"/>
                    <a:pt x="102" y="316"/>
                    <a:pt x="99" y="319"/>
                  </a:cubicBezTo>
                  <a:cubicBezTo>
                    <a:pt x="96" y="321"/>
                    <a:pt x="93" y="322"/>
                    <a:pt x="88" y="324"/>
                  </a:cubicBezTo>
                  <a:cubicBezTo>
                    <a:pt x="82" y="327"/>
                    <a:pt x="76" y="330"/>
                    <a:pt x="73" y="333"/>
                  </a:cubicBezTo>
                  <a:cubicBezTo>
                    <a:pt x="72" y="334"/>
                    <a:pt x="71" y="336"/>
                    <a:pt x="71" y="337"/>
                  </a:cubicBezTo>
                  <a:cubicBezTo>
                    <a:pt x="70" y="338"/>
                    <a:pt x="70" y="340"/>
                    <a:pt x="69" y="340"/>
                  </a:cubicBezTo>
                  <a:cubicBezTo>
                    <a:pt x="69" y="341"/>
                    <a:pt x="68" y="341"/>
                    <a:pt x="67" y="342"/>
                  </a:cubicBezTo>
                  <a:cubicBezTo>
                    <a:pt x="65" y="342"/>
                    <a:pt x="63" y="343"/>
                    <a:pt x="62" y="345"/>
                  </a:cubicBezTo>
                  <a:cubicBezTo>
                    <a:pt x="60" y="348"/>
                    <a:pt x="58" y="358"/>
                    <a:pt x="58" y="360"/>
                  </a:cubicBezTo>
                  <a:cubicBezTo>
                    <a:pt x="57" y="374"/>
                    <a:pt x="57" y="374"/>
                    <a:pt x="57" y="374"/>
                  </a:cubicBezTo>
                  <a:cubicBezTo>
                    <a:pt x="53" y="380"/>
                    <a:pt x="53" y="380"/>
                    <a:pt x="53" y="380"/>
                  </a:cubicBezTo>
                  <a:cubicBezTo>
                    <a:pt x="53" y="381"/>
                    <a:pt x="53" y="381"/>
                    <a:pt x="53" y="381"/>
                  </a:cubicBezTo>
                  <a:cubicBezTo>
                    <a:pt x="50" y="391"/>
                    <a:pt x="50" y="391"/>
                    <a:pt x="50" y="391"/>
                  </a:cubicBezTo>
                  <a:cubicBezTo>
                    <a:pt x="38" y="406"/>
                    <a:pt x="38" y="406"/>
                    <a:pt x="38" y="406"/>
                  </a:cubicBezTo>
                  <a:cubicBezTo>
                    <a:pt x="36" y="407"/>
                    <a:pt x="31" y="409"/>
                    <a:pt x="30" y="411"/>
                  </a:cubicBezTo>
                  <a:cubicBezTo>
                    <a:pt x="28" y="412"/>
                    <a:pt x="26" y="417"/>
                    <a:pt x="25" y="420"/>
                  </a:cubicBezTo>
                  <a:cubicBezTo>
                    <a:pt x="25" y="422"/>
                    <a:pt x="27" y="427"/>
                    <a:pt x="28" y="429"/>
                  </a:cubicBezTo>
                  <a:cubicBezTo>
                    <a:pt x="28" y="435"/>
                    <a:pt x="28" y="435"/>
                    <a:pt x="28" y="435"/>
                  </a:cubicBezTo>
                  <a:cubicBezTo>
                    <a:pt x="27" y="437"/>
                    <a:pt x="24" y="441"/>
                    <a:pt x="24" y="443"/>
                  </a:cubicBezTo>
                  <a:cubicBezTo>
                    <a:pt x="24" y="445"/>
                    <a:pt x="24" y="450"/>
                    <a:pt x="26" y="452"/>
                  </a:cubicBezTo>
                  <a:cubicBezTo>
                    <a:pt x="27" y="454"/>
                    <a:pt x="30" y="455"/>
                    <a:pt x="32" y="455"/>
                  </a:cubicBezTo>
                  <a:cubicBezTo>
                    <a:pt x="33" y="456"/>
                    <a:pt x="34" y="456"/>
                    <a:pt x="35" y="456"/>
                  </a:cubicBezTo>
                  <a:cubicBezTo>
                    <a:pt x="36" y="456"/>
                    <a:pt x="36" y="456"/>
                    <a:pt x="36" y="456"/>
                  </a:cubicBezTo>
                  <a:cubicBezTo>
                    <a:pt x="37" y="457"/>
                    <a:pt x="40" y="459"/>
                    <a:pt x="41" y="459"/>
                  </a:cubicBezTo>
                  <a:cubicBezTo>
                    <a:pt x="41" y="460"/>
                    <a:pt x="42" y="461"/>
                    <a:pt x="42" y="465"/>
                  </a:cubicBezTo>
                  <a:cubicBezTo>
                    <a:pt x="42" y="466"/>
                    <a:pt x="42" y="466"/>
                    <a:pt x="42" y="466"/>
                  </a:cubicBezTo>
                  <a:cubicBezTo>
                    <a:pt x="42" y="468"/>
                    <a:pt x="43" y="474"/>
                    <a:pt x="42" y="476"/>
                  </a:cubicBezTo>
                  <a:cubicBezTo>
                    <a:pt x="41" y="477"/>
                    <a:pt x="40" y="477"/>
                    <a:pt x="39" y="478"/>
                  </a:cubicBezTo>
                  <a:cubicBezTo>
                    <a:pt x="37" y="479"/>
                    <a:pt x="35" y="480"/>
                    <a:pt x="34" y="481"/>
                  </a:cubicBezTo>
                  <a:cubicBezTo>
                    <a:pt x="33" y="482"/>
                    <a:pt x="33" y="484"/>
                    <a:pt x="33" y="486"/>
                  </a:cubicBezTo>
                  <a:cubicBezTo>
                    <a:pt x="32" y="486"/>
                    <a:pt x="32" y="487"/>
                    <a:pt x="32" y="487"/>
                  </a:cubicBezTo>
                  <a:cubicBezTo>
                    <a:pt x="31" y="487"/>
                    <a:pt x="29" y="487"/>
                    <a:pt x="28" y="486"/>
                  </a:cubicBezTo>
                  <a:cubicBezTo>
                    <a:pt x="25" y="484"/>
                    <a:pt x="25" y="484"/>
                    <a:pt x="25" y="484"/>
                  </a:cubicBezTo>
                  <a:cubicBezTo>
                    <a:pt x="25" y="484"/>
                    <a:pt x="23" y="482"/>
                    <a:pt x="20" y="482"/>
                  </a:cubicBezTo>
                  <a:cubicBezTo>
                    <a:pt x="17" y="482"/>
                    <a:pt x="15" y="484"/>
                    <a:pt x="14" y="486"/>
                  </a:cubicBezTo>
                  <a:cubicBezTo>
                    <a:pt x="4" y="501"/>
                    <a:pt x="4" y="501"/>
                    <a:pt x="4" y="501"/>
                  </a:cubicBezTo>
                  <a:cubicBezTo>
                    <a:pt x="3" y="501"/>
                    <a:pt x="3" y="502"/>
                    <a:pt x="3" y="502"/>
                  </a:cubicBezTo>
                  <a:cubicBezTo>
                    <a:pt x="0" y="510"/>
                    <a:pt x="0" y="510"/>
                    <a:pt x="0" y="510"/>
                  </a:cubicBezTo>
                  <a:cubicBezTo>
                    <a:pt x="0" y="511"/>
                    <a:pt x="0" y="512"/>
                    <a:pt x="1" y="513"/>
                  </a:cubicBezTo>
                  <a:cubicBezTo>
                    <a:pt x="25" y="527"/>
                    <a:pt x="25" y="527"/>
                    <a:pt x="25" y="527"/>
                  </a:cubicBezTo>
                  <a:cubicBezTo>
                    <a:pt x="219" y="638"/>
                    <a:pt x="219" y="638"/>
                    <a:pt x="219" y="638"/>
                  </a:cubicBezTo>
                  <a:cubicBezTo>
                    <a:pt x="345" y="710"/>
                    <a:pt x="345" y="710"/>
                    <a:pt x="345" y="710"/>
                  </a:cubicBezTo>
                  <a:cubicBezTo>
                    <a:pt x="346" y="710"/>
                    <a:pt x="346" y="710"/>
                    <a:pt x="346" y="710"/>
                  </a:cubicBezTo>
                  <a:cubicBezTo>
                    <a:pt x="494" y="731"/>
                    <a:pt x="494" y="731"/>
                    <a:pt x="494" y="731"/>
                  </a:cubicBezTo>
                  <a:cubicBezTo>
                    <a:pt x="543" y="737"/>
                    <a:pt x="543" y="737"/>
                    <a:pt x="543" y="737"/>
                  </a:cubicBezTo>
                  <a:cubicBezTo>
                    <a:pt x="543" y="737"/>
                    <a:pt x="544" y="737"/>
                    <a:pt x="544" y="737"/>
                  </a:cubicBezTo>
                  <a:cubicBezTo>
                    <a:pt x="545" y="737"/>
                    <a:pt x="546" y="736"/>
                    <a:pt x="546" y="735"/>
                  </a:cubicBezTo>
                  <a:cubicBezTo>
                    <a:pt x="547" y="731"/>
                    <a:pt x="547" y="731"/>
                    <a:pt x="547" y="731"/>
                  </a:cubicBezTo>
                  <a:cubicBezTo>
                    <a:pt x="630" y="73"/>
                    <a:pt x="630" y="73"/>
                    <a:pt x="630" y="73"/>
                  </a:cubicBezTo>
                  <a:cubicBezTo>
                    <a:pt x="630" y="72"/>
                    <a:pt x="629" y="71"/>
                    <a:pt x="628" y="70"/>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50">
              <a:extLst>
                <a:ext uri="{FF2B5EF4-FFF2-40B4-BE49-F238E27FC236}">
                  <a16:creationId xmlns:a16="http://schemas.microsoft.com/office/drawing/2014/main" id="{0E2C5A1E-4FA4-48EA-A64E-64759FC60577}"/>
                </a:ext>
              </a:extLst>
            </p:cNvPr>
            <p:cNvSpPr>
              <a:spLocks/>
            </p:cNvSpPr>
            <p:nvPr/>
          </p:nvSpPr>
          <p:spPr bwMode="auto">
            <a:xfrm>
              <a:off x="4235050" y="2950011"/>
              <a:ext cx="580157" cy="728734"/>
            </a:xfrm>
            <a:custGeom>
              <a:avLst/>
              <a:gdLst>
                <a:gd name="T0" fmla="*/ 520 w 522"/>
                <a:gd name="T1" fmla="*/ 182 h 655"/>
                <a:gd name="T2" fmla="*/ 348 w 522"/>
                <a:gd name="T3" fmla="*/ 159 h 655"/>
                <a:gd name="T4" fmla="*/ 365 w 522"/>
                <a:gd name="T5" fmla="*/ 45 h 655"/>
                <a:gd name="T6" fmla="*/ 363 w 522"/>
                <a:gd name="T7" fmla="*/ 42 h 655"/>
                <a:gd name="T8" fmla="*/ 262 w 522"/>
                <a:gd name="T9" fmla="*/ 27 h 655"/>
                <a:gd name="T10" fmla="*/ 141 w 522"/>
                <a:gd name="T11" fmla="*/ 6 h 655"/>
                <a:gd name="T12" fmla="*/ 107 w 522"/>
                <a:gd name="T13" fmla="*/ 0 h 655"/>
                <a:gd name="T14" fmla="*/ 105 w 522"/>
                <a:gd name="T15" fmla="*/ 0 h 655"/>
                <a:gd name="T16" fmla="*/ 104 w 522"/>
                <a:gd name="T17" fmla="*/ 2 h 655"/>
                <a:gd name="T18" fmla="*/ 1 w 522"/>
                <a:gd name="T19" fmla="*/ 580 h 655"/>
                <a:gd name="T20" fmla="*/ 1 w 522"/>
                <a:gd name="T21" fmla="*/ 583 h 655"/>
                <a:gd name="T22" fmla="*/ 3 w 522"/>
                <a:gd name="T23" fmla="*/ 585 h 655"/>
                <a:gd name="T24" fmla="*/ 87 w 522"/>
                <a:gd name="T25" fmla="*/ 601 h 655"/>
                <a:gd name="T26" fmla="*/ 212 w 522"/>
                <a:gd name="T27" fmla="*/ 621 h 655"/>
                <a:gd name="T28" fmla="*/ 334 w 522"/>
                <a:gd name="T29" fmla="*/ 639 h 655"/>
                <a:gd name="T30" fmla="*/ 460 w 522"/>
                <a:gd name="T31" fmla="*/ 655 h 655"/>
                <a:gd name="T32" fmla="*/ 460 w 522"/>
                <a:gd name="T33" fmla="*/ 655 h 655"/>
                <a:gd name="T34" fmla="*/ 462 w 522"/>
                <a:gd name="T35" fmla="*/ 655 h 655"/>
                <a:gd name="T36" fmla="*/ 463 w 522"/>
                <a:gd name="T37" fmla="*/ 653 h 655"/>
                <a:gd name="T38" fmla="*/ 522 w 522"/>
                <a:gd name="T39" fmla="*/ 185 h 655"/>
                <a:gd name="T40" fmla="*/ 520 w 522"/>
                <a:gd name="T41" fmla="*/ 182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2" h="655">
                  <a:moveTo>
                    <a:pt x="520" y="182"/>
                  </a:moveTo>
                  <a:cubicBezTo>
                    <a:pt x="348" y="159"/>
                    <a:pt x="348" y="159"/>
                    <a:pt x="348" y="159"/>
                  </a:cubicBezTo>
                  <a:cubicBezTo>
                    <a:pt x="365" y="45"/>
                    <a:pt x="365" y="45"/>
                    <a:pt x="365" y="45"/>
                  </a:cubicBezTo>
                  <a:cubicBezTo>
                    <a:pt x="365" y="43"/>
                    <a:pt x="364" y="42"/>
                    <a:pt x="363" y="42"/>
                  </a:cubicBezTo>
                  <a:cubicBezTo>
                    <a:pt x="262" y="27"/>
                    <a:pt x="262" y="27"/>
                    <a:pt x="262" y="27"/>
                  </a:cubicBezTo>
                  <a:cubicBezTo>
                    <a:pt x="141" y="6"/>
                    <a:pt x="141" y="6"/>
                    <a:pt x="141" y="6"/>
                  </a:cubicBezTo>
                  <a:cubicBezTo>
                    <a:pt x="107" y="0"/>
                    <a:pt x="107" y="0"/>
                    <a:pt x="107" y="0"/>
                  </a:cubicBezTo>
                  <a:cubicBezTo>
                    <a:pt x="107" y="0"/>
                    <a:pt x="106" y="0"/>
                    <a:pt x="105" y="0"/>
                  </a:cubicBezTo>
                  <a:cubicBezTo>
                    <a:pt x="105" y="1"/>
                    <a:pt x="105" y="1"/>
                    <a:pt x="104" y="2"/>
                  </a:cubicBezTo>
                  <a:cubicBezTo>
                    <a:pt x="1" y="580"/>
                    <a:pt x="1" y="580"/>
                    <a:pt x="1" y="580"/>
                  </a:cubicBezTo>
                  <a:cubicBezTo>
                    <a:pt x="1" y="583"/>
                    <a:pt x="1" y="583"/>
                    <a:pt x="1" y="583"/>
                  </a:cubicBezTo>
                  <a:cubicBezTo>
                    <a:pt x="0" y="584"/>
                    <a:pt x="1" y="585"/>
                    <a:pt x="3" y="585"/>
                  </a:cubicBezTo>
                  <a:cubicBezTo>
                    <a:pt x="87" y="601"/>
                    <a:pt x="87" y="601"/>
                    <a:pt x="87" y="601"/>
                  </a:cubicBezTo>
                  <a:cubicBezTo>
                    <a:pt x="212" y="621"/>
                    <a:pt x="212" y="621"/>
                    <a:pt x="212" y="621"/>
                  </a:cubicBezTo>
                  <a:cubicBezTo>
                    <a:pt x="334" y="639"/>
                    <a:pt x="334" y="639"/>
                    <a:pt x="334" y="639"/>
                  </a:cubicBezTo>
                  <a:cubicBezTo>
                    <a:pt x="460" y="655"/>
                    <a:pt x="460" y="655"/>
                    <a:pt x="460" y="655"/>
                  </a:cubicBezTo>
                  <a:cubicBezTo>
                    <a:pt x="460" y="655"/>
                    <a:pt x="460" y="655"/>
                    <a:pt x="460" y="655"/>
                  </a:cubicBezTo>
                  <a:cubicBezTo>
                    <a:pt x="461" y="655"/>
                    <a:pt x="461" y="655"/>
                    <a:pt x="462" y="655"/>
                  </a:cubicBezTo>
                  <a:cubicBezTo>
                    <a:pt x="462" y="655"/>
                    <a:pt x="463" y="654"/>
                    <a:pt x="463" y="653"/>
                  </a:cubicBezTo>
                  <a:cubicBezTo>
                    <a:pt x="522" y="185"/>
                    <a:pt x="522" y="185"/>
                    <a:pt x="522" y="185"/>
                  </a:cubicBezTo>
                  <a:cubicBezTo>
                    <a:pt x="522" y="184"/>
                    <a:pt x="521" y="183"/>
                    <a:pt x="520" y="18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51">
              <a:extLst>
                <a:ext uri="{FF2B5EF4-FFF2-40B4-BE49-F238E27FC236}">
                  <a16:creationId xmlns:a16="http://schemas.microsoft.com/office/drawing/2014/main" id="{22EEEB9A-5CAE-4432-ABD9-73BB4B61A13F}"/>
                </a:ext>
              </a:extLst>
            </p:cNvPr>
            <p:cNvSpPr>
              <a:spLocks/>
            </p:cNvSpPr>
            <p:nvPr/>
          </p:nvSpPr>
          <p:spPr bwMode="auto">
            <a:xfrm>
              <a:off x="4317929" y="2026207"/>
              <a:ext cx="1057220" cy="652929"/>
            </a:xfrm>
            <a:custGeom>
              <a:avLst/>
              <a:gdLst>
                <a:gd name="T0" fmla="*/ 21 w 951"/>
                <a:gd name="T1" fmla="*/ 163 h 587"/>
                <a:gd name="T2" fmla="*/ 13 w 951"/>
                <a:gd name="T3" fmla="*/ 140 h 587"/>
                <a:gd name="T4" fmla="*/ 0 w 951"/>
                <a:gd name="T5" fmla="*/ 114 h 587"/>
                <a:gd name="T6" fmla="*/ 24 w 951"/>
                <a:gd name="T7" fmla="*/ 0 h 587"/>
                <a:gd name="T8" fmla="*/ 895 w 951"/>
                <a:gd name="T9" fmla="*/ 122 h 587"/>
                <a:gd name="T10" fmla="*/ 951 w 951"/>
                <a:gd name="T11" fmla="*/ 129 h 587"/>
                <a:gd name="T12" fmla="*/ 920 w 951"/>
                <a:gd name="T13" fmla="*/ 582 h 587"/>
                <a:gd name="T14" fmla="*/ 823 w 951"/>
                <a:gd name="T15" fmla="*/ 581 h 587"/>
                <a:gd name="T16" fmla="*/ 500 w 951"/>
                <a:gd name="T17" fmla="*/ 547 h 587"/>
                <a:gd name="T18" fmla="*/ 338 w 951"/>
                <a:gd name="T19" fmla="*/ 532 h 587"/>
                <a:gd name="T20" fmla="*/ 324 w 951"/>
                <a:gd name="T21" fmla="*/ 577 h 587"/>
                <a:gd name="T22" fmla="*/ 314 w 951"/>
                <a:gd name="T23" fmla="*/ 556 h 587"/>
                <a:gd name="T24" fmla="*/ 295 w 951"/>
                <a:gd name="T25" fmla="*/ 569 h 587"/>
                <a:gd name="T26" fmla="*/ 280 w 951"/>
                <a:gd name="T27" fmla="*/ 569 h 587"/>
                <a:gd name="T28" fmla="*/ 265 w 951"/>
                <a:gd name="T29" fmla="*/ 567 h 587"/>
                <a:gd name="T30" fmla="*/ 235 w 951"/>
                <a:gd name="T31" fmla="*/ 562 h 587"/>
                <a:gd name="T32" fmla="*/ 223 w 951"/>
                <a:gd name="T33" fmla="*/ 569 h 587"/>
                <a:gd name="T34" fmla="*/ 208 w 951"/>
                <a:gd name="T35" fmla="*/ 567 h 587"/>
                <a:gd name="T36" fmla="*/ 186 w 951"/>
                <a:gd name="T37" fmla="*/ 567 h 587"/>
                <a:gd name="T38" fmla="*/ 181 w 951"/>
                <a:gd name="T39" fmla="*/ 577 h 587"/>
                <a:gd name="T40" fmla="*/ 170 w 951"/>
                <a:gd name="T41" fmla="*/ 562 h 587"/>
                <a:gd name="T42" fmla="*/ 167 w 951"/>
                <a:gd name="T43" fmla="*/ 547 h 587"/>
                <a:gd name="T44" fmla="*/ 165 w 951"/>
                <a:gd name="T45" fmla="*/ 526 h 587"/>
                <a:gd name="T46" fmla="*/ 149 w 951"/>
                <a:gd name="T47" fmla="*/ 521 h 587"/>
                <a:gd name="T48" fmla="*/ 141 w 951"/>
                <a:gd name="T49" fmla="*/ 506 h 587"/>
                <a:gd name="T50" fmla="*/ 144 w 951"/>
                <a:gd name="T51" fmla="*/ 489 h 587"/>
                <a:gd name="T52" fmla="*/ 136 w 951"/>
                <a:gd name="T53" fmla="*/ 474 h 587"/>
                <a:gd name="T54" fmla="*/ 127 w 951"/>
                <a:gd name="T55" fmla="*/ 438 h 587"/>
                <a:gd name="T56" fmla="*/ 120 w 951"/>
                <a:gd name="T57" fmla="*/ 416 h 587"/>
                <a:gd name="T58" fmla="*/ 88 w 951"/>
                <a:gd name="T59" fmla="*/ 426 h 587"/>
                <a:gd name="T60" fmla="*/ 74 w 951"/>
                <a:gd name="T61" fmla="*/ 417 h 587"/>
                <a:gd name="T62" fmla="*/ 68 w 951"/>
                <a:gd name="T63" fmla="*/ 406 h 587"/>
                <a:gd name="T64" fmla="*/ 71 w 951"/>
                <a:gd name="T65" fmla="*/ 391 h 587"/>
                <a:gd name="T66" fmla="*/ 83 w 951"/>
                <a:gd name="T67" fmla="*/ 383 h 587"/>
                <a:gd name="T68" fmla="*/ 81 w 951"/>
                <a:gd name="T69" fmla="*/ 360 h 587"/>
                <a:gd name="T70" fmla="*/ 83 w 951"/>
                <a:gd name="T71" fmla="*/ 345 h 587"/>
                <a:gd name="T72" fmla="*/ 91 w 951"/>
                <a:gd name="T73" fmla="*/ 330 h 587"/>
                <a:gd name="T74" fmla="*/ 106 w 951"/>
                <a:gd name="T75" fmla="*/ 292 h 587"/>
                <a:gd name="T76" fmla="*/ 89 w 951"/>
                <a:gd name="T77" fmla="*/ 290 h 587"/>
                <a:gd name="T78" fmla="*/ 83 w 951"/>
                <a:gd name="T79" fmla="*/ 279 h 587"/>
                <a:gd name="T80" fmla="*/ 73 w 951"/>
                <a:gd name="T81" fmla="*/ 271 h 587"/>
                <a:gd name="T82" fmla="*/ 64 w 951"/>
                <a:gd name="T83" fmla="*/ 256 h 587"/>
                <a:gd name="T84" fmla="*/ 60 w 951"/>
                <a:gd name="T85" fmla="*/ 246 h 587"/>
                <a:gd name="T86" fmla="*/ 47 w 951"/>
                <a:gd name="T87" fmla="*/ 223 h 587"/>
                <a:gd name="T88" fmla="*/ 40 w 951"/>
                <a:gd name="T89" fmla="*/ 208 h 587"/>
                <a:gd name="T90" fmla="*/ 26 w 951"/>
                <a:gd name="T91" fmla="*/ 194 h 587"/>
                <a:gd name="T92" fmla="*/ 21 w 951"/>
                <a:gd name="T93" fmla="*/ 179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51" h="587">
                  <a:moveTo>
                    <a:pt x="17" y="171"/>
                  </a:moveTo>
                  <a:cubicBezTo>
                    <a:pt x="21" y="163"/>
                    <a:pt x="21" y="163"/>
                    <a:pt x="21" y="163"/>
                  </a:cubicBezTo>
                  <a:cubicBezTo>
                    <a:pt x="19" y="155"/>
                    <a:pt x="19" y="155"/>
                    <a:pt x="19" y="155"/>
                  </a:cubicBezTo>
                  <a:cubicBezTo>
                    <a:pt x="13" y="140"/>
                    <a:pt x="13" y="140"/>
                    <a:pt x="13" y="140"/>
                  </a:cubicBezTo>
                  <a:cubicBezTo>
                    <a:pt x="13" y="137"/>
                    <a:pt x="13" y="137"/>
                    <a:pt x="13" y="137"/>
                  </a:cubicBezTo>
                  <a:cubicBezTo>
                    <a:pt x="0" y="114"/>
                    <a:pt x="0" y="114"/>
                    <a:pt x="0" y="114"/>
                  </a:cubicBezTo>
                  <a:cubicBezTo>
                    <a:pt x="23" y="3"/>
                    <a:pt x="23" y="3"/>
                    <a:pt x="23" y="3"/>
                  </a:cubicBezTo>
                  <a:cubicBezTo>
                    <a:pt x="24" y="0"/>
                    <a:pt x="24" y="0"/>
                    <a:pt x="24" y="0"/>
                  </a:cubicBezTo>
                  <a:cubicBezTo>
                    <a:pt x="137" y="22"/>
                    <a:pt x="137" y="22"/>
                    <a:pt x="137" y="22"/>
                  </a:cubicBezTo>
                  <a:cubicBezTo>
                    <a:pt x="387" y="68"/>
                    <a:pt x="641" y="101"/>
                    <a:pt x="895" y="122"/>
                  </a:cubicBezTo>
                  <a:cubicBezTo>
                    <a:pt x="951" y="127"/>
                    <a:pt x="951" y="127"/>
                    <a:pt x="951" y="127"/>
                  </a:cubicBezTo>
                  <a:cubicBezTo>
                    <a:pt x="951" y="129"/>
                    <a:pt x="951" y="129"/>
                    <a:pt x="951" y="129"/>
                  </a:cubicBezTo>
                  <a:cubicBezTo>
                    <a:pt x="926" y="481"/>
                    <a:pt x="926" y="481"/>
                    <a:pt x="926" y="481"/>
                  </a:cubicBezTo>
                  <a:cubicBezTo>
                    <a:pt x="920" y="582"/>
                    <a:pt x="920" y="582"/>
                    <a:pt x="920" y="582"/>
                  </a:cubicBezTo>
                  <a:cubicBezTo>
                    <a:pt x="915" y="587"/>
                    <a:pt x="915" y="587"/>
                    <a:pt x="915" y="587"/>
                  </a:cubicBezTo>
                  <a:cubicBezTo>
                    <a:pt x="823" y="581"/>
                    <a:pt x="823" y="581"/>
                    <a:pt x="823" y="581"/>
                  </a:cubicBezTo>
                  <a:cubicBezTo>
                    <a:pt x="652" y="564"/>
                    <a:pt x="652" y="564"/>
                    <a:pt x="652" y="564"/>
                  </a:cubicBezTo>
                  <a:cubicBezTo>
                    <a:pt x="500" y="547"/>
                    <a:pt x="500" y="547"/>
                    <a:pt x="500" y="547"/>
                  </a:cubicBezTo>
                  <a:cubicBezTo>
                    <a:pt x="345" y="526"/>
                    <a:pt x="345" y="526"/>
                    <a:pt x="345" y="526"/>
                  </a:cubicBezTo>
                  <a:cubicBezTo>
                    <a:pt x="338" y="532"/>
                    <a:pt x="338" y="532"/>
                    <a:pt x="338" y="532"/>
                  </a:cubicBezTo>
                  <a:cubicBezTo>
                    <a:pt x="329" y="581"/>
                    <a:pt x="329" y="581"/>
                    <a:pt x="329" y="581"/>
                  </a:cubicBezTo>
                  <a:cubicBezTo>
                    <a:pt x="324" y="577"/>
                    <a:pt x="324" y="577"/>
                    <a:pt x="324" y="577"/>
                  </a:cubicBezTo>
                  <a:cubicBezTo>
                    <a:pt x="319" y="569"/>
                    <a:pt x="319" y="569"/>
                    <a:pt x="319" y="569"/>
                  </a:cubicBezTo>
                  <a:cubicBezTo>
                    <a:pt x="319" y="569"/>
                    <a:pt x="317" y="558"/>
                    <a:pt x="314" y="556"/>
                  </a:cubicBezTo>
                  <a:cubicBezTo>
                    <a:pt x="313" y="554"/>
                    <a:pt x="309" y="553"/>
                    <a:pt x="307" y="554"/>
                  </a:cubicBezTo>
                  <a:cubicBezTo>
                    <a:pt x="302" y="555"/>
                    <a:pt x="295" y="564"/>
                    <a:pt x="295" y="569"/>
                  </a:cubicBezTo>
                  <a:cubicBezTo>
                    <a:pt x="295" y="570"/>
                    <a:pt x="296" y="573"/>
                    <a:pt x="295" y="574"/>
                  </a:cubicBezTo>
                  <a:cubicBezTo>
                    <a:pt x="292" y="576"/>
                    <a:pt x="280" y="569"/>
                    <a:pt x="280" y="569"/>
                  </a:cubicBezTo>
                  <a:cubicBezTo>
                    <a:pt x="273" y="572"/>
                    <a:pt x="273" y="572"/>
                    <a:pt x="273" y="572"/>
                  </a:cubicBezTo>
                  <a:cubicBezTo>
                    <a:pt x="265" y="567"/>
                    <a:pt x="265" y="567"/>
                    <a:pt x="265" y="567"/>
                  </a:cubicBezTo>
                  <a:cubicBezTo>
                    <a:pt x="251" y="567"/>
                    <a:pt x="251" y="567"/>
                    <a:pt x="251" y="567"/>
                  </a:cubicBezTo>
                  <a:cubicBezTo>
                    <a:pt x="235" y="562"/>
                    <a:pt x="235" y="562"/>
                    <a:pt x="235" y="562"/>
                  </a:cubicBezTo>
                  <a:cubicBezTo>
                    <a:pt x="231" y="563"/>
                    <a:pt x="231" y="563"/>
                    <a:pt x="231" y="563"/>
                  </a:cubicBezTo>
                  <a:cubicBezTo>
                    <a:pt x="223" y="569"/>
                    <a:pt x="223" y="569"/>
                    <a:pt x="223" y="569"/>
                  </a:cubicBezTo>
                  <a:cubicBezTo>
                    <a:pt x="216" y="569"/>
                    <a:pt x="216" y="569"/>
                    <a:pt x="216" y="569"/>
                  </a:cubicBezTo>
                  <a:cubicBezTo>
                    <a:pt x="208" y="567"/>
                    <a:pt x="208" y="567"/>
                    <a:pt x="208" y="567"/>
                  </a:cubicBezTo>
                  <a:cubicBezTo>
                    <a:pt x="193" y="564"/>
                    <a:pt x="193" y="564"/>
                    <a:pt x="193" y="564"/>
                  </a:cubicBezTo>
                  <a:cubicBezTo>
                    <a:pt x="186" y="567"/>
                    <a:pt x="186" y="567"/>
                    <a:pt x="186" y="567"/>
                  </a:cubicBezTo>
                  <a:cubicBezTo>
                    <a:pt x="184" y="575"/>
                    <a:pt x="184" y="575"/>
                    <a:pt x="184" y="575"/>
                  </a:cubicBezTo>
                  <a:cubicBezTo>
                    <a:pt x="181" y="577"/>
                    <a:pt x="181" y="577"/>
                    <a:pt x="181" y="577"/>
                  </a:cubicBezTo>
                  <a:cubicBezTo>
                    <a:pt x="174" y="569"/>
                    <a:pt x="174" y="569"/>
                    <a:pt x="174" y="569"/>
                  </a:cubicBezTo>
                  <a:cubicBezTo>
                    <a:pt x="170" y="562"/>
                    <a:pt x="170" y="562"/>
                    <a:pt x="170" y="562"/>
                  </a:cubicBezTo>
                  <a:cubicBezTo>
                    <a:pt x="171" y="554"/>
                    <a:pt x="171" y="554"/>
                    <a:pt x="171" y="554"/>
                  </a:cubicBezTo>
                  <a:cubicBezTo>
                    <a:pt x="171" y="554"/>
                    <a:pt x="167" y="549"/>
                    <a:pt x="167" y="547"/>
                  </a:cubicBezTo>
                  <a:cubicBezTo>
                    <a:pt x="167" y="545"/>
                    <a:pt x="166" y="542"/>
                    <a:pt x="166" y="540"/>
                  </a:cubicBezTo>
                  <a:cubicBezTo>
                    <a:pt x="166" y="536"/>
                    <a:pt x="167" y="529"/>
                    <a:pt x="165" y="526"/>
                  </a:cubicBezTo>
                  <a:cubicBezTo>
                    <a:pt x="163" y="524"/>
                    <a:pt x="160" y="520"/>
                    <a:pt x="157" y="519"/>
                  </a:cubicBezTo>
                  <a:cubicBezTo>
                    <a:pt x="155" y="518"/>
                    <a:pt x="151" y="522"/>
                    <a:pt x="149" y="521"/>
                  </a:cubicBezTo>
                  <a:cubicBezTo>
                    <a:pt x="147" y="520"/>
                    <a:pt x="143" y="514"/>
                    <a:pt x="143" y="514"/>
                  </a:cubicBezTo>
                  <a:cubicBezTo>
                    <a:pt x="141" y="506"/>
                    <a:pt x="141" y="506"/>
                    <a:pt x="141" y="506"/>
                  </a:cubicBezTo>
                  <a:cubicBezTo>
                    <a:pt x="145" y="496"/>
                    <a:pt x="145" y="496"/>
                    <a:pt x="145" y="496"/>
                  </a:cubicBezTo>
                  <a:cubicBezTo>
                    <a:pt x="144" y="489"/>
                    <a:pt x="144" y="489"/>
                    <a:pt x="144" y="489"/>
                  </a:cubicBezTo>
                  <a:cubicBezTo>
                    <a:pt x="142" y="481"/>
                    <a:pt x="142" y="481"/>
                    <a:pt x="142" y="481"/>
                  </a:cubicBezTo>
                  <a:cubicBezTo>
                    <a:pt x="136" y="474"/>
                    <a:pt x="136" y="474"/>
                    <a:pt x="136" y="474"/>
                  </a:cubicBezTo>
                  <a:cubicBezTo>
                    <a:pt x="130" y="458"/>
                    <a:pt x="130" y="458"/>
                    <a:pt x="130" y="458"/>
                  </a:cubicBezTo>
                  <a:cubicBezTo>
                    <a:pt x="127" y="438"/>
                    <a:pt x="127" y="438"/>
                    <a:pt x="127" y="438"/>
                  </a:cubicBezTo>
                  <a:cubicBezTo>
                    <a:pt x="127" y="438"/>
                    <a:pt x="129" y="427"/>
                    <a:pt x="127" y="423"/>
                  </a:cubicBezTo>
                  <a:cubicBezTo>
                    <a:pt x="126" y="421"/>
                    <a:pt x="120" y="416"/>
                    <a:pt x="120" y="416"/>
                  </a:cubicBezTo>
                  <a:cubicBezTo>
                    <a:pt x="120" y="416"/>
                    <a:pt x="120" y="410"/>
                    <a:pt x="119" y="409"/>
                  </a:cubicBezTo>
                  <a:cubicBezTo>
                    <a:pt x="111" y="406"/>
                    <a:pt x="88" y="426"/>
                    <a:pt x="88" y="426"/>
                  </a:cubicBezTo>
                  <a:cubicBezTo>
                    <a:pt x="81" y="427"/>
                    <a:pt x="81" y="427"/>
                    <a:pt x="81" y="427"/>
                  </a:cubicBezTo>
                  <a:cubicBezTo>
                    <a:pt x="81" y="427"/>
                    <a:pt x="77" y="419"/>
                    <a:pt x="74" y="417"/>
                  </a:cubicBezTo>
                  <a:cubicBezTo>
                    <a:pt x="72" y="416"/>
                    <a:pt x="66" y="416"/>
                    <a:pt x="65" y="414"/>
                  </a:cubicBezTo>
                  <a:cubicBezTo>
                    <a:pt x="64" y="413"/>
                    <a:pt x="67" y="408"/>
                    <a:pt x="68" y="406"/>
                  </a:cubicBezTo>
                  <a:cubicBezTo>
                    <a:pt x="69" y="404"/>
                    <a:pt x="73" y="401"/>
                    <a:pt x="73" y="399"/>
                  </a:cubicBezTo>
                  <a:cubicBezTo>
                    <a:pt x="74" y="397"/>
                    <a:pt x="71" y="391"/>
                    <a:pt x="71" y="391"/>
                  </a:cubicBezTo>
                  <a:cubicBezTo>
                    <a:pt x="75" y="384"/>
                    <a:pt x="75" y="384"/>
                    <a:pt x="75" y="384"/>
                  </a:cubicBezTo>
                  <a:cubicBezTo>
                    <a:pt x="75" y="384"/>
                    <a:pt x="81" y="384"/>
                    <a:pt x="83" y="383"/>
                  </a:cubicBezTo>
                  <a:cubicBezTo>
                    <a:pt x="85" y="380"/>
                    <a:pt x="86" y="371"/>
                    <a:pt x="86" y="368"/>
                  </a:cubicBezTo>
                  <a:cubicBezTo>
                    <a:pt x="85" y="365"/>
                    <a:pt x="81" y="362"/>
                    <a:pt x="81" y="360"/>
                  </a:cubicBezTo>
                  <a:cubicBezTo>
                    <a:pt x="81" y="358"/>
                    <a:pt x="85" y="355"/>
                    <a:pt x="85" y="352"/>
                  </a:cubicBezTo>
                  <a:cubicBezTo>
                    <a:pt x="85" y="350"/>
                    <a:pt x="82" y="347"/>
                    <a:pt x="83" y="345"/>
                  </a:cubicBezTo>
                  <a:cubicBezTo>
                    <a:pt x="83" y="343"/>
                    <a:pt x="87" y="340"/>
                    <a:pt x="88" y="338"/>
                  </a:cubicBezTo>
                  <a:cubicBezTo>
                    <a:pt x="89" y="336"/>
                    <a:pt x="91" y="330"/>
                    <a:pt x="91" y="330"/>
                  </a:cubicBezTo>
                  <a:cubicBezTo>
                    <a:pt x="99" y="315"/>
                    <a:pt x="99" y="315"/>
                    <a:pt x="99" y="315"/>
                  </a:cubicBezTo>
                  <a:cubicBezTo>
                    <a:pt x="106" y="292"/>
                    <a:pt x="106" y="292"/>
                    <a:pt x="106" y="292"/>
                  </a:cubicBezTo>
                  <a:cubicBezTo>
                    <a:pt x="99" y="290"/>
                    <a:pt x="99" y="290"/>
                    <a:pt x="99" y="290"/>
                  </a:cubicBezTo>
                  <a:cubicBezTo>
                    <a:pt x="89" y="290"/>
                    <a:pt x="89" y="290"/>
                    <a:pt x="89" y="290"/>
                  </a:cubicBezTo>
                  <a:cubicBezTo>
                    <a:pt x="82" y="286"/>
                    <a:pt x="82" y="286"/>
                    <a:pt x="82" y="286"/>
                  </a:cubicBezTo>
                  <a:cubicBezTo>
                    <a:pt x="82" y="286"/>
                    <a:pt x="85" y="280"/>
                    <a:pt x="83" y="279"/>
                  </a:cubicBezTo>
                  <a:cubicBezTo>
                    <a:pt x="82" y="277"/>
                    <a:pt x="78" y="280"/>
                    <a:pt x="76" y="279"/>
                  </a:cubicBezTo>
                  <a:cubicBezTo>
                    <a:pt x="74" y="278"/>
                    <a:pt x="73" y="271"/>
                    <a:pt x="73" y="271"/>
                  </a:cubicBezTo>
                  <a:cubicBezTo>
                    <a:pt x="65" y="264"/>
                    <a:pt x="65" y="264"/>
                    <a:pt x="65" y="264"/>
                  </a:cubicBezTo>
                  <a:cubicBezTo>
                    <a:pt x="64" y="256"/>
                    <a:pt x="64" y="256"/>
                    <a:pt x="64" y="256"/>
                  </a:cubicBezTo>
                  <a:cubicBezTo>
                    <a:pt x="64" y="256"/>
                    <a:pt x="65" y="254"/>
                    <a:pt x="65" y="253"/>
                  </a:cubicBezTo>
                  <a:cubicBezTo>
                    <a:pt x="65" y="251"/>
                    <a:pt x="60" y="246"/>
                    <a:pt x="60" y="246"/>
                  </a:cubicBezTo>
                  <a:cubicBezTo>
                    <a:pt x="50" y="230"/>
                    <a:pt x="50" y="230"/>
                    <a:pt x="50" y="230"/>
                  </a:cubicBezTo>
                  <a:cubicBezTo>
                    <a:pt x="47" y="223"/>
                    <a:pt x="47" y="223"/>
                    <a:pt x="47" y="223"/>
                  </a:cubicBezTo>
                  <a:cubicBezTo>
                    <a:pt x="47" y="223"/>
                    <a:pt x="43" y="217"/>
                    <a:pt x="42" y="215"/>
                  </a:cubicBezTo>
                  <a:cubicBezTo>
                    <a:pt x="41" y="214"/>
                    <a:pt x="41" y="210"/>
                    <a:pt x="40" y="208"/>
                  </a:cubicBezTo>
                  <a:cubicBezTo>
                    <a:pt x="38" y="206"/>
                    <a:pt x="31" y="204"/>
                    <a:pt x="29" y="202"/>
                  </a:cubicBezTo>
                  <a:cubicBezTo>
                    <a:pt x="27" y="200"/>
                    <a:pt x="26" y="194"/>
                    <a:pt x="26" y="194"/>
                  </a:cubicBezTo>
                  <a:cubicBezTo>
                    <a:pt x="13" y="180"/>
                    <a:pt x="13" y="180"/>
                    <a:pt x="13" y="180"/>
                  </a:cubicBezTo>
                  <a:cubicBezTo>
                    <a:pt x="13" y="180"/>
                    <a:pt x="21" y="180"/>
                    <a:pt x="21" y="179"/>
                  </a:cubicBezTo>
                  <a:cubicBezTo>
                    <a:pt x="22" y="177"/>
                    <a:pt x="17" y="171"/>
                    <a:pt x="17" y="171"/>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52">
              <a:extLst>
                <a:ext uri="{FF2B5EF4-FFF2-40B4-BE49-F238E27FC236}">
                  <a16:creationId xmlns:a16="http://schemas.microsoft.com/office/drawing/2014/main" id="{37DAC227-255E-4784-9DBE-C829FF13E78C}"/>
                </a:ext>
              </a:extLst>
            </p:cNvPr>
            <p:cNvSpPr>
              <a:spLocks/>
            </p:cNvSpPr>
            <p:nvPr/>
          </p:nvSpPr>
          <p:spPr bwMode="auto">
            <a:xfrm>
              <a:off x="5314506" y="2557849"/>
              <a:ext cx="725702" cy="476052"/>
            </a:xfrm>
            <a:custGeom>
              <a:avLst/>
              <a:gdLst>
                <a:gd name="T0" fmla="*/ 640 w 653"/>
                <a:gd name="T1" fmla="*/ 336 h 428"/>
                <a:gd name="T2" fmla="*/ 644 w 653"/>
                <a:gd name="T3" fmla="*/ 325 h 428"/>
                <a:gd name="T4" fmla="*/ 639 w 653"/>
                <a:gd name="T5" fmla="*/ 312 h 428"/>
                <a:gd name="T6" fmla="*/ 650 w 653"/>
                <a:gd name="T7" fmla="*/ 311 h 428"/>
                <a:gd name="T8" fmla="*/ 649 w 653"/>
                <a:gd name="T9" fmla="*/ 99 h 428"/>
                <a:gd name="T10" fmla="*/ 644 w 653"/>
                <a:gd name="T11" fmla="*/ 90 h 428"/>
                <a:gd name="T12" fmla="*/ 632 w 653"/>
                <a:gd name="T13" fmla="*/ 84 h 428"/>
                <a:gd name="T14" fmla="*/ 625 w 653"/>
                <a:gd name="T15" fmla="*/ 75 h 428"/>
                <a:gd name="T16" fmla="*/ 618 w 653"/>
                <a:gd name="T17" fmla="*/ 66 h 428"/>
                <a:gd name="T18" fmla="*/ 617 w 653"/>
                <a:gd name="T19" fmla="*/ 60 h 428"/>
                <a:gd name="T20" fmla="*/ 627 w 653"/>
                <a:gd name="T21" fmla="*/ 51 h 428"/>
                <a:gd name="T22" fmla="*/ 637 w 653"/>
                <a:gd name="T23" fmla="*/ 40 h 428"/>
                <a:gd name="T24" fmla="*/ 640 w 653"/>
                <a:gd name="T25" fmla="*/ 22 h 428"/>
                <a:gd name="T26" fmla="*/ 486 w 653"/>
                <a:gd name="T27" fmla="*/ 20 h 428"/>
                <a:gd name="T28" fmla="*/ 175 w 653"/>
                <a:gd name="T29" fmla="*/ 10 h 428"/>
                <a:gd name="T30" fmla="*/ 28 w 653"/>
                <a:gd name="T31" fmla="*/ 1 h 428"/>
                <a:gd name="T32" fmla="*/ 21 w 653"/>
                <a:gd name="T33" fmla="*/ 104 h 428"/>
                <a:gd name="T34" fmla="*/ 17 w 653"/>
                <a:gd name="T35" fmla="*/ 112 h 428"/>
                <a:gd name="T36" fmla="*/ 3 w 653"/>
                <a:gd name="T37" fmla="*/ 349 h 428"/>
                <a:gd name="T38" fmla="*/ 238 w 653"/>
                <a:gd name="T39" fmla="*/ 363 h 428"/>
                <a:gd name="T40" fmla="*/ 473 w 653"/>
                <a:gd name="T41" fmla="*/ 369 h 428"/>
                <a:gd name="T42" fmla="*/ 516 w 653"/>
                <a:gd name="T43" fmla="*/ 396 h 428"/>
                <a:gd name="T44" fmla="*/ 528 w 653"/>
                <a:gd name="T45" fmla="*/ 389 h 428"/>
                <a:gd name="T46" fmla="*/ 531 w 653"/>
                <a:gd name="T47" fmla="*/ 386 h 428"/>
                <a:gd name="T48" fmla="*/ 545 w 653"/>
                <a:gd name="T49" fmla="*/ 388 h 428"/>
                <a:gd name="T50" fmla="*/ 577 w 653"/>
                <a:gd name="T51" fmla="*/ 384 h 428"/>
                <a:gd name="T52" fmla="*/ 589 w 653"/>
                <a:gd name="T53" fmla="*/ 395 h 428"/>
                <a:gd name="T54" fmla="*/ 596 w 653"/>
                <a:gd name="T55" fmla="*/ 396 h 428"/>
                <a:gd name="T56" fmla="*/ 603 w 653"/>
                <a:gd name="T57" fmla="*/ 399 h 428"/>
                <a:gd name="T58" fmla="*/ 610 w 653"/>
                <a:gd name="T59" fmla="*/ 402 h 428"/>
                <a:gd name="T60" fmla="*/ 615 w 653"/>
                <a:gd name="T61" fmla="*/ 404 h 428"/>
                <a:gd name="T62" fmla="*/ 623 w 653"/>
                <a:gd name="T63" fmla="*/ 410 h 428"/>
                <a:gd name="T64" fmla="*/ 628 w 653"/>
                <a:gd name="T65" fmla="*/ 414 h 428"/>
                <a:gd name="T66" fmla="*/ 638 w 653"/>
                <a:gd name="T67" fmla="*/ 426 h 428"/>
                <a:gd name="T68" fmla="*/ 648 w 653"/>
                <a:gd name="T69" fmla="*/ 427 h 428"/>
                <a:gd name="T70" fmla="*/ 640 w 653"/>
                <a:gd name="T71" fmla="*/ 404 h 428"/>
                <a:gd name="T72" fmla="*/ 636 w 653"/>
                <a:gd name="T73" fmla="*/ 395 h 428"/>
                <a:gd name="T74" fmla="*/ 641 w 653"/>
                <a:gd name="T75" fmla="*/ 388 h 428"/>
                <a:gd name="T76" fmla="*/ 646 w 653"/>
                <a:gd name="T77" fmla="*/ 368 h 428"/>
                <a:gd name="T78" fmla="*/ 647 w 653"/>
                <a:gd name="T79" fmla="*/ 362 h 428"/>
                <a:gd name="T80" fmla="*/ 650 w 653"/>
                <a:gd name="T81" fmla="*/ 34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3" h="428">
                  <a:moveTo>
                    <a:pt x="642" y="341"/>
                  </a:moveTo>
                  <a:cubicBezTo>
                    <a:pt x="641" y="339"/>
                    <a:pt x="640" y="337"/>
                    <a:pt x="640" y="336"/>
                  </a:cubicBezTo>
                  <a:cubicBezTo>
                    <a:pt x="641" y="336"/>
                    <a:pt x="642" y="336"/>
                    <a:pt x="643" y="335"/>
                  </a:cubicBezTo>
                  <a:cubicBezTo>
                    <a:pt x="645" y="332"/>
                    <a:pt x="645" y="326"/>
                    <a:pt x="644" y="325"/>
                  </a:cubicBezTo>
                  <a:cubicBezTo>
                    <a:pt x="644" y="322"/>
                    <a:pt x="641" y="318"/>
                    <a:pt x="640" y="317"/>
                  </a:cubicBezTo>
                  <a:cubicBezTo>
                    <a:pt x="639" y="312"/>
                    <a:pt x="639" y="312"/>
                    <a:pt x="639" y="312"/>
                  </a:cubicBezTo>
                  <a:cubicBezTo>
                    <a:pt x="648" y="312"/>
                    <a:pt x="648" y="312"/>
                    <a:pt x="648" y="312"/>
                  </a:cubicBezTo>
                  <a:cubicBezTo>
                    <a:pt x="649" y="312"/>
                    <a:pt x="650" y="311"/>
                    <a:pt x="650" y="311"/>
                  </a:cubicBezTo>
                  <a:cubicBezTo>
                    <a:pt x="651" y="311"/>
                    <a:pt x="651" y="310"/>
                    <a:pt x="651" y="309"/>
                  </a:cubicBezTo>
                  <a:cubicBezTo>
                    <a:pt x="649" y="99"/>
                    <a:pt x="649" y="99"/>
                    <a:pt x="649" y="99"/>
                  </a:cubicBezTo>
                  <a:cubicBezTo>
                    <a:pt x="649" y="98"/>
                    <a:pt x="649" y="98"/>
                    <a:pt x="649" y="97"/>
                  </a:cubicBezTo>
                  <a:cubicBezTo>
                    <a:pt x="648" y="96"/>
                    <a:pt x="645" y="91"/>
                    <a:pt x="644" y="90"/>
                  </a:cubicBezTo>
                  <a:cubicBezTo>
                    <a:pt x="642" y="88"/>
                    <a:pt x="638" y="86"/>
                    <a:pt x="636" y="85"/>
                  </a:cubicBezTo>
                  <a:cubicBezTo>
                    <a:pt x="634" y="84"/>
                    <a:pt x="633" y="84"/>
                    <a:pt x="632" y="84"/>
                  </a:cubicBezTo>
                  <a:cubicBezTo>
                    <a:pt x="631" y="84"/>
                    <a:pt x="629" y="84"/>
                    <a:pt x="629" y="84"/>
                  </a:cubicBezTo>
                  <a:cubicBezTo>
                    <a:pt x="627" y="82"/>
                    <a:pt x="626" y="78"/>
                    <a:pt x="625" y="75"/>
                  </a:cubicBezTo>
                  <a:cubicBezTo>
                    <a:pt x="624" y="73"/>
                    <a:pt x="623" y="71"/>
                    <a:pt x="622" y="69"/>
                  </a:cubicBezTo>
                  <a:cubicBezTo>
                    <a:pt x="621" y="68"/>
                    <a:pt x="620" y="67"/>
                    <a:pt x="618" y="66"/>
                  </a:cubicBezTo>
                  <a:cubicBezTo>
                    <a:pt x="617" y="65"/>
                    <a:pt x="616" y="64"/>
                    <a:pt x="615" y="64"/>
                  </a:cubicBezTo>
                  <a:cubicBezTo>
                    <a:pt x="615" y="63"/>
                    <a:pt x="616" y="62"/>
                    <a:pt x="617" y="60"/>
                  </a:cubicBezTo>
                  <a:cubicBezTo>
                    <a:pt x="618" y="58"/>
                    <a:pt x="622" y="55"/>
                    <a:pt x="624" y="53"/>
                  </a:cubicBezTo>
                  <a:cubicBezTo>
                    <a:pt x="625" y="53"/>
                    <a:pt x="626" y="52"/>
                    <a:pt x="627" y="51"/>
                  </a:cubicBezTo>
                  <a:cubicBezTo>
                    <a:pt x="628" y="51"/>
                    <a:pt x="630" y="50"/>
                    <a:pt x="631" y="48"/>
                  </a:cubicBezTo>
                  <a:cubicBezTo>
                    <a:pt x="633" y="47"/>
                    <a:pt x="636" y="42"/>
                    <a:pt x="637" y="40"/>
                  </a:cubicBezTo>
                  <a:cubicBezTo>
                    <a:pt x="639" y="36"/>
                    <a:pt x="640" y="25"/>
                    <a:pt x="641" y="24"/>
                  </a:cubicBezTo>
                  <a:cubicBezTo>
                    <a:pt x="641" y="23"/>
                    <a:pt x="641" y="23"/>
                    <a:pt x="640" y="22"/>
                  </a:cubicBezTo>
                  <a:cubicBezTo>
                    <a:pt x="640" y="21"/>
                    <a:pt x="639" y="21"/>
                    <a:pt x="638" y="21"/>
                  </a:cubicBezTo>
                  <a:cubicBezTo>
                    <a:pt x="486" y="20"/>
                    <a:pt x="486" y="20"/>
                    <a:pt x="486" y="20"/>
                  </a:cubicBezTo>
                  <a:cubicBezTo>
                    <a:pt x="336" y="17"/>
                    <a:pt x="336" y="17"/>
                    <a:pt x="336" y="17"/>
                  </a:cubicBezTo>
                  <a:cubicBezTo>
                    <a:pt x="175" y="10"/>
                    <a:pt x="175" y="10"/>
                    <a:pt x="175" y="10"/>
                  </a:cubicBezTo>
                  <a:cubicBezTo>
                    <a:pt x="30" y="0"/>
                    <a:pt x="30" y="0"/>
                    <a:pt x="30" y="0"/>
                  </a:cubicBezTo>
                  <a:cubicBezTo>
                    <a:pt x="29" y="0"/>
                    <a:pt x="28" y="0"/>
                    <a:pt x="28" y="1"/>
                  </a:cubicBezTo>
                  <a:cubicBezTo>
                    <a:pt x="27" y="1"/>
                    <a:pt x="27" y="2"/>
                    <a:pt x="27" y="3"/>
                  </a:cubicBezTo>
                  <a:cubicBezTo>
                    <a:pt x="21" y="104"/>
                    <a:pt x="21" y="104"/>
                    <a:pt x="21" y="104"/>
                  </a:cubicBezTo>
                  <a:cubicBezTo>
                    <a:pt x="17" y="111"/>
                    <a:pt x="17" y="111"/>
                    <a:pt x="17" y="111"/>
                  </a:cubicBezTo>
                  <a:cubicBezTo>
                    <a:pt x="17" y="112"/>
                    <a:pt x="17" y="112"/>
                    <a:pt x="17" y="112"/>
                  </a:cubicBezTo>
                  <a:cubicBezTo>
                    <a:pt x="0" y="346"/>
                    <a:pt x="0" y="346"/>
                    <a:pt x="0" y="346"/>
                  </a:cubicBezTo>
                  <a:cubicBezTo>
                    <a:pt x="0" y="347"/>
                    <a:pt x="1" y="348"/>
                    <a:pt x="3" y="349"/>
                  </a:cubicBezTo>
                  <a:cubicBezTo>
                    <a:pt x="91" y="355"/>
                    <a:pt x="91" y="355"/>
                    <a:pt x="91" y="355"/>
                  </a:cubicBezTo>
                  <a:cubicBezTo>
                    <a:pt x="238" y="363"/>
                    <a:pt x="238" y="363"/>
                    <a:pt x="238" y="363"/>
                  </a:cubicBezTo>
                  <a:cubicBezTo>
                    <a:pt x="380" y="368"/>
                    <a:pt x="380" y="368"/>
                    <a:pt x="380" y="368"/>
                  </a:cubicBezTo>
                  <a:cubicBezTo>
                    <a:pt x="473" y="369"/>
                    <a:pt x="473" y="369"/>
                    <a:pt x="473" y="369"/>
                  </a:cubicBezTo>
                  <a:cubicBezTo>
                    <a:pt x="482" y="378"/>
                    <a:pt x="482" y="378"/>
                    <a:pt x="482" y="378"/>
                  </a:cubicBezTo>
                  <a:cubicBezTo>
                    <a:pt x="485" y="380"/>
                    <a:pt x="506" y="395"/>
                    <a:pt x="516" y="396"/>
                  </a:cubicBezTo>
                  <a:cubicBezTo>
                    <a:pt x="519" y="396"/>
                    <a:pt x="523" y="394"/>
                    <a:pt x="525" y="393"/>
                  </a:cubicBezTo>
                  <a:cubicBezTo>
                    <a:pt x="526" y="392"/>
                    <a:pt x="527" y="390"/>
                    <a:pt x="528" y="389"/>
                  </a:cubicBezTo>
                  <a:cubicBezTo>
                    <a:pt x="529" y="388"/>
                    <a:pt x="530" y="386"/>
                    <a:pt x="530" y="386"/>
                  </a:cubicBezTo>
                  <a:cubicBezTo>
                    <a:pt x="530" y="386"/>
                    <a:pt x="531" y="386"/>
                    <a:pt x="531" y="386"/>
                  </a:cubicBezTo>
                  <a:cubicBezTo>
                    <a:pt x="533" y="386"/>
                    <a:pt x="536" y="386"/>
                    <a:pt x="538" y="387"/>
                  </a:cubicBezTo>
                  <a:cubicBezTo>
                    <a:pt x="540" y="388"/>
                    <a:pt x="543" y="388"/>
                    <a:pt x="545" y="388"/>
                  </a:cubicBezTo>
                  <a:cubicBezTo>
                    <a:pt x="548" y="388"/>
                    <a:pt x="553" y="387"/>
                    <a:pt x="558" y="386"/>
                  </a:cubicBezTo>
                  <a:cubicBezTo>
                    <a:pt x="565" y="385"/>
                    <a:pt x="573" y="383"/>
                    <a:pt x="577" y="384"/>
                  </a:cubicBezTo>
                  <a:cubicBezTo>
                    <a:pt x="578" y="385"/>
                    <a:pt x="580" y="387"/>
                    <a:pt x="582" y="389"/>
                  </a:cubicBezTo>
                  <a:cubicBezTo>
                    <a:pt x="584" y="392"/>
                    <a:pt x="587" y="394"/>
                    <a:pt x="589" y="395"/>
                  </a:cubicBezTo>
                  <a:cubicBezTo>
                    <a:pt x="590" y="396"/>
                    <a:pt x="592" y="396"/>
                    <a:pt x="594" y="396"/>
                  </a:cubicBezTo>
                  <a:cubicBezTo>
                    <a:pt x="595" y="396"/>
                    <a:pt x="596" y="396"/>
                    <a:pt x="596" y="396"/>
                  </a:cubicBezTo>
                  <a:cubicBezTo>
                    <a:pt x="600" y="397"/>
                    <a:pt x="602" y="398"/>
                    <a:pt x="603" y="399"/>
                  </a:cubicBezTo>
                  <a:cubicBezTo>
                    <a:pt x="603" y="399"/>
                    <a:pt x="603" y="399"/>
                    <a:pt x="603" y="399"/>
                  </a:cubicBezTo>
                  <a:cubicBezTo>
                    <a:pt x="603" y="399"/>
                    <a:pt x="603" y="401"/>
                    <a:pt x="604" y="401"/>
                  </a:cubicBezTo>
                  <a:cubicBezTo>
                    <a:pt x="606" y="402"/>
                    <a:pt x="608" y="402"/>
                    <a:pt x="610" y="402"/>
                  </a:cubicBezTo>
                  <a:cubicBezTo>
                    <a:pt x="611" y="401"/>
                    <a:pt x="612" y="401"/>
                    <a:pt x="612" y="401"/>
                  </a:cubicBezTo>
                  <a:cubicBezTo>
                    <a:pt x="613" y="401"/>
                    <a:pt x="614" y="403"/>
                    <a:pt x="615" y="404"/>
                  </a:cubicBezTo>
                  <a:cubicBezTo>
                    <a:pt x="616" y="406"/>
                    <a:pt x="618" y="407"/>
                    <a:pt x="619" y="408"/>
                  </a:cubicBezTo>
                  <a:cubicBezTo>
                    <a:pt x="620" y="409"/>
                    <a:pt x="622" y="409"/>
                    <a:pt x="623" y="410"/>
                  </a:cubicBezTo>
                  <a:cubicBezTo>
                    <a:pt x="624" y="410"/>
                    <a:pt x="626" y="410"/>
                    <a:pt x="626" y="411"/>
                  </a:cubicBezTo>
                  <a:cubicBezTo>
                    <a:pt x="627" y="411"/>
                    <a:pt x="628" y="413"/>
                    <a:pt x="628" y="414"/>
                  </a:cubicBezTo>
                  <a:cubicBezTo>
                    <a:pt x="628" y="416"/>
                    <a:pt x="629" y="417"/>
                    <a:pt x="630" y="418"/>
                  </a:cubicBezTo>
                  <a:cubicBezTo>
                    <a:pt x="631" y="420"/>
                    <a:pt x="635" y="424"/>
                    <a:pt x="638" y="426"/>
                  </a:cubicBezTo>
                  <a:cubicBezTo>
                    <a:pt x="640" y="427"/>
                    <a:pt x="643" y="428"/>
                    <a:pt x="645" y="428"/>
                  </a:cubicBezTo>
                  <a:cubicBezTo>
                    <a:pt x="646" y="428"/>
                    <a:pt x="647" y="428"/>
                    <a:pt x="648" y="427"/>
                  </a:cubicBezTo>
                  <a:cubicBezTo>
                    <a:pt x="653" y="423"/>
                    <a:pt x="646" y="411"/>
                    <a:pt x="645" y="408"/>
                  </a:cubicBezTo>
                  <a:cubicBezTo>
                    <a:pt x="644" y="407"/>
                    <a:pt x="642" y="405"/>
                    <a:pt x="640" y="404"/>
                  </a:cubicBezTo>
                  <a:cubicBezTo>
                    <a:pt x="639" y="403"/>
                    <a:pt x="638" y="402"/>
                    <a:pt x="637" y="402"/>
                  </a:cubicBezTo>
                  <a:cubicBezTo>
                    <a:pt x="637" y="400"/>
                    <a:pt x="636" y="397"/>
                    <a:pt x="636" y="395"/>
                  </a:cubicBezTo>
                  <a:cubicBezTo>
                    <a:pt x="636" y="394"/>
                    <a:pt x="637" y="391"/>
                    <a:pt x="639" y="389"/>
                  </a:cubicBezTo>
                  <a:cubicBezTo>
                    <a:pt x="640" y="389"/>
                    <a:pt x="640" y="389"/>
                    <a:pt x="641" y="388"/>
                  </a:cubicBezTo>
                  <a:cubicBezTo>
                    <a:pt x="644" y="384"/>
                    <a:pt x="646" y="376"/>
                    <a:pt x="646" y="372"/>
                  </a:cubicBezTo>
                  <a:cubicBezTo>
                    <a:pt x="647" y="371"/>
                    <a:pt x="646" y="369"/>
                    <a:pt x="646" y="368"/>
                  </a:cubicBezTo>
                  <a:cubicBezTo>
                    <a:pt x="646" y="367"/>
                    <a:pt x="646" y="365"/>
                    <a:pt x="646" y="365"/>
                  </a:cubicBezTo>
                  <a:cubicBezTo>
                    <a:pt x="646" y="364"/>
                    <a:pt x="647" y="363"/>
                    <a:pt x="647" y="362"/>
                  </a:cubicBezTo>
                  <a:cubicBezTo>
                    <a:pt x="649" y="360"/>
                    <a:pt x="650" y="359"/>
                    <a:pt x="650" y="358"/>
                  </a:cubicBezTo>
                  <a:cubicBezTo>
                    <a:pt x="650" y="356"/>
                    <a:pt x="651" y="351"/>
                    <a:pt x="650" y="349"/>
                  </a:cubicBezTo>
                  <a:cubicBezTo>
                    <a:pt x="649" y="346"/>
                    <a:pt x="644" y="342"/>
                    <a:pt x="642" y="341"/>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53">
              <a:extLst>
                <a:ext uri="{FF2B5EF4-FFF2-40B4-BE49-F238E27FC236}">
                  <a16:creationId xmlns:a16="http://schemas.microsoft.com/office/drawing/2014/main" id="{A3562D1A-FCB4-4A21-AD8C-8A00C9900B83}"/>
                </a:ext>
              </a:extLst>
            </p:cNvPr>
            <p:cNvSpPr>
              <a:spLocks/>
            </p:cNvSpPr>
            <p:nvPr/>
          </p:nvSpPr>
          <p:spPr bwMode="auto">
            <a:xfrm>
              <a:off x="5342806" y="2164677"/>
              <a:ext cx="682240" cy="422484"/>
            </a:xfrm>
            <a:custGeom>
              <a:avLst/>
              <a:gdLst>
                <a:gd name="T0" fmla="*/ 614 w 614"/>
                <a:gd name="T1" fmla="*/ 370 h 380"/>
                <a:gd name="T2" fmla="*/ 613 w 614"/>
                <a:gd name="T3" fmla="*/ 362 h 380"/>
                <a:gd name="T4" fmla="*/ 611 w 614"/>
                <a:gd name="T5" fmla="*/ 347 h 380"/>
                <a:gd name="T6" fmla="*/ 605 w 614"/>
                <a:gd name="T7" fmla="*/ 321 h 380"/>
                <a:gd name="T8" fmla="*/ 599 w 614"/>
                <a:gd name="T9" fmla="*/ 305 h 380"/>
                <a:gd name="T10" fmla="*/ 595 w 614"/>
                <a:gd name="T11" fmla="*/ 297 h 380"/>
                <a:gd name="T12" fmla="*/ 595 w 614"/>
                <a:gd name="T13" fmla="*/ 270 h 380"/>
                <a:gd name="T14" fmla="*/ 595 w 614"/>
                <a:gd name="T15" fmla="*/ 267 h 380"/>
                <a:gd name="T16" fmla="*/ 596 w 614"/>
                <a:gd name="T17" fmla="*/ 262 h 380"/>
                <a:gd name="T18" fmla="*/ 593 w 614"/>
                <a:gd name="T19" fmla="*/ 257 h 380"/>
                <a:gd name="T20" fmla="*/ 592 w 614"/>
                <a:gd name="T21" fmla="*/ 254 h 380"/>
                <a:gd name="T22" fmla="*/ 592 w 614"/>
                <a:gd name="T23" fmla="*/ 244 h 380"/>
                <a:gd name="T24" fmla="*/ 592 w 614"/>
                <a:gd name="T25" fmla="*/ 243 h 380"/>
                <a:gd name="T26" fmla="*/ 590 w 614"/>
                <a:gd name="T27" fmla="*/ 228 h 380"/>
                <a:gd name="T28" fmla="*/ 590 w 614"/>
                <a:gd name="T29" fmla="*/ 212 h 380"/>
                <a:gd name="T30" fmla="*/ 589 w 614"/>
                <a:gd name="T31" fmla="*/ 208 h 380"/>
                <a:gd name="T32" fmla="*/ 588 w 614"/>
                <a:gd name="T33" fmla="*/ 205 h 380"/>
                <a:gd name="T34" fmla="*/ 589 w 614"/>
                <a:gd name="T35" fmla="*/ 202 h 380"/>
                <a:gd name="T36" fmla="*/ 589 w 614"/>
                <a:gd name="T37" fmla="*/ 198 h 380"/>
                <a:gd name="T38" fmla="*/ 589 w 614"/>
                <a:gd name="T39" fmla="*/ 190 h 380"/>
                <a:gd name="T40" fmla="*/ 586 w 614"/>
                <a:gd name="T41" fmla="*/ 173 h 380"/>
                <a:gd name="T42" fmla="*/ 583 w 614"/>
                <a:gd name="T43" fmla="*/ 168 h 380"/>
                <a:gd name="T44" fmla="*/ 579 w 614"/>
                <a:gd name="T45" fmla="*/ 157 h 380"/>
                <a:gd name="T46" fmla="*/ 577 w 614"/>
                <a:gd name="T47" fmla="*/ 148 h 380"/>
                <a:gd name="T48" fmla="*/ 568 w 614"/>
                <a:gd name="T49" fmla="*/ 122 h 380"/>
                <a:gd name="T50" fmla="*/ 567 w 614"/>
                <a:gd name="T51" fmla="*/ 115 h 380"/>
                <a:gd name="T52" fmla="*/ 568 w 614"/>
                <a:gd name="T53" fmla="*/ 100 h 380"/>
                <a:gd name="T54" fmla="*/ 567 w 614"/>
                <a:gd name="T55" fmla="*/ 98 h 380"/>
                <a:gd name="T56" fmla="*/ 566 w 614"/>
                <a:gd name="T57" fmla="*/ 96 h 380"/>
                <a:gd name="T58" fmla="*/ 567 w 614"/>
                <a:gd name="T59" fmla="*/ 93 h 380"/>
                <a:gd name="T60" fmla="*/ 568 w 614"/>
                <a:gd name="T61" fmla="*/ 89 h 380"/>
                <a:gd name="T62" fmla="*/ 567 w 614"/>
                <a:gd name="T63" fmla="*/ 82 h 380"/>
                <a:gd name="T64" fmla="*/ 566 w 614"/>
                <a:gd name="T65" fmla="*/ 76 h 380"/>
                <a:gd name="T66" fmla="*/ 568 w 614"/>
                <a:gd name="T67" fmla="*/ 70 h 380"/>
                <a:gd name="T68" fmla="*/ 570 w 614"/>
                <a:gd name="T69" fmla="*/ 61 h 380"/>
                <a:gd name="T70" fmla="*/ 567 w 614"/>
                <a:gd name="T71" fmla="*/ 53 h 380"/>
                <a:gd name="T72" fmla="*/ 562 w 614"/>
                <a:gd name="T73" fmla="*/ 31 h 380"/>
                <a:gd name="T74" fmla="*/ 559 w 614"/>
                <a:gd name="T75" fmla="*/ 26 h 380"/>
                <a:gd name="T76" fmla="*/ 560 w 614"/>
                <a:gd name="T77" fmla="*/ 23 h 380"/>
                <a:gd name="T78" fmla="*/ 560 w 614"/>
                <a:gd name="T79" fmla="*/ 21 h 380"/>
                <a:gd name="T80" fmla="*/ 558 w 614"/>
                <a:gd name="T81" fmla="*/ 20 h 380"/>
                <a:gd name="T82" fmla="*/ 489 w 614"/>
                <a:gd name="T83" fmla="*/ 20 h 380"/>
                <a:gd name="T84" fmla="*/ 333 w 614"/>
                <a:gd name="T85" fmla="*/ 16 h 380"/>
                <a:gd name="T86" fmla="*/ 149 w 614"/>
                <a:gd name="T87" fmla="*/ 8 h 380"/>
                <a:gd name="T88" fmla="*/ 27 w 614"/>
                <a:gd name="T89" fmla="*/ 0 h 380"/>
                <a:gd name="T90" fmla="*/ 26 w 614"/>
                <a:gd name="T91" fmla="*/ 1 h 380"/>
                <a:gd name="T92" fmla="*/ 25 w 614"/>
                <a:gd name="T93" fmla="*/ 3 h 380"/>
                <a:gd name="T94" fmla="*/ 25 w 614"/>
                <a:gd name="T95" fmla="*/ 5 h 380"/>
                <a:gd name="T96" fmla="*/ 1 w 614"/>
                <a:gd name="T97" fmla="*/ 352 h 380"/>
                <a:gd name="T98" fmla="*/ 0 w 614"/>
                <a:gd name="T99" fmla="*/ 356 h 380"/>
                <a:gd name="T100" fmla="*/ 2 w 614"/>
                <a:gd name="T101" fmla="*/ 358 h 380"/>
                <a:gd name="T102" fmla="*/ 6 w 614"/>
                <a:gd name="T103" fmla="*/ 359 h 380"/>
                <a:gd name="T104" fmla="*/ 148 w 614"/>
                <a:gd name="T105" fmla="*/ 369 h 380"/>
                <a:gd name="T106" fmla="*/ 309 w 614"/>
                <a:gd name="T107" fmla="*/ 376 h 380"/>
                <a:gd name="T108" fmla="*/ 459 w 614"/>
                <a:gd name="T109" fmla="*/ 379 h 380"/>
                <a:gd name="T110" fmla="*/ 612 w 614"/>
                <a:gd name="T111" fmla="*/ 380 h 380"/>
                <a:gd name="T112" fmla="*/ 612 w 614"/>
                <a:gd name="T113" fmla="*/ 380 h 380"/>
                <a:gd name="T114" fmla="*/ 613 w 614"/>
                <a:gd name="T115" fmla="*/ 379 h 380"/>
                <a:gd name="T116" fmla="*/ 614 w 614"/>
                <a:gd name="T117" fmla="*/ 377 h 380"/>
                <a:gd name="T118" fmla="*/ 614 w 614"/>
                <a:gd name="T119" fmla="*/ 37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4" h="380">
                  <a:moveTo>
                    <a:pt x="614" y="370"/>
                  </a:moveTo>
                  <a:cubicBezTo>
                    <a:pt x="614" y="370"/>
                    <a:pt x="613" y="364"/>
                    <a:pt x="613" y="362"/>
                  </a:cubicBezTo>
                  <a:cubicBezTo>
                    <a:pt x="613" y="359"/>
                    <a:pt x="612" y="349"/>
                    <a:pt x="611" y="347"/>
                  </a:cubicBezTo>
                  <a:cubicBezTo>
                    <a:pt x="613" y="333"/>
                    <a:pt x="609" y="327"/>
                    <a:pt x="605" y="321"/>
                  </a:cubicBezTo>
                  <a:cubicBezTo>
                    <a:pt x="602" y="317"/>
                    <a:pt x="600" y="313"/>
                    <a:pt x="599" y="305"/>
                  </a:cubicBezTo>
                  <a:cubicBezTo>
                    <a:pt x="599" y="302"/>
                    <a:pt x="596" y="299"/>
                    <a:pt x="595" y="297"/>
                  </a:cubicBezTo>
                  <a:cubicBezTo>
                    <a:pt x="595" y="293"/>
                    <a:pt x="594" y="276"/>
                    <a:pt x="595" y="270"/>
                  </a:cubicBezTo>
                  <a:cubicBezTo>
                    <a:pt x="595" y="269"/>
                    <a:pt x="595" y="268"/>
                    <a:pt x="595" y="267"/>
                  </a:cubicBezTo>
                  <a:cubicBezTo>
                    <a:pt x="596" y="265"/>
                    <a:pt x="596" y="263"/>
                    <a:pt x="596" y="262"/>
                  </a:cubicBezTo>
                  <a:cubicBezTo>
                    <a:pt x="596" y="260"/>
                    <a:pt x="595" y="258"/>
                    <a:pt x="593" y="257"/>
                  </a:cubicBezTo>
                  <a:cubicBezTo>
                    <a:pt x="593" y="256"/>
                    <a:pt x="592" y="254"/>
                    <a:pt x="592" y="254"/>
                  </a:cubicBezTo>
                  <a:cubicBezTo>
                    <a:pt x="591" y="252"/>
                    <a:pt x="592" y="247"/>
                    <a:pt x="592" y="244"/>
                  </a:cubicBezTo>
                  <a:cubicBezTo>
                    <a:pt x="592" y="244"/>
                    <a:pt x="592" y="243"/>
                    <a:pt x="592" y="243"/>
                  </a:cubicBezTo>
                  <a:cubicBezTo>
                    <a:pt x="590" y="228"/>
                    <a:pt x="590" y="228"/>
                    <a:pt x="590" y="228"/>
                  </a:cubicBezTo>
                  <a:cubicBezTo>
                    <a:pt x="590" y="227"/>
                    <a:pt x="591" y="216"/>
                    <a:pt x="590" y="212"/>
                  </a:cubicBezTo>
                  <a:cubicBezTo>
                    <a:pt x="590" y="211"/>
                    <a:pt x="590" y="210"/>
                    <a:pt x="589" y="208"/>
                  </a:cubicBezTo>
                  <a:cubicBezTo>
                    <a:pt x="589" y="207"/>
                    <a:pt x="588" y="206"/>
                    <a:pt x="588" y="205"/>
                  </a:cubicBezTo>
                  <a:cubicBezTo>
                    <a:pt x="588" y="204"/>
                    <a:pt x="588" y="203"/>
                    <a:pt x="589" y="202"/>
                  </a:cubicBezTo>
                  <a:cubicBezTo>
                    <a:pt x="589" y="200"/>
                    <a:pt x="589" y="199"/>
                    <a:pt x="589" y="198"/>
                  </a:cubicBezTo>
                  <a:cubicBezTo>
                    <a:pt x="590" y="196"/>
                    <a:pt x="590" y="192"/>
                    <a:pt x="589" y="190"/>
                  </a:cubicBezTo>
                  <a:cubicBezTo>
                    <a:pt x="589" y="185"/>
                    <a:pt x="587" y="177"/>
                    <a:pt x="586" y="173"/>
                  </a:cubicBezTo>
                  <a:cubicBezTo>
                    <a:pt x="585" y="172"/>
                    <a:pt x="584" y="170"/>
                    <a:pt x="583" y="168"/>
                  </a:cubicBezTo>
                  <a:cubicBezTo>
                    <a:pt x="582" y="165"/>
                    <a:pt x="580" y="162"/>
                    <a:pt x="579" y="157"/>
                  </a:cubicBezTo>
                  <a:cubicBezTo>
                    <a:pt x="577" y="154"/>
                    <a:pt x="577" y="148"/>
                    <a:pt x="577" y="148"/>
                  </a:cubicBezTo>
                  <a:cubicBezTo>
                    <a:pt x="577" y="141"/>
                    <a:pt x="570" y="125"/>
                    <a:pt x="568" y="122"/>
                  </a:cubicBezTo>
                  <a:cubicBezTo>
                    <a:pt x="567" y="115"/>
                    <a:pt x="567" y="115"/>
                    <a:pt x="567" y="115"/>
                  </a:cubicBezTo>
                  <a:cubicBezTo>
                    <a:pt x="567" y="113"/>
                    <a:pt x="568" y="104"/>
                    <a:pt x="568" y="100"/>
                  </a:cubicBezTo>
                  <a:cubicBezTo>
                    <a:pt x="568" y="99"/>
                    <a:pt x="567" y="99"/>
                    <a:pt x="567" y="98"/>
                  </a:cubicBezTo>
                  <a:cubicBezTo>
                    <a:pt x="567" y="97"/>
                    <a:pt x="566" y="96"/>
                    <a:pt x="566" y="96"/>
                  </a:cubicBezTo>
                  <a:cubicBezTo>
                    <a:pt x="566" y="96"/>
                    <a:pt x="567" y="94"/>
                    <a:pt x="567" y="93"/>
                  </a:cubicBezTo>
                  <a:cubicBezTo>
                    <a:pt x="567" y="92"/>
                    <a:pt x="568" y="90"/>
                    <a:pt x="568" y="89"/>
                  </a:cubicBezTo>
                  <a:cubicBezTo>
                    <a:pt x="568" y="87"/>
                    <a:pt x="567" y="85"/>
                    <a:pt x="567" y="82"/>
                  </a:cubicBezTo>
                  <a:cubicBezTo>
                    <a:pt x="566" y="80"/>
                    <a:pt x="566" y="77"/>
                    <a:pt x="566" y="76"/>
                  </a:cubicBezTo>
                  <a:cubicBezTo>
                    <a:pt x="566" y="74"/>
                    <a:pt x="567" y="72"/>
                    <a:pt x="568" y="70"/>
                  </a:cubicBezTo>
                  <a:cubicBezTo>
                    <a:pt x="569" y="67"/>
                    <a:pt x="570" y="63"/>
                    <a:pt x="570" y="61"/>
                  </a:cubicBezTo>
                  <a:cubicBezTo>
                    <a:pt x="570" y="59"/>
                    <a:pt x="568" y="55"/>
                    <a:pt x="567" y="53"/>
                  </a:cubicBezTo>
                  <a:cubicBezTo>
                    <a:pt x="562" y="31"/>
                    <a:pt x="562" y="31"/>
                    <a:pt x="562" y="31"/>
                  </a:cubicBezTo>
                  <a:cubicBezTo>
                    <a:pt x="559" y="26"/>
                    <a:pt x="559" y="26"/>
                    <a:pt x="559" y="26"/>
                  </a:cubicBezTo>
                  <a:cubicBezTo>
                    <a:pt x="560" y="23"/>
                    <a:pt x="560" y="23"/>
                    <a:pt x="560" y="23"/>
                  </a:cubicBezTo>
                  <a:cubicBezTo>
                    <a:pt x="561" y="22"/>
                    <a:pt x="561" y="21"/>
                    <a:pt x="560" y="21"/>
                  </a:cubicBezTo>
                  <a:cubicBezTo>
                    <a:pt x="560" y="20"/>
                    <a:pt x="559" y="20"/>
                    <a:pt x="558" y="20"/>
                  </a:cubicBezTo>
                  <a:cubicBezTo>
                    <a:pt x="489" y="20"/>
                    <a:pt x="489" y="20"/>
                    <a:pt x="489" y="20"/>
                  </a:cubicBezTo>
                  <a:cubicBezTo>
                    <a:pt x="333" y="16"/>
                    <a:pt x="333" y="16"/>
                    <a:pt x="333" y="16"/>
                  </a:cubicBezTo>
                  <a:cubicBezTo>
                    <a:pt x="149" y="8"/>
                    <a:pt x="149" y="8"/>
                    <a:pt x="149" y="8"/>
                  </a:cubicBezTo>
                  <a:cubicBezTo>
                    <a:pt x="27" y="0"/>
                    <a:pt x="27" y="0"/>
                    <a:pt x="27" y="0"/>
                  </a:cubicBezTo>
                  <a:cubicBezTo>
                    <a:pt x="27" y="0"/>
                    <a:pt x="26" y="0"/>
                    <a:pt x="26" y="1"/>
                  </a:cubicBezTo>
                  <a:cubicBezTo>
                    <a:pt x="25" y="1"/>
                    <a:pt x="25" y="2"/>
                    <a:pt x="25" y="3"/>
                  </a:cubicBezTo>
                  <a:cubicBezTo>
                    <a:pt x="25" y="5"/>
                    <a:pt x="25" y="5"/>
                    <a:pt x="25" y="5"/>
                  </a:cubicBezTo>
                  <a:cubicBezTo>
                    <a:pt x="1" y="352"/>
                    <a:pt x="1" y="352"/>
                    <a:pt x="1" y="352"/>
                  </a:cubicBezTo>
                  <a:cubicBezTo>
                    <a:pt x="0" y="356"/>
                    <a:pt x="0" y="356"/>
                    <a:pt x="0" y="356"/>
                  </a:cubicBezTo>
                  <a:cubicBezTo>
                    <a:pt x="0" y="357"/>
                    <a:pt x="1" y="358"/>
                    <a:pt x="2" y="358"/>
                  </a:cubicBezTo>
                  <a:cubicBezTo>
                    <a:pt x="2" y="358"/>
                    <a:pt x="5" y="359"/>
                    <a:pt x="6" y="359"/>
                  </a:cubicBezTo>
                  <a:cubicBezTo>
                    <a:pt x="41" y="364"/>
                    <a:pt x="147" y="369"/>
                    <a:pt x="148" y="369"/>
                  </a:cubicBezTo>
                  <a:cubicBezTo>
                    <a:pt x="309" y="376"/>
                    <a:pt x="309" y="376"/>
                    <a:pt x="309" y="376"/>
                  </a:cubicBezTo>
                  <a:cubicBezTo>
                    <a:pt x="459" y="379"/>
                    <a:pt x="459" y="379"/>
                    <a:pt x="459" y="379"/>
                  </a:cubicBezTo>
                  <a:cubicBezTo>
                    <a:pt x="612" y="380"/>
                    <a:pt x="612" y="380"/>
                    <a:pt x="612" y="380"/>
                  </a:cubicBezTo>
                  <a:cubicBezTo>
                    <a:pt x="612" y="380"/>
                    <a:pt x="612" y="380"/>
                    <a:pt x="612" y="380"/>
                  </a:cubicBezTo>
                  <a:cubicBezTo>
                    <a:pt x="612" y="380"/>
                    <a:pt x="613" y="380"/>
                    <a:pt x="613" y="379"/>
                  </a:cubicBezTo>
                  <a:cubicBezTo>
                    <a:pt x="614" y="379"/>
                    <a:pt x="614" y="378"/>
                    <a:pt x="614" y="377"/>
                  </a:cubicBezTo>
                  <a:lnTo>
                    <a:pt x="614" y="370"/>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54">
              <a:extLst>
                <a:ext uri="{FF2B5EF4-FFF2-40B4-BE49-F238E27FC236}">
                  <a16:creationId xmlns:a16="http://schemas.microsoft.com/office/drawing/2014/main" id="{42F4CA03-FEF9-48DD-9455-2F1203894787}"/>
                </a:ext>
              </a:extLst>
            </p:cNvPr>
            <p:cNvSpPr>
              <a:spLocks/>
            </p:cNvSpPr>
            <p:nvPr/>
          </p:nvSpPr>
          <p:spPr bwMode="auto">
            <a:xfrm>
              <a:off x="3394125" y="2210159"/>
              <a:ext cx="827785" cy="688305"/>
            </a:xfrm>
            <a:custGeom>
              <a:avLst/>
              <a:gdLst>
                <a:gd name="T0" fmla="*/ 43 w 745"/>
                <a:gd name="T1" fmla="*/ 320 h 619"/>
                <a:gd name="T2" fmla="*/ 11 w 745"/>
                <a:gd name="T3" fmla="*/ 362 h 619"/>
                <a:gd name="T4" fmla="*/ 13 w 745"/>
                <a:gd name="T5" fmla="*/ 400 h 619"/>
                <a:gd name="T6" fmla="*/ 1 w 745"/>
                <a:gd name="T7" fmla="*/ 425 h 619"/>
                <a:gd name="T8" fmla="*/ 14 w 745"/>
                <a:gd name="T9" fmla="*/ 470 h 619"/>
                <a:gd name="T10" fmla="*/ 507 w 745"/>
                <a:gd name="T11" fmla="*/ 597 h 619"/>
                <a:gd name="T12" fmla="*/ 658 w 745"/>
                <a:gd name="T13" fmla="*/ 406 h 619"/>
                <a:gd name="T14" fmla="*/ 668 w 745"/>
                <a:gd name="T15" fmla="*/ 378 h 619"/>
                <a:gd name="T16" fmla="*/ 663 w 745"/>
                <a:gd name="T17" fmla="*/ 358 h 619"/>
                <a:gd name="T18" fmla="*/ 658 w 745"/>
                <a:gd name="T19" fmla="*/ 329 h 619"/>
                <a:gd name="T20" fmla="*/ 686 w 745"/>
                <a:gd name="T21" fmla="*/ 299 h 619"/>
                <a:gd name="T22" fmla="*/ 698 w 745"/>
                <a:gd name="T23" fmla="*/ 278 h 619"/>
                <a:gd name="T24" fmla="*/ 724 w 745"/>
                <a:gd name="T25" fmla="*/ 240 h 619"/>
                <a:gd name="T26" fmla="*/ 741 w 745"/>
                <a:gd name="T27" fmla="*/ 198 h 619"/>
                <a:gd name="T28" fmla="*/ 720 w 745"/>
                <a:gd name="T29" fmla="*/ 172 h 619"/>
                <a:gd name="T30" fmla="*/ 551 w 745"/>
                <a:gd name="T31" fmla="*/ 125 h 619"/>
                <a:gd name="T32" fmla="*/ 527 w 745"/>
                <a:gd name="T33" fmla="*/ 126 h 619"/>
                <a:gd name="T34" fmla="*/ 497 w 745"/>
                <a:gd name="T35" fmla="*/ 127 h 619"/>
                <a:gd name="T36" fmla="*/ 443 w 745"/>
                <a:gd name="T37" fmla="*/ 132 h 619"/>
                <a:gd name="T38" fmla="*/ 383 w 745"/>
                <a:gd name="T39" fmla="*/ 125 h 619"/>
                <a:gd name="T40" fmla="*/ 358 w 745"/>
                <a:gd name="T41" fmla="*/ 112 h 619"/>
                <a:gd name="T42" fmla="*/ 330 w 745"/>
                <a:gd name="T43" fmla="*/ 106 h 619"/>
                <a:gd name="T44" fmla="*/ 308 w 745"/>
                <a:gd name="T45" fmla="*/ 107 h 619"/>
                <a:gd name="T46" fmla="*/ 278 w 745"/>
                <a:gd name="T47" fmla="*/ 109 h 619"/>
                <a:gd name="T48" fmla="*/ 259 w 745"/>
                <a:gd name="T49" fmla="*/ 99 h 619"/>
                <a:gd name="T50" fmla="*/ 249 w 745"/>
                <a:gd name="T51" fmla="*/ 51 h 619"/>
                <a:gd name="T52" fmla="*/ 233 w 745"/>
                <a:gd name="T53" fmla="*/ 21 h 619"/>
                <a:gd name="T54" fmla="*/ 212 w 745"/>
                <a:gd name="T55" fmla="*/ 19 h 619"/>
                <a:gd name="T56" fmla="*/ 200 w 745"/>
                <a:gd name="T57" fmla="*/ 6 h 619"/>
                <a:gd name="T58" fmla="*/ 182 w 745"/>
                <a:gd name="T59" fmla="*/ 4 h 619"/>
                <a:gd name="T60" fmla="*/ 166 w 745"/>
                <a:gd name="T61" fmla="*/ 8 h 619"/>
                <a:gd name="T62" fmla="*/ 157 w 745"/>
                <a:gd name="T63" fmla="*/ 32 h 619"/>
                <a:gd name="T64" fmla="*/ 153 w 745"/>
                <a:gd name="T65" fmla="*/ 55 h 619"/>
                <a:gd name="T66" fmla="*/ 146 w 745"/>
                <a:gd name="T67" fmla="*/ 75 h 619"/>
                <a:gd name="T68" fmla="*/ 143 w 745"/>
                <a:gd name="T69" fmla="*/ 92 h 619"/>
                <a:gd name="T70" fmla="*/ 135 w 745"/>
                <a:gd name="T71" fmla="*/ 109 h 619"/>
                <a:gd name="T72" fmla="*/ 123 w 745"/>
                <a:gd name="T73" fmla="*/ 136 h 619"/>
                <a:gd name="T74" fmla="*/ 102 w 745"/>
                <a:gd name="T75" fmla="*/ 187 h 619"/>
                <a:gd name="T76" fmla="*/ 98 w 745"/>
                <a:gd name="T77" fmla="*/ 202 h 619"/>
                <a:gd name="T78" fmla="*/ 74 w 745"/>
                <a:gd name="T79" fmla="*/ 262 h 619"/>
                <a:gd name="T80" fmla="*/ 76 w 745"/>
                <a:gd name="T81" fmla="*/ 275 h 619"/>
                <a:gd name="T82" fmla="*/ 62 w 745"/>
                <a:gd name="T83" fmla="*/ 285 h 619"/>
                <a:gd name="T84" fmla="*/ 57 w 745"/>
                <a:gd name="T85" fmla="*/ 30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5" h="619">
                  <a:moveTo>
                    <a:pt x="54" y="314"/>
                  </a:moveTo>
                  <a:cubicBezTo>
                    <a:pt x="48" y="314"/>
                    <a:pt x="48" y="312"/>
                    <a:pt x="46" y="312"/>
                  </a:cubicBezTo>
                  <a:cubicBezTo>
                    <a:pt x="44" y="312"/>
                    <a:pt x="45" y="320"/>
                    <a:pt x="43" y="320"/>
                  </a:cubicBezTo>
                  <a:cubicBezTo>
                    <a:pt x="41" y="320"/>
                    <a:pt x="39" y="319"/>
                    <a:pt x="37" y="319"/>
                  </a:cubicBezTo>
                  <a:cubicBezTo>
                    <a:pt x="29" y="319"/>
                    <a:pt x="27" y="342"/>
                    <a:pt x="23" y="349"/>
                  </a:cubicBezTo>
                  <a:cubicBezTo>
                    <a:pt x="20" y="354"/>
                    <a:pt x="13" y="356"/>
                    <a:pt x="11" y="362"/>
                  </a:cubicBezTo>
                  <a:cubicBezTo>
                    <a:pt x="10" y="365"/>
                    <a:pt x="11" y="373"/>
                    <a:pt x="11" y="377"/>
                  </a:cubicBezTo>
                  <a:cubicBezTo>
                    <a:pt x="12" y="381"/>
                    <a:pt x="15" y="388"/>
                    <a:pt x="15" y="392"/>
                  </a:cubicBezTo>
                  <a:cubicBezTo>
                    <a:pt x="15" y="394"/>
                    <a:pt x="14" y="398"/>
                    <a:pt x="13" y="400"/>
                  </a:cubicBezTo>
                  <a:cubicBezTo>
                    <a:pt x="12" y="402"/>
                    <a:pt x="8" y="406"/>
                    <a:pt x="7" y="408"/>
                  </a:cubicBezTo>
                  <a:cubicBezTo>
                    <a:pt x="6" y="410"/>
                    <a:pt x="6" y="414"/>
                    <a:pt x="6" y="415"/>
                  </a:cubicBezTo>
                  <a:cubicBezTo>
                    <a:pt x="5" y="418"/>
                    <a:pt x="2" y="422"/>
                    <a:pt x="1" y="425"/>
                  </a:cubicBezTo>
                  <a:cubicBezTo>
                    <a:pt x="0" y="432"/>
                    <a:pt x="3" y="454"/>
                    <a:pt x="3" y="454"/>
                  </a:cubicBezTo>
                  <a:cubicBezTo>
                    <a:pt x="8" y="465"/>
                    <a:pt x="8" y="465"/>
                    <a:pt x="8" y="465"/>
                  </a:cubicBezTo>
                  <a:cubicBezTo>
                    <a:pt x="8" y="465"/>
                    <a:pt x="9" y="469"/>
                    <a:pt x="14" y="470"/>
                  </a:cubicBezTo>
                  <a:cubicBezTo>
                    <a:pt x="60" y="485"/>
                    <a:pt x="201" y="522"/>
                    <a:pt x="201" y="522"/>
                  </a:cubicBezTo>
                  <a:cubicBezTo>
                    <a:pt x="360" y="562"/>
                    <a:pt x="360" y="562"/>
                    <a:pt x="360" y="562"/>
                  </a:cubicBezTo>
                  <a:cubicBezTo>
                    <a:pt x="507" y="597"/>
                    <a:pt x="507" y="597"/>
                    <a:pt x="507" y="597"/>
                  </a:cubicBezTo>
                  <a:cubicBezTo>
                    <a:pt x="611" y="619"/>
                    <a:pt x="611" y="619"/>
                    <a:pt x="611" y="619"/>
                  </a:cubicBezTo>
                  <a:cubicBezTo>
                    <a:pt x="655" y="412"/>
                    <a:pt x="655" y="412"/>
                    <a:pt x="655" y="412"/>
                  </a:cubicBezTo>
                  <a:cubicBezTo>
                    <a:pt x="658" y="406"/>
                    <a:pt x="658" y="406"/>
                    <a:pt x="658" y="406"/>
                  </a:cubicBezTo>
                  <a:cubicBezTo>
                    <a:pt x="658" y="406"/>
                    <a:pt x="661" y="404"/>
                    <a:pt x="661" y="404"/>
                  </a:cubicBezTo>
                  <a:cubicBezTo>
                    <a:pt x="664" y="400"/>
                    <a:pt x="667" y="393"/>
                    <a:pt x="668" y="389"/>
                  </a:cubicBezTo>
                  <a:cubicBezTo>
                    <a:pt x="668" y="386"/>
                    <a:pt x="667" y="381"/>
                    <a:pt x="668" y="378"/>
                  </a:cubicBezTo>
                  <a:cubicBezTo>
                    <a:pt x="669" y="376"/>
                    <a:pt x="674" y="373"/>
                    <a:pt x="674" y="371"/>
                  </a:cubicBezTo>
                  <a:cubicBezTo>
                    <a:pt x="674" y="368"/>
                    <a:pt x="671" y="365"/>
                    <a:pt x="670" y="363"/>
                  </a:cubicBezTo>
                  <a:cubicBezTo>
                    <a:pt x="668" y="362"/>
                    <a:pt x="665" y="359"/>
                    <a:pt x="663" y="358"/>
                  </a:cubicBezTo>
                  <a:cubicBezTo>
                    <a:pt x="661" y="357"/>
                    <a:pt x="657" y="357"/>
                    <a:pt x="655" y="356"/>
                  </a:cubicBezTo>
                  <a:cubicBezTo>
                    <a:pt x="654" y="355"/>
                    <a:pt x="653" y="353"/>
                    <a:pt x="653" y="352"/>
                  </a:cubicBezTo>
                  <a:cubicBezTo>
                    <a:pt x="651" y="346"/>
                    <a:pt x="655" y="334"/>
                    <a:pt x="658" y="329"/>
                  </a:cubicBezTo>
                  <a:cubicBezTo>
                    <a:pt x="659" y="326"/>
                    <a:pt x="663" y="323"/>
                    <a:pt x="665" y="321"/>
                  </a:cubicBezTo>
                  <a:cubicBezTo>
                    <a:pt x="668" y="318"/>
                    <a:pt x="671" y="310"/>
                    <a:pt x="674" y="307"/>
                  </a:cubicBezTo>
                  <a:cubicBezTo>
                    <a:pt x="677" y="305"/>
                    <a:pt x="684" y="302"/>
                    <a:pt x="686" y="299"/>
                  </a:cubicBezTo>
                  <a:cubicBezTo>
                    <a:pt x="688" y="298"/>
                    <a:pt x="692" y="294"/>
                    <a:pt x="693" y="292"/>
                  </a:cubicBezTo>
                  <a:cubicBezTo>
                    <a:pt x="694" y="290"/>
                    <a:pt x="697" y="286"/>
                    <a:pt x="697" y="284"/>
                  </a:cubicBezTo>
                  <a:cubicBezTo>
                    <a:pt x="698" y="282"/>
                    <a:pt x="697" y="279"/>
                    <a:pt x="698" y="278"/>
                  </a:cubicBezTo>
                  <a:cubicBezTo>
                    <a:pt x="700" y="273"/>
                    <a:pt x="708" y="267"/>
                    <a:pt x="711" y="263"/>
                  </a:cubicBezTo>
                  <a:cubicBezTo>
                    <a:pt x="713" y="260"/>
                    <a:pt x="716" y="255"/>
                    <a:pt x="718" y="250"/>
                  </a:cubicBezTo>
                  <a:cubicBezTo>
                    <a:pt x="720" y="246"/>
                    <a:pt x="722" y="242"/>
                    <a:pt x="724" y="240"/>
                  </a:cubicBezTo>
                  <a:cubicBezTo>
                    <a:pt x="727" y="235"/>
                    <a:pt x="736" y="226"/>
                    <a:pt x="740" y="221"/>
                  </a:cubicBezTo>
                  <a:cubicBezTo>
                    <a:pt x="741" y="219"/>
                    <a:pt x="744" y="215"/>
                    <a:pt x="744" y="213"/>
                  </a:cubicBezTo>
                  <a:cubicBezTo>
                    <a:pt x="745" y="210"/>
                    <a:pt x="743" y="202"/>
                    <a:pt x="741" y="198"/>
                  </a:cubicBezTo>
                  <a:cubicBezTo>
                    <a:pt x="739" y="194"/>
                    <a:pt x="731" y="188"/>
                    <a:pt x="728" y="184"/>
                  </a:cubicBezTo>
                  <a:cubicBezTo>
                    <a:pt x="727" y="183"/>
                    <a:pt x="724" y="180"/>
                    <a:pt x="724" y="180"/>
                  </a:cubicBezTo>
                  <a:cubicBezTo>
                    <a:pt x="720" y="172"/>
                    <a:pt x="720" y="172"/>
                    <a:pt x="720" y="172"/>
                  </a:cubicBezTo>
                  <a:cubicBezTo>
                    <a:pt x="719" y="162"/>
                    <a:pt x="719" y="162"/>
                    <a:pt x="719" y="162"/>
                  </a:cubicBezTo>
                  <a:cubicBezTo>
                    <a:pt x="624" y="143"/>
                    <a:pt x="624" y="143"/>
                    <a:pt x="624" y="143"/>
                  </a:cubicBezTo>
                  <a:cubicBezTo>
                    <a:pt x="624" y="143"/>
                    <a:pt x="570" y="123"/>
                    <a:pt x="551" y="125"/>
                  </a:cubicBezTo>
                  <a:cubicBezTo>
                    <a:pt x="549" y="126"/>
                    <a:pt x="545" y="129"/>
                    <a:pt x="543" y="130"/>
                  </a:cubicBezTo>
                  <a:cubicBezTo>
                    <a:pt x="541" y="130"/>
                    <a:pt x="537" y="129"/>
                    <a:pt x="535" y="129"/>
                  </a:cubicBezTo>
                  <a:cubicBezTo>
                    <a:pt x="533" y="128"/>
                    <a:pt x="529" y="126"/>
                    <a:pt x="527" y="126"/>
                  </a:cubicBezTo>
                  <a:cubicBezTo>
                    <a:pt x="523" y="125"/>
                    <a:pt x="514" y="126"/>
                    <a:pt x="510" y="125"/>
                  </a:cubicBezTo>
                  <a:cubicBezTo>
                    <a:pt x="508" y="125"/>
                    <a:pt x="506" y="123"/>
                    <a:pt x="504" y="123"/>
                  </a:cubicBezTo>
                  <a:cubicBezTo>
                    <a:pt x="502" y="123"/>
                    <a:pt x="499" y="127"/>
                    <a:pt x="497" y="127"/>
                  </a:cubicBezTo>
                  <a:cubicBezTo>
                    <a:pt x="491" y="129"/>
                    <a:pt x="479" y="127"/>
                    <a:pt x="473" y="127"/>
                  </a:cubicBezTo>
                  <a:cubicBezTo>
                    <a:pt x="469" y="127"/>
                    <a:pt x="462" y="128"/>
                    <a:pt x="458" y="128"/>
                  </a:cubicBezTo>
                  <a:cubicBezTo>
                    <a:pt x="454" y="129"/>
                    <a:pt x="447" y="132"/>
                    <a:pt x="443" y="132"/>
                  </a:cubicBezTo>
                  <a:cubicBezTo>
                    <a:pt x="418" y="130"/>
                    <a:pt x="429" y="125"/>
                    <a:pt x="412" y="124"/>
                  </a:cubicBezTo>
                  <a:cubicBezTo>
                    <a:pt x="408" y="124"/>
                    <a:pt x="401" y="128"/>
                    <a:pt x="390" y="127"/>
                  </a:cubicBezTo>
                  <a:cubicBezTo>
                    <a:pt x="388" y="127"/>
                    <a:pt x="385" y="125"/>
                    <a:pt x="383" y="125"/>
                  </a:cubicBezTo>
                  <a:cubicBezTo>
                    <a:pt x="379" y="124"/>
                    <a:pt x="371" y="128"/>
                    <a:pt x="368" y="125"/>
                  </a:cubicBezTo>
                  <a:cubicBezTo>
                    <a:pt x="366" y="124"/>
                    <a:pt x="367" y="120"/>
                    <a:pt x="366" y="118"/>
                  </a:cubicBezTo>
                  <a:cubicBezTo>
                    <a:pt x="365" y="116"/>
                    <a:pt x="361" y="113"/>
                    <a:pt x="358" y="112"/>
                  </a:cubicBezTo>
                  <a:cubicBezTo>
                    <a:pt x="357" y="112"/>
                    <a:pt x="353" y="112"/>
                    <a:pt x="351" y="111"/>
                  </a:cubicBezTo>
                  <a:cubicBezTo>
                    <a:pt x="349" y="110"/>
                    <a:pt x="345" y="107"/>
                    <a:pt x="343" y="107"/>
                  </a:cubicBezTo>
                  <a:cubicBezTo>
                    <a:pt x="340" y="106"/>
                    <a:pt x="333" y="107"/>
                    <a:pt x="330" y="106"/>
                  </a:cubicBezTo>
                  <a:cubicBezTo>
                    <a:pt x="328" y="105"/>
                    <a:pt x="325" y="103"/>
                    <a:pt x="323" y="103"/>
                  </a:cubicBezTo>
                  <a:cubicBezTo>
                    <a:pt x="321" y="103"/>
                    <a:pt x="318" y="103"/>
                    <a:pt x="316" y="103"/>
                  </a:cubicBezTo>
                  <a:cubicBezTo>
                    <a:pt x="314" y="104"/>
                    <a:pt x="310" y="107"/>
                    <a:pt x="308" y="107"/>
                  </a:cubicBezTo>
                  <a:cubicBezTo>
                    <a:pt x="306" y="108"/>
                    <a:pt x="302" y="108"/>
                    <a:pt x="301" y="109"/>
                  </a:cubicBezTo>
                  <a:cubicBezTo>
                    <a:pt x="297" y="109"/>
                    <a:pt x="285" y="110"/>
                    <a:pt x="285" y="110"/>
                  </a:cubicBezTo>
                  <a:cubicBezTo>
                    <a:pt x="278" y="109"/>
                    <a:pt x="278" y="109"/>
                    <a:pt x="278" y="109"/>
                  </a:cubicBezTo>
                  <a:cubicBezTo>
                    <a:pt x="278" y="109"/>
                    <a:pt x="273" y="105"/>
                    <a:pt x="270" y="104"/>
                  </a:cubicBezTo>
                  <a:cubicBezTo>
                    <a:pt x="269" y="104"/>
                    <a:pt x="267" y="104"/>
                    <a:pt x="267" y="104"/>
                  </a:cubicBezTo>
                  <a:cubicBezTo>
                    <a:pt x="259" y="99"/>
                    <a:pt x="259" y="99"/>
                    <a:pt x="259" y="99"/>
                  </a:cubicBezTo>
                  <a:cubicBezTo>
                    <a:pt x="259" y="99"/>
                    <a:pt x="250" y="96"/>
                    <a:pt x="247" y="94"/>
                  </a:cubicBezTo>
                  <a:cubicBezTo>
                    <a:pt x="246" y="93"/>
                    <a:pt x="245" y="91"/>
                    <a:pt x="244" y="89"/>
                  </a:cubicBezTo>
                  <a:cubicBezTo>
                    <a:pt x="242" y="80"/>
                    <a:pt x="249" y="51"/>
                    <a:pt x="249" y="51"/>
                  </a:cubicBezTo>
                  <a:cubicBezTo>
                    <a:pt x="249" y="51"/>
                    <a:pt x="247" y="39"/>
                    <a:pt x="245" y="36"/>
                  </a:cubicBezTo>
                  <a:cubicBezTo>
                    <a:pt x="244" y="34"/>
                    <a:pt x="239" y="31"/>
                    <a:pt x="237" y="29"/>
                  </a:cubicBezTo>
                  <a:cubicBezTo>
                    <a:pt x="236" y="27"/>
                    <a:pt x="234" y="23"/>
                    <a:pt x="233" y="21"/>
                  </a:cubicBezTo>
                  <a:cubicBezTo>
                    <a:pt x="232" y="20"/>
                    <a:pt x="229" y="19"/>
                    <a:pt x="227" y="19"/>
                  </a:cubicBezTo>
                  <a:cubicBezTo>
                    <a:pt x="225" y="19"/>
                    <a:pt x="222" y="23"/>
                    <a:pt x="220" y="23"/>
                  </a:cubicBezTo>
                  <a:cubicBezTo>
                    <a:pt x="218" y="23"/>
                    <a:pt x="212" y="19"/>
                    <a:pt x="212" y="19"/>
                  </a:cubicBezTo>
                  <a:cubicBezTo>
                    <a:pt x="211" y="19"/>
                    <a:pt x="211" y="19"/>
                    <a:pt x="211" y="19"/>
                  </a:cubicBezTo>
                  <a:cubicBezTo>
                    <a:pt x="207" y="12"/>
                    <a:pt x="207" y="12"/>
                    <a:pt x="207" y="12"/>
                  </a:cubicBezTo>
                  <a:cubicBezTo>
                    <a:pt x="207" y="12"/>
                    <a:pt x="202" y="7"/>
                    <a:pt x="200" y="6"/>
                  </a:cubicBezTo>
                  <a:cubicBezTo>
                    <a:pt x="198" y="6"/>
                    <a:pt x="194" y="8"/>
                    <a:pt x="192" y="8"/>
                  </a:cubicBezTo>
                  <a:cubicBezTo>
                    <a:pt x="190" y="9"/>
                    <a:pt x="186" y="9"/>
                    <a:pt x="184" y="8"/>
                  </a:cubicBezTo>
                  <a:cubicBezTo>
                    <a:pt x="184" y="7"/>
                    <a:pt x="183" y="4"/>
                    <a:pt x="182" y="4"/>
                  </a:cubicBezTo>
                  <a:cubicBezTo>
                    <a:pt x="181" y="4"/>
                    <a:pt x="178" y="8"/>
                    <a:pt x="176" y="7"/>
                  </a:cubicBezTo>
                  <a:cubicBezTo>
                    <a:pt x="174" y="6"/>
                    <a:pt x="171" y="0"/>
                    <a:pt x="169" y="1"/>
                  </a:cubicBezTo>
                  <a:cubicBezTo>
                    <a:pt x="167" y="1"/>
                    <a:pt x="166" y="8"/>
                    <a:pt x="166" y="8"/>
                  </a:cubicBezTo>
                  <a:cubicBezTo>
                    <a:pt x="166" y="8"/>
                    <a:pt x="165" y="20"/>
                    <a:pt x="163" y="24"/>
                  </a:cubicBezTo>
                  <a:cubicBezTo>
                    <a:pt x="162" y="26"/>
                    <a:pt x="157" y="28"/>
                    <a:pt x="156" y="31"/>
                  </a:cubicBezTo>
                  <a:cubicBezTo>
                    <a:pt x="156" y="31"/>
                    <a:pt x="157" y="32"/>
                    <a:pt x="157" y="32"/>
                  </a:cubicBezTo>
                  <a:cubicBezTo>
                    <a:pt x="157" y="34"/>
                    <a:pt x="156" y="38"/>
                    <a:pt x="156" y="39"/>
                  </a:cubicBezTo>
                  <a:cubicBezTo>
                    <a:pt x="155" y="41"/>
                    <a:pt x="152" y="45"/>
                    <a:pt x="152" y="47"/>
                  </a:cubicBezTo>
                  <a:cubicBezTo>
                    <a:pt x="152" y="49"/>
                    <a:pt x="152" y="53"/>
                    <a:pt x="153" y="55"/>
                  </a:cubicBezTo>
                  <a:cubicBezTo>
                    <a:pt x="153" y="56"/>
                    <a:pt x="155" y="58"/>
                    <a:pt x="155" y="60"/>
                  </a:cubicBezTo>
                  <a:cubicBezTo>
                    <a:pt x="154" y="62"/>
                    <a:pt x="151" y="65"/>
                    <a:pt x="149" y="67"/>
                  </a:cubicBezTo>
                  <a:cubicBezTo>
                    <a:pt x="148" y="69"/>
                    <a:pt x="145" y="73"/>
                    <a:pt x="146" y="75"/>
                  </a:cubicBezTo>
                  <a:cubicBezTo>
                    <a:pt x="146" y="77"/>
                    <a:pt x="152" y="80"/>
                    <a:pt x="151" y="82"/>
                  </a:cubicBezTo>
                  <a:cubicBezTo>
                    <a:pt x="149" y="84"/>
                    <a:pt x="145" y="85"/>
                    <a:pt x="143" y="86"/>
                  </a:cubicBezTo>
                  <a:cubicBezTo>
                    <a:pt x="142" y="87"/>
                    <a:pt x="143" y="90"/>
                    <a:pt x="143" y="92"/>
                  </a:cubicBezTo>
                  <a:cubicBezTo>
                    <a:pt x="142" y="94"/>
                    <a:pt x="140" y="97"/>
                    <a:pt x="139" y="99"/>
                  </a:cubicBezTo>
                  <a:cubicBezTo>
                    <a:pt x="139" y="101"/>
                    <a:pt x="139" y="99"/>
                    <a:pt x="138" y="101"/>
                  </a:cubicBezTo>
                  <a:cubicBezTo>
                    <a:pt x="138" y="103"/>
                    <a:pt x="135" y="107"/>
                    <a:pt x="135" y="109"/>
                  </a:cubicBezTo>
                  <a:cubicBezTo>
                    <a:pt x="134" y="111"/>
                    <a:pt x="134" y="115"/>
                    <a:pt x="133" y="117"/>
                  </a:cubicBezTo>
                  <a:cubicBezTo>
                    <a:pt x="132" y="120"/>
                    <a:pt x="127" y="125"/>
                    <a:pt x="125" y="128"/>
                  </a:cubicBezTo>
                  <a:cubicBezTo>
                    <a:pt x="124" y="130"/>
                    <a:pt x="124" y="134"/>
                    <a:pt x="123" y="136"/>
                  </a:cubicBezTo>
                  <a:cubicBezTo>
                    <a:pt x="121" y="142"/>
                    <a:pt x="114" y="152"/>
                    <a:pt x="112" y="158"/>
                  </a:cubicBezTo>
                  <a:cubicBezTo>
                    <a:pt x="110" y="161"/>
                    <a:pt x="110" y="169"/>
                    <a:pt x="109" y="172"/>
                  </a:cubicBezTo>
                  <a:cubicBezTo>
                    <a:pt x="108" y="176"/>
                    <a:pt x="103" y="183"/>
                    <a:pt x="102" y="187"/>
                  </a:cubicBezTo>
                  <a:cubicBezTo>
                    <a:pt x="102" y="189"/>
                    <a:pt x="104" y="193"/>
                    <a:pt x="104" y="195"/>
                  </a:cubicBezTo>
                  <a:cubicBezTo>
                    <a:pt x="104" y="196"/>
                    <a:pt x="103" y="198"/>
                    <a:pt x="103" y="198"/>
                  </a:cubicBezTo>
                  <a:cubicBezTo>
                    <a:pt x="102" y="199"/>
                    <a:pt x="99" y="201"/>
                    <a:pt x="98" y="202"/>
                  </a:cubicBezTo>
                  <a:cubicBezTo>
                    <a:pt x="97" y="203"/>
                    <a:pt x="94" y="207"/>
                    <a:pt x="94" y="209"/>
                  </a:cubicBezTo>
                  <a:cubicBezTo>
                    <a:pt x="92" y="213"/>
                    <a:pt x="91" y="220"/>
                    <a:pt x="89" y="224"/>
                  </a:cubicBezTo>
                  <a:cubicBezTo>
                    <a:pt x="86" y="234"/>
                    <a:pt x="79" y="253"/>
                    <a:pt x="74" y="262"/>
                  </a:cubicBezTo>
                  <a:cubicBezTo>
                    <a:pt x="73" y="264"/>
                    <a:pt x="71" y="268"/>
                    <a:pt x="70" y="270"/>
                  </a:cubicBezTo>
                  <a:cubicBezTo>
                    <a:pt x="69" y="272"/>
                    <a:pt x="66" y="276"/>
                    <a:pt x="68" y="278"/>
                  </a:cubicBezTo>
                  <a:cubicBezTo>
                    <a:pt x="69" y="279"/>
                    <a:pt x="74" y="274"/>
                    <a:pt x="76" y="275"/>
                  </a:cubicBezTo>
                  <a:cubicBezTo>
                    <a:pt x="76" y="275"/>
                    <a:pt x="77" y="284"/>
                    <a:pt x="76" y="285"/>
                  </a:cubicBezTo>
                  <a:cubicBezTo>
                    <a:pt x="75" y="287"/>
                    <a:pt x="70" y="284"/>
                    <a:pt x="68" y="285"/>
                  </a:cubicBezTo>
                  <a:cubicBezTo>
                    <a:pt x="66" y="286"/>
                    <a:pt x="63" y="283"/>
                    <a:pt x="62" y="285"/>
                  </a:cubicBezTo>
                  <a:cubicBezTo>
                    <a:pt x="59" y="288"/>
                    <a:pt x="55" y="295"/>
                    <a:pt x="53" y="299"/>
                  </a:cubicBezTo>
                  <a:cubicBezTo>
                    <a:pt x="52" y="301"/>
                    <a:pt x="49" y="306"/>
                    <a:pt x="50" y="307"/>
                  </a:cubicBezTo>
                  <a:cubicBezTo>
                    <a:pt x="50" y="307"/>
                    <a:pt x="54" y="310"/>
                    <a:pt x="57" y="309"/>
                  </a:cubicBezTo>
                  <a:cubicBezTo>
                    <a:pt x="60" y="309"/>
                    <a:pt x="67" y="314"/>
                    <a:pt x="54" y="314"/>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55">
              <a:extLst>
                <a:ext uri="{FF2B5EF4-FFF2-40B4-BE49-F238E27FC236}">
                  <a16:creationId xmlns:a16="http://schemas.microsoft.com/office/drawing/2014/main" id="{B7746B17-47FD-4FAA-BBD0-EC2D8B023EAF}"/>
                </a:ext>
              </a:extLst>
            </p:cNvPr>
            <p:cNvSpPr>
              <a:spLocks/>
            </p:cNvSpPr>
            <p:nvPr/>
          </p:nvSpPr>
          <p:spPr bwMode="auto">
            <a:xfrm>
              <a:off x="4070301" y="2004982"/>
              <a:ext cx="617554" cy="997587"/>
            </a:xfrm>
            <a:custGeom>
              <a:avLst/>
              <a:gdLst>
                <a:gd name="T0" fmla="*/ 538 w 555"/>
                <a:gd name="T1" fmla="*/ 573 h 897"/>
                <a:gd name="T2" fmla="*/ 514 w 555"/>
                <a:gd name="T3" fmla="*/ 591 h 897"/>
                <a:gd name="T4" fmla="*/ 495 w 555"/>
                <a:gd name="T5" fmla="*/ 588 h 897"/>
                <a:gd name="T6" fmla="*/ 473 w 555"/>
                <a:gd name="T7" fmla="*/ 584 h 897"/>
                <a:gd name="T8" fmla="*/ 447 w 555"/>
                <a:gd name="T9" fmla="*/ 583 h 897"/>
                <a:gd name="T10" fmla="*/ 431 w 555"/>
                <a:gd name="T11" fmla="*/ 583 h 897"/>
                <a:gd name="T12" fmla="*/ 404 w 555"/>
                <a:gd name="T13" fmla="*/ 593 h 897"/>
                <a:gd name="T14" fmla="*/ 394 w 555"/>
                <a:gd name="T15" fmla="*/ 580 h 897"/>
                <a:gd name="T16" fmla="*/ 392 w 555"/>
                <a:gd name="T17" fmla="*/ 566 h 897"/>
                <a:gd name="T18" fmla="*/ 379 w 555"/>
                <a:gd name="T19" fmla="*/ 535 h 897"/>
                <a:gd name="T20" fmla="*/ 366 w 555"/>
                <a:gd name="T21" fmla="*/ 525 h 897"/>
                <a:gd name="T22" fmla="*/ 366 w 555"/>
                <a:gd name="T23" fmla="*/ 499 h 897"/>
                <a:gd name="T24" fmla="*/ 352 w 555"/>
                <a:gd name="T25" fmla="*/ 457 h 897"/>
                <a:gd name="T26" fmla="*/ 344 w 555"/>
                <a:gd name="T27" fmla="*/ 432 h 897"/>
                <a:gd name="T28" fmla="*/ 309 w 555"/>
                <a:gd name="T29" fmla="*/ 443 h 897"/>
                <a:gd name="T30" fmla="*/ 290 w 555"/>
                <a:gd name="T31" fmla="*/ 432 h 897"/>
                <a:gd name="T32" fmla="*/ 296 w 555"/>
                <a:gd name="T33" fmla="*/ 413 h 897"/>
                <a:gd name="T34" fmla="*/ 306 w 555"/>
                <a:gd name="T35" fmla="*/ 403 h 897"/>
                <a:gd name="T36" fmla="*/ 307 w 555"/>
                <a:gd name="T37" fmla="*/ 376 h 897"/>
                <a:gd name="T38" fmla="*/ 310 w 555"/>
                <a:gd name="T39" fmla="*/ 362 h 897"/>
                <a:gd name="T40" fmla="*/ 331 w 555"/>
                <a:gd name="T41" fmla="*/ 312 h 897"/>
                <a:gd name="T42" fmla="*/ 313 w 555"/>
                <a:gd name="T43" fmla="*/ 307 h 897"/>
                <a:gd name="T44" fmla="*/ 307 w 555"/>
                <a:gd name="T45" fmla="*/ 296 h 897"/>
                <a:gd name="T46" fmla="*/ 297 w 555"/>
                <a:gd name="T47" fmla="*/ 288 h 897"/>
                <a:gd name="T48" fmla="*/ 289 w 555"/>
                <a:gd name="T49" fmla="*/ 275 h 897"/>
                <a:gd name="T50" fmla="*/ 274 w 555"/>
                <a:gd name="T51" fmla="*/ 248 h 897"/>
                <a:gd name="T52" fmla="*/ 267 w 555"/>
                <a:gd name="T53" fmla="*/ 233 h 897"/>
                <a:gd name="T54" fmla="*/ 252 w 555"/>
                <a:gd name="T55" fmla="*/ 219 h 897"/>
                <a:gd name="T56" fmla="*/ 238 w 555"/>
                <a:gd name="T57" fmla="*/ 201 h 897"/>
                <a:gd name="T58" fmla="*/ 243 w 555"/>
                <a:gd name="T59" fmla="*/ 192 h 897"/>
                <a:gd name="T60" fmla="*/ 244 w 555"/>
                <a:gd name="T61" fmla="*/ 174 h 897"/>
                <a:gd name="T62" fmla="*/ 237 w 555"/>
                <a:gd name="T63" fmla="*/ 155 h 897"/>
                <a:gd name="T64" fmla="*/ 170 w 555"/>
                <a:gd name="T65" fmla="*/ 0 h 897"/>
                <a:gd name="T66" fmla="*/ 108 w 555"/>
                <a:gd name="T67" fmla="*/ 293 h 897"/>
                <a:gd name="T68" fmla="*/ 109 w 555"/>
                <a:gd name="T69" fmla="*/ 316 h 897"/>
                <a:gd name="T70" fmla="*/ 107 w 555"/>
                <a:gd name="T71" fmla="*/ 347 h 897"/>
                <a:gd name="T72" fmla="*/ 116 w 555"/>
                <a:gd name="T73" fmla="*/ 370 h 897"/>
                <a:gd name="T74" fmla="*/ 129 w 555"/>
                <a:gd name="T75" fmla="*/ 403 h 897"/>
                <a:gd name="T76" fmla="*/ 95 w 555"/>
                <a:gd name="T77" fmla="*/ 451 h 897"/>
                <a:gd name="T78" fmla="*/ 82 w 555"/>
                <a:gd name="T79" fmla="*/ 474 h 897"/>
                <a:gd name="T80" fmla="*/ 58 w 555"/>
                <a:gd name="T81" fmla="*/ 498 h 897"/>
                <a:gd name="T82" fmla="*/ 41 w 555"/>
                <a:gd name="T83" fmla="*/ 536 h 897"/>
                <a:gd name="T84" fmla="*/ 59 w 555"/>
                <a:gd name="T85" fmla="*/ 549 h 897"/>
                <a:gd name="T86" fmla="*/ 56 w 555"/>
                <a:gd name="T87" fmla="*/ 568 h 897"/>
                <a:gd name="T88" fmla="*/ 48 w 555"/>
                <a:gd name="T89" fmla="*/ 588 h 897"/>
                <a:gd name="T90" fmla="*/ 0 w 555"/>
                <a:gd name="T91" fmla="*/ 803 h 897"/>
                <a:gd name="T92" fmla="*/ 254 w 555"/>
                <a:gd name="T93" fmla="*/ 855 h 897"/>
                <a:gd name="T94" fmla="*/ 510 w 555"/>
                <a:gd name="T95" fmla="*/ 897 h 897"/>
                <a:gd name="T96" fmla="*/ 555 w 555"/>
                <a:gd name="T97" fmla="*/ 602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5" h="897">
                  <a:moveTo>
                    <a:pt x="555" y="602"/>
                  </a:moveTo>
                  <a:cubicBezTo>
                    <a:pt x="548" y="595"/>
                    <a:pt x="548" y="595"/>
                    <a:pt x="548" y="595"/>
                  </a:cubicBezTo>
                  <a:cubicBezTo>
                    <a:pt x="544" y="588"/>
                    <a:pt x="544" y="588"/>
                    <a:pt x="544" y="588"/>
                  </a:cubicBezTo>
                  <a:cubicBezTo>
                    <a:pt x="543" y="584"/>
                    <a:pt x="541" y="576"/>
                    <a:pt x="538" y="573"/>
                  </a:cubicBezTo>
                  <a:cubicBezTo>
                    <a:pt x="536" y="571"/>
                    <a:pt x="531" y="569"/>
                    <a:pt x="528" y="570"/>
                  </a:cubicBezTo>
                  <a:cubicBezTo>
                    <a:pt x="522" y="572"/>
                    <a:pt x="516" y="583"/>
                    <a:pt x="514" y="587"/>
                  </a:cubicBezTo>
                  <a:cubicBezTo>
                    <a:pt x="514" y="588"/>
                    <a:pt x="514" y="589"/>
                    <a:pt x="514" y="590"/>
                  </a:cubicBezTo>
                  <a:cubicBezTo>
                    <a:pt x="514" y="590"/>
                    <a:pt x="514" y="591"/>
                    <a:pt x="514" y="591"/>
                  </a:cubicBezTo>
                  <a:cubicBezTo>
                    <a:pt x="513" y="590"/>
                    <a:pt x="511" y="589"/>
                    <a:pt x="509" y="588"/>
                  </a:cubicBezTo>
                  <a:cubicBezTo>
                    <a:pt x="507" y="587"/>
                    <a:pt x="504" y="586"/>
                    <a:pt x="502" y="586"/>
                  </a:cubicBezTo>
                  <a:cubicBezTo>
                    <a:pt x="501" y="586"/>
                    <a:pt x="499" y="587"/>
                    <a:pt x="498" y="587"/>
                  </a:cubicBezTo>
                  <a:cubicBezTo>
                    <a:pt x="497" y="588"/>
                    <a:pt x="496" y="588"/>
                    <a:pt x="495" y="588"/>
                  </a:cubicBezTo>
                  <a:cubicBezTo>
                    <a:pt x="495" y="588"/>
                    <a:pt x="493" y="587"/>
                    <a:pt x="492" y="586"/>
                  </a:cubicBezTo>
                  <a:cubicBezTo>
                    <a:pt x="491" y="585"/>
                    <a:pt x="489" y="584"/>
                    <a:pt x="488" y="584"/>
                  </a:cubicBezTo>
                  <a:cubicBezTo>
                    <a:pt x="486" y="583"/>
                    <a:pt x="483" y="583"/>
                    <a:pt x="479" y="584"/>
                  </a:cubicBezTo>
                  <a:cubicBezTo>
                    <a:pt x="477" y="584"/>
                    <a:pt x="475" y="584"/>
                    <a:pt x="473" y="584"/>
                  </a:cubicBezTo>
                  <a:cubicBezTo>
                    <a:pt x="472" y="584"/>
                    <a:pt x="469" y="582"/>
                    <a:pt x="467" y="581"/>
                  </a:cubicBezTo>
                  <a:cubicBezTo>
                    <a:pt x="463" y="580"/>
                    <a:pt x="460" y="578"/>
                    <a:pt x="457" y="578"/>
                  </a:cubicBezTo>
                  <a:cubicBezTo>
                    <a:pt x="455" y="578"/>
                    <a:pt x="452" y="579"/>
                    <a:pt x="451" y="580"/>
                  </a:cubicBezTo>
                  <a:cubicBezTo>
                    <a:pt x="450" y="581"/>
                    <a:pt x="449" y="582"/>
                    <a:pt x="447" y="583"/>
                  </a:cubicBezTo>
                  <a:cubicBezTo>
                    <a:pt x="447" y="584"/>
                    <a:pt x="445" y="586"/>
                    <a:pt x="444" y="586"/>
                  </a:cubicBezTo>
                  <a:cubicBezTo>
                    <a:pt x="444" y="586"/>
                    <a:pt x="444" y="586"/>
                    <a:pt x="443" y="586"/>
                  </a:cubicBezTo>
                  <a:cubicBezTo>
                    <a:pt x="441" y="586"/>
                    <a:pt x="439" y="586"/>
                    <a:pt x="439" y="586"/>
                  </a:cubicBezTo>
                  <a:cubicBezTo>
                    <a:pt x="431" y="583"/>
                    <a:pt x="431" y="583"/>
                    <a:pt x="431" y="583"/>
                  </a:cubicBezTo>
                  <a:cubicBezTo>
                    <a:pt x="430" y="583"/>
                    <a:pt x="419" y="580"/>
                    <a:pt x="415" y="580"/>
                  </a:cubicBezTo>
                  <a:cubicBezTo>
                    <a:pt x="412" y="581"/>
                    <a:pt x="407" y="582"/>
                    <a:pt x="406" y="585"/>
                  </a:cubicBezTo>
                  <a:cubicBezTo>
                    <a:pt x="405" y="586"/>
                    <a:pt x="405" y="588"/>
                    <a:pt x="405" y="590"/>
                  </a:cubicBezTo>
                  <a:cubicBezTo>
                    <a:pt x="405" y="591"/>
                    <a:pt x="404" y="592"/>
                    <a:pt x="404" y="593"/>
                  </a:cubicBezTo>
                  <a:cubicBezTo>
                    <a:pt x="404" y="593"/>
                    <a:pt x="404" y="593"/>
                    <a:pt x="404" y="593"/>
                  </a:cubicBezTo>
                  <a:cubicBezTo>
                    <a:pt x="403" y="593"/>
                    <a:pt x="401" y="591"/>
                    <a:pt x="399" y="588"/>
                  </a:cubicBezTo>
                  <a:cubicBezTo>
                    <a:pt x="398" y="587"/>
                    <a:pt x="398" y="587"/>
                    <a:pt x="398" y="587"/>
                  </a:cubicBezTo>
                  <a:cubicBezTo>
                    <a:pt x="396" y="584"/>
                    <a:pt x="395" y="581"/>
                    <a:pt x="394" y="580"/>
                  </a:cubicBezTo>
                  <a:cubicBezTo>
                    <a:pt x="394" y="580"/>
                    <a:pt x="395" y="578"/>
                    <a:pt x="395" y="578"/>
                  </a:cubicBezTo>
                  <a:cubicBezTo>
                    <a:pt x="396" y="576"/>
                    <a:pt x="396" y="574"/>
                    <a:pt x="396" y="573"/>
                  </a:cubicBezTo>
                  <a:cubicBezTo>
                    <a:pt x="396" y="571"/>
                    <a:pt x="394" y="570"/>
                    <a:pt x="393" y="568"/>
                  </a:cubicBezTo>
                  <a:cubicBezTo>
                    <a:pt x="393" y="567"/>
                    <a:pt x="392" y="566"/>
                    <a:pt x="392" y="566"/>
                  </a:cubicBezTo>
                  <a:cubicBezTo>
                    <a:pt x="391" y="565"/>
                    <a:pt x="392" y="562"/>
                    <a:pt x="392" y="561"/>
                  </a:cubicBezTo>
                  <a:cubicBezTo>
                    <a:pt x="392" y="560"/>
                    <a:pt x="392" y="559"/>
                    <a:pt x="392" y="558"/>
                  </a:cubicBezTo>
                  <a:cubicBezTo>
                    <a:pt x="392" y="553"/>
                    <a:pt x="391" y="547"/>
                    <a:pt x="389" y="544"/>
                  </a:cubicBezTo>
                  <a:cubicBezTo>
                    <a:pt x="389" y="543"/>
                    <a:pt x="384" y="536"/>
                    <a:pt x="379" y="535"/>
                  </a:cubicBezTo>
                  <a:cubicBezTo>
                    <a:pt x="377" y="535"/>
                    <a:pt x="376" y="536"/>
                    <a:pt x="374" y="537"/>
                  </a:cubicBezTo>
                  <a:cubicBezTo>
                    <a:pt x="373" y="537"/>
                    <a:pt x="372" y="538"/>
                    <a:pt x="372" y="538"/>
                  </a:cubicBezTo>
                  <a:cubicBezTo>
                    <a:pt x="371" y="537"/>
                    <a:pt x="369" y="535"/>
                    <a:pt x="367" y="532"/>
                  </a:cubicBezTo>
                  <a:cubicBezTo>
                    <a:pt x="367" y="530"/>
                    <a:pt x="366" y="526"/>
                    <a:pt x="366" y="525"/>
                  </a:cubicBezTo>
                  <a:cubicBezTo>
                    <a:pt x="366" y="524"/>
                    <a:pt x="366" y="522"/>
                    <a:pt x="367" y="521"/>
                  </a:cubicBezTo>
                  <a:cubicBezTo>
                    <a:pt x="368" y="519"/>
                    <a:pt x="369" y="517"/>
                    <a:pt x="369" y="515"/>
                  </a:cubicBezTo>
                  <a:cubicBezTo>
                    <a:pt x="369" y="513"/>
                    <a:pt x="369" y="510"/>
                    <a:pt x="368" y="507"/>
                  </a:cubicBezTo>
                  <a:cubicBezTo>
                    <a:pt x="368" y="505"/>
                    <a:pt x="367" y="501"/>
                    <a:pt x="366" y="499"/>
                  </a:cubicBezTo>
                  <a:cubicBezTo>
                    <a:pt x="365" y="497"/>
                    <a:pt x="364" y="496"/>
                    <a:pt x="363" y="494"/>
                  </a:cubicBezTo>
                  <a:cubicBezTo>
                    <a:pt x="362" y="493"/>
                    <a:pt x="361" y="492"/>
                    <a:pt x="360" y="491"/>
                  </a:cubicBezTo>
                  <a:cubicBezTo>
                    <a:pt x="359" y="489"/>
                    <a:pt x="356" y="480"/>
                    <a:pt x="355" y="477"/>
                  </a:cubicBezTo>
                  <a:cubicBezTo>
                    <a:pt x="352" y="457"/>
                    <a:pt x="352" y="457"/>
                    <a:pt x="352" y="457"/>
                  </a:cubicBezTo>
                  <a:cubicBezTo>
                    <a:pt x="352" y="454"/>
                    <a:pt x="353" y="445"/>
                    <a:pt x="352" y="441"/>
                  </a:cubicBezTo>
                  <a:cubicBezTo>
                    <a:pt x="351" y="439"/>
                    <a:pt x="349" y="438"/>
                    <a:pt x="347" y="437"/>
                  </a:cubicBezTo>
                  <a:cubicBezTo>
                    <a:pt x="346" y="436"/>
                    <a:pt x="345" y="434"/>
                    <a:pt x="345" y="434"/>
                  </a:cubicBezTo>
                  <a:cubicBezTo>
                    <a:pt x="344" y="434"/>
                    <a:pt x="344" y="433"/>
                    <a:pt x="344" y="432"/>
                  </a:cubicBezTo>
                  <a:cubicBezTo>
                    <a:pt x="344" y="429"/>
                    <a:pt x="344" y="426"/>
                    <a:pt x="341" y="426"/>
                  </a:cubicBezTo>
                  <a:cubicBezTo>
                    <a:pt x="341" y="426"/>
                    <a:pt x="340" y="426"/>
                    <a:pt x="340" y="426"/>
                  </a:cubicBezTo>
                  <a:cubicBezTo>
                    <a:pt x="337" y="427"/>
                    <a:pt x="331" y="430"/>
                    <a:pt x="325" y="434"/>
                  </a:cubicBezTo>
                  <a:cubicBezTo>
                    <a:pt x="319" y="438"/>
                    <a:pt x="313" y="441"/>
                    <a:pt x="309" y="443"/>
                  </a:cubicBezTo>
                  <a:cubicBezTo>
                    <a:pt x="308" y="443"/>
                    <a:pt x="306" y="444"/>
                    <a:pt x="304" y="444"/>
                  </a:cubicBezTo>
                  <a:cubicBezTo>
                    <a:pt x="303" y="444"/>
                    <a:pt x="300" y="439"/>
                    <a:pt x="298" y="435"/>
                  </a:cubicBezTo>
                  <a:cubicBezTo>
                    <a:pt x="298" y="434"/>
                    <a:pt x="297" y="434"/>
                    <a:pt x="296" y="434"/>
                  </a:cubicBezTo>
                  <a:cubicBezTo>
                    <a:pt x="293" y="433"/>
                    <a:pt x="290" y="433"/>
                    <a:pt x="290" y="432"/>
                  </a:cubicBezTo>
                  <a:cubicBezTo>
                    <a:pt x="290" y="432"/>
                    <a:pt x="290" y="431"/>
                    <a:pt x="292" y="427"/>
                  </a:cubicBezTo>
                  <a:cubicBezTo>
                    <a:pt x="292" y="426"/>
                    <a:pt x="293" y="425"/>
                    <a:pt x="294" y="424"/>
                  </a:cubicBezTo>
                  <a:cubicBezTo>
                    <a:pt x="296" y="423"/>
                    <a:pt x="297" y="421"/>
                    <a:pt x="298" y="419"/>
                  </a:cubicBezTo>
                  <a:cubicBezTo>
                    <a:pt x="298" y="417"/>
                    <a:pt x="297" y="415"/>
                    <a:pt x="296" y="413"/>
                  </a:cubicBezTo>
                  <a:cubicBezTo>
                    <a:pt x="296" y="412"/>
                    <a:pt x="296" y="411"/>
                    <a:pt x="296" y="410"/>
                  </a:cubicBezTo>
                  <a:cubicBezTo>
                    <a:pt x="296" y="409"/>
                    <a:pt x="298" y="406"/>
                    <a:pt x="299" y="405"/>
                  </a:cubicBezTo>
                  <a:cubicBezTo>
                    <a:pt x="299" y="405"/>
                    <a:pt x="300" y="405"/>
                    <a:pt x="301" y="405"/>
                  </a:cubicBezTo>
                  <a:cubicBezTo>
                    <a:pt x="303" y="405"/>
                    <a:pt x="305" y="405"/>
                    <a:pt x="306" y="403"/>
                  </a:cubicBezTo>
                  <a:cubicBezTo>
                    <a:pt x="310" y="400"/>
                    <a:pt x="311" y="390"/>
                    <a:pt x="310" y="386"/>
                  </a:cubicBezTo>
                  <a:cubicBezTo>
                    <a:pt x="310" y="384"/>
                    <a:pt x="309" y="383"/>
                    <a:pt x="307" y="382"/>
                  </a:cubicBezTo>
                  <a:cubicBezTo>
                    <a:pt x="307" y="381"/>
                    <a:pt x="306" y="380"/>
                    <a:pt x="306" y="379"/>
                  </a:cubicBezTo>
                  <a:cubicBezTo>
                    <a:pt x="306" y="379"/>
                    <a:pt x="307" y="377"/>
                    <a:pt x="307" y="376"/>
                  </a:cubicBezTo>
                  <a:cubicBezTo>
                    <a:pt x="308" y="375"/>
                    <a:pt x="309" y="373"/>
                    <a:pt x="309" y="372"/>
                  </a:cubicBezTo>
                  <a:cubicBezTo>
                    <a:pt x="309" y="370"/>
                    <a:pt x="309" y="368"/>
                    <a:pt x="308" y="367"/>
                  </a:cubicBezTo>
                  <a:cubicBezTo>
                    <a:pt x="308" y="366"/>
                    <a:pt x="307" y="365"/>
                    <a:pt x="307" y="365"/>
                  </a:cubicBezTo>
                  <a:cubicBezTo>
                    <a:pt x="307" y="364"/>
                    <a:pt x="309" y="362"/>
                    <a:pt x="310" y="362"/>
                  </a:cubicBezTo>
                  <a:cubicBezTo>
                    <a:pt x="311" y="360"/>
                    <a:pt x="312" y="359"/>
                    <a:pt x="313" y="358"/>
                  </a:cubicBezTo>
                  <a:cubicBezTo>
                    <a:pt x="314" y="356"/>
                    <a:pt x="315" y="351"/>
                    <a:pt x="315" y="350"/>
                  </a:cubicBezTo>
                  <a:cubicBezTo>
                    <a:pt x="323" y="335"/>
                    <a:pt x="323" y="335"/>
                    <a:pt x="323" y="335"/>
                  </a:cubicBezTo>
                  <a:cubicBezTo>
                    <a:pt x="331" y="312"/>
                    <a:pt x="331" y="312"/>
                    <a:pt x="331" y="312"/>
                  </a:cubicBezTo>
                  <a:cubicBezTo>
                    <a:pt x="331" y="311"/>
                    <a:pt x="331" y="310"/>
                    <a:pt x="329" y="309"/>
                  </a:cubicBezTo>
                  <a:cubicBezTo>
                    <a:pt x="322" y="306"/>
                    <a:pt x="322" y="306"/>
                    <a:pt x="322" y="306"/>
                  </a:cubicBezTo>
                  <a:cubicBezTo>
                    <a:pt x="322" y="306"/>
                    <a:pt x="321" y="306"/>
                    <a:pt x="321" y="306"/>
                  </a:cubicBezTo>
                  <a:cubicBezTo>
                    <a:pt x="321" y="306"/>
                    <a:pt x="316" y="307"/>
                    <a:pt x="313" y="307"/>
                  </a:cubicBezTo>
                  <a:cubicBezTo>
                    <a:pt x="312" y="307"/>
                    <a:pt x="312" y="307"/>
                    <a:pt x="312" y="307"/>
                  </a:cubicBezTo>
                  <a:cubicBezTo>
                    <a:pt x="310" y="306"/>
                    <a:pt x="307" y="305"/>
                    <a:pt x="306" y="304"/>
                  </a:cubicBezTo>
                  <a:cubicBezTo>
                    <a:pt x="306" y="304"/>
                    <a:pt x="307" y="303"/>
                    <a:pt x="307" y="302"/>
                  </a:cubicBezTo>
                  <a:cubicBezTo>
                    <a:pt x="308" y="301"/>
                    <a:pt x="309" y="298"/>
                    <a:pt x="307" y="296"/>
                  </a:cubicBezTo>
                  <a:cubicBezTo>
                    <a:pt x="307" y="295"/>
                    <a:pt x="304" y="295"/>
                    <a:pt x="301" y="295"/>
                  </a:cubicBezTo>
                  <a:cubicBezTo>
                    <a:pt x="300" y="295"/>
                    <a:pt x="300" y="296"/>
                    <a:pt x="300" y="296"/>
                  </a:cubicBezTo>
                  <a:cubicBezTo>
                    <a:pt x="299" y="295"/>
                    <a:pt x="299" y="293"/>
                    <a:pt x="298" y="292"/>
                  </a:cubicBezTo>
                  <a:cubicBezTo>
                    <a:pt x="298" y="291"/>
                    <a:pt x="297" y="289"/>
                    <a:pt x="297" y="288"/>
                  </a:cubicBezTo>
                  <a:cubicBezTo>
                    <a:pt x="296" y="287"/>
                    <a:pt x="294" y="286"/>
                    <a:pt x="293" y="285"/>
                  </a:cubicBezTo>
                  <a:cubicBezTo>
                    <a:pt x="292" y="284"/>
                    <a:pt x="290" y="283"/>
                    <a:pt x="290" y="282"/>
                  </a:cubicBezTo>
                  <a:cubicBezTo>
                    <a:pt x="289" y="281"/>
                    <a:pt x="288" y="277"/>
                    <a:pt x="288" y="276"/>
                  </a:cubicBezTo>
                  <a:cubicBezTo>
                    <a:pt x="288" y="276"/>
                    <a:pt x="289" y="275"/>
                    <a:pt x="289" y="275"/>
                  </a:cubicBezTo>
                  <a:cubicBezTo>
                    <a:pt x="289" y="274"/>
                    <a:pt x="290" y="273"/>
                    <a:pt x="290" y="271"/>
                  </a:cubicBezTo>
                  <a:cubicBezTo>
                    <a:pt x="289" y="269"/>
                    <a:pt x="287" y="267"/>
                    <a:pt x="285" y="265"/>
                  </a:cubicBezTo>
                  <a:cubicBezTo>
                    <a:pt x="285" y="264"/>
                    <a:pt x="284" y="264"/>
                    <a:pt x="284" y="263"/>
                  </a:cubicBezTo>
                  <a:cubicBezTo>
                    <a:pt x="281" y="260"/>
                    <a:pt x="276" y="252"/>
                    <a:pt x="274" y="248"/>
                  </a:cubicBezTo>
                  <a:cubicBezTo>
                    <a:pt x="274" y="248"/>
                    <a:pt x="274" y="246"/>
                    <a:pt x="273" y="245"/>
                  </a:cubicBezTo>
                  <a:cubicBezTo>
                    <a:pt x="273" y="243"/>
                    <a:pt x="272" y="241"/>
                    <a:pt x="272" y="240"/>
                  </a:cubicBezTo>
                  <a:cubicBezTo>
                    <a:pt x="271" y="239"/>
                    <a:pt x="270" y="238"/>
                    <a:pt x="269" y="237"/>
                  </a:cubicBezTo>
                  <a:cubicBezTo>
                    <a:pt x="268" y="235"/>
                    <a:pt x="267" y="234"/>
                    <a:pt x="267" y="233"/>
                  </a:cubicBezTo>
                  <a:cubicBezTo>
                    <a:pt x="266" y="233"/>
                    <a:pt x="266" y="232"/>
                    <a:pt x="266" y="231"/>
                  </a:cubicBezTo>
                  <a:cubicBezTo>
                    <a:pt x="266" y="229"/>
                    <a:pt x="265" y="227"/>
                    <a:pt x="264" y="226"/>
                  </a:cubicBezTo>
                  <a:cubicBezTo>
                    <a:pt x="263" y="224"/>
                    <a:pt x="260" y="223"/>
                    <a:pt x="257" y="221"/>
                  </a:cubicBezTo>
                  <a:cubicBezTo>
                    <a:pt x="255" y="221"/>
                    <a:pt x="253" y="220"/>
                    <a:pt x="252" y="219"/>
                  </a:cubicBezTo>
                  <a:cubicBezTo>
                    <a:pt x="252" y="219"/>
                    <a:pt x="252" y="217"/>
                    <a:pt x="251" y="216"/>
                  </a:cubicBezTo>
                  <a:cubicBezTo>
                    <a:pt x="251" y="214"/>
                    <a:pt x="250" y="213"/>
                    <a:pt x="250" y="212"/>
                  </a:cubicBezTo>
                  <a:cubicBezTo>
                    <a:pt x="249" y="210"/>
                    <a:pt x="246" y="208"/>
                    <a:pt x="244" y="206"/>
                  </a:cubicBezTo>
                  <a:cubicBezTo>
                    <a:pt x="243" y="205"/>
                    <a:pt x="239" y="202"/>
                    <a:pt x="238" y="201"/>
                  </a:cubicBezTo>
                  <a:cubicBezTo>
                    <a:pt x="238" y="201"/>
                    <a:pt x="239" y="201"/>
                    <a:pt x="239" y="201"/>
                  </a:cubicBezTo>
                  <a:cubicBezTo>
                    <a:pt x="240" y="201"/>
                    <a:pt x="240" y="201"/>
                    <a:pt x="241" y="201"/>
                  </a:cubicBezTo>
                  <a:cubicBezTo>
                    <a:pt x="242" y="201"/>
                    <a:pt x="245" y="201"/>
                    <a:pt x="246" y="199"/>
                  </a:cubicBezTo>
                  <a:cubicBezTo>
                    <a:pt x="247" y="196"/>
                    <a:pt x="245" y="194"/>
                    <a:pt x="243" y="192"/>
                  </a:cubicBezTo>
                  <a:cubicBezTo>
                    <a:pt x="243" y="191"/>
                    <a:pt x="242" y="190"/>
                    <a:pt x="242" y="190"/>
                  </a:cubicBezTo>
                  <a:cubicBezTo>
                    <a:pt x="242" y="190"/>
                    <a:pt x="242" y="188"/>
                    <a:pt x="243" y="187"/>
                  </a:cubicBezTo>
                  <a:cubicBezTo>
                    <a:pt x="244" y="186"/>
                    <a:pt x="245" y="184"/>
                    <a:pt x="245" y="183"/>
                  </a:cubicBezTo>
                  <a:cubicBezTo>
                    <a:pt x="245" y="181"/>
                    <a:pt x="245" y="178"/>
                    <a:pt x="244" y="174"/>
                  </a:cubicBezTo>
                  <a:cubicBezTo>
                    <a:pt x="243" y="172"/>
                    <a:pt x="242" y="169"/>
                    <a:pt x="241" y="167"/>
                  </a:cubicBezTo>
                  <a:cubicBezTo>
                    <a:pt x="239" y="164"/>
                    <a:pt x="238" y="161"/>
                    <a:pt x="237" y="159"/>
                  </a:cubicBezTo>
                  <a:cubicBezTo>
                    <a:pt x="237" y="159"/>
                    <a:pt x="237" y="158"/>
                    <a:pt x="237" y="158"/>
                  </a:cubicBezTo>
                  <a:cubicBezTo>
                    <a:pt x="237" y="157"/>
                    <a:pt x="237" y="156"/>
                    <a:pt x="237" y="155"/>
                  </a:cubicBezTo>
                  <a:cubicBezTo>
                    <a:pt x="236" y="149"/>
                    <a:pt x="227" y="137"/>
                    <a:pt x="225" y="133"/>
                  </a:cubicBezTo>
                  <a:cubicBezTo>
                    <a:pt x="248" y="19"/>
                    <a:pt x="248" y="19"/>
                    <a:pt x="248" y="19"/>
                  </a:cubicBezTo>
                  <a:cubicBezTo>
                    <a:pt x="248" y="18"/>
                    <a:pt x="247" y="17"/>
                    <a:pt x="246" y="16"/>
                  </a:cubicBezTo>
                  <a:cubicBezTo>
                    <a:pt x="170" y="0"/>
                    <a:pt x="170" y="0"/>
                    <a:pt x="170" y="0"/>
                  </a:cubicBezTo>
                  <a:cubicBezTo>
                    <a:pt x="170" y="0"/>
                    <a:pt x="169" y="0"/>
                    <a:pt x="168" y="1"/>
                  </a:cubicBezTo>
                  <a:cubicBezTo>
                    <a:pt x="168" y="1"/>
                    <a:pt x="167" y="2"/>
                    <a:pt x="167" y="2"/>
                  </a:cubicBezTo>
                  <a:cubicBezTo>
                    <a:pt x="110" y="269"/>
                    <a:pt x="110" y="269"/>
                    <a:pt x="110" y="269"/>
                  </a:cubicBezTo>
                  <a:cubicBezTo>
                    <a:pt x="110" y="274"/>
                    <a:pt x="109" y="288"/>
                    <a:pt x="108" y="293"/>
                  </a:cubicBezTo>
                  <a:cubicBezTo>
                    <a:pt x="107" y="293"/>
                    <a:pt x="107" y="294"/>
                    <a:pt x="106" y="295"/>
                  </a:cubicBezTo>
                  <a:cubicBezTo>
                    <a:pt x="105" y="297"/>
                    <a:pt x="104" y="299"/>
                    <a:pt x="104" y="300"/>
                  </a:cubicBezTo>
                  <a:cubicBezTo>
                    <a:pt x="104" y="303"/>
                    <a:pt x="105" y="307"/>
                    <a:pt x="107" y="310"/>
                  </a:cubicBezTo>
                  <a:cubicBezTo>
                    <a:pt x="108" y="312"/>
                    <a:pt x="109" y="315"/>
                    <a:pt x="109" y="316"/>
                  </a:cubicBezTo>
                  <a:cubicBezTo>
                    <a:pt x="109" y="319"/>
                    <a:pt x="108" y="323"/>
                    <a:pt x="107" y="327"/>
                  </a:cubicBezTo>
                  <a:cubicBezTo>
                    <a:pt x="106" y="331"/>
                    <a:pt x="105" y="336"/>
                    <a:pt x="105" y="339"/>
                  </a:cubicBezTo>
                  <a:cubicBezTo>
                    <a:pt x="105" y="341"/>
                    <a:pt x="106" y="342"/>
                    <a:pt x="107" y="344"/>
                  </a:cubicBezTo>
                  <a:cubicBezTo>
                    <a:pt x="107" y="345"/>
                    <a:pt x="107" y="346"/>
                    <a:pt x="107" y="347"/>
                  </a:cubicBezTo>
                  <a:cubicBezTo>
                    <a:pt x="108" y="349"/>
                    <a:pt x="109" y="354"/>
                    <a:pt x="109" y="356"/>
                  </a:cubicBezTo>
                  <a:cubicBezTo>
                    <a:pt x="109" y="357"/>
                    <a:pt x="109" y="357"/>
                    <a:pt x="109" y="357"/>
                  </a:cubicBezTo>
                  <a:cubicBezTo>
                    <a:pt x="113" y="366"/>
                    <a:pt x="113" y="366"/>
                    <a:pt x="113" y="366"/>
                  </a:cubicBezTo>
                  <a:cubicBezTo>
                    <a:pt x="116" y="370"/>
                    <a:pt x="116" y="370"/>
                    <a:pt x="116" y="370"/>
                  </a:cubicBezTo>
                  <a:cubicBezTo>
                    <a:pt x="116" y="370"/>
                    <a:pt x="116" y="370"/>
                    <a:pt x="116" y="370"/>
                  </a:cubicBezTo>
                  <a:cubicBezTo>
                    <a:pt x="121" y="374"/>
                    <a:pt x="129" y="381"/>
                    <a:pt x="130" y="383"/>
                  </a:cubicBezTo>
                  <a:cubicBezTo>
                    <a:pt x="132" y="386"/>
                    <a:pt x="133" y="394"/>
                    <a:pt x="133" y="397"/>
                  </a:cubicBezTo>
                  <a:cubicBezTo>
                    <a:pt x="133" y="398"/>
                    <a:pt x="131" y="401"/>
                    <a:pt x="129" y="403"/>
                  </a:cubicBezTo>
                  <a:cubicBezTo>
                    <a:pt x="112" y="422"/>
                    <a:pt x="112" y="422"/>
                    <a:pt x="112" y="422"/>
                  </a:cubicBezTo>
                  <a:cubicBezTo>
                    <a:pt x="111" y="423"/>
                    <a:pt x="111" y="423"/>
                    <a:pt x="111" y="423"/>
                  </a:cubicBezTo>
                  <a:cubicBezTo>
                    <a:pt x="111" y="423"/>
                    <a:pt x="103" y="441"/>
                    <a:pt x="100" y="446"/>
                  </a:cubicBezTo>
                  <a:cubicBezTo>
                    <a:pt x="99" y="447"/>
                    <a:pt x="97" y="449"/>
                    <a:pt x="95" y="451"/>
                  </a:cubicBezTo>
                  <a:cubicBezTo>
                    <a:pt x="91" y="454"/>
                    <a:pt x="88" y="457"/>
                    <a:pt x="87" y="460"/>
                  </a:cubicBezTo>
                  <a:cubicBezTo>
                    <a:pt x="86" y="462"/>
                    <a:pt x="86" y="463"/>
                    <a:pt x="86" y="465"/>
                  </a:cubicBezTo>
                  <a:cubicBezTo>
                    <a:pt x="86" y="466"/>
                    <a:pt x="86" y="467"/>
                    <a:pt x="86" y="467"/>
                  </a:cubicBezTo>
                  <a:cubicBezTo>
                    <a:pt x="85" y="469"/>
                    <a:pt x="83" y="472"/>
                    <a:pt x="82" y="474"/>
                  </a:cubicBezTo>
                  <a:cubicBezTo>
                    <a:pt x="81" y="476"/>
                    <a:pt x="77" y="480"/>
                    <a:pt x="76" y="481"/>
                  </a:cubicBezTo>
                  <a:cubicBezTo>
                    <a:pt x="75" y="482"/>
                    <a:pt x="73" y="483"/>
                    <a:pt x="71" y="484"/>
                  </a:cubicBezTo>
                  <a:cubicBezTo>
                    <a:pt x="68" y="486"/>
                    <a:pt x="65" y="488"/>
                    <a:pt x="63" y="489"/>
                  </a:cubicBezTo>
                  <a:cubicBezTo>
                    <a:pt x="61" y="491"/>
                    <a:pt x="60" y="495"/>
                    <a:pt x="58" y="498"/>
                  </a:cubicBezTo>
                  <a:cubicBezTo>
                    <a:pt x="56" y="500"/>
                    <a:pt x="55" y="503"/>
                    <a:pt x="54" y="504"/>
                  </a:cubicBezTo>
                  <a:cubicBezTo>
                    <a:pt x="53" y="505"/>
                    <a:pt x="52" y="506"/>
                    <a:pt x="51" y="506"/>
                  </a:cubicBezTo>
                  <a:cubicBezTo>
                    <a:pt x="49" y="508"/>
                    <a:pt x="47" y="510"/>
                    <a:pt x="46" y="511"/>
                  </a:cubicBezTo>
                  <a:cubicBezTo>
                    <a:pt x="43" y="517"/>
                    <a:pt x="40" y="530"/>
                    <a:pt x="41" y="536"/>
                  </a:cubicBezTo>
                  <a:cubicBezTo>
                    <a:pt x="41" y="538"/>
                    <a:pt x="43" y="541"/>
                    <a:pt x="45" y="542"/>
                  </a:cubicBezTo>
                  <a:cubicBezTo>
                    <a:pt x="46" y="543"/>
                    <a:pt x="48" y="543"/>
                    <a:pt x="50" y="544"/>
                  </a:cubicBezTo>
                  <a:cubicBezTo>
                    <a:pt x="51" y="544"/>
                    <a:pt x="52" y="544"/>
                    <a:pt x="53" y="545"/>
                  </a:cubicBezTo>
                  <a:cubicBezTo>
                    <a:pt x="54" y="545"/>
                    <a:pt x="58" y="548"/>
                    <a:pt x="59" y="549"/>
                  </a:cubicBezTo>
                  <a:cubicBezTo>
                    <a:pt x="61" y="552"/>
                    <a:pt x="63" y="554"/>
                    <a:pt x="63" y="554"/>
                  </a:cubicBezTo>
                  <a:cubicBezTo>
                    <a:pt x="63" y="555"/>
                    <a:pt x="61" y="557"/>
                    <a:pt x="60" y="557"/>
                  </a:cubicBezTo>
                  <a:cubicBezTo>
                    <a:pt x="59" y="559"/>
                    <a:pt x="58" y="560"/>
                    <a:pt x="57" y="562"/>
                  </a:cubicBezTo>
                  <a:cubicBezTo>
                    <a:pt x="56" y="563"/>
                    <a:pt x="56" y="566"/>
                    <a:pt x="56" y="568"/>
                  </a:cubicBezTo>
                  <a:cubicBezTo>
                    <a:pt x="56" y="569"/>
                    <a:pt x="56" y="571"/>
                    <a:pt x="56" y="572"/>
                  </a:cubicBezTo>
                  <a:cubicBezTo>
                    <a:pt x="55" y="576"/>
                    <a:pt x="53" y="583"/>
                    <a:pt x="50" y="586"/>
                  </a:cubicBezTo>
                  <a:cubicBezTo>
                    <a:pt x="50" y="586"/>
                    <a:pt x="50" y="587"/>
                    <a:pt x="49" y="587"/>
                  </a:cubicBezTo>
                  <a:cubicBezTo>
                    <a:pt x="49" y="587"/>
                    <a:pt x="48" y="588"/>
                    <a:pt x="48" y="588"/>
                  </a:cubicBezTo>
                  <a:cubicBezTo>
                    <a:pt x="46" y="590"/>
                    <a:pt x="44" y="594"/>
                    <a:pt x="44" y="594"/>
                  </a:cubicBezTo>
                  <a:cubicBezTo>
                    <a:pt x="43" y="595"/>
                    <a:pt x="43" y="595"/>
                    <a:pt x="43" y="595"/>
                  </a:cubicBezTo>
                  <a:cubicBezTo>
                    <a:pt x="1" y="799"/>
                    <a:pt x="1" y="799"/>
                    <a:pt x="1" y="799"/>
                  </a:cubicBezTo>
                  <a:cubicBezTo>
                    <a:pt x="0" y="803"/>
                    <a:pt x="0" y="803"/>
                    <a:pt x="0" y="803"/>
                  </a:cubicBezTo>
                  <a:cubicBezTo>
                    <a:pt x="0" y="803"/>
                    <a:pt x="0" y="804"/>
                    <a:pt x="0" y="805"/>
                  </a:cubicBezTo>
                  <a:cubicBezTo>
                    <a:pt x="1" y="805"/>
                    <a:pt x="1" y="806"/>
                    <a:pt x="2" y="806"/>
                  </a:cubicBezTo>
                  <a:cubicBezTo>
                    <a:pt x="139" y="834"/>
                    <a:pt x="139" y="834"/>
                    <a:pt x="139" y="834"/>
                  </a:cubicBezTo>
                  <a:cubicBezTo>
                    <a:pt x="254" y="855"/>
                    <a:pt x="254" y="855"/>
                    <a:pt x="254" y="855"/>
                  </a:cubicBezTo>
                  <a:cubicBezTo>
                    <a:pt x="288" y="861"/>
                    <a:pt x="288" y="861"/>
                    <a:pt x="288" y="861"/>
                  </a:cubicBezTo>
                  <a:cubicBezTo>
                    <a:pt x="409" y="882"/>
                    <a:pt x="409" y="882"/>
                    <a:pt x="409" y="882"/>
                  </a:cubicBezTo>
                  <a:cubicBezTo>
                    <a:pt x="510" y="897"/>
                    <a:pt x="510" y="897"/>
                    <a:pt x="510" y="897"/>
                  </a:cubicBezTo>
                  <a:cubicBezTo>
                    <a:pt x="510" y="897"/>
                    <a:pt x="510" y="897"/>
                    <a:pt x="510" y="897"/>
                  </a:cubicBezTo>
                  <a:cubicBezTo>
                    <a:pt x="511" y="897"/>
                    <a:pt x="511" y="897"/>
                    <a:pt x="512" y="896"/>
                  </a:cubicBezTo>
                  <a:cubicBezTo>
                    <a:pt x="512" y="896"/>
                    <a:pt x="513" y="895"/>
                    <a:pt x="513" y="895"/>
                  </a:cubicBezTo>
                  <a:cubicBezTo>
                    <a:pt x="555" y="604"/>
                    <a:pt x="555" y="604"/>
                    <a:pt x="555" y="604"/>
                  </a:cubicBezTo>
                  <a:cubicBezTo>
                    <a:pt x="555" y="603"/>
                    <a:pt x="555" y="602"/>
                    <a:pt x="555" y="602"/>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56">
              <a:extLst>
                <a:ext uri="{FF2B5EF4-FFF2-40B4-BE49-F238E27FC236}">
                  <a16:creationId xmlns:a16="http://schemas.microsoft.com/office/drawing/2014/main" id="{A667F23D-DCD7-456E-B55C-EE82222243FD}"/>
                </a:ext>
              </a:extLst>
            </p:cNvPr>
            <p:cNvSpPr>
              <a:spLocks/>
            </p:cNvSpPr>
            <p:nvPr/>
          </p:nvSpPr>
          <p:spPr bwMode="auto">
            <a:xfrm>
              <a:off x="8217312" y="2778188"/>
              <a:ext cx="182941" cy="177888"/>
            </a:xfrm>
            <a:custGeom>
              <a:avLst/>
              <a:gdLst>
                <a:gd name="T0" fmla="*/ 163 w 165"/>
                <a:gd name="T1" fmla="*/ 76 h 160"/>
                <a:gd name="T2" fmla="*/ 164 w 165"/>
                <a:gd name="T3" fmla="*/ 74 h 160"/>
                <a:gd name="T4" fmla="*/ 165 w 165"/>
                <a:gd name="T5" fmla="*/ 70 h 160"/>
                <a:gd name="T6" fmla="*/ 164 w 165"/>
                <a:gd name="T7" fmla="*/ 62 h 160"/>
                <a:gd name="T8" fmla="*/ 147 w 165"/>
                <a:gd name="T9" fmla="*/ 2 h 160"/>
                <a:gd name="T10" fmla="*/ 145 w 165"/>
                <a:gd name="T11" fmla="*/ 1 h 160"/>
                <a:gd name="T12" fmla="*/ 140 w 165"/>
                <a:gd name="T13" fmla="*/ 0 h 160"/>
                <a:gd name="T14" fmla="*/ 139 w 165"/>
                <a:gd name="T15" fmla="*/ 0 h 160"/>
                <a:gd name="T16" fmla="*/ 96 w 165"/>
                <a:gd name="T17" fmla="*/ 10 h 160"/>
                <a:gd name="T18" fmla="*/ 52 w 165"/>
                <a:gd name="T19" fmla="*/ 21 h 160"/>
                <a:gd name="T20" fmla="*/ 2 w 165"/>
                <a:gd name="T21" fmla="*/ 32 h 160"/>
                <a:gd name="T22" fmla="*/ 0 w 165"/>
                <a:gd name="T23" fmla="*/ 35 h 160"/>
                <a:gd name="T24" fmla="*/ 15 w 165"/>
                <a:gd name="T25" fmla="*/ 119 h 160"/>
                <a:gd name="T26" fmla="*/ 16 w 165"/>
                <a:gd name="T27" fmla="*/ 120 h 160"/>
                <a:gd name="T28" fmla="*/ 20 w 165"/>
                <a:gd name="T29" fmla="*/ 127 h 160"/>
                <a:gd name="T30" fmla="*/ 20 w 165"/>
                <a:gd name="T31" fmla="*/ 133 h 160"/>
                <a:gd name="T32" fmla="*/ 15 w 165"/>
                <a:gd name="T33" fmla="*/ 139 h 160"/>
                <a:gd name="T34" fmla="*/ 8 w 165"/>
                <a:gd name="T35" fmla="*/ 145 h 160"/>
                <a:gd name="T36" fmla="*/ 8 w 165"/>
                <a:gd name="T37" fmla="*/ 150 h 160"/>
                <a:gd name="T38" fmla="*/ 18 w 165"/>
                <a:gd name="T39" fmla="*/ 160 h 160"/>
                <a:gd name="T40" fmla="*/ 19 w 165"/>
                <a:gd name="T41" fmla="*/ 160 h 160"/>
                <a:gd name="T42" fmla="*/ 27 w 165"/>
                <a:gd name="T43" fmla="*/ 157 h 160"/>
                <a:gd name="T44" fmla="*/ 35 w 165"/>
                <a:gd name="T45" fmla="*/ 148 h 160"/>
                <a:gd name="T46" fmla="*/ 41 w 165"/>
                <a:gd name="T47" fmla="*/ 141 h 160"/>
                <a:gd name="T48" fmla="*/ 44 w 165"/>
                <a:gd name="T49" fmla="*/ 140 h 160"/>
                <a:gd name="T50" fmla="*/ 49 w 165"/>
                <a:gd name="T51" fmla="*/ 137 h 160"/>
                <a:gd name="T52" fmla="*/ 52 w 165"/>
                <a:gd name="T53" fmla="*/ 133 h 160"/>
                <a:gd name="T54" fmla="*/ 53 w 165"/>
                <a:gd name="T55" fmla="*/ 130 h 160"/>
                <a:gd name="T56" fmla="*/ 53 w 165"/>
                <a:gd name="T57" fmla="*/ 130 h 160"/>
                <a:gd name="T58" fmla="*/ 58 w 165"/>
                <a:gd name="T59" fmla="*/ 132 h 160"/>
                <a:gd name="T60" fmla="*/ 67 w 165"/>
                <a:gd name="T61" fmla="*/ 123 h 160"/>
                <a:gd name="T62" fmla="*/ 70 w 165"/>
                <a:gd name="T63" fmla="*/ 117 h 160"/>
                <a:gd name="T64" fmla="*/ 74 w 165"/>
                <a:gd name="T65" fmla="*/ 116 h 160"/>
                <a:gd name="T66" fmla="*/ 78 w 165"/>
                <a:gd name="T67" fmla="*/ 116 h 160"/>
                <a:gd name="T68" fmla="*/ 82 w 165"/>
                <a:gd name="T69" fmla="*/ 113 h 160"/>
                <a:gd name="T70" fmla="*/ 85 w 165"/>
                <a:gd name="T71" fmla="*/ 111 h 160"/>
                <a:gd name="T72" fmla="*/ 88 w 165"/>
                <a:gd name="T73" fmla="*/ 112 h 160"/>
                <a:gd name="T74" fmla="*/ 93 w 165"/>
                <a:gd name="T75" fmla="*/ 111 h 160"/>
                <a:gd name="T76" fmla="*/ 96 w 165"/>
                <a:gd name="T77" fmla="*/ 109 h 160"/>
                <a:gd name="T78" fmla="*/ 97 w 165"/>
                <a:gd name="T79" fmla="*/ 108 h 160"/>
                <a:gd name="T80" fmla="*/ 103 w 165"/>
                <a:gd name="T81" fmla="*/ 106 h 160"/>
                <a:gd name="T82" fmla="*/ 114 w 165"/>
                <a:gd name="T83" fmla="*/ 101 h 160"/>
                <a:gd name="T84" fmla="*/ 114 w 165"/>
                <a:gd name="T85" fmla="*/ 95 h 160"/>
                <a:gd name="T86" fmla="*/ 117 w 165"/>
                <a:gd name="T87" fmla="*/ 92 h 160"/>
                <a:gd name="T88" fmla="*/ 117 w 165"/>
                <a:gd name="T89" fmla="*/ 92 h 160"/>
                <a:gd name="T90" fmla="*/ 117 w 165"/>
                <a:gd name="T91" fmla="*/ 92 h 160"/>
                <a:gd name="T92" fmla="*/ 117 w 165"/>
                <a:gd name="T93" fmla="*/ 92 h 160"/>
                <a:gd name="T94" fmla="*/ 118 w 165"/>
                <a:gd name="T95" fmla="*/ 96 h 160"/>
                <a:gd name="T96" fmla="*/ 124 w 165"/>
                <a:gd name="T97" fmla="*/ 98 h 160"/>
                <a:gd name="T98" fmla="*/ 128 w 165"/>
                <a:gd name="T99" fmla="*/ 98 h 160"/>
                <a:gd name="T100" fmla="*/ 139 w 165"/>
                <a:gd name="T101" fmla="*/ 92 h 160"/>
                <a:gd name="T102" fmla="*/ 144 w 165"/>
                <a:gd name="T103" fmla="*/ 88 h 160"/>
                <a:gd name="T104" fmla="*/ 145 w 165"/>
                <a:gd name="T105" fmla="*/ 88 h 160"/>
                <a:gd name="T106" fmla="*/ 154 w 165"/>
                <a:gd name="T107" fmla="*/ 84 h 160"/>
                <a:gd name="T108" fmla="*/ 155 w 165"/>
                <a:gd name="T109" fmla="*/ 85 h 160"/>
                <a:gd name="T110" fmla="*/ 161 w 165"/>
                <a:gd name="T111" fmla="*/ 85 h 160"/>
                <a:gd name="T112" fmla="*/ 164 w 165"/>
                <a:gd name="T113" fmla="*/ 84 h 160"/>
                <a:gd name="T114" fmla="*/ 164 w 165"/>
                <a:gd name="T115" fmla="*/ 78 h 160"/>
                <a:gd name="T116" fmla="*/ 163 w 165"/>
                <a:gd name="T117" fmla="*/ 7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 h="160">
                  <a:moveTo>
                    <a:pt x="163" y="76"/>
                  </a:moveTo>
                  <a:cubicBezTo>
                    <a:pt x="163" y="76"/>
                    <a:pt x="164" y="75"/>
                    <a:pt x="164" y="74"/>
                  </a:cubicBezTo>
                  <a:cubicBezTo>
                    <a:pt x="165" y="73"/>
                    <a:pt x="165" y="72"/>
                    <a:pt x="165" y="70"/>
                  </a:cubicBezTo>
                  <a:cubicBezTo>
                    <a:pt x="165" y="68"/>
                    <a:pt x="164" y="63"/>
                    <a:pt x="164" y="62"/>
                  </a:cubicBezTo>
                  <a:cubicBezTo>
                    <a:pt x="147" y="2"/>
                    <a:pt x="147" y="2"/>
                    <a:pt x="147" y="2"/>
                  </a:cubicBezTo>
                  <a:cubicBezTo>
                    <a:pt x="147" y="1"/>
                    <a:pt x="146" y="1"/>
                    <a:pt x="145" y="1"/>
                  </a:cubicBezTo>
                  <a:cubicBezTo>
                    <a:pt x="140" y="0"/>
                    <a:pt x="140" y="0"/>
                    <a:pt x="140" y="0"/>
                  </a:cubicBezTo>
                  <a:cubicBezTo>
                    <a:pt x="140" y="0"/>
                    <a:pt x="140" y="0"/>
                    <a:pt x="139" y="0"/>
                  </a:cubicBezTo>
                  <a:cubicBezTo>
                    <a:pt x="125" y="2"/>
                    <a:pt x="110" y="6"/>
                    <a:pt x="96" y="10"/>
                  </a:cubicBezTo>
                  <a:cubicBezTo>
                    <a:pt x="81" y="15"/>
                    <a:pt x="67" y="19"/>
                    <a:pt x="52" y="21"/>
                  </a:cubicBezTo>
                  <a:cubicBezTo>
                    <a:pt x="2" y="32"/>
                    <a:pt x="2" y="32"/>
                    <a:pt x="2" y="32"/>
                  </a:cubicBezTo>
                  <a:cubicBezTo>
                    <a:pt x="1" y="32"/>
                    <a:pt x="0" y="33"/>
                    <a:pt x="0" y="35"/>
                  </a:cubicBezTo>
                  <a:cubicBezTo>
                    <a:pt x="15" y="119"/>
                    <a:pt x="15" y="119"/>
                    <a:pt x="15" y="119"/>
                  </a:cubicBezTo>
                  <a:cubicBezTo>
                    <a:pt x="15" y="119"/>
                    <a:pt x="16" y="120"/>
                    <a:pt x="16" y="120"/>
                  </a:cubicBezTo>
                  <a:cubicBezTo>
                    <a:pt x="18" y="123"/>
                    <a:pt x="20" y="126"/>
                    <a:pt x="20" y="127"/>
                  </a:cubicBezTo>
                  <a:cubicBezTo>
                    <a:pt x="21" y="129"/>
                    <a:pt x="21" y="132"/>
                    <a:pt x="20" y="133"/>
                  </a:cubicBezTo>
                  <a:cubicBezTo>
                    <a:pt x="20" y="135"/>
                    <a:pt x="17" y="137"/>
                    <a:pt x="15" y="139"/>
                  </a:cubicBezTo>
                  <a:cubicBezTo>
                    <a:pt x="12" y="141"/>
                    <a:pt x="9" y="143"/>
                    <a:pt x="8" y="145"/>
                  </a:cubicBezTo>
                  <a:cubicBezTo>
                    <a:pt x="8" y="147"/>
                    <a:pt x="8" y="149"/>
                    <a:pt x="8" y="150"/>
                  </a:cubicBezTo>
                  <a:cubicBezTo>
                    <a:pt x="9" y="153"/>
                    <a:pt x="14" y="159"/>
                    <a:pt x="18" y="160"/>
                  </a:cubicBezTo>
                  <a:cubicBezTo>
                    <a:pt x="18" y="160"/>
                    <a:pt x="19" y="160"/>
                    <a:pt x="19" y="160"/>
                  </a:cubicBezTo>
                  <a:cubicBezTo>
                    <a:pt x="23" y="160"/>
                    <a:pt x="27" y="157"/>
                    <a:pt x="27" y="157"/>
                  </a:cubicBezTo>
                  <a:cubicBezTo>
                    <a:pt x="30" y="155"/>
                    <a:pt x="32" y="152"/>
                    <a:pt x="35" y="148"/>
                  </a:cubicBezTo>
                  <a:cubicBezTo>
                    <a:pt x="37" y="146"/>
                    <a:pt x="39" y="143"/>
                    <a:pt x="41" y="141"/>
                  </a:cubicBezTo>
                  <a:cubicBezTo>
                    <a:pt x="42" y="141"/>
                    <a:pt x="43" y="140"/>
                    <a:pt x="44" y="140"/>
                  </a:cubicBezTo>
                  <a:cubicBezTo>
                    <a:pt x="46" y="139"/>
                    <a:pt x="48" y="138"/>
                    <a:pt x="49" y="137"/>
                  </a:cubicBezTo>
                  <a:cubicBezTo>
                    <a:pt x="50" y="136"/>
                    <a:pt x="51" y="134"/>
                    <a:pt x="52" y="133"/>
                  </a:cubicBezTo>
                  <a:cubicBezTo>
                    <a:pt x="52" y="132"/>
                    <a:pt x="53" y="131"/>
                    <a:pt x="53" y="130"/>
                  </a:cubicBezTo>
                  <a:cubicBezTo>
                    <a:pt x="53" y="130"/>
                    <a:pt x="53" y="130"/>
                    <a:pt x="53" y="130"/>
                  </a:cubicBezTo>
                  <a:cubicBezTo>
                    <a:pt x="54" y="131"/>
                    <a:pt x="56" y="133"/>
                    <a:pt x="58" y="132"/>
                  </a:cubicBezTo>
                  <a:cubicBezTo>
                    <a:pt x="62" y="132"/>
                    <a:pt x="64" y="127"/>
                    <a:pt x="67" y="123"/>
                  </a:cubicBezTo>
                  <a:cubicBezTo>
                    <a:pt x="68" y="120"/>
                    <a:pt x="69" y="118"/>
                    <a:pt x="70" y="117"/>
                  </a:cubicBezTo>
                  <a:cubicBezTo>
                    <a:pt x="71" y="117"/>
                    <a:pt x="73" y="116"/>
                    <a:pt x="74" y="116"/>
                  </a:cubicBezTo>
                  <a:cubicBezTo>
                    <a:pt x="75" y="116"/>
                    <a:pt x="77" y="116"/>
                    <a:pt x="78" y="116"/>
                  </a:cubicBezTo>
                  <a:cubicBezTo>
                    <a:pt x="79" y="115"/>
                    <a:pt x="80" y="114"/>
                    <a:pt x="82" y="113"/>
                  </a:cubicBezTo>
                  <a:cubicBezTo>
                    <a:pt x="83" y="113"/>
                    <a:pt x="84" y="112"/>
                    <a:pt x="85" y="111"/>
                  </a:cubicBezTo>
                  <a:cubicBezTo>
                    <a:pt x="86" y="111"/>
                    <a:pt x="87" y="112"/>
                    <a:pt x="88" y="112"/>
                  </a:cubicBezTo>
                  <a:cubicBezTo>
                    <a:pt x="90" y="112"/>
                    <a:pt x="92" y="112"/>
                    <a:pt x="93" y="111"/>
                  </a:cubicBezTo>
                  <a:cubicBezTo>
                    <a:pt x="94" y="111"/>
                    <a:pt x="95" y="110"/>
                    <a:pt x="96" y="109"/>
                  </a:cubicBezTo>
                  <a:cubicBezTo>
                    <a:pt x="96" y="108"/>
                    <a:pt x="97" y="108"/>
                    <a:pt x="97" y="108"/>
                  </a:cubicBezTo>
                  <a:cubicBezTo>
                    <a:pt x="99" y="107"/>
                    <a:pt x="101" y="106"/>
                    <a:pt x="103" y="106"/>
                  </a:cubicBezTo>
                  <a:cubicBezTo>
                    <a:pt x="107" y="105"/>
                    <a:pt x="111" y="105"/>
                    <a:pt x="114" y="101"/>
                  </a:cubicBezTo>
                  <a:cubicBezTo>
                    <a:pt x="114" y="101"/>
                    <a:pt x="115" y="99"/>
                    <a:pt x="114" y="95"/>
                  </a:cubicBezTo>
                  <a:cubicBezTo>
                    <a:pt x="114" y="95"/>
                    <a:pt x="116" y="93"/>
                    <a:pt x="117" y="92"/>
                  </a:cubicBezTo>
                  <a:cubicBezTo>
                    <a:pt x="117" y="92"/>
                    <a:pt x="117" y="92"/>
                    <a:pt x="117" y="92"/>
                  </a:cubicBezTo>
                  <a:cubicBezTo>
                    <a:pt x="117" y="92"/>
                    <a:pt x="117" y="92"/>
                    <a:pt x="117" y="92"/>
                  </a:cubicBezTo>
                  <a:cubicBezTo>
                    <a:pt x="117" y="92"/>
                    <a:pt x="117" y="92"/>
                    <a:pt x="117" y="92"/>
                  </a:cubicBezTo>
                  <a:cubicBezTo>
                    <a:pt x="117" y="93"/>
                    <a:pt x="116" y="95"/>
                    <a:pt x="118" y="96"/>
                  </a:cubicBezTo>
                  <a:cubicBezTo>
                    <a:pt x="119" y="98"/>
                    <a:pt x="121" y="98"/>
                    <a:pt x="124" y="98"/>
                  </a:cubicBezTo>
                  <a:cubicBezTo>
                    <a:pt x="125" y="98"/>
                    <a:pt x="127" y="98"/>
                    <a:pt x="128" y="98"/>
                  </a:cubicBezTo>
                  <a:cubicBezTo>
                    <a:pt x="131" y="97"/>
                    <a:pt x="135" y="94"/>
                    <a:pt x="139" y="92"/>
                  </a:cubicBezTo>
                  <a:cubicBezTo>
                    <a:pt x="141" y="90"/>
                    <a:pt x="142" y="89"/>
                    <a:pt x="144" y="88"/>
                  </a:cubicBezTo>
                  <a:cubicBezTo>
                    <a:pt x="145" y="88"/>
                    <a:pt x="145" y="88"/>
                    <a:pt x="145" y="88"/>
                  </a:cubicBezTo>
                  <a:cubicBezTo>
                    <a:pt x="147" y="86"/>
                    <a:pt x="151" y="84"/>
                    <a:pt x="154" y="84"/>
                  </a:cubicBezTo>
                  <a:cubicBezTo>
                    <a:pt x="154" y="84"/>
                    <a:pt x="154" y="84"/>
                    <a:pt x="155" y="85"/>
                  </a:cubicBezTo>
                  <a:cubicBezTo>
                    <a:pt x="156" y="85"/>
                    <a:pt x="159" y="85"/>
                    <a:pt x="161" y="85"/>
                  </a:cubicBezTo>
                  <a:cubicBezTo>
                    <a:pt x="162" y="85"/>
                    <a:pt x="163" y="85"/>
                    <a:pt x="164" y="84"/>
                  </a:cubicBezTo>
                  <a:cubicBezTo>
                    <a:pt x="165" y="83"/>
                    <a:pt x="165" y="81"/>
                    <a:pt x="164" y="78"/>
                  </a:cubicBezTo>
                  <a:cubicBezTo>
                    <a:pt x="163" y="77"/>
                    <a:pt x="163" y="76"/>
                    <a:pt x="163" y="76"/>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57">
              <a:extLst>
                <a:ext uri="{FF2B5EF4-FFF2-40B4-BE49-F238E27FC236}">
                  <a16:creationId xmlns:a16="http://schemas.microsoft.com/office/drawing/2014/main" id="{284257D1-914F-4682-ADAC-3E68FD14A57A}"/>
                </a:ext>
              </a:extLst>
            </p:cNvPr>
            <p:cNvSpPr>
              <a:spLocks/>
            </p:cNvSpPr>
            <p:nvPr/>
          </p:nvSpPr>
          <p:spPr bwMode="auto">
            <a:xfrm>
              <a:off x="3326407" y="2728662"/>
              <a:ext cx="843957" cy="1415017"/>
            </a:xfrm>
            <a:custGeom>
              <a:avLst/>
              <a:gdLst>
                <a:gd name="T0" fmla="*/ 738 w 760"/>
                <a:gd name="T1" fmla="*/ 1053 h 1272"/>
                <a:gd name="T2" fmla="*/ 726 w 760"/>
                <a:gd name="T3" fmla="*/ 1020 h 1272"/>
                <a:gd name="T4" fmla="*/ 340 w 760"/>
                <a:gd name="T5" fmla="*/ 437 h 1272"/>
                <a:gd name="T6" fmla="*/ 75 w 760"/>
                <a:gd name="T7" fmla="*/ 1 h 1272"/>
                <a:gd name="T8" fmla="*/ 62 w 760"/>
                <a:gd name="T9" fmla="*/ 32 h 1272"/>
                <a:gd name="T10" fmla="*/ 62 w 760"/>
                <a:gd name="T11" fmla="*/ 71 h 1272"/>
                <a:gd name="T12" fmla="*/ 45 w 760"/>
                <a:gd name="T13" fmla="*/ 112 h 1272"/>
                <a:gd name="T14" fmla="*/ 33 w 760"/>
                <a:gd name="T15" fmla="*/ 134 h 1272"/>
                <a:gd name="T16" fmla="*/ 16 w 760"/>
                <a:gd name="T17" fmla="*/ 152 h 1272"/>
                <a:gd name="T18" fmla="*/ 2 w 760"/>
                <a:gd name="T19" fmla="*/ 188 h 1272"/>
                <a:gd name="T20" fmla="*/ 16 w 760"/>
                <a:gd name="T21" fmla="*/ 222 h 1272"/>
                <a:gd name="T22" fmla="*/ 28 w 760"/>
                <a:gd name="T23" fmla="*/ 260 h 1272"/>
                <a:gd name="T24" fmla="*/ 27 w 760"/>
                <a:gd name="T25" fmla="*/ 278 h 1272"/>
                <a:gd name="T26" fmla="*/ 16 w 760"/>
                <a:gd name="T27" fmla="*/ 309 h 1272"/>
                <a:gd name="T28" fmla="*/ 9 w 760"/>
                <a:gd name="T29" fmla="*/ 358 h 1272"/>
                <a:gd name="T30" fmla="*/ 33 w 760"/>
                <a:gd name="T31" fmla="*/ 412 h 1272"/>
                <a:gd name="T32" fmla="*/ 48 w 760"/>
                <a:gd name="T33" fmla="*/ 439 h 1272"/>
                <a:gd name="T34" fmla="*/ 59 w 760"/>
                <a:gd name="T35" fmla="*/ 476 h 1272"/>
                <a:gd name="T36" fmla="*/ 73 w 760"/>
                <a:gd name="T37" fmla="*/ 504 h 1272"/>
                <a:gd name="T38" fmla="*/ 126 w 760"/>
                <a:gd name="T39" fmla="*/ 487 h 1272"/>
                <a:gd name="T40" fmla="*/ 114 w 760"/>
                <a:gd name="T41" fmla="*/ 523 h 1272"/>
                <a:gd name="T42" fmla="*/ 114 w 760"/>
                <a:gd name="T43" fmla="*/ 568 h 1272"/>
                <a:gd name="T44" fmla="*/ 97 w 760"/>
                <a:gd name="T45" fmla="*/ 534 h 1272"/>
                <a:gd name="T46" fmla="*/ 83 w 760"/>
                <a:gd name="T47" fmla="*/ 518 h 1272"/>
                <a:gd name="T48" fmla="*/ 72 w 760"/>
                <a:gd name="T49" fmla="*/ 549 h 1272"/>
                <a:gd name="T50" fmla="*/ 74 w 760"/>
                <a:gd name="T51" fmla="*/ 579 h 1272"/>
                <a:gd name="T52" fmla="*/ 88 w 760"/>
                <a:gd name="T53" fmla="*/ 622 h 1272"/>
                <a:gd name="T54" fmla="*/ 112 w 760"/>
                <a:gd name="T55" fmla="*/ 656 h 1272"/>
                <a:gd name="T56" fmla="*/ 91 w 760"/>
                <a:gd name="T57" fmla="*/ 693 h 1272"/>
                <a:gd name="T58" fmla="*/ 108 w 760"/>
                <a:gd name="T59" fmla="*/ 734 h 1272"/>
                <a:gd name="T60" fmla="*/ 118 w 760"/>
                <a:gd name="T61" fmla="*/ 764 h 1272"/>
                <a:gd name="T62" fmla="*/ 130 w 760"/>
                <a:gd name="T63" fmla="*/ 794 h 1272"/>
                <a:gd name="T64" fmla="*/ 150 w 760"/>
                <a:gd name="T65" fmla="*/ 825 h 1272"/>
                <a:gd name="T66" fmla="*/ 151 w 760"/>
                <a:gd name="T67" fmla="*/ 852 h 1272"/>
                <a:gd name="T68" fmla="*/ 170 w 760"/>
                <a:gd name="T69" fmla="*/ 876 h 1272"/>
                <a:gd name="T70" fmla="*/ 161 w 760"/>
                <a:gd name="T71" fmla="*/ 904 h 1272"/>
                <a:gd name="T72" fmla="*/ 155 w 760"/>
                <a:gd name="T73" fmla="*/ 925 h 1272"/>
                <a:gd name="T74" fmla="*/ 165 w 760"/>
                <a:gd name="T75" fmla="*/ 944 h 1272"/>
                <a:gd name="T76" fmla="*/ 198 w 760"/>
                <a:gd name="T77" fmla="*/ 957 h 1272"/>
                <a:gd name="T78" fmla="*/ 224 w 760"/>
                <a:gd name="T79" fmla="*/ 970 h 1272"/>
                <a:gd name="T80" fmla="*/ 264 w 760"/>
                <a:gd name="T81" fmla="*/ 991 h 1272"/>
                <a:gd name="T82" fmla="*/ 287 w 760"/>
                <a:gd name="T83" fmla="*/ 1024 h 1272"/>
                <a:gd name="T84" fmla="*/ 336 w 760"/>
                <a:gd name="T85" fmla="*/ 1042 h 1272"/>
                <a:gd name="T86" fmla="*/ 341 w 760"/>
                <a:gd name="T87" fmla="*/ 1078 h 1272"/>
                <a:gd name="T88" fmla="*/ 361 w 760"/>
                <a:gd name="T89" fmla="*/ 1080 h 1272"/>
                <a:gd name="T90" fmla="*/ 385 w 760"/>
                <a:gd name="T91" fmla="*/ 1106 h 1272"/>
                <a:gd name="T92" fmla="*/ 426 w 760"/>
                <a:gd name="T93" fmla="*/ 1187 h 1272"/>
                <a:gd name="T94" fmla="*/ 421 w 760"/>
                <a:gd name="T95" fmla="*/ 1219 h 1272"/>
                <a:gd name="T96" fmla="*/ 431 w 760"/>
                <a:gd name="T97" fmla="*/ 1244 h 1272"/>
                <a:gd name="T98" fmla="*/ 672 w 760"/>
                <a:gd name="T99" fmla="*/ 1268 h 1272"/>
                <a:gd name="T100" fmla="*/ 683 w 760"/>
                <a:gd name="T101" fmla="*/ 1272 h 1272"/>
                <a:gd name="T102" fmla="*/ 697 w 760"/>
                <a:gd name="T103" fmla="*/ 1258 h 1272"/>
                <a:gd name="T104" fmla="*/ 688 w 760"/>
                <a:gd name="T105" fmla="*/ 1230 h 1272"/>
                <a:gd name="T106" fmla="*/ 684 w 760"/>
                <a:gd name="T107" fmla="*/ 1215 h 1272"/>
                <a:gd name="T108" fmla="*/ 692 w 760"/>
                <a:gd name="T109" fmla="*/ 1189 h 1272"/>
                <a:gd name="T110" fmla="*/ 714 w 760"/>
                <a:gd name="T111" fmla="*/ 1145 h 1272"/>
                <a:gd name="T112" fmla="*/ 724 w 760"/>
                <a:gd name="T113" fmla="*/ 1123 h 1272"/>
                <a:gd name="T114" fmla="*/ 760 w 760"/>
                <a:gd name="T115" fmla="*/ 1093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60" h="1272">
                  <a:moveTo>
                    <a:pt x="754" y="1084"/>
                  </a:moveTo>
                  <a:cubicBezTo>
                    <a:pt x="741" y="1070"/>
                    <a:pt x="741" y="1070"/>
                    <a:pt x="741" y="1070"/>
                  </a:cubicBezTo>
                  <a:cubicBezTo>
                    <a:pt x="741" y="1067"/>
                    <a:pt x="742" y="1063"/>
                    <a:pt x="741" y="1061"/>
                  </a:cubicBezTo>
                  <a:cubicBezTo>
                    <a:pt x="741" y="1060"/>
                    <a:pt x="740" y="1058"/>
                    <a:pt x="740" y="1056"/>
                  </a:cubicBezTo>
                  <a:cubicBezTo>
                    <a:pt x="739" y="1055"/>
                    <a:pt x="739" y="1054"/>
                    <a:pt x="738" y="1053"/>
                  </a:cubicBezTo>
                  <a:cubicBezTo>
                    <a:pt x="738" y="1052"/>
                    <a:pt x="738" y="1051"/>
                    <a:pt x="738" y="1050"/>
                  </a:cubicBezTo>
                  <a:cubicBezTo>
                    <a:pt x="738" y="1048"/>
                    <a:pt x="738" y="1047"/>
                    <a:pt x="738" y="1046"/>
                  </a:cubicBezTo>
                  <a:cubicBezTo>
                    <a:pt x="737" y="1043"/>
                    <a:pt x="736" y="1038"/>
                    <a:pt x="735" y="1036"/>
                  </a:cubicBezTo>
                  <a:cubicBezTo>
                    <a:pt x="734" y="1034"/>
                    <a:pt x="732" y="1031"/>
                    <a:pt x="731" y="1029"/>
                  </a:cubicBezTo>
                  <a:cubicBezTo>
                    <a:pt x="729" y="1026"/>
                    <a:pt x="727" y="1022"/>
                    <a:pt x="726" y="1020"/>
                  </a:cubicBezTo>
                  <a:cubicBezTo>
                    <a:pt x="726" y="1019"/>
                    <a:pt x="726" y="1016"/>
                    <a:pt x="726" y="1013"/>
                  </a:cubicBezTo>
                  <a:cubicBezTo>
                    <a:pt x="728" y="1006"/>
                    <a:pt x="728" y="1006"/>
                    <a:pt x="728" y="1006"/>
                  </a:cubicBezTo>
                  <a:cubicBezTo>
                    <a:pt x="728" y="1005"/>
                    <a:pt x="728" y="1005"/>
                    <a:pt x="727" y="1004"/>
                  </a:cubicBezTo>
                  <a:cubicBezTo>
                    <a:pt x="612" y="834"/>
                    <a:pt x="612" y="834"/>
                    <a:pt x="612" y="834"/>
                  </a:cubicBezTo>
                  <a:cubicBezTo>
                    <a:pt x="340" y="437"/>
                    <a:pt x="340" y="437"/>
                    <a:pt x="340" y="437"/>
                  </a:cubicBezTo>
                  <a:cubicBezTo>
                    <a:pt x="359" y="361"/>
                    <a:pt x="359" y="361"/>
                    <a:pt x="359" y="361"/>
                  </a:cubicBezTo>
                  <a:cubicBezTo>
                    <a:pt x="423" y="96"/>
                    <a:pt x="423" y="96"/>
                    <a:pt x="423" y="96"/>
                  </a:cubicBezTo>
                  <a:cubicBezTo>
                    <a:pt x="424" y="95"/>
                    <a:pt x="423" y="93"/>
                    <a:pt x="421" y="93"/>
                  </a:cubicBezTo>
                  <a:cubicBezTo>
                    <a:pt x="263" y="53"/>
                    <a:pt x="263" y="53"/>
                    <a:pt x="263" y="53"/>
                  </a:cubicBezTo>
                  <a:cubicBezTo>
                    <a:pt x="75" y="1"/>
                    <a:pt x="75" y="1"/>
                    <a:pt x="75" y="1"/>
                  </a:cubicBezTo>
                  <a:cubicBezTo>
                    <a:pt x="71" y="0"/>
                    <a:pt x="71" y="0"/>
                    <a:pt x="71" y="0"/>
                  </a:cubicBezTo>
                  <a:cubicBezTo>
                    <a:pt x="70" y="0"/>
                    <a:pt x="69" y="0"/>
                    <a:pt x="69" y="2"/>
                  </a:cubicBezTo>
                  <a:cubicBezTo>
                    <a:pt x="64" y="17"/>
                    <a:pt x="64" y="17"/>
                    <a:pt x="64" y="17"/>
                  </a:cubicBezTo>
                  <a:cubicBezTo>
                    <a:pt x="62" y="19"/>
                    <a:pt x="59" y="23"/>
                    <a:pt x="59" y="26"/>
                  </a:cubicBezTo>
                  <a:cubicBezTo>
                    <a:pt x="59" y="28"/>
                    <a:pt x="61" y="30"/>
                    <a:pt x="62" y="32"/>
                  </a:cubicBezTo>
                  <a:cubicBezTo>
                    <a:pt x="63" y="33"/>
                    <a:pt x="64" y="34"/>
                    <a:pt x="64" y="35"/>
                  </a:cubicBezTo>
                  <a:cubicBezTo>
                    <a:pt x="64" y="35"/>
                    <a:pt x="64" y="37"/>
                    <a:pt x="64" y="38"/>
                  </a:cubicBezTo>
                  <a:cubicBezTo>
                    <a:pt x="64" y="39"/>
                    <a:pt x="63" y="40"/>
                    <a:pt x="63" y="41"/>
                  </a:cubicBezTo>
                  <a:cubicBezTo>
                    <a:pt x="63" y="45"/>
                    <a:pt x="65" y="54"/>
                    <a:pt x="65" y="56"/>
                  </a:cubicBezTo>
                  <a:cubicBezTo>
                    <a:pt x="64" y="61"/>
                    <a:pt x="63" y="69"/>
                    <a:pt x="62" y="71"/>
                  </a:cubicBezTo>
                  <a:cubicBezTo>
                    <a:pt x="61" y="73"/>
                    <a:pt x="59" y="75"/>
                    <a:pt x="58" y="78"/>
                  </a:cubicBezTo>
                  <a:cubicBezTo>
                    <a:pt x="52" y="88"/>
                    <a:pt x="44" y="103"/>
                    <a:pt x="44" y="103"/>
                  </a:cubicBezTo>
                  <a:cubicBezTo>
                    <a:pt x="43" y="104"/>
                    <a:pt x="43" y="104"/>
                    <a:pt x="43" y="104"/>
                  </a:cubicBezTo>
                  <a:cubicBezTo>
                    <a:pt x="43" y="106"/>
                    <a:pt x="44" y="108"/>
                    <a:pt x="44" y="109"/>
                  </a:cubicBezTo>
                  <a:cubicBezTo>
                    <a:pt x="44" y="110"/>
                    <a:pt x="45" y="111"/>
                    <a:pt x="45" y="112"/>
                  </a:cubicBezTo>
                  <a:cubicBezTo>
                    <a:pt x="45" y="113"/>
                    <a:pt x="43" y="117"/>
                    <a:pt x="42" y="119"/>
                  </a:cubicBezTo>
                  <a:cubicBezTo>
                    <a:pt x="42" y="120"/>
                    <a:pt x="40" y="121"/>
                    <a:pt x="39" y="122"/>
                  </a:cubicBezTo>
                  <a:cubicBezTo>
                    <a:pt x="39" y="124"/>
                    <a:pt x="38" y="125"/>
                    <a:pt x="37" y="126"/>
                  </a:cubicBezTo>
                  <a:cubicBezTo>
                    <a:pt x="36" y="127"/>
                    <a:pt x="35" y="129"/>
                    <a:pt x="35" y="131"/>
                  </a:cubicBezTo>
                  <a:cubicBezTo>
                    <a:pt x="34" y="132"/>
                    <a:pt x="34" y="133"/>
                    <a:pt x="33" y="134"/>
                  </a:cubicBezTo>
                  <a:cubicBezTo>
                    <a:pt x="32" y="137"/>
                    <a:pt x="31" y="139"/>
                    <a:pt x="29" y="140"/>
                  </a:cubicBezTo>
                  <a:cubicBezTo>
                    <a:pt x="29" y="141"/>
                    <a:pt x="27" y="141"/>
                    <a:pt x="26" y="141"/>
                  </a:cubicBezTo>
                  <a:cubicBezTo>
                    <a:pt x="24" y="142"/>
                    <a:pt x="22" y="143"/>
                    <a:pt x="21" y="144"/>
                  </a:cubicBezTo>
                  <a:cubicBezTo>
                    <a:pt x="20" y="145"/>
                    <a:pt x="19" y="147"/>
                    <a:pt x="18" y="149"/>
                  </a:cubicBezTo>
                  <a:cubicBezTo>
                    <a:pt x="17" y="150"/>
                    <a:pt x="17" y="151"/>
                    <a:pt x="16" y="152"/>
                  </a:cubicBezTo>
                  <a:cubicBezTo>
                    <a:pt x="16" y="153"/>
                    <a:pt x="14" y="154"/>
                    <a:pt x="13" y="155"/>
                  </a:cubicBezTo>
                  <a:cubicBezTo>
                    <a:pt x="12" y="157"/>
                    <a:pt x="10" y="158"/>
                    <a:pt x="9" y="160"/>
                  </a:cubicBezTo>
                  <a:cubicBezTo>
                    <a:pt x="7" y="163"/>
                    <a:pt x="3" y="171"/>
                    <a:pt x="2" y="176"/>
                  </a:cubicBezTo>
                  <a:cubicBezTo>
                    <a:pt x="2" y="178"/>
                    <a:pt x="2" y="180"/>
                    <a:pt x="2" y="183"/>
                  </a:cubicBezTo>
                  <a:cubicBezTo>
                    <a:pt x="2" y="185"/>
                    <a:pt x="2" y="187"/>
                    <a:pt x="2" y="188"/>
                  </a:cubicBezTo>
                  <a:cubicBezTo>
                    <a:pt x="2" y="189"/>
                    <a:pt x="2" y="190"/>
                    <a:pt x="1" y="190"/>
                  </a:cubicBezTo>
                  <a:cubicBezTo>
                    <a:pt x="0" y="193"/>
                    <a:pt x="0" y="195"/>
                    <a:pt x="0" y="197"/>
                  </a:cubicBezTo>
                  <a:cubicBezTo>
                    <a:pt x="1" y="201"/>
                    <a:pt x="5" y="205"/>
                    <a:pt x="9" y="210"/>
                  </a:cubicBezTo>
                  <a:cubicBezTo>
                    <a:pt x="12" y="213"/>
                    <a:pt x="15" y="217"/>
                    <a:pt x="16" y="219"/>
                  </a:cubicBezTo>
                  <a:cubicBezTo>
                    <a:pt x="16" y="220"/>
                    <a:pt x="16" y="221"/>
                    <a:pt x="16" y="222"/>
                  </a:cubicBezTo>
                  <a:cubicBezTo>
                    <a:pt x="16" y="224"/>
                    <a:pt x="15" y="225"/>
                    <a:pt x="16" y="227"/>
                  </a:cubicBezTo>
                  <a:cubicBezTo>
                    <a:pt x="16" y="228"/>
                    <a:pt x="18" y="230"/>
                    <a:pt x="19" y="232"/>
                  </a:cubicBezTo>
                  <a:cubicBezTo>
                    <a:pt x="20" y="233"/>
                    <a:pt x="21" y="234"/>
                    <a:pt x="21" y="234"/>
                  </a:cubicBezTo>
                  <a:cubicBezTo>
                    <a:pt x="24" y="239"/>
                    <a:pt x="28" y="251"/>
                    <a:pt x="28" y="256"/>
                  </a:cubicBezTo>
                  <a:cubicBezTo>
                    <a:pt x="28" y="257"/>
                    <a:pt x="28" y="259"/>
                    <a:pt x="28" y="260"/>
                  </a:cubicBezTo>
                  <a:cubicBezTo>
                    <a:pt x="28" y="261"/>
                    <a:pt x="27" y="263"/>
                    <a:pt x="27" y="264"/>
                  </a:cubicBezTo>
                  <a:cubicBezTo>
                    <a:pt x="27" y="265"/>
                    <a:pt x="28" y="266"/>
                    <a:pt x="28" y="268"/>
                  </a:cubicBezTo>
                  <a:cubicBezTo>
                    <a:pt x="28" y="269"/>
                    <a:pt x="29" y="271"/>
                    <a:pt x="29" y="271"/>
                  </a:cubicBezTo>
                  <a:cubicBezTo>
                    <a:pt x="29" y="272"/>
                    <a:pt x="28" y="274"/>
                    <a:pt x="28" y="275"/>
                  </a:cubicBezTo>
                  <a:cubicBezTo>
                    <a:pt x="28" y="276"/>
                    <a:pt x="27" y="277"/>
                    <a:pt x="27" y="278"/>
                  </a:cubicBezTo>
                  <a:cubicBezTo>
                    <a:pt x="27" y="279"/>
                    <a:pt x="27" y="281"/>
                    <a:pt x="27" y="282"/>
                  </a:cubicBezTo>
                  <a:cubicBezTo>
                    <a:pt x="28" y="284"/>
                    <a:pt x="28" y="286"/>
                    <a:pt x="27" y="287"/>
                  </a:cubicBezTo>
                  <a:cubicBezTo>
                    <a:pt x="27" y="288"/>
                    <a:pt x="26" y="290"/>
                    <a:pt x="24" y="292"/>
                  </a:cubicBezTo>
                  <a:cubicBezTo>
                    <a:pt x="24" y="292"/>
                    <a:pt x="23" y="293"/>
                    <a:pt x="23" y="294"/>
                  </a:cubicBezTo>
                  <a:cubicBezTo>
                    <a:pt x="21" y="297"/>
                    <a:pt x="17" y="305"/>
                    <a:pt x="16" y="309"/>
                  </a:cubicBezTo>
                  <a:cubicBezTo>
                    <a:pt x="15" y="315"/>
                    <a:pt x="16" y="325"/>
                    <a:pt x="17" y="333"/>
                  </a:cubicBezTo>
                  <a:cubicBezTo>
                    <a:pt x="17" y="335"/>
                    <a:pt x="17" y="338"/>
                    <a:pt x="17" y="340"/>
                  </a:cubicBezTo>
                  <a:cubicBezTo>
                    <a:pt x="17" y="344"/>
                    <a:pt x="17" y="349"/>
                    <a:pt x="16" y="350"/>
                  </a:cubicBezTo>
                  <a:cubicBezTo>
                    <a:pt x="16" y="351"/>
                    <a:pt x="15" y="352"/>
                    <a:pt x="14" y="352"/>
                  </a:cubicBezTo>
                  <a:cubicBezTo>
                    <a:pt x="12" y="354"/>
                    <a:pt x="10" y="356"/>
                    <a:pt x="9" y="358"/>
                  </a:cubicBezTo>
                  <a:cubicBezTo>
                    <a:pt x="9" y="362"/>
                    <a:pt x="12" y="368"/>
                    <a:pt x="15" y="374"/>
                  </a:cubicBezTo>
                  <a:cubicBezTo>
                    <a:pt x="16" y="375"/>
                    <a:pt x="16" y="375"/>
                    <a:pt x="16" y="375"/>
                  </a:cubicBezTo>
                  <a:cubicBezTo>
                    <a:pt x="19" y="379"/>
                    <a:pt x="23" y="386"/>
                    <a:pt x="25" y="390"/>
                  </a:cubicBezTo>
                  <a:cubicBezTo>
                    <a:pt x="26" y="392"/>
                    <a:pt x="27" y="396"/>
                    <a:pt x="28" y="400"/>
                  </a:cubicBezTo>
                  <a:cubicBezTo>
                    <a:pt x="30" y="405"/>
                    <a:pt x="31" y="409"/>
                    <a:pt x="33" y="412"/>
                  </a:cubicBezTo>
                  <a:cubicBezTo>
                    <a:pt x="34" y="415"/>
                    <a:pt x="37" y="419"/>
                    <a:pt x="38" y="421"/>
                  </a:cubicBezTo>
                  <a:cubicBezTo>
                    <a:pt x="39" y="422"/>
                    <a:pt x="40" y="423"/>
                    <a:pt x="41" y="424"/>
                  </a:cubicBezTo>
                  <a:cubicBezTo>
                    <a:pt x="42" y="425"/>
                    <a:pt x="44" y="427"/>
                    <a:pt x="44" y="428"/>
                  </a:cubicBezTo>
                  <a:cubicBezTo>
                    <a:pt x="45" y="429"/>
                    <a:pt x="47" y="433"/>
                    <a:pt x="48" y="434"/>
                  </a:cubicBezTo>
                  <a:cubicBezTo>
                    <a:pt x="48" y="435"/>
                    <a:pt x="48" y="437"/>
                    <a:pt x="48" y="439"/>
                  </a:cubicBezTo>
                  <a:cubicBezTo>
                    <a:pt x="49" y="440"/>
                    <a:pt x="49" y="441"/>
                    <a:pt x="49" y="442"/>
                  </a:cubicBezTo>
                  <a:cubicBezTo>
                    <a:pt x="49" y="443"/>
                    <a:pt x="50" y="446"/>
                    <a:pt x="51" y="447"/>
                  </a:cubicBezTo>
                  <a:cubicBezTo>
                    <a:pt x="51" y="449"/>
                    <a:pt x="53" y="452"/>
                    <a:pt x="54" y="455"/>
                  </a:cubicBezTo>
                  <a:cubicBezTo>
                    <a:pt x="55" y="458"/>
                    <a:pt x="56" y="461"/>
                    <a:pt x="57" y="463"/>
                  </a:cubicBezTo>
                  <a:cubicBezTo>
                    <a:pt x="58" y="466"/>
                    <a:pt x="60" y="473"/>
                    <a:pt x="59" y="476"/>
                  </a:cubicBezTo>
                  <a:cubicBezTo>
                    <a:pt x="59" y="477"/>
                    <a:pt x="59" y="477"/>
                    <a:pt x="59" y="478"/>
                  </a:cubicBezTo>
                  <a:cubicBezTo>
                    <a:pt x="58" y="481"/>
                    <a:pt x="58" y="483"/>
                    <a:pt x="61" y="490"/>
                  </a:cubicBezTo>
                  <a:cubicBezTo>
                    <a:pt x="61" y="491"/>
                    <a:pt x="61" y="492"/>
                    <a:pt x="61" y="493"/>
                  </a:cubicBezTo>
                  <a:cubicBezTo>
                    <a:pt x="62" y="495"/>
                    <a:pt x="62" y="496"/>
                    <a:pt x="63" y="498"/>
                  </a:cubicBezTo>
                  <a:cubicBezTo>
                    <a:pt x="65" y="500"/>
                    <a:pt x="69" y="504"/>
                    <a:pt x="73" y="504"/>
                  </a:cubicBezTo>
                  <a:cubicBezTo>
                    <a:pt x="73" y="504"/>
                    <a:pt x="73" y="504"/>
                    <a:pt x="73" y="504"/>
                  </a:cubicBezTo>
                  <a:cubicBezTo>
                    <a:pt x="79" y="504"/>
                    <a:pt x="86" y="499"/>
                    <a:pt x="94" y="494"/>
                  </a:cubicBezTo>
                  <a:cubicBezTo>
                    <a:pt x="102" y="489"/>
                    <a:pt x="112" y="483"/>
                    <a:pt x="120" y="483"/>
                  </a:cubicBezTo>
                  <a:cubicBezTo>
                    <a:pt x="123" y="483"/>
                    <a:pt x="127" y="484"/>
                    <a:pt x="130" y="486"/>
                  </a:cubicBezTo>
                  <a:cubicBezTo>
                    <a:pt x="128" y="487"/>
                    <a:pt x="127" y="487"/>
                    <a:pt x="126" y="487"/>
                  </a:cubicBezTo>
                  <a:cubicBezTo>
                    <a:pt x="120" y="489"/>
                    <a:pt x="110" y="491"/>
                    <a:pt x="101" y="496"/>
                  </a:cubicBezTo>
                  <a:cubicBezTo>
                    <a:pt x="99" y="498"/>
                    <a:pt x="96" y="501"/>
                    <a:pt x="95" y="504"/>
                  </a:cubicBezTo>
                  <a:cubicBezTo>
                    <a:pt x="95" y="506"/>
                    <a:pt x="95" y="507"/>
                    <a:pt x="96" y="508"/>
                  </a:cubicBezTo>
                  <a:cubicBezTo>
                    <a:pt x="97" y="510"/>
                    <a:pt x="100" y="511"/>
                    <a:pt x="102" y="512"/>
                  </a:cubicBezTo>
                  <a:cubicBezTo>
                    <a:pt x="105" y="513"/>
                    <a:pt x="109" y="514"/>
                    <a:pt x="114" y="523"/>
                  </a:cubicBezTo>
                  <a:cubicBezTo>
                    <a:pt x="117" y="527"/>
                    <a:pt x="117" y="530"/>
                    <a:pt x="116" y="540"/>
                  </a:cubicBezTo>
                  <a:cubicBezTo>
                    <a:pt x="116" y="546"/>
                    <a:pt x="116" y="546"/>
                    <a:pt x="116" y="546"/>
                  </a:cubicBezTo>
                  <a:cubicBezTo>
                    <a:pt x="116" y="550"/>
                    <a:pt x="116" y="550"/>
                    <a:pt x="116" y="550"/>
                  </a:cubicBezTo>
                  <a:cubicBezTo>
                    <a:pt x="116" y="554"/>
                    <a:pt x="117" y="558"/>
                    <a:pt x="116" y="560"/>
                  </a:cubicBezTo>
                  <a:cubicBezTo>
                    <a:pt x="116" y="564"/>
                    <a:pt x="115" y="568"/>
                    <a:pt x="114" y="568"/>
                  </a:cubicBezTo>
                  <a:cubicBezTo>
                    <a:pt x="113" y="568"/>
                    <a:pt x="112" y="567"/>
                    <a:pt x="110" y="565"/>
                  </a:cubicBezTo>
                  <a:cubicBezTo>
                    <a:pt x="108" y="563"/>
                    <a:pt x="105" y="559"/>
                    <a:pt x="103" y="557"/>
                  </a:cubicBezTo>
                  <a:cubicBezTo>
                    <a:pt x="103" y="556"/>
                    <a:pt x="102" y="554"/>
                    <a:pt x="101" y="553"/>
                  </a:cubicBezTo>
                  <a:cubicBezTo>
                    <a:pt x="100" y="552"/>
                    <a:pt x="100" y="550"/>
                    <a:pt x="99" y="549"/>
                  </a:cubicBezTo>
                  <a:cubicBezTo>
                    <a:pt x="96" y="545"/>
                    <a:pt x="97" y="539"/>
                    <a:pt x="97" y="534"/>
                  </a:cubicBezTo>
                  <a:cubicBezTo>
                    <a:pt x="97" y="533"/>
                    <a:pt x="97" y="532"/>
                    <a:pt x="97" y="531"/>
                  </a:cubicBezTo>
                  <a:cubicBezTo>
                    <a:pt x="97" y="529"/>
                    <a:pt x="97" y="525"/>
                    <a:pt x="96" y="522"/>
                  </a:cubicBezTo>
                  <a:cubicBezTo>
                    <a:pt x="96" y="520"/>
                    <a:pt x="95" y="519"/>
                    <a:pt x="94" y="518"/>
                  </a:cubicBezTo>
                  <a:cubicBezTo>
                    <a:pt x="92" y="517"/>
                    <a:pt x="90" y="517"/>
                    <a:pt x="89" y="517"/>
                  </a:cubicBezTo>
                  <a:cubicBezTo>
                    <a:pt x="87" y="517"/>
                    <a:pt x="85" y="517"/>
                    <a:pt x="83" y="518"/>
                  </a:cubicBezTo>
                  <a:cubicBezTo>
                    <a:pt x="81" y="519"/>
                    <a:pt x="79" y="524"/>
                    <a:pt x="79" y="526"/>
                  </a:cubicBezTo>
                  <a:cubicBezTo>
                    <a:pt x="78" y="527"/>
                    <a:pt x="78" y="529"/>
                    <a:pt x="78" y="530"/>
                  </a:cubicBezTo>
                  <a:cubicBezTo>
                    <a:pt x="78" y="531"/>
                    <a:pt x="78" y="533"/>
                    <a:pt x="78" y="533"/>
                  </a:cubicBezTo>
                  <a:cubicBezTo>
                    <a:pt x="78" y="534"/>
                    <a:pt x="77" y="536"/>
                    <a:pt x="76" y="538"/>
                  </a:cubicBezTo>
                  <a:cubicBezTo>
                    <a:pt x="74" y="542"/>
                    <a:pt x="72" y="546"/>
                    <a:pt x="72" y="549"/>
                  </a:cubicBezTo>
                  <a:cubicBezTo>
                    <a:pt x="72" y="551"/>
                    <a:pt x="74" y="553"/>
                    <a:pt x="75" y="555"/>
                  </a:cubicBezTo>
                  <a:cubicBezTo>
                    <a:pt x="76" y="556"/>
                    <a:pt x="76" y="557"/>
                    <a:pt x="77" y="557"/>
                  </a:cubicBezTo>
                  <a:cubicBezTo>
                    <a:pt x="78" y="560"/>
                    <a:pt x="78" y="567"/>
                    <a:pt x="77" y="571"/>
                  </a:cubicBezTo>
                  <a:cubicBezTo>
                    <a:pt x="77" y="573"/>
                    <a:pt x="76" y="576"/>
                    <a:pt x="75" y="578"/>
                  </a:cubicBezTo>
                  <a:cubicBezTo>
                    <a:pt x="75" y="578"/>
                    <a:pt x="75" y="579"/>
                    <a:pt x="74" y="579"/>
                  </a:cubicBezTo>
                  <a:cubicBezTo>
                    <a:pt x="73" y="581"/>
                    <a:pt x="72" y="582"/>
                    <a:pt x="72" y="583"/>
                  </a:cubicBezTo>
                  <a:cubicBezTo>
                    <a:pt x="72" y="585"/>
                    <a:pt x="72" y="589"/>
                    <a:pt x="72" y="591"/>
                  </a:cubicBezTo>
                  <a:cubicBezTo>
                    <a:pt x="72" y="593"/>
                    <a:pt x="74" y="596"/>
                    <a:pt x="75" y="598"/>
                  </a:cubicBezTo>
                  <a:cubicBezTo>
                    <a:pt x="75" y="599"/>
                    <a:pt x="75" y="599"/>
                    <a:pt x="75" y="599"/>
                  </a:cubicBezTo>
                  <a:cubicBezTo>
                    <a:pt x="78" y="605"/>
                    <a:pt x="83" y="617"/>
                    <a:pt x="88" y="622"/>
                  </a:cubicBezTo>
                  <a:cubicBezTo>
                    <a:pt x="90" y="624"/>
                    <a:pt x="94" y="628"/>
                    <a:pt x="97" y="629"/>
                  </a:cubicBezTo>
                  <a:cubicBezTo>
                    <a:pt x="99" y="630"/>
                    <a:pt x="102" y="630"/>
                    <a:pt x="105" y="630"/>
                  </a:cubicBezTo>
                  <a:cubicBezTo>
                    <a:pt x="108" y="630"/>
                    <a:pt x="110" y="630"/>
                    <a:pt x="111" y="631"/>
                  </a:cubicBezTo>
                  <a:cubicBezTo>
                    <a:pt x="118" y="633"/>
                    <a:pt x="121" y="636"/>
                    <a:pt x="121" y="640"/>
                  </a:cubicBezTo>
                  <a:cubicBezTo>
                    <a:pt x="122" y="646"/>
                    <a:pt x="115" y="654"/>
                    <a:pt x="112" y="656"/>
                  </a:cubicBezTo>
                  <a:cubicBezTo>
                    <a:pt x="111" y="656"/>
                    <a:pt x="109" y="657"/>
                    <a:pt x="108" y="657"/>
                  </a:cubicBezTo>
                  <a:cubicBezTo>
                    <a:pt x="102" y="658"/>
                    <a:pt x="94" y="661"/>
                    <a:pt x="92" y="672"/>
                  </a:cubicBezTo>
                  <a:cubicBezTo>
                    <a:pt x="92" y="674"/>
                    <a:pt x="92" y="678"/>
                    <a:pt x="92" y="681"/>
                  </a:cubicBezTo>
                  <a:cubicBezTo>
                    <a:pt x="92" y="684"/>
                    <a:pt x="92" y="686"/>
                    <a:pt x="92" y="688"/>
                  </a:cubicBezTo>
                  <a:cubicBezTo>
                    <a:pt x="92" y="689"/>
                    <a:pt x="92" y="691"/>
                    <a:pt x="91" y="693"/>
                  </a:cubicBezTo>
                  <a:cubicBezTo>
                    <a:pt x="91" y="697"/>
                    <a:pt x="90" y="701"/>
                    <a:pt x="90" y="704"/>
                  </a:cubicBezTo>
                  <a:cubicBezTo>
                    <a:pt x="91" y="707"/>
                    <a:pt x="93" y="711"/>
                    <a:pt x="94" y="713"/>
                  </a:cubicBezTo>
                  <a:cubicBezTo>
                    <a:pt x="95" y="715"/>
                    <a:pt x="97" y="717"/>
                    <a:pt x="100" y="719"/>
                  </a:cubicBezTo>
                  <a:cubicBezTo>
                    <a:pt x="102" y="722"/>
                    <a:pt x="105" y="725"/>
                    <a:pt x="106" y="728"/>
                  </a:cubicBezTo>
                  <a:cubicBezTo>
                    <a:pt x="107" y="729"/>
                    <a:pt x="107" y="731"/>
                    <a:pt x="108" y="734"/>
                  </a:cubicBezTo>
                  <a:cubicBezTo>
                    <a:pt x="108" y="737"/>
                    <a:pt x="109" y="741"/>
                    <a:pt x="110" y="743"/>
                  </a:cubicBezTo>
                  <a:cubicBezTo>
                    <a:pt x="111" y="744"/>
                    <a:pt x="112" y="745"/>
                    <a:pt x="114" y="746"/>
                  </a:cubicBezTo>
                  <a:cubicBezTo>
                    <a:pt x="115" y="747"/>
                    <a:pt x="116" y="748"/>
                    <a:pt x="116" y="748"/>
                  </a:cubicBezTo>
                  <a:cubicBezTo>
                    <a:pt x="117" y="750"/>
                    <a:pt x="117" y="753"/>
                    <a:pt x="117" y="756"/>
                  </a:cubicBezTo>
                  <a:cubicBezTo>
                    <a:pt x="117" y="759"/>
                    <a:pt x="117" y="762"/>
                    <a:pt x="118" y="764"/>
                  </a:cubicBezTo>
                  <a:cubicBezTo>
                    <a:pt x="118" y="766"/>
                    <a:pt x="120" y="769"/>
                    <a:pt x="122" y="772"/>
                  </a:cubicBezTo>
                  <a:cubicBezTo>
                    <a:pt x="123" y="774"/>
                    <a:pt x="125" y="777"/>
                    <a:pt x="126" y="778"/>
                  </a:cubicBezTo>
                  <a:cubicBezTo>
                    <a:pt x="126" y="779"/>
                    <a:pt x="126" y="781"/>
                    <a:pt x="126" y="782"/>
                  </a:cubicBezTo>
                  <a:cubicBezTo>
                    <a:pt x="126" y="784"/>
                    <a:pt x="126" y="785"/>
                    <a:pt x="126" y="786"/>
                  </a:cubicBezTo>
                  <a:cubicBezTo>
                    <a:pt x="127" y="788"/>
                    <a:pt x="128" y="792"/>
                    <a:pt x="130" y="794"/>
                  </a:cubicBezTo>
                  <a:cubicBezTo>
                    <a:pt x="131" y="796"/>
                    <a:pt x="133" y="797"/>
                    <a:pt x="134" y="798"/>
                  </a:cubicBezTo>
                  <a:cubicBezTo>
                    <a:pt x="136" y="800"/>
                    <a:pt x="138" y="801"/>
                    <a:pt x="139" y="802"/>
                  </a:cubicBezTo>
                  <a:cubicBezTo>
                    <a:pt x="140" y="803"/>
                    <a:pt x="140" y="806"/>
                    <a:pt x="141" y="809"/>
                  </a:cubicBezTo>
                  <a:cubicBezTo>
                    <a:pt x="141" y="812"/>
                    <a:pt x="142" y="815"/>
                    <a:pt x="143" y="817"/>
                  </a:cubicBezTo>
                  <a:cubicBezTo>
                    <a:pt x="144" y="820"/>
                    <a:pt x="147" y="822"/>
                    <a:pt x="150" y="825"/>
                  </a:cubicBezTo>
                  <a:cubicBezTo>
                    <a:pt x="153" y="827"/>
                    <a:pt x="156" y="830"/>
                    <a:pt x="157" y="831"/>
                  </a:cubicBezTo>
                  <a:cubicBezTo>
                    <a:pt x="158" y="833"/>
                    <a:pt x="158" y="837"/>
                    <a:pt x="158" y="837"/>
                  </a:cubicBezTo>
                  <a:cubicBezTo>
                    <a:pt x="158" y="838"/>
                    <a:pt x="157" y="839"/>
                    <a:pt x="156" y="839"/>
                  </a:cubicBezTo>
                  <a:cubicBezTo>
                    <a:pt x="155" y="840"/>
                    <a:pt x="153" y="841"/>
                    <a:pt x="153" y="842"/>
                  </a:cubicBezTo>
                  <a:cubicBezTo>
                    <a:pt x="151" y="844"/>
                    <a:pt x="150" y="849"/>
                    <a:pt x="151" y="852"/>
                  </a:cubicBezTo>
                  <a:cubicBezTo>
                    <a:pt x="152" y="855"/>
                    <a:pt x="156" y="859"/>
                    <a:pt x="157" y="860"/>
                  </a:cubicBezTo>
                  <a:cubicBezTo>
                    <a:pt x="159" y="861"/>
                    <a:pt x="160" y="862"/>
                    <a:pt x="162" y="862"/>
                  </a:cubicBezTo>
                  <a:cubicBezTo>
                    <a:pt x="164" y="863"/>
                    <a:pt x="165" y="863"/>
                    <a:pt x="165" y="863"/>
                  </a:cubicBezTo>
                  <a:cubicBezTo>
                    <a:pt x="167" y="864"/>
                    <a:pt x="170" y="868"/>
                    <a:pt x="170" y="870"/>
                  </a:cubicBezTo>
                  <a:cubicBezTo>
                    <a:pt x="170" y="871"/>
                    <a:pt x="170" y="874"/>
                    <a:pt x="170" y="876"/>
                  </a:cubicBezTo>
                  <a:cubicBezTo>
                    <a:pt x="169" y="877"/>
                    <a:pt x="168" y="879"/>
                    <a:pt x="167" y="880"/>
                  </a:cubicBezTo>
                  <a:cubicBezTo>
                    <a:pt x="165" y="882"/>
                    <a:pt x="164" y="885"/>
                    <a:pt x="163" y="887"/>
                  </a:cubicBezTo>
                  <a:cubicBezTo>
                    <a:pt x="162" y="889"/>
                    <a:pt x="163" y="892"/>
                    <a:pt x="163" y="895"/>
                  </a:cubicBezTo>
                  <a:cubicBezTo>
                    <a:pt x="163" y="898"/>
                    <a:pt x="163" y="900"/>
                    <a:pt x="163" y="902"/>
                  </a:cubicBezTo>
                  <a:cubicBezTo>
                    <a:pt x="163" y="902"/>
                    <a:pt x="162" y="903"/>
                    <a:pt x="161" y="904"/>
                  </a:cubicBezTo>
                  <a:cubicBezTo>
                    <a:pt x="160" y="906"/>
                    <a:pt x="159" y="907"/>
                    <a:pt x="159" y="909"/>
                  </a:cubicBezTo>
                  <a:cubicBezTo>
                    <a:pt x="158" y="911"/>
                    <a:pt x="159" y="913"/>
                    <a:pt x="159" y="914"/>
                  </a:cubicBezTo>
                  <a:cubicBezTo>
                    <a:pt x="160" y="915"/>
                    <a:pt x="160" y="917"/>
                    <a:pt x="160" y="917"/>
                  </a:cubicBezTo>
                  <a:cubicBezTo>
                    <a:pt x="160" y="918"/>
                    <a:pt x="159" y="919"/>
                    <a:pt x="158" y="920"/>
                  </a:cubicBezTo>
                  <a:cubicBezTo>
                    <a:pt x="157" y="922"/>
                    <a:pt x="156" y="923"/>
                    <a:pt x="155" y="925"/>
                  </a:cubicBezTo>
                  <a:cubicBezTo>
                    <a:pt x="154" y="927"/>
                    <a:pt x="153" y="932"/>
                    <a:pt x="155" y="935"/>
                  </a:cubicBezTo>
                  <a:cubicBezTo>
                    <a:pt x="156" y="936"/>
                    <a:pt x="158" y="937"/>
                    <a:pt x="159" y="937"/>
                  </a:cubicBezTo>
                  <a:cubicBezTo>
                    <a:pt x="160" y="937"/>
                    <a:pt x="160" y="937"/>
                    <a:pt x="160" y="937"/>
                  </a:cubicBezTo>
                  <a:cubicBezTo>
                    <a:pt x="161" y="937"/>
                    <a:pt x="162" y="940"/>
                    <a:pt x="163" y="941"/>
                  </a:cubicBezTo>
                  <a:cubicBezTo>
                    <a:pt x="164" y="942"/>
                    <a:pt x="164" y="944"/>
                    <a:pt x="165" y="944"/>
                  </a:cubicBezTo>
                  <a:cubicBezTo>
                    <a:pt x="166" y="945"/>
                    <a:pt x="166" y="945"/>
                    <a:pt x="166" y="945"/>
                  </a:cubicBezTo>
                  <a:cubicBezTo>
                    <a:pt x="168" y="948"/>
                    <a:pt x="170" y="951"/>
                    <a:pt x="172" y="952"/>
                  </a:cubicBezTo>
                  <a:cubicBezTo>
                    <a:pt x="176" y="954"/>
                    <a:pt x="181" y="955"/>
                    <a:pt x="187" y="955"/>
                  </a:cubicBezTo>
                  <a:cubicBezTo>
                    <a:pt x="190" y="955"/>
                    <a:pt x="193" y="955"/>
                    <a:pt x="195" y="956"/>
                  </a:cubicBezTo>
                  <a:cubicBezTo>
                    <a:pt x="196" y="956"/>
                    <a:pt x="197" y="957"/>
                    <a:pt x="198" y="957"/>
                  </a:cubicBezTo>
                  <a:cubicBezTo>
                    <a:pt x="200" y="958"/>
                    <a:pt x="201" y="959"/>
                    <a:pt x="202" y="959"/>
                  </a:cubicBezTo>
                  <a:cubicBezTo>
                    <a:pt x="203" y="959"/>
                    <a:pt x="205" y="959"/>
                    <a:pt x="206" y="960"/>
                  </a:cubicBezTo>
                  <a:cubicBezTo>
                    <a:pt x="207" y="960"/>
                    <a:pt x="209" y="960"/>
                    <a:pt x="210" y="960"/>
                  </a:cubicBezTo>
                  <a:cubicBezTo>
                    <a:pt x="212" y="961"/>
                    <a:pt x="215" y="964"/>
                    <a:pt x="218" y="966"/>
                  </a:cubicBezTo>
                  <a:cubicBezTo>
                    <a:pt x="220" y="968"/>
                    <a:pt x="222" y="969"/>
                    <a:pt x="224" y="970"/>
                  </a:cubicBezTo>
                  <a:cubicBezTo>
                    <a:pt x="226" y="971"/>
                    <a:pt x="230" y="973"/>
                    <a:pt x="232" y="973"/>
                  </a:cubicBezTo>
                  <a:cubicBezTo>
                    <a:pt x="234" y="974"/>
                    <a:pt x="236" y="974"/>
                    <a:pt x="239" y="974"/>
                  </a:cubicBezTo>
                  <a:cubicBezTo>
                    <a:pt x="242" y="974"/>
                    <a:pt x="245" y="974"/>
                    <a:pt x="247" y="975"/>
                  </a:cubicBezTo>
                  <a:cubicBezTo>
                    <a:pt x="249" y="976"/>
                    <a:pt x="255" y="981"/>
                    <a:pt x="258" y="983"/>
                  </a:cubicBezTo>
                  <a:cubicBezTo>
                    <a:pt x="264" y="991"/>
                    <a:pt x="264" y="991"/>
                    <a:pt x="264" y="991"/>
                  </a:cubicBezTo>
                  <a:cubicBezTo>
                    <a:pt x="264" y="991"/>
                    <a:pt x="264" y="991"/>
                    <a:pt x="264" y="991"/>
                  </a:cubicBezTo>
                  <a:cubicBezTo>
                    <a:pt x="267" y="993"/>
                    <a:pt x="270" y="996"/>
                    <a:pt x="271" y="997"/>
                  </a:cubicBezTo>
                  <a:cubicBezTo>
                    <a:pt x="271" y="998"/>
                    <a:pt x="271" y="1001"/>
                    <a:pt x="271" y="1003"/>
                  </a:cubicBezTo>
                  <a:cubicBezTo>
                    <a:pt x="272" y="1006"/>
                    <a:pt x="272" y="1010"/>
                    <a:pt x="273" y="1012"/>
                  </a:cubicBezTo>
                  <a:cubicBezTo>
                    <a:pt x="275" y="1016"/>
                    <a:pt x="282" y="1021"/>
                    <a:pt x="287" y="1024"/>
                  </a:cubicBezTo>
                  <a:cubicBezTo>
                    <a:pt x="288" y="1025"/>
                    <a:pt x="289" y="1026"/>
                    <a:pt x="290" y="1026"/>
                  </a:cubicBezTo>
                  <a:cubicBezTo>
                    <a:pt x="298" y="1032"/>
                    <a:pt x="303" y="1035"/>
                    <a:pt x="306" y="1036"/>
                  </a:cubicBezTo>
                  <a:cubicBezTo>
                    <a:pt x="310" y="1037"/>
                    <a:pt x="315" y="1038"/>
                    <a:pt x="320" y="1038"/>
                  </a:cubicBezTo>
                  <a:cubicBezTo>
                    <a:pt x="326" y="1039"/>
                    <a:pt x="332" y="1039"/>
                    <a:pt x="335" y="1041"/>
                  </a:cubicBezTo>
                  <a:cubicBezTo>
                    <a:pt x="335" y="1041"/>
                    <a:pt x="336" y="1041"/>
                    <a:pt x="336" y="1042"/>
                  </a:cubicBezTo>
                  <a:cubicBezTo>
                    <a:pt x="338" y="1044"/>
                    <a:pt x="340" y="1052"/>
                    <a:pt x="341" y="1056"/>
                  </a:cubicBezTo>
                  <a:cubicBezTo>
                    <a:pt x="342" y="1058"/>
                    <a:pt x="342" y="1061"/>
                    <a:pt x="342" y="1062"/>
                  </a:cubicBezTo>
                  <a:cubicBezTo>
                    <a:pt x="342" y="1063"/>
                    <a:pt x="341" y="1064"/>
                    <a:pt x="341" y="1065"/>
                  </a:cubicBezTo>
                  <a:cubicBezTo>
                    <a:pt x="340" y="1067"/>
                    <a:pt x="340" y="1068"/>
                    <a:pt x="340" y="1069"/>
                  </a:cubicBezTo>
                  <a:cubicBezTo>
                    <a:pt x="340" y="1071"/>
                    <a:pt x="339" y="1076"/>
                    <a:pt x="341" y="1078"/>
                  </a:cubicBezTo>
                  <a:cubicBezTo>
                    <a:pt x="342" y="1080"/>
                    <a:pt x="347" y="1085"/>
                    <a:pt x="350" y="1085"/>
                  </a:cubicBezTo>
                  <a:cubicBezTo>
                    <a:pt x="351" y="1085"/>
                    <a:pt x="351" y="1084"/>
                    <a:pt x="351" y="1084"/>
                  </a:cubicBezTo>
                  <a:cubicBezTo>
                    <a:pt x="354" y="1084"/>
                    <a:pt x="354" y="1082"/>
                    <a:pt x="355" y="1080"/>
                  </a:cubicBezTo>
                  <a:cubicBezTo>
                    <a:pt x="355" y="1079"/>
                    <a:pt x="356" y="1079"/>
                    <a:pt x="356" y="1079"/>
                  </a:cubicBezTo>
                  <a:cubicBezTo>
                    <a:pt x="357" y="1079"/>
                    <a:pt x="359" y="1079"/>
                    <a:pt x="361" y="1080"/>
                  </a:cubicBezTo>
                  <a:cubicBezTo>
                    <a:pt x="363" y="1081"/>
                    <a:pt x="367" y="1083"/>
                    <a:pt x="368" y="1084"/>
                  </a:cubicBezTo>
                  <a:cubicBezTo>
                    <a:pt x="369" y="1085"/>
                    <a:pt x="371" y="1089"/>
                    <a:pt x="372" y="1091"/>
                  </a:cubicBezTo>
                  <a:cubicBezTo>
                    <a:pt x="373" y="1093"/>
                    <a:pt x="374" y="1095"/>
                    <a:pt x="375" y="1096"/>
                  </a:cubicBezTo>
                  <a:cubicBezTo>
                    <a:pt x="376" y="1098"/>
                    <a:pt x="379" y="1101"/>
                    <a:pt x="381" y="1103"/>
                  </a:cubicBezTo>
                  <a:cubicBezTo>
                    <a:pt x="382" y="1104"/>
                    <a:pt x="383" y="1105"/>
                    <a:pt x="385" y="1106"/>
                  </a:cubicBezTo>
                  <a:cubicBezTo>
                    <a:pt x="386" y="1108"/>
                    <a:pt x="388" y="1109"/>
                    <a:pt x="389" y="1110"/>
                  </a:cubicBezTo>
                  <a:cubicBezTo>
                    <a:pt x="395" y="1116"/>
                    <a:pt x="408" y="1132"/>
                    <a:pt x="413" y="1141"/>
                  </a:cubicBezTo>
                  <a:cubicBezTo>
                    <a:pt x="415" y="1144"/>
                    <a:pt x="418" y="1152"/>
                    <a:pt x="420" y="1156"/>
                  </a:cubicBezTo>
                  <a:cubicBezTo>
                    <a:pt x="421" y="1160"/>
                    <a:pt x="424" y="1168"/>
                    <a:pt x="425" y="1173"/>
                  </a:cubicBezTo>
                  <a:cubicBezTo>
                    <a:pt x="426" y="1176"/>
                    <a:pt x="426" y="1184"/>
                    <a:pt x="426" y="1187"/>
                  </a:cubicBezTo>
                  <a:cubicBezTo>
                    <a:pt x="426" y="1191"/>
                    <a:pt x="425" y="1198"/>
                    <a:pt x="425" y="1202"/>
                  </a:cubicBezTo>
                  <a:cubicBezTo>
                    <a:pt x="425" y="1203"/>
                    <a:pt x="424" y="1204"/>
                    <a:pt x="423" y="1205"/>
                  </a:cubicBezTo>
                  <a:cubicBezTo>
                    <a:pt x="423" y="1206"/>
                    <a:pt x="421" y="1207"/>
                    <a:pt x="421" y="1210"/>
                  </a:cubicBezTo>
                  <a:cubicBezTo>
                    <a:pt x="421" y="1210"/>
                    <a:pt x="421" y="1211"/>
                    <a:pt x="421" y="1211"/>
                  </a:cubicBezTo>
                  <a:cubicBezTo>
                    <a:pt x="420" y="1215"/>
                    <a:pt x="420" y="1217"/>
                    <a:pt x="421" y="1219"/>
                  </a:cubicBezTo>
                  <a:cubicBezTo>
                    <a:pt x="422" y="1220"/>
                    <a:pt x="423" y="1220"/>
                    <a:pt x="424" y="1220"/>
                  </a:cubicBezTo>
                  <a:cubicBezTo>
                    <a:pt x="426" y="1220"/>
                    <a:pt x="428" y="1220"/>
                    <a:pt x="429" y="1221"/>
                  </a:cubicBezTo>
                  <a:cubicBezTo>
                    <a:pt x="430" y="1223"/>
                    <a:pt x="429" y="1226"/>
                    <a:pt x="428" y="1228"/>
                  </a:cubicBezTo>
                  <a:cubicBezTo>
                    <a:pt x="428" y="1229"/>
                    <a:pt x="428" y="1230"/>
                    <a:pt x="428" y="1231"/>
                  </a:cubicBezTo>
                  <a:cubicBezTo>
                    <a:pt x="428" y="1232"/>
                    <a:pt x="427" y="1241"/>
                    <a:pt x="431" y="1244"/>
                  </a:cubicBezTo>
                  <a:cubicBezTo>
                    <a:pt x="432" y="1245"/>
                    <a:pt x="433" y="1245"/>
                    <a:pt x="435" y="1245"/>
                  </a:cubicBezTo>
                  <a:cubicBezTo>
                    <a:pt x="436" y="1245"/>
                    <a:pt x="436" y="1245"/>
                    <a:pt x="436" y="1245"/>
                  </a:cubicBezTo>
                  <a:cubicBezTo>
                    <a:pt x="492" y="1254"/>
                    <a:pt x="665" y="1269"/>
                    <a:pt x="667" y="1269"/>
                  </a:cubicBezTo>
                  <a:cubicBezTo>
                    <a:pt x="667" y="1269"/>
                    <a:pt x="668" y="1269"/>
                    <a:pt x="668" y="1269"/>
                  </a:cubicBezTo>
                  <a:cubicBezTo>
                    <a:pt x="672" y="1268"/>
                    <a:pt x="672" y="1268"/>
                    <a:pt x="672" y="1268"/>
                  </a:cubicBezTo>
                  <a:cubicBezTo>
                    <a:pt x="672" y="1268"/>
                    <a:pt x="672" y="1268"/>
                    <a:pt x="673" y="1268"/>
                  </a:cubicBezTo>
                  <a:cubicBezTo>
                    <a:pt x="673" y="1268"/>
                    <a:pt x="674" y="1268"/>
                    <a:pt x="674" y="1268"/>
                  </a:cubicBezTo>
                  <a:cubicBezTo>
                    <a:pt x="674" y="1268"/>
                    <a:pt x="674" y="1268"/>
                    <a:pt x="675" y="1268"/>
                  </a:cubicBezTo>
                  <a:cubicBezTo>
                    <a:pt x="675" y="1269"/>
                    <a:pt x="676" y="1269"/>
                    <a:pt x="676" y="1270"/>
                  </a:cubicBezTo>
                  <a:cubicBezTo>
                    <a:pt x="679" y="1271"/>
                    <a:pt x="682" y="1272"/>
                    <a:pt x="683" y="1272"/>
                  </a:cubicBezTo>
                  <a:cubicBezTo>
                    <a:pt x="684" y="1272"/>
                    <a:pt x="685" y="1271"/>
                    <a:pt x="686" y="1271"/>
                  </a:cubicBezTo>
                  <a:cubicBezTo>
                    <a:pt x="688" y="1270"/>
                    <a:pt x="688" y="1267"/>
                    <a:pt x="689" y="1265"/>
                  </a:cubicBezTo>
                  <a:cubicBezTo>
                    <a:pt x="689" y="1265"/>
                    <a:pt x="689" y="1263"/>
                    <a:pt x="689" y="1263"/>
                  </a:cubicBezTo>
                  <a:cubicBezTo>
                    <a:pt x="689" y="1263"/>
                    <a:pt x="691" y="1262"/>
                    <a:pt x="692" y="1261"/>
                  </a:cubicBezTo>
                  <a:cubicBezTo>
                    <a:pt x="694" y="1261"/>
                    <a:pt x="696" y="1260"/>
                    <a:pt x="697" y="1258"/>
                  </a:cubicBezTo>
                  <a:cubicBezTo>
                    <a:pt x="699" y="1255"/>
                    <a:pt x="698" y="1250"/>
                    <a:pt x="698" y="1245"/>
                  </a:cubicBezTo>
                  <a:cubicBezTo>
                    <a:pt x="698" y="1244"/>
                    <a:pt x="698" y="1244"/>
                    <a:pt x="698" y="1244"/>
                  </a:cubicBezTo>
                  <a:cubicBezTo>
                    <a:pt x="698" y="1241"/>
                    <a:pt x="697" y="1237"/>
                    <a:pt x="696" y="1236"/>
                  </a:cubicBezTo>
                  <a:cubicBezTo>
                    <a:pt x="695" y="1234"/>
                    <a:pt x="692" y="1232"/>
                    <a:pt x="689" y="1231"/>
                  </a:cubicBezTo>
                  <a:cubicBezTo>
                    <a:pt x="688" y="1230"/>
                    <a:pt x="688" y="1230"/>
                    <a:pt x="688" y="1230"/>
                  </a:cubicBezTo>
                  <a:cubicBezTo>
                    <a:pt x="687" y="1230"/>
                    <a:pt x="686" y="1230"/>
                    <a:pt x="685" y="1229"/>
                  </a:cubicBezTo>
                  <a:cubicBezTo>
                    <a:pt x="683" y="1229"/>
                    <a:pt x="681" y="1229"/>
                    <a:pt x="681" y="1228"/>
                  </a:cubicBezTo>
                  <a:cubicBezTo>
                    <a:pt x="680" y="1228"/>
                    <a:pt x="680" y="1225"/>
                    <a:pt x="680" y="1223"/>
                  </a:cubicBezTo>
                  <a:cubicBezTo>
                    <a:pt x="680" y="1222"/>
                    <a:pt x="681" y="1220"/>
                    <a:pt x="682" y="1219"/>
                  </a:cubicBezTo>
                  <a:cubicBezTo>
                    <a:pt x="682" y="1218"/>
                    <a:pt x="683" y="1217"/>
                    <a:pt x="684" y="1215"/>
                  </a:cubicBezTo>
                  <a:cubicBezTo>
                    <a:pt x="684" y="1213"/>
                    <a:pt x="685" y="1209"/>
                    <a:pt x="684" y="1207"/>
                  </a:cubicBezTo>
                  <a:cubicBezTo>
                    <a:pt x="684" y="1206"/>
                    <a:pt x="683" y="1204"/>
                    <a:pt x="683" y="1203"/>
                  </a:cubicBezTo>
                  <a:cubicBezTo>
                    <a:pt x="682" y="1202"/>
                    <a:pt x="681" y="1200"/>
                    <a:pt x="681" y="1199"/>
                  </a:cubicBezTo>
                  <a:cubicBezTo>
                    <a:pt x="682" y="1198"/>
                    <a:pt x="683" y="1195"/>
                    <a:pt x="684" y="1193"/>
                  </a:cubicBezTo>
                  <a:cubicBezTo>
                    <a:pt x="685" y="1192"/>
                    <a:pt x="689" y="1190"/>
                    <a:pt x="692" y="1189"/>
                  </a:cubicBezTo>
                  <a:cubicBezTo>
                    <a:pt x="692" y="1189"/>
                    <a:pt x="692" y="1188"/>
                    <a:pt x="692" y="1188"/>
                  </a:cubicBezTo>
                  <a:cubicBezTo>
                    <a:pt x="693" y="1187"/>
                    <a:pt x="703" y="1177"/>
                    <a:pt x="706" y="1172"/>
                  </a:cubicBezTo>
                  <a:cubicBezTo>
                    <a:pt x="707" y="1170"/>
                    <a:pt x="708" y="1164"/>
                    <a:pt x="709" y="1162"/>
                  </a:cubicBezTo>
                  <a:cubicBezTo>
                    <a:pt x="710" y="1160"/>
                    <a:pt x="712" y="1156"/>
                    <a:pt x="713" y="1154"/>
                  </a:cubicBezTo>
                  <a:cubicBezTo>
                    <a:pt x="714" y="1152"/>
                    <a:pt x="714" y="1148"/>
                    <a:pt x="714" y="1145"/>
                  </a:cubicBezTo>
                  <a:cubicBezTo>
                    <a:pt x="714" y="1143"/>
                    <a:pt x="714" y="1141"/>
                    <a:pt x="714" y="1139"/>
                  </a:cubicBezTo>
                  <a:cubicBezTo>
                    <a:pt x="714" y="1138"/>
                    <a:pt x="714" y="1138"/>
                    <a:pt x="714" y="1138"/>
                  </a:cubicBezTo>
                  <a:cubicBezTo>
                    <a:pt x="715" y="1135"/>
                    <a:pt x="715" y="1129"/>
                    <a:pt x="717" y="1127"/>
                  </a:cubicBezTo>
                  <a:cubicBezTo>
                    <a:pt x="717" y="1126"/>
                    <a:pt x="719" y="1126"/>
                    <a:pt x="720" y="1125"/>
                  </a:cubicBezTo>
                  <a:cubicBezTo>
                    <a:pt x="722" y="1124"/>
                    <a:pt x="723" y="1124"/>
                    <a:pt x="724" y="1123"/>
                  </a:cubicBezTo>
                  <a:cubicBezTo>
                    <a:pt x="725" y="1122"/>
                    <a:pt x="726" y="1120"/>
                    <a:pt x="726" y="1118"/>
                  </a:cubicBezTo>
                  <a:cubicBezTo>
                    <a:pt x="727" y="1117"/>
                    <a:pt x="727" y="1116"/>
                    <a:pt x="728" y="1115"/>
                  </a:cubicBezTo>
                  <a:cubicBezTo>
                    <a:pt x="730" y="1113"/>
                    <a:pt x="736" y="1110"/>
                    <a:pt x="741" y="1108"/>
                  </a:cubicBezTo>
                  <a:cubicBezTo>
                    <a:pt x="745" y="1106"/>
                    <a:pt x="750" y="1104"/>
                    <a:pt x="753" y="1102"/>
                  </a:cubicBezTo>
                  <a:cubicBezTo>
                    <a:pt x="756" y="1099"/>
                    <a:pt x="760" y="1096"/>
                    <a:pt x="760" y="1093"/>
                  </a:cubicBezTo>
                  <a:cubicBezTo>
                    <a:pt x="760" y="1090"/>
                    <a:pt x="757" y="1086"/>
                    <a:pt x="754" y="1084"/>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58">
              <a:extLst>
                <a:ext uri="{FF2B5EF4-FFF2-40B4-BE49-F238E27FC236}">
                  <a16:creationId xmlns:a16="http://schemas.microsoft.com/office/drawing/2014/main" id="{50ADDF0D-7DED-4229-AB80-36F80A589ECC}"/>
                </a:ext>
              </a:extLst>
            </p:cNvPr>
            <p:cNvSpPr>
              <a:spLocks/>
            </p:cNvSpPr>
            <p:nvPr/>
          </p:nvSpPr>
          <p:spPr bwMode="auto">
            <a:xfrm>
              <a:off x="3697343" y="2832767"/>
              <a:ext cx="660004" cy="1016791"/>
            </a:xfrm>
            <a:custGeom>
              <a:avLst/>
              <a:gdLst>
                <a:gd name="T0" fmla="*/ 591 w 594"/>
                <a:gd name="T1" fmla="*/ 106 h 915"/>
                <a:gd name="T2" fmla="*/ 476 w 594"/>
                <a:gd name="T3" fmla="*/ 85 h 915"/>
                <a:gd name="T4" fmla="*/ 339 w 594"/>
                <a:gd name="T5" fmla="*/ 57 h 915"/>
                <a:gd name="T6" fmla="*/ 234 w 594"/>
                <a:gd name="T7" fmla="*/ 35 h 915"/>
                <a:gd name="T8" fmla="*/ 87 w 594"/>
                <a:gd name="T9" fmla="*/ 0 h 915"/>
                <a:gd name="T10" fmla="*/ 84 w 594"/>
                <a:gd name="T11" fmla="*/ 2 h 915"/>
                <a:gd name="T12" fmla="*/ 20 w 594"/>
                <a:gd name="T13" fmla="*/ 266 h 915"/>
                <a:gd name="T14" fmla="*/ 1 w 594"/>
                <a:gd name="T15" fmla="*/ 344 h 915"/>
                <a:gd name="T16" fmla="*/ 1 w 594"/>
                <a:gd name="T17" fmla="*/ 346 h 915"/>
                <a:gd name="T18" fmla="*/ 273 w 594"/>
                <a:gd name="T19" fmla="*/ 743 h 915"/>
                <a:gd name="T20" fmla="*/ 390 w 594"/>
                <a:gd name="T21" fmla="*/ 915 h 915"/>
                <a:gd name="T22" fmla="*/ 392 w 594"/>
                <a:gd name="T23" fmla="*/ 915 h 915"/>
                <a:gd name="T24" fmla="*/ 394 w 594"/>
                <a:gd name="T25" fmla="*/ 914 h 915"/>
                <a:gd name="T26" fmla="*/ 395 w 594"/>
                <a:gd name="T27" fmla="*/ 905 h 915"/>
                <a:gd name="T28" fmla="*/ 395 w 594"/>
                <a:gd name="T29" fmla="*/ 897 h 915"/>
                <a:gd name="T30" fmla="*/ 398 w 594"/>
                <a:gd name="T31" fmla="*/ 895 h 915"/>
                <a:gd name="T32" fmla="*/ 403 w 594"/>
                <a:gd name="T33" fmla="*/ 891 h 915"/>
                <a:gd name="T34" fmla="*/ 404 w 594"/>
                <a:gd name="T35" fmla="*/ 872 h 915"/>
                <a:gd name="T36" fmla="*/ 402 w 594"/>
                <a:gd name="T37" fmla="*/ 857 h 915"/>
                <a:gd name="T38" fmla="*/ 402 w 594"/>
                <a:gd name="T39" fmla="*/ 850 h 915"/>
                <a:gd name="T40" fmla="*/ 405 w 594"/>
                <a:gd name="T41" fmla="*/ 839 h 915"/>
                <a:gd name="T42" fmla="*/ 404 w 594"/>
                <a:gd name="T43" fmla="*/ 824 h 915"/>
                <a:gd name="T44" fmla="*/ 404 w 594"/>
                <a:gd name="T45" fmla="*/ 818 h 915"/>
                <a:gd name="T46" fmla="*/ 409 w 594"/>
                <a:gd name="T47" fmla="*/ 810 h 915"/>
                <a:gd name="T48" fmla="*/ 406 w 594"/>
                <a:gd name="T49" fmla="*/ 800 h 915"/>
                <a:gd name="T50" fmla="*/ 404 w 594"/>
                <a:gd name="T51" fmla="*/ 794 h 915"/>
                <a:gd name="T52" fmla="*/ 407 w 594"/>
                <a:gd name="T53" fmla="*/ 786 h 915"/>
                <a:gd name="T54" fmla="*/ 414 w 594"/>
                <a:gd name="T55" fmla="*/ 781 h 915"/>
                <a:gd name="T56" fmla="*/ 421 w 594"/>
                <a:gd name="T57" fmla="*/ 780 h 915"/>
                <a:gd name="T58" fmla="*/ 422 w 594"/>
                <a:gd name="T59" fmla="*/ 780 h 915"/>
                <a:gd name="T60" fmla="*/ 424 w 594"/>
                <a:gd name="T61" fmla="*/ 782 h 915"/>
                <a:gd name="T62" fmla="*/ 429 w 594"/>
                <a:gd name="T63" fmla="*/ 785 h 915"/>
                <a:gd name="T64" fmla="*/ 433 w 594"/>
                <a:gd name="T65" fmla="*/ 785 h 915"/>
                <a:gd name="T66" fmla="*/ 436 w 594"/>
                <a:gd name="T67" fmla="*/ 785 h 915"/>
                <a:gd name="T68" fmla="*/ 441 w 594"/>
                <a:gd name="T69" fmla="*/ 791 h 915"/>
                <a:gd name="T70" fmla="*/ 445 w 594"/>
                <a:gd name="T71" fmla="*/ 800 h 915"/>
                <a:gd name="T72" fmla="*/ 455 w 594"/>
                <a:gd name="T73" fmla="*/ 802 h 915"/>
                <a:gd name="T74" fmla="*/ 465 w 594"/>
                <a:gd name="T75" fmla="*/ 793 h 915"/>
                <a:gd name="T76" fmla="*/ 473 w 594"/>
                <a:gd name="T77" fmla="*/ 782 h 915"/>
                <a:gd name="T78" fmla="*/ 473 w 594"/>
                <a:gd name="T79" fmla="*/ 781 h 915"/>
                <a:gd name="T80" fmla="*/ 490 w 594"/>
                <a:gd name="T81" fmla="*/ 689 h 915"/>
                <a:gd name="T82" fmla="*/ 593 w 594"/>
                <a:gd name="T83" fmla="*/ 109 h 915"/>
                <a:gd name="T84" fmla="*/ 591 w 594"/>
                <a:gd name="T85" fmla="*/ 106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94" h="915">
                  <a:moveTo>
                    <a:pt x="591" y="106"/>
                  </a:moveTo>
                  <a:cubicBezTo>
                    <a:pt x="476" y="85"/>
                    <a:pt x="476" y="85"/>
                    <a:pt x="476" y="85"/>
                  </a:cubicBezTo>
                  <a:cubicBezTo>
                    <a:pt x="339" y="57"/>
                    <a:pt x="339" y="57"/>
                    <a:pt x="339" y="57"/>
                  </a:cubicBezTo>
                  <a:cubicBezTo>
                    <a:pt x="234" y="35"/>
                    <a:pt x="234" y="35"/>
                    <a:pt x="234" y="35"/>
                  </a:cubicBezTo>
                  <a:cubicBezTo>
                    <a:pt x="87" y="0"/>
                    <a:pt x="87" y="0"/>
                    <a:pt x="87" y="0"/>
                  </a:cubicBezTo>
                  <a:cubicBezTo>
                    <a:pt x="86" y="0"/>
                    <a:pt x="85" y="0"/>
                    <a:pt x="84" y="2"/>
                  </a:cubicBezTo>
                  <a:cubicBezTo>
                    <a:pt x="20" y="266"/>
                    <a:pt x="20" y="266"/>
                    <a:pt x="20" y="266"/>
                  </a:cubicBezTo>
                  <a:cubicBezTo>
                    <a:pt x="1" y="344"/>
                    <a:pt x="1" y="344"/>
                    <a:pt x="1" y="344"/>
                  </a:cubicBezTo>
                  <a:cubicBezTo>
                    <a:pt x="0" y="345"/>
                    <a:pt x="1" y="346"/>
                    <a:pt x="1" y="346"/>
                  </a:cubicBezTo>
                  <a:cubicBezTo>
                    <a:pt x="273" y="743"/>
                    <a:pt x="273" y="743"/>
                    <a:pt x="273" y="743"/>
                  </a:cubicBezTo>
                  <a:cubicBezTo>
                    <a:pt x="276" y="749"/>
                    <a:pt x="343" y="885"/>
                    <a:pt x="390" y="915"/>
                  </a:cubicBezTo>
                  <a:cubicBezTo>
                    <a:pt x="390" y="915"/>
                    <a:pt x="391" y="915"/>
                    <a:pt x="392" y="915"/>
                  </a:cubicBezTo>
                  <a:cubicBezTo>
                    <a:pt x="392" y="915"/>
                    <a:pt x="394" y="915"/>
                    <a:pt x="394" y="914"/>
                  </a:cubicBezTo>
                  <a:cubicBezTo>
                    <a:pt x="395" y="913"/>
                    <a:pt x="395" y="910"/>
                    <a:pt x="395" y="905"/>
                  </a:cubicBezTo>
                  <a:cubicBezTo>
                    <a:pt x="395" y="903"/>
                    <a:pt x="394" y="898"/>
                    <a:pt x="395" y="897"/>
                  </a:cubicBezTo>
                  <a:cubicBezTo>
                    <a:pt x="395" y="897"/>
                    <a:pt x="397" y="895"/>
                    <a:pt x="398" y="895"/>
                  </a:cubicBezTo>
                  <a:cubicBezTo>
                    <a:pt x="400" y="893"/>
                    <a:pt x="402" y="892"/>
                    <a:pt x="403" y="891"/>
                  </a:cubicBezTo>
                  <a:cubicBezTo>
                    <a:pt x="405" y="887"/>
                    <a:pt x="405" y="874"/>
                    <a:pt x="404" y="872"/>
                  </a:cubicBezTo>
                  <a:cubicBezTo>
                    <a:pt x="402" y="857"/>
                    <a:pt x="402" y="857"/>
                    <a:pt x="402" y="857"/>
                  </a:cubicBezTo>
                  <a:cubicBezTo>
                    <a:pt x="402" y="850"/>
                    <a:pt x="402" y="850"/>
                    <a:pt x="402" y="850"/>
                  </a:cubicBezTo>
                  <a:cubicBezTo>
                    <a:pt x="402" y="849"/>
                    <a:pt x="405" y="842"/>
                    <a:pt x="405" y="839"/>
                  </a:cubicBezTo>
                  <a:cubicBezTo>
                    <a:pt x="405" y="835"/>
                    <a:pt x="404" y="826"/>
                    <a:pt x="404" y="824"/>
                  </a:cubicBezTo>
                  <a:cubicBezTo>
                    <a:pt x="404" y="818"/>
                    <a:pt x="404" y="818"/>
                    <a:pt x="404" y="818"/>
                  </a:cubicBezTo>
                  <a:cubicBezTo>
                    <a:pt x="406" y="816"/>
                    <a:pt x="408" y="812"/>
                    <a:pt x="409" y="810"/>
                  </a:cubicBezTo>
                  <a:cubicBezTo>
                    <a:pt x="409" y="807"/>
                    <a:pt x="408" y="804"/>
                    <a:pt x="406" y="800"/>
                  </a:cubicBezTo>
                  <a:cubicBezTo>
                    <a:pt x="405" y="798"/>
                    <a:pt x="404" y="796"/>
                    <a:pt x="404" y="794"/>
                  </a:cubicBezTo>
                  <a:cubicBezTo>
                    <a:pt x="404" y="792"/>
                    <a:pt x="405" y="788"/>
                    <a:pt x="407" y="786"/>
                  </a:cubicBezTo>
                  <a:cubicBezTo>
                    <a:pt x="408" y="785"/>
                    <a:pt x="412" y="782"/>
                    <a:pt x="414" y="781"/>
                  </a:cubicBezTo>
                  <a:cubicBezTo>
                    <a:pt x="416" y="781"/>
                    <a:pt x="419" y="780"/>
                    <a:pt x="421" y="780"/>
                  </a:cubicBezTo>
                  <a:cubicBezTo>
                    <a:pt x="421" y="780"/>
                    <a:pt x="421" y="780"/>
                    <a:pt x="422" y="780"/>
                  </a:cubicBezTo>
                  <a:cubicBezTo>
                    <a:pt x="422" y="780"/>
                    <a:pt x="423" y="781"/>
                    <a:pt x="424" y="782"/>
                  </a:cubicBezTo>
                  <a:cubicBezTo>
                    <a:pt x="426" y="783"/>
                    <a:pt x="427" y="785"/>
                    <a:pt x="429" y="785"/>
                  </a:cubicBezTo>
                  <a:cubicBezTo>
                    <a:pt x="430" y="785"/>
                    <a:pt x="432" y="785"/>
                    <a:pt x="433" y="785"/>
                  </a:cubicBezTo>
                  <a:cubicBezTo>
                    <a:pt x="435" y="785"/>
                    <a:pt x="436" y="785"/>
                    <a:pt x="436" y="785"/>
                  </a:cubicBezTo>
                  <a:cubicBezTo>
                    <a:pt x="437" y="785"/>
                    <a:pt x="439" y="788"/>
                    <a:pt x="441" y="791"/>
                  </a:cubicBezTo>
                  <a:cubicBezTo>
                    <a:pt x="442" y="794"/>
                    <a:pt x="443" y="799"/>
                    <a:pt x="445" y="800"/>
                  </a:cubicBezTo>
                  <a:cubicBezTo>
                    <a:pt x="447" y="803"/>
                    <a:pt x="453" y="803"/>
                    <a:pt x="455" y="802"/>
                  </a:cubicBezTo>
                  <a:cubicBezTo>
                    <a:pt x="459" y="801"/>
                    <a:pt x="464" y="795"/>
                    <a:pt x="465" y="793"/>
                  </a:cubicBezTo>
                  <a:cubicBezTo>
                    <a:pt x="473" y="782"/>
                    <a:pt x="473" y="782"/>
                    <a:pt x="473" y="782"/>
                  </a:cubicBezTo>
                  <a:cubicBezTo>
                    <a:pt x="473" y="782"/>
                    <a:pt x="473" y="781"/>
                    <a:pt x="473" y="781"/>
                  </a:cubicBezTo>
                  <a:cubicBezTo>
                    <a:pt x="490" y="689"/>
                    <a:pt x="490" y="689"/>
                    <a:pt x="490" y="689"/>
                  </a:cubicBezTo>
                  <a:cubicBezTo>
                    <a:pt x="593" y="109"/>
                    <a:pt x="593" y="109"/>
                    <a:pt x="593" y="109"/>
                  </a:cubicBezTo>
                  <a:cubicBezTo>
                    <a:pt x="594" y="107"/>
                    <a:pt x="593" y="106"/>
                    <a:pt x="591" y="106"/>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59">
              <a:extLst>
                <a:ext uri="{FF2B5EF4-FFF2-40B4-BE49-F238E27FC236}">
                  <a16:creationId xmlns:a16="http://schemas.microsoft.com/office/drawing/2014/main" id="{5011C1D5-8A9F-4466-9D58-539F87FFFF51}"/>
                </a:ext>
              </a:extLst>
            </p:cNvPr>
            <p:cNvSpPr>
              <a:spLocks/>
            </p:cNvSpPr>
            <p:nvPr/>
          </p:nvSpPr>
          <p:spPr bwMode="auto">
            <a:xfrm>
              <a:off x="7709927" y="3163274"/>
              <a:ext cx="474031" cy="233478"/>
            </a:xfrm>
            <a:custGeom>
              <a:avLst/>
              <a:gdLst>
                <a:gd name="T0" fmla="*/ 420 w 426"/>
                <a:gd name="T1" fmla="*/ 139 h 210"/>
                <a:gd name="T2" fmla="*/ 364 w 426"/>
                <a:gd name="T3" fmla="*/ 138 h 210"/>
                <a:gd name="T4" fmla="*/ 5 w 426"/>
                <a:gd name="T5" fmla="*/ 65 h 210"/>
                <a:gd name="T6" fmla="*/ 10 w 426"/>
                <a:gd name="T7" fmla="*/ 129 h 210"/>
                <a:gd name="T8" fmla="*/ 30 w 426"/>
                <a:gd name="T9" fmla="*/ 112 h 210"/>
                <a:gd name="T10" fmla="*/ 42 w 426"/>
                <a:gd name="T11" fmla="*/ 94 h 210"/>
                <a:gd name="T12" fmla="*/ 67 w 426"/>
                <a:gd name="T13" fmla="*/ 72 h 210"/>
                <a:gd name="T14" fmla="*/ 85 w 426"/>
                <a:gd name="T15" fmla="*/ 79 h 210"/>
                <a:gd name="T16" fmla="*/ 103 w 426"/>
                <a:gd name="T17" fmla="*/ 68 h 210"/>
                <a:gd name="T18" fmla="*/ 119 w 426"/>
                <a:gd name="T19" fmla="*/ 57 h 210"/>
                <a:gd name="T20" fmla="*/ 147 w 426"/>
                <a:gd name="T21" fmla="*/ 58 h 210"/>
                <a:gd name="T22" fmla="*/ 153 w 426"/>
                <a:gd name="T23" fmla="*/ 69 h 210"/>
                <a:gd name="T24" fmla="*/ 162 w 426"/>
                <a:gd name="T25" fmla="*/ 86 h 210"/>
                <a:gd name="T26" fmla="*/ 187 w 426"/>
                <a:gd name="T27" fmla="*/ 99 h 210"/>
                <a:gd name="T28" fmla="*/ 214 w 426"/>
                <a:gd name="T29" fmla="*/ 114 h 210"/>
                <a:gd name="T30" fmla="*/ 233 w 426"/>
                <a:gd name="T31" fmla="*/ 117 h 210"/>
                <a:gd name="T32" fmla="*/ 238 w 426"/>
                <a:gd name="T33" fmla="*/ 130 h 210"/>
                <a:gd name="T34" fmla="*/ 233 w 426"/>
                <a:gd name="T35" fmla="*/ 151 h 210"/>
                <a:gd name="T36" fmla="*/ 226 w 426"/>
                <a:gd name="T37" fmla="*/ 180 h 210"/>
                <a:gd name="T38" fmla="*/ 243 w 426"/>
                <a:gd name="T39" fmla="*/ 174 h 210"/>
                <a:gd name="T40" fmla="*/ 265 w 426"/>
                <a:gd name="T41" fmla="*/ 193 h 210"/>
                <a:gd name="T42" fmla="*/ 286 w 426"/>
                <a:gd name="T43" fmla="*/ 191 h 210"/>
                <a:gd name="T44" fmla="*/ 302 w 426"/>
                <a:gd name="T45" fmla="*/ 197 h 210"/>
                <a:gd name="T46" fmla="*/ 317 w 426"/>
                <a:gd name="T47" fmla="*/ 205 h 210"/>
                <a:gd name="T48" fmla="*/ 294 w 426"/>
                <a:gd name="T49" fmla="*/ 178 h 210"/>
                <a:gd name="T50" fmla="*/ 271 w 426"/>
                <a:gd name="T51" fmla="*/ 149 h 210"/>
                <a:gd name="T52" fmla="*/ 293 w 426"/>
                <a:gd name="T53" fmla="*/ 171 h 210"/>
                <a:gd name="T54" fmla="*/ 309 w 426"/>
                <a:gd name="T55" fmla="*/ 167 h 210"/>
                <a:gd name="T56" fmla="*/ 288 w 426"/>
                <a:gd name="T57" fmla="*/ 133 h 210"/>
                <a:gd name="T58" fmla="*/ 285 w 426"/>
                <a:gd name="T59" fmla="*/ 115 h 210"/>
                <a:gd name="T60" fmla="*/ 285 w 426"/>
                <a:gd name="T61" fmla="*/ 92 h 210"/>
                <a:gd name="T62" fmla="*/ 272 w 426"/>
                <a:gd name="T63" fmla="*/ 73 h 210"/>
                <a:gd name="T64" fmla="*/ 286 w 426"/>
                <a:gd name="T65" fmla="*/ 72 h 210"/>
                <a:gd name="T66" fmla="*/ 284 w 426"/>
                <a:gd name="T67" fmla="*/ 52 h 210"/>
                <a:gd name="T68" fmla="*/ 294 w 426"/>
                <a:gd name="T69" fmla="*/ 51 h 210"/>
                <a:gd name="T70" fmla="*/ 305 w 426"/>
                <a:gd name="T71" fmla="*/ 29 h 210"/>
                <a:gd name="T72" fmla="*/ 320 w 426"/>
                <a:gd name="T73" fmla="*/ 27 h 210"/>
                <a:gd name="T74" fmla="*/ 322 w 426"/>
                <a:gd name="T75" fmla="*/ 40 h 210"/>
                <a:gd name="T76" fmla="*/ 296 w 426"/>
                <a:gd name="T77" fmla="*/ 79 h 210"/>
                <a:gd name="T78" fmla="*/ 308 w 426"/>
                <a:gd name="T79" fmla="*/ 90 h 210"/>
                <a:gd name="T80" fmla="*/ 296 w 426"/>
                <a:gd name="T81" fmla="*/ 115 h 210"/>
                <a:gd name="T82" fmla="*/ 306 w 426"/>
                <a:gd name="T83" fmla="*/ 106 h 210"/>
                <a:gd name="T84" fmla="*/ 311 w 426"/>
                <a:gd name="T85" fmla="*/ 112 h 210"/>
                <a:gd name="T86" fmla="*/ 308 w 426"/>
                <a:gd name="T87" fmla="*/ 133 h 210"/>
                <a:gd name="T88" fmla="*/ 318 w 426"/>
                <a:gd name="T89" fmla="*/ 133 h 210"/>
                <a:gd name="T90" fmla="*/ 313 w 426"/>
                <a:gd name="T91" fmla="*/ 159 h 210"/>
                <a:gd name="T92" fmla="*/ 325 w 426"/>
                <a:gd name="T93" fmla="*/ 170 h 210"/>
                <a:gd name="T94" fmla="*/ 338 w 426"/>
                <a:gd name="T95" fmla="*/ 177 h 210"/>
                <a:gd name="T96" fmla="*/ 351 w 426"/>
                <a:gd name="T97" fmla="*/ 165 h 210"/>
                <a:gd name="T98" fmla="*/ 353 w 426"/>
                <a:gd name="T99" fmla="*/ 192 h 210"/>
                <a:gd name="T100" fmla="*/ 365 w 426"/>
                <a:gd name="T101" fmla="*/ 193 h 210"/>
                <a:gd name="T102" fmla="*/ 377 w 426"/>
                <a:gd name="T103" fmla="*/ 205 h 210"/>
                <a:gd name="T104" fmla="*/ 397 w 426"/>
                <a:gd name="T105" fmla="*/ 195 h 210"/>
                <a:gd name="T106" fmla="*/ 413 w 426"/>
                <a:gd name="T107" fmla="*/ 17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6" h="210">
                  <a:moveTo>
                    <a:pt x="424" y="146"/>
                  </a:moveTo>
                  <a:cubicBezTo>
                    <a:pt x="424" y="144"/>
                    <a:pt x="422" y="143"/>
                    <a:pt x="420" y="142"/>
                  </a:cubicBezTo>
                  <a:cubicBezTo>
                    <a:pt x="419" y="141"/>
                    <a:pt x="418" y="141"/>
                    <a:pt x="418" y="141"/>
                  </a:cubicBezTo>
                  <a:cubicBezTo>
                    <a:pt x="418" y="140"/>
                    <a:pt x="419" y="140"/>
                    <a:pt x="419" y="140"/>
                  </a:cubicBezTo>
                  <a:cubicBezTo>
                    <a:pt x="420" y="139"/>
                    <a:pt x="420" y="139"/>
                    <a:pt x="420" y="139"/>
                  </a:cubicBezTo>
                  <a:cubicBezTo>
                    <a:pt x="422" y="136"/>
                    <a:pt x="422" y="136"/>
                    <a:pt x="422" y="136"/>
                  </a:cubicBezTo>
                  <a:cubicBezTo>
                    <a:pt x="422" y="135"/>
                    <a:pt x="422" y="134"/>
                    <a:pt x="422" y="133"/>
                  </a:cubicBezTo>
                  <a:cubicBezTo>
                    <a:pt x="421" y="132"/>
                    <a:pt x="420" y="132"/>
                    <a:pt x="419" y="132"/>
                  </a:cubicBezTo>
                  <a:cubicBezTo>
                    <a:pt x="368" y="144"/>
                    <a:pt x="368" y="144"/>
                    <a:pt x="368" y="144"/>
                  </a:cubicBezTo>
                  <a:cubicBezTo>
                    <a:pt x="364" y="138"/>
                    <a:pt x="364" y="138"/>
                    <a:pt x="364" y="138"/>
                  </a:cubicBezTo>
                  <a:cubicBezTo>
                    <a:pt x="352" y="87"/>
                    <a:pt x="352" y="87"/>
                    <a:pt x="352" y="87"/>
                  </a:cubicBezTo>
                  <a:cubicBezTo>
                    <a:pt x="328" y="2"/>
                    <a:pt x="328" y="2"/>
                    <a:pt x="328" y="2"/>
                  </a:cubicBezTo>
                  <a:cubicBezTo>
                    <a:pt x="327" y="1"/>
                    <a:pt x="326" y="0"/>
                    <a:pt x="325" y="0"/>
                  </a:cubicBezTo>
                  <a:cubicBezTo>
                    <a:pt x="153" y="37"/>
                    <a:pt x="153" y="37"/>
                    <a:pt x="153" y="37"/>
                  </a:cubicBezTo>
                  <a:cubicBezTo>
                    <a:pt x="5" y="65"/>
                    <a:pt x="5" y="65"/>
                    <a:pt x="5" y="65"/>
                  </a:cubicBezTo>
                  <a:cubicBezTo>
                    <a:pt x="2" y="65"/>
                    <a:pt x="2" y="65"/>
                    <a:pt x="2" y="65"/>
                  </a:cubicBezTo>
                  <a:cubicBezTo>
                    <a:pt x="2" y="65"/>
                    <a:pt x="1" y="65"/>
                    <a:pt x="1" y="66"/>
                  </a:cubicBezTo>
                  <a:cubicBezTo>
                    <a:pt x="0" y="66"/>
                    <a:pt x="0" y="67"/>
                    <a:pt x="0" y="68"/>
                  </a:cubicBezTo>
                  <a:cubicBezTo>
                    <a:pt x="0" y="68"/>
                    <a:pt x="0" y="70"/>
                    <a:pt x="0" y="71"/>
                  </a:cubicBezTo>
                  <a:cubicBezTo>
                    <a:pt x="1" y="86"/>
                    <a:pt x="9" y="127"/>
                    <a:pt x="10" y="129"/>
                  </a:cubicBezTo>
                  <a:cubicBezTo>
                    <a:pt x="10" y="130"/>
                    <a:pt x="11" y="131"/>
                    <a:pt x="12" y="131"/>
                  </a:cubicBezTo>
                  <a:cubicBezTo>
                    <a:pt x="13" y="131"/>
                    <a:pt x="14" y="131"/>
                    <a:pt x="14" y="130"/>
                  </a:cubicBezTo>
                  <a:cubicBezTo>
                    <a:pt x="20" y="123"/>
                    <a:pt x="20" y="123"/>
                    <a:pt x="20" y="123"/>
                  </a:cubicBezTo>
                  <a:cubicBezTo>
                    <a:pt x="21" y="122"/>
                    <a:pt x="26" y="118"/>
                    <a:pt x="28" y="116"/>
                  </a:cubicBezTo>
                  <a:cubicBezTo>
                    <a:pt x="29" y="115"/>
                    <a:pt x="30" y="113"/>
                    <a:pt x="30" y="112"/>
                  </a:cubicBezTo>
                  <a:cubicBezTo>
                    <a:pt x="31" y="110"/>
                    <a:pt x="32" y="109"/>
                    <a:pt x="32" y="109"/>
                  </a:cubicBezTo>
                  <a:cubicBezTo>
                    <a:pt x="33" y="108"/>
                    <a:pt x="34" y="107"/>
                    <a:pt x="35" y="105"/>
                  </a:cubicBezTo>
                  <a:cubicBezTo>
                    <a:pt x="37" y="104"/>
                    <a:pt x="39" y="102"/>
                    <a:pt x="40" y="100"/>
                  </a:cubicBezTo>
                  <a:cubicBezTo>
                    <a:pt x="40" y="99"/>
                    <a:pt x="41" y="98"/>
                    <a:pt x="41" y="97"/>
                  </a:cubicBezTo>
                  <a:cubicBezTo>
                    <a:pt x="41" y="96"/>
                    <a:pt x="42" y="94"/>
                    <a:pt x="42" y="94"/>
                  </a:cubicBezTo>
                  <a:cubicBezTo>
                    <a:pt x="43" y="93"/>
                    <a:pt x="46" y="92"/>
                    <a:pt x="47" y="92"/>
                  </a:cubicBezTo>
                  <a:cubicBezTo>
                    <a:pt x="47" y="92"/>
                    <a:pt x="48" y="92"/>
                    <a:pt x="49" y="92"/>
                  </a:cubicBezTo>
                  <a:cubicBezTo>
                    <a:pt x="51" y="93"/>
                    <a:pt x="53" y="93"/>
                    <a:pt x="55" y="93"/>
                  </a:cubicBezTo>
                  <a:cubicBezTo>
                    <a:pt x="60" y="91"/>
                    <a:pt x="65" y="81"/>
                    <a:pt x="67" y="76"/>
                  </a:cubicBezTo>
                  <a:cubicBezTo>
                    <a:pt x="67" y="75"/>
                    <a:pt x="67" y="74"/>
                    <a:pt x="67" y="72"/>
                  </a:cubicBezTo>
                  <a:cubicBezTo>
                    <a:pt x="67" y="72"/>
                    <a:pt x="67" y="70"/>
                    <a:pt x="66" y="70"/>
                  </a:cubicBezTo>
                  <a:cubicBezTo>
                    <a:pt x="67" y="70"/>
                    <a:pt x="69" y="72"/>
                    <a:pt x="70" y="73"/>
                  </a:cubicBezTo>
                  <a:cubicBezTo>
                    <a:pt x="71" y="75"/>
                    <a:pt x="72" y="76"/>
                    <a:pt x="74" y="77"/>
                  </a:cubicBezTo>
                  <a:cubicBezTo>
                    <a:pt x="76" y="78"/>
                    <a:pt x="80" y="78"/>
                    <a:pt x="82" y="79"/>
                  </a:cubicBezTo>
                  <a:cubicBezTo>
                    <a:pt x="82" y="79"/>
                    <a:pt x="83" y="79"/>
                    <a:pt x="85" y="79"/>
                  </a:cubicBezTo>
                  <a:cubicBezTo>
                    <a:pt x="92" y="79"/>
                    <a:pt x="94" y="77"/>
                    <a:pt x="95" y="76"/>
                  </a:cubicBezTo>
                  <a:cubicBezTo>
                    <a:pt x="97" y="75"/>
                    <a:pt x="97" y="73"/>
                    <a:pt x="97" y="71"/>
                  </a:cubicBezTo>
                  <a:cubicBezTo>
                    <a:pt x="97" y="70"/>
                    <a:pt x="97" y="69"/>
                    <a:pt x="97" y="69"/>
                  </a:cubicBezTo>
                  <a:cubicBezTo>
                    <a:pt x="97" y="69"/>
                    <a:pt x="98" y="68"/>
                    <a:pt x="99" y="68"/>
                  </a:cubicBezTo>
                  <a:cubicBezTo>
                    <a:pt x="100" y="68"/>
                    <a:pt x="101" y="68"/>
                    <a:pt x="103" y="68"/>
                  </a:cubicBezTo>
                  <a:cubicBezTo>
                    <a:pt x="104" y="68"/>
                    <a:pt x="104" y="68"/>
                    <a:pt x="105" y="68"/>
                  </a:cubicBezTo>
                  <a:cubicBezTo>
                    <a:pt x="107" y="68"/>
                    <a:pt x="110" y="68"/>
                    <a:pt x="111" y="68"/>
                  </a:cubicBezTo>
                  <a:cubicBezTo>
                    <a:pt x="113" y="66"/>
                    <a:pt x="113" y="64"/>
                    <a:pt x="114" y="62"/>
                  </a:cubicBezTo>
                  <a:cubicBezTo>
                    <a:pt x="114" y="61"/>
                    <a:pt x="115" y="59"/>
                    <a:pt x="115" y="59"/>
                  </a:cubicBezTo>
                  <a:cubicBezTo>
                    <a:pt x="116" y="58"/>
                    <a:pt x="118" y="57"/>
                    <a:pt x="119" y="57"/>
                  </a:cubicBezTo>
                  <a:cubicBezTo>
                    <a:pt x="120" y="57"/>
                    <a:pt x="123" y="58"/>
                    <a:pt x="125" y="59"/>
                  </a:cubicBezTo>
                  <a:cubicBezTo>
                    <a:pt x="127" y="61"/>
                    <a:pt x="131" y="64"/>
                    <a:pt x="133" y="65"/>
                  </a:cubicBezTo>
                  <a:cubicBezTo>
                    <a:pt x="134" y="65"/>
                    <a:pt x="134" y="65"/>
                    <a:pt x="135" y="65"/>
                  </a:cubicBezTo>
                  <a:cubicBezTo>
                    <a:pt x="137" y="65"/>
                    <a:pt x="140" y="63"/>
                    <a:pt x="143" y="61"/>
                  </a:cubicBezTo>
                  <a:cubicBezTo>
                    <a:pt x="144" y="60"/>
                    <a:pt x="145" y="59"/>
                    <a:pt x="147" y="58"/>
                  </a:cubicBezTo>
                  <a:cubicBezTo>
                    <a:pt x="147" y="58"/>
                    <a:pt x="147" y="58"/>
                    <a:pt x="147" y="59"/>
                  </a:cubicBezTo>
                  <a:cubicBezTo>
                    <a:pt x="146" y="61"/>
                    <a:pt x="144" y="63"/>
                    <a:pt x="146" y="65"/>
                  </a:cubicBezTo>
                  <a:cubicBezTo>
                    <a:pt x="147" y="67"/>
                    <a:pt x="149" y="67"/>
                    <a:pt x="151" y="67"/>
                  </a:cubicBezTo>
                  <a:cubicBezTo>
                    <a:pt x="152" y="67"/>
                    <a:pt x="153" y="67"/>
                    <a:pt x="153" y="67"/>
                  </a:cubicBezTo>
                  <a:cubicBezTo>
                    <a:pt x="153" y="68"/>
                    <a:pt x="153" y="69"/>
                    <a:pt x="153" y="69"/>
                  </a:cubicBezTo>
                  <a:cubicBezTo>
                    <a:pt x="153" y="71"/>
                    <a:pt x="153" y="73"/>
                    <a:pt x="153" y="74"/>
                  </a:cubicBezTo>
                  <a:cubicBezTo>
                    <a:pt x="154" y="76"/>
                    <a:pt x="156" y="77"/>
                    <a:pt x="158" y="79"/>
                  </a:cubicBezTo>
                  <a:cubicBezTo>
                    <a:pt x="159" y="79"/>
                    <a:pt x="160" y="80"/>
                    <a:pt x="160" y="81"/>
                  </a:cubicBezTo>
                  <a:cubicBezTo>
                    <a:pt x="160" y="81"/>
                    <a:pt x="160" y="82"/>
                    <a:pt x="160" y="82"/>
                  </a:cubicBezTo>
                  <a:cubicBezTo>
                    <a:pt x="161" y="83"/>
                    <a:pt x="161" y="85"/>
                    <a:pt x="162" y="86"/>
                  </a:cubicBezTo>
                  <a:cubicBezTo>
                    <a:pt x="164" y="88"/>
                    <a:pt x="169" y="87"/>
                    <a:pt x="173" y="87"/>
                  </a:cubicBezTo>
                  <a:cubicBezTo>
                    <a:pt x="175" y="87"/>
                    <a:pt x="178" y="86"/>
                    <a:pt x="179" y="86"/>
                  </a:cubicBezTo>
                  <a:cubicBezTo>
                    <a:pt x="180" y="87"/>
                    <a:pt x="184" y="89"/>
                    <a:pt x="185" y="91"/>
                  </a:cubicBezTo>
                  <a:cubicBezTo>
                    <a:pt x="186" y="92"/>
                    <a:pt x="188" y="95"/>
                    <a:pt x="188" y="97"/>
                  </a:cubicBezTo>
                  <a:cubicBezTo>
                    <a:pt x="188" y="97"/>
                    <a:pt x="187" y="98"/>
                    <a:pt x="187" y="99"/>
                  </a:cubicBezTo>
                  <a:cubicBezTo>
                    <a:pt x="187" y="101"/>
                    <a:pt x="186" y="103"/>
                    <a:pt x="187" y="104"/>
                  </a:cubicBezTo>
                  <a:cubicBezTo>
                    <a:pt x="188" y="108"/>
                    <a:pt x="194" y="110"/>
                    <a:pt x="196" y="111"/>
                  </a:cubicBezTo>
                  <a:cubicBezTo>
                    <a:pt x="198" y="111"/>
                    <a:pt x="200" y="111"/>
                    <a:pt x="203" y="111"/>
                  </a:cubicBezTo>
                  <a:cubicBezTo>
                    <a:pt x="204" y="110"/>
                    <a:pt x="205" y="110"/>
                    <a:pt x="207" y="110"/>
                  </a:cubicBezTo>
                  <a:cubicBezTo>
                    <a:pt x="207" y="110"/>
                    <a:pt x="209" y="111"/>
                    <a:pt x="214" y="114"/>
                  </a:cubicBezTo>
                  <a:cubicBezTo>
                    <a:pt x="214" y="114"/>
                    <a:pt x="215" y="115"/>
                    <a:pt x="216" y="115"/>
                  </a:cubicBezTo>
                  <a:cubicBezTo>
                    <a:pt x="217" y="116"/>
                    <a:pt x="218" y="117"/>
                    <a:pt x="220" y="118"/>
                  </a:cubicBezTo>
                  <a:cubicBezTo>
                    <a:pt x="221" y="119"/>
                    <a:pt x="224" y="120"/>
                    <a:pt x="227" y="120"/>
                  </a:cubicBezTo>
                  <a:cubicBezTo>
                    <a:pt x="227" y="120"/>
                    <a:pt x="227" y="120"/>
                    <a:pt x="227" y="120"/>
                  </a:cubicBezTo>
                  <a:cubicBezTo>
                    <a:pt x="229" y="119"/>
                    <a:pt x="231" y="118"/>
                    <a:pt x="233" y="117"/>
                  </a:cubicBezTo>
                  <a:cubicBezTo>
                    <a:pt x="234" y="116"/>
                    <a:pt x="236" y="115"/>
                    <a:pt x="236" y="115"/>
                  </a:cubicBezTo>
                  <a:cubicBezTo>
                    <a:pt x="238" y="115"/>
                    <a:pt x="242" y="117"/>
                    <a:pt x="243" y="119"/>
                  </a:cubicBezTo>
                  <a:cubicBezTo>
                    <a:pt x="243" y="119"/>
                    <a:pt x="243" y="122"/>
                    <a:pt x="242" y="123"/>
                  </a:cubicBezTo>
                  <a:cubicBezTo>
                    <a:pt x="242" y="124"/>
                    <a:pt x="241" y="125"/>
                    <a:pt x="241" y="126"/>
                  </a:cubicBezTo>
                  <a:cubicBezTo>
                    <a:pt x="239" y="127"/>
                    <a:pt x="238" y="129"/>
                    <a:pt x="238" y="130"/>
                  </a:cubicBezTo>
                  <a:cubicBezTo>
                    <a:pt x="237" y="132"/>
                    <a:pt x="238" y="134"/>
                    <a:pt x="238" y="136"/>
                  </a:cubicBezTo>
                  <a:cubicBezTo>
                    <a:pt x="239" y="137"/>
                    <a:pt x="239" y="139"/>
                    <a:pt x="239" y="140"/>
                  </a:cubicBezTo>
                  <a:cubicBezTo>
                    <a:pt x="239" y="140"/>
                    <a:pt x="238" y="142"/>
                    <a:pt x="237" y="142"/>
                  </a:cubicBezTo>
                  <a:cubicBezTo>
                    <a:pt x="235" y="144"/>
                    <a:pt x="234" y="145"/>
                    <a:pt x="233" y="147"/>
                  </a:cubicBezTo>
                  <a:cubicBezTo>
                    <a:pt x="233" y="148"/>
                    <a:pt x="233" y="149"/>
                    <a:pt x="233" y="151"/>
                  </a:cubicBezTo>
                  <a:cubicBezTo>
                    <a:pt x="233" y="152"/>
                    <a:pt x="233" y="153"/>
                    <a:pt x="233" y="154"/>
                  </a:cubicBezTo>
                  <a:cubicBezTo>
                    <a:pt x="232" y="155"/>
                    <a:pt x="230" y="158"/>
                    <a:pt x="229" y="160"/>
                  </a:cubicBezTo>
                  <a:cubicBezTo>
                    <a:pt x="228" y="161"/>
                    <a:pt x="227" y="161"/>
                    <a:pt x="227" y="162"/>
                  </a:cubicBezTo>
                  <a:cubicBezTo>
                    <a:pt x="225" y="164"/>
                    <a:pt x="224" y="168"/>
                    <a:pt x="224" y="170"/>
                  </a:cubicBezTo>
                  <a:cubicBezTo>
                    <a:pt x="224" y="173"/>
                    <a:pt x="224" y="177"/>
                    <a:pt x="226" y="180"/>
                  </a:cubicBezTo>
                  <a:cubicBezTo>
                    <a:pt x="229" y="186"/>
                    <a:pt x="231" y="188"/>
                    <a:pt x="234" y="188"/>
                  </a:cubicBezTo>
                  <a:cubicBezTo>
                    <a:pt x="234" y="188"/>
                    <a:pt x="234" y="188"/>
                    <a:pt x="234" y="188"/>
                  </a:cubicBezTo>
                  <a:cubicBezTo>
                    <a:pt x="237" y="188"/>
                    <a:pt x="240" y="185"/>
                    <a:pt x="242" y="179"/>
                  </a:cubicBezTo>
                  <a:cubicBezTo>
                    <a:pt x="243" y="178"/>
                    <a:pt x="243" y="177"/>
                    <a:pt x="243" y="176"/>
                  </a:cubicBezTo>
                  <a:cubicBezTo>
                    <a:pt x="243" y="175"/>
                    <a:pt x="243" y="174"/>
                    <a:pt x="243" y="174"/>
                  </a:cubicBezTo>
                  <a:cubicBezTo>
                    <a:pt x="243" y="174"/>
                    <a:pt x="246" y="172"/>
                    <a:pt x="247" y="172"/>
                  </a:cubicBezTo>
                  <a:cubicBezTo>
                    <a:pt x="248" y="173"/>
                    <a:pt x="249" y="176"/>
                    <a:pt x="250" y="179"/>
                  </a:cubicBezTo>
                  <a:cubicBezTo>
                    <a:pt x="250" y="179"/>
                    <a:pt x="250" y="179"/>
                    <a:pt x="250" y="179"/>
                  </a:cubicBezTo>
                  <a:cubicBezTo>
                    <a:pt x="256" y="187"/>
                    <a:pt x="256" y="187"/>
                    <a:pt x="256" y="187"/>
                  </a:cubicBezTo>
                  <a:cubicBezTo>
                    <a:pt x="258" y="189"/>
                    <a:pt x="262" y="193"/>
                    <a:pt x="265" y="193"/>
                  </a:cubicBezTo>
                  <a:cubicBezTo>
                    <a:pt x="266" y="193"/>
                    <a:pt x="267" y="192"/>
                    <a:pt x="267" y="192"/>
                  </a:cubicBezTo>
                  <a:cubicBezTo>
                    <a:pt x="268" y="192"/>
                    <a:pt x="269" y="191"/>
                    <a:pt x="269" y="188"/>
                  </a:cubicBezTo>
                  <a:cubicBezTo>
                    <a:pt x="271" y="191"/>
                    <a:pt x="274" y="195"/>
                    <a:pt x="277" y="195"/>
                  </a:cubicBezTo>
                  <a:cubicBezTo>
                    <a:pt x="279" y="196"/>
                    <a:pt x="282" y="194"/>
                    <a:pt x="284" y="192"/>
                  </a:cubicBezTo>
                  <a:cubicBezTo>
                    <a:pt x="284" y="192"/>
                    <a:pt x="285" y="191"/>
                    <a:pt x="286" y="191"/>
                  </a:cubicBezTo>
                  <a:cubicBezTo>
                    <a:pt x="286" y="190"/>
                    <a:pt x="287" y="190"/>
                    <a:pt x="287" y="190"/>
                  </a:cubicBezTo>
                  <a:cubicBezTo>
                    <a:pt x="289" y="190"/>
                    <a:pt x="291" y="191"/>
                    <a:pt x="292" y="191"/>
                  </a:cubicBezTo>
                  <a:cubicBezTo>
                    <a:pt x="292" y="191"/>
                    <a:pt x="293" y="193"/>
                    <a:pt x="293" y="194"/>
                  </a:cubicBezTo>
                  <a:cubicBezTo>
                    <a:pt x="295" y="196"/>
                    <a:pt x="296" y="198"/>
                    <a:pt x="299" y="198"/>
                  </a:cubicBezTo>
                  <a:cubicBezTo>
                    <a:pt x="301" y="198"/>
                    <a:pt x="302" y="198"/>
                    <a:pt x="302" y="197"/>
                  </a:cubicBezTo>
                  <a:cubicBezTo>
                    <a:pt x="302" y="197"/>
                    <a:pt x="303" y="197"/>
                    <a:pt x="303" y="197"/>
                  </a:cubicBezTo>
                  <a:cubicBezTo>
                    <a:pt x="305" y="197"/>
                    <a:pt x="307" y="197"/>
                    <a:pt x="308" y="198"/>
                  </a:cubicBezTo>
                  <a:cubicBezTo>
                    <a:pt x="309" y="198"/>
                    <a:pt x="310" y="199"/>
                    <a:pt x="310" y="200"/>
                  </a:cubicBezTo>
                  <a:cubicBezTo>
                    <a:pt x="312" y="203"/>
                    <a:pt x="314" y="206"/>
                    <a:pt x="316" y="206"/>
                  </a:cubicBezTo>
                  <a:cubicBezTo>
                    <a:pt x="316" y="206"/>
                    <a:pt x="317" y="205"/>
                    <a:pt x="317" y="205"/>
                  </a:cubicBezTo>
                  <a:cubicBezTo>
                    <a:pt x="321" y="204"/>
                    <a:pt x="321" y="198"/>
                    <a:pt x="321" y="196"/>
                  </a:cubicBezTo>
                  <a:cubicBezTo>
                    <a:pt x="321" y="191"/>
                    <a:pt x="315" y="183"/>
                    <a:pt x="311" y="180"/>
                  </a:cubicBezTo>
                  <a:cubicBezTo>
                    <a:pt x="309" y="179"/>
                    <a:pt x="306" y="179"/>
                    <a:pt x="303" y="180"/>
                  </a:cubicBezTo>
                  <a:cubicBezTo>
                    <a:pt x="301" y="181"/>
                    <a:pt x="299" y="181"/>
                    <a:pt x="298" y="181"/>
                  </a:cubicBezTo>
                  <a:cubicBezTo>
                    <a:pt x="297" y="180"/>
                    <a:pt x="296" y="179"/>
                    <a:pt x="294" y="178"/>
                  </a:cubicBezTo>
                  <a:cubicBezTo>
                    <a:pt x="293" y="176"/>
                    <a:pt x="292" y="175"/>
                    <a:pt x="291" y="175"/>
                  </a:cubicBezTo>
                  <a:cubicBezTo>
                    <a:pt x="289" y="174"/>
                    <a:pt x="287" y="173"/>
                    <a:pt x="285" y="172"/>
                  </a:cubicBezTo>
                  <a:cubicBezTo>
                    <a:pt x="283" y="171"/>
                    <a:pt x="281" y="170"/>
                    <a:pt x="280" y="169"/>
                  </a:cubicBezTo>
                  <a:cubicBezTo>
                    <a:pt x="279" y="168"/>
                    <a:pt x="277" y="165"/>
                    <a:pt x="276" y="163"/>
                  </a:cubicBezTo>
                  <a:cubicBezTo>
                    <a:pt x="274" y="159"/>
                    <a:pt x="271" y="152"/>
                    <a:pt x="271" y="149"/>
                  </a:cubicBezTo>
                  <a:cubicBezTo>
                    <a:pt x="271" y="148"/>
                    <a:pt x="272" y="147"/>
                    <a:pt x="273" y="145"/>
                  </a:cubicBezTo>
                  <a:cubicBezTo>
                    <a:pt x="273" y="147"/>
                    <a:pt x="273" y="148"/>
                    <a:pt x="273" y="148"/>
                  </a:cubicBezTo>
                  <a:cubicBezTo>
                    <a:pt x="276" y="156"/>
                    <a:pt x="279" y="162"/>
                    <a:pt x="282" y="164"/>
                  </a:cubicBezTo>
                  <a:cubicBezTo>
                    <a:pt x="283" y="166"/>
                    <a:pt x="288" y="169"/>
                    <a:pt x="290" y="170"/>
                  </a:cubicBezTo>
                  <a:cubicBezTo>
                    <a:pt x="291" y="170"/>
                    <a:pt x="292" y="171"/>
                    <a:pt x="293" y="171"/>
                  </a:cubicBezTo>
                  <a:cubicBezTo>
                    <a:pt x="295" y="171"/>
                    <a:pt x="297" y="172"/>
                    <a:pt x="297" y="172"/>
                  </a:cubicBezTo>
                  <a:cubicBezTo>
                    <a:pt x="297" y="172"/>
                    <a:pt x="297" y="173"/>
                    <a:pt x="298" y="173"/>
                  </a:cubicBezTo>
                  <a:cubicBezTo>
                    <a:pt x="298" y="175"/>
                    <a:pt x="300" y="177"/>
                    <a:pt x="302" y="177"/>
                  </a:cubicBezTo>
                  <a:cubicBezTo>
                    <a:pt x="304" y="177"/>
                    <a:pt x="305" y="177"/>
                    <a:pt x="306" y="175"/>
                  </a:cubicBezTo>
                  <a:cubicBezTo>
                    <a:pt x="308" y="173"/>
                    <a:pt x="309" y="170"/>
                    <a:pt x="309" y="167"/>
                  </a:cubicBezTo>
                  <a:cubicBezTo>
                    <a:pt x="308" y="163"/>
                    <a:pt x="304" y="160"/>
                    <a:pt x="300" y="157"/>
                  </a:cubicBezTo>
                  <a:cubicBezTo>
                    <a:pt x="297" y="155"/>
                    <a:pt x="295" y="153"/>
                    <a:pt x="294" y="152"/>
                  </a:cubicBezTo>
                  <a:cubicBezTo>
                    <a:pt x="293" y="150"/>
                    <a:pt x="292" y="147"/>
                    <a:pt x="292" y="144"/>
                  </a:cubicBezTo>
                  <a:cubicBezTo>
                    <a:pt x="291" y="141"/>
                    <a:pt x="291" y="138"/>
                    <a:pt x="290" y="136"/>
                  </a:cubicBezTo>
                  <a:cubicBezTo>
                    <a:pt x="290" y="135"/>
                    <a:pt x="289" y="134"/>
                    <a:pt x="288" y="133"/>
                  </a:cubicBezTo>
                  <a:cubicBezTo>
                    <a:pt x="287" y="132"/>
                    <a:pt x="286" y="130"/>
                    <a:pt x="286" y="129"/>
                  </a:cubicBezTo>
                  <a:cubicBezTo>
                    <a:pt x="286" y="129"/>
                    <a:pt x="286" y="127"/>
                    <a:pt x="287" y="127"/>
                  </a:cubicBezTo>
                  <a:cubicBezTo>
                    <a:pt x="287" y="125"/>
                    <a:pt x="288" y="124"/>
                    <a:pt x="288" y="122"/>
                  </a:cubicBezTo>
                  <a:cubicBezTo>
                    <a:pt x="288" y="121"/>
                    <a:pt x="287" y="119"/>
                    <a:pt x="286" y="117"/>
                  </a:cubicBezTo>
                  <a:cubicBezTo>
                    <a:pt x="286" y="116"/>
                    <a:pt x="285" y="115"/>
                    <a:pt x="285" y="115"/>
                  </a:cubicBezTo>
                  <a:cubicBezTo>
                    <a:pt x="285" y="114"/>
                    <a:pt x="285" y="111"/>
                    <a:pt x="286" y="110"/>
                  </a:cubicBezTo>
                  <a:cubicBezTo>
                    <a:pt x="286" y="106"/>
                    <a:pt x="287" y="103"/>
                    <a:pt x="286" y="100"/>
                  </a:cubicBezTo>
                  <a:cubicBezTo>
                    <a:pt x="285" y="99"/>
                    <a:pt x="283" y="98"/>
                    <a:pt x="282" y="97"/>
                  </a:cubicBezTo>
                  <a:cubicBezTo>
                    <a:pt x="282" y="97"/>
                    <a:pt x="281" y="97"/>
                    <a:pt x="281" y="97"/>
                  </a:cubicBezTo>
                  <a:cubicBezTo>
                    <a:pt x="284" y="95"/>
                    <a:pt x="285" y="94"/>
                    <a:pt x="285" y="92"/>
                  </a:cubicBezTo>
                  <a:cubicBezTo>
                    <a:pt x="285" y="92"/>
                    <a:pt x="285" y="91"/>
                    <a:pt x="286" y="90"/>
                  </a:cubicBezTo>
                  <a:cubicBezTo>
                    <a:pt x="286" y="88"/>
                    <a:pt x="287" y="85"/>
                    <a:pt x="286" y="83"/>
                  </a:cubicBezTo>
                  <a:cubicBezTo>
                    <a:pt x="285" y="80"/>
                    <a:pt x="281" y="78"/>
                    <a:pt x="276" y="77"/>
                  </a:cubicBezTo>
                  <a:cubicBezTo>
                    <a:pt x="274" y="76"/>
                    <a:pt x="270" y="75"/>
                    <a:pt x="269" y="74"/>
                  </a:cubicBezTo>
                  <a:cubicBezTo>
                    <a:pt x="270" y="74"/>
                    <a:pt x="271" y="73"/>
                    <a:pt x="272" y="73"/>
                  </a:cubicBezTo>
                  <a:cubicBezTo>
                    <a:pt x="273" y="73"/>
                    <a:pt x="273" y="73"/>
                    <a:pt x="274" y="74"/>
                  </a:cubicBezTo>
                  <a:cubicBezTo>
                    <a:pt x="274" y="74"/>
                    <a:pt x="275" y="75"/>
                    <a:pt x="275" y="75"/>
                  </a:cubicBezTo>
                  <a:cubicBezTo>
                    <a:pt x="276" y="75"/>
                    <a:pt x="279" y="76"/>
                    <a:pt x="281" y="76"/>
                  </a:cubicBezTo>
                  <a:cubicBezTo>
                    <a:pt x="284" y="76"/>
                    <a:pt x="285" y="74"/>
                    <a:pt x="286" y="73"/>
                  </a:cubicBezTo>
                  <a:cubicBezTo>
                    <a:pt x="286" y="73"/>
                    <a:pt x="286" y="73"/>
                    <a:pt x="286" y="72"/>
                  </a:cubicBezTo>
                  <a:cubicBezTo>
                    <a:pt x="286" y="71"/>
                    <a:pt x="286" y="69"/>
                    <a:pt x="286" y="69"/>
                  </a:cubicBezTo>
                  <a:cubicBezTo>
                    <a:pt x="287" y="66"/>
                    <a:pt x="287" y="60"/>
                    <a:pt x="287" y="58"/>
                  </a:cubicBezTo>
                  <a:cubicBezTo>
                    <a:pt x="286" y="57"/>
                    <a:pt x="286" y="55"/>
                    <a:pt x="284" y="53"/>
                  </a:cubicBezTo>
                  <a:cubicBezTo>
                    <a:pt x="284" y="53"/>
                    <a:pt x="283" y="53"/>
                    <a:pt x="283" y="53"/>
                  </a:cubicBezTo>
                  <a:cubicBezTo>
                    <a:pt x="283" y="53"/>
                    <a:pt x="283" y="53"/>
                    <a:pt x="284" y="52"/>
                  </a:cubicBezTo>
                  <a:cubicBezTo>
                    <a:pt x="285" y="52"/>
                    <a:pt x="285" y="52"/>
                    <a:pt x="286" y="52"/>
                  </a:cubicBezTo>
                  <a:cubicBezTo>
                    <a:pt x="288" y="50"/>
                    <a:pt x="289" y="47"/>
                    <a:pt x="290" y="45"/>
                  </a:cubicBezTo>
                  <a:cubicBezTo>
                    <a:pt x="291" y="45"/>
                    <a:pt x="292" y="44"/>
                    <a:pt x="292" y="44"/>
                  </a:cubicBezTo>
                  <a:cubicBezTo>
                    <a:pt x="292" y="44"/>
                    <a:pt x="292" y="45"/>
                    <a:pt x="292" y="45"/>
                  </a:cubicBezTo>
                  <a:cubicBezTo>
                    <a:pt x="292" y="47"/>
                    <a:pt x="291" y="49"/>
                    <a:pt x="294" y="51"/>
                  </a:cubicBezTo>
                  <a:cubicBezTo>
                    <a:pt x="294" y="51"/>
                    <a:pt x="295" y="51"/>
                    <a:pt x="296" y="51"/>
                  </a:cubicBezTo>
                  <a:cubicBezTo>
                    <a:pt x="298" y="51"/>
                    <a:pt x="302" y="49"/>
                    <a:pt x="303" y="49"/>
                  </a:cubicBezTo>
                  <a:cubicBezTo>
                    <a:pt x="304" y="48"/>
                    <a:pt x="305" y="48"/>
                    <a:pt x="305" y="47"/>
                  </a:cubicBezTo>
                  <a:cubicBezTo>
                    <a:pt x="305" y="46"/>
                    <a:pt x="306" y="35"/>
                    <a:pt x="305" y="31"/>
                  </a:cubicBezTo>
                  <a:cubicBezTo>
                    <a:pt x="305" y="30"/>
                    <a:pt x="305" y="29"/>
                    <a:pt x="305" y="29"/>
                  </a:cubicBezTo>
                  <a:cubicBezTo>
                    <a:pt x="306" y="29"/>
                    <a:pt x="307" y="29"/>
                    <a:pt x="308" y="28"/>
                  </a:cubicBezTo>
                  <a:cubicBezTo>
                    <a:pt x="309" y="28"/>
                    <a:pt x="311" y="28"/>
                    <a:pt x="312" y="28"/>
                  </a:cubicBezTo>
                  <a:cubicBezTo>
                    <a:pt x="312" y="28"/>
                    <a:pt x="313" y="27"/>
                    <a:pt x="314" y="27"/>
                  </a:cubicBezTo>
                  <a:cubicBezTo>
                    <a:pt x="314" y="26"/>
                    <a:pt x="315" y="26"/>
                    <a:pt x="315" y="26"/>
                  </a:cubicBezTo>
                  <a:cubicBezTo>
                    <a:pt x="316" y="26"/>
                    <a:pt x="318" y="26"/>
                    <a:pt x="320" y="27"/>
                  </a:cubicBezTo>
                  <a:cubicBezTo>
                    <a:pt x="320" y="27"/>
                    <a:pt x="320" y="27"/>
                    <a:pt x="320" y="27"/>
                  </a:cubicBezTo>
                  <a:cubicBezTo>
                    <a:pt x="319" y="28"/>
                    <a:pt x="318" y="30"/>
                    <a:pt x="317" y="31"/>
                  </a:cubicBezTo>
                  <a:cubicBezTo>
                    <a:pt x="317" y="33"/>
                    <a:pt x="317" y="35"/>
                    <a:pt x="318" y="37"/>
                  </a:cubicBezTo>
                  <a:cubicBezTo>
                    <a:pt x="319" y="37"/>
                    <a:pt x="319" y="37"/>
                    <a:pt x="319" y="38"/>
                  </a:cubicBezTo>
                  <a:cubicBezTo>
                    <a:pt x="320" y="38"/>
                    <a:pt x="322" y="39"/>
                    <a:pt x="322" y="40"/>
                  </a:cubicBezTo>
                  <a:cubicBezTo>
                    <a:pt x="322" y="40"/>
                    <a:pt x="322" y="41"/>
                    <a:pt x="321" y="42"/>
                  </a:cubicBezTo>
                  <a:cubicBezTo>
                    <a:pt x="315" y="45"/>
                    <a:pt x="315" y="45"/>
                    <a:pt x="315" y="45"/>
                  </a:cubicBezTo>
                  <a:cubicBezTo>
                    <a:pt x="313" y="45"/>
                    <a:pt x="309" y="46"/>
                    <a:pt x="307" y="46"/>
                  </a:cubicBezTo>
                  <a:cubicBezTo>
                    <a:pt x="305" y="48"/>
                    <a:pt x="301" y="52"/>
                    <a:pt x="300" y="55"/>
                  </a:cubicBezTo>
                  <a:cubicBezTo>
                    <a:pt x="297" y="60"/>
                    <a:pt x="295" y="72"/>
                    <a:pt x="296" y="79"/>
                  </a:cubicBezTo>
                  <a:cubicBezTo>
                    <a:pt x="296" y="79"/>
                    <a:pt x="298" y="89"/>
                    <a:pt x="304" y="89"/>
                  </a:cubicBezTo>
                  <a:cubicBezTo>
                    <a:pt x="305" y="89"/>
                    <a:pt x="306" y="88"/>
                    <a:pt x="307" y="86"/>
                  </a:cubicBezTo>
                  <a:cubicBezTo>
                    <a:pt x="307" y="87"/>
                    <a:pt x="307" y="87"/>
                    <a:pt x="307" y="88"/>
                  </a:cubicBezTo>
                  <a:cubicBezTo>
                    <a:pt x="307" y="88"/>
                    <a:pt x="308" y="89"/>
                    <a:pt x="308" y="89"/>
                  </a:cubicBezTo>
                  <a:cubicBezTo>
                    <a:pt x="308" y="89"/>
                    <a:pt x="308" y="90"/>
                    <a:pt x="308" y="90"/>
                  </a:cubicBezTo>
                  <a:cubicBezTo>
                    <a:pt x="307" y="91"/>
                    <a:pt x="305" y="92"/>
                    <a:pt x="302" y="94"/>
                  </a:cubicBezTo>
                  <a:cubicBezTo>
                    <a:pt x="301" y="94"/>
                    <a:pt x="301" y="94"/>
                    <a:pt x="300" y="94"/>
                  </a:cubicBezTo>
                  <a:cubicBezTo>
                    <a:pt x="298" y="94"/>
                    <a:pt x="296" y="95"/>
                    <a:pt x="294" y="96"/>
                  </a:cubicBezTo>
                  <a:cubicBezTo>
                    <a:pt x="292" y="99"/>
                    <a:pt x="291" y="108"/>
                    <a:pt x="292" y="112"/>
                  </a:cubicBezTo>
                  <a:cubicBezTo>
                    <a:pt x="293" y="115"/>
                    <a:pt x="295" y="115"/>
                    <a:pt x="296" y="115"/>
                  </a:cubicBezTo>
                  <a:cubicBezTo>
                    <a:pt x="297" y="115"/>
                    <a:pt x="298" y="115"/>
                    <a:pt x="299" y="114"/>
                  </a:cubicBezTo>
                  <a:cubicBezTo>
                    <a:pt x="300" y="113"/>
                    <a:pt x="300" y="112"/>
                    <a:pt x="300" y="111"/>
                  </a:cubicBezTo>
                  <a:cubicBezTo>
                    <a:pt x="300" y="111"/>
                    <a:pt x="300" y="110"/>
                    <a:pt x="300" y="110"/>
                  </a:cubicBezTo>
                  <a:cubicBezTo>
                    <a:pt x="300" y="110"/>
                    <a:pt x="302" y="109"/>
                    <a:pt x="303" y="108"/>
                  </a:cubicBezTo>
                  <a:cubicBezTo>
                    <a:pt x="304" y="108"/>
                    <a:pt x="305" y="107"/>
                    <a:pt x="306" y="106"/>
                  </a:cubicBezTo>
                  <a:cubicBezTo>
                    <a:pt x="306" y="106"/>
                    <a:pt x="306" y="106"/>
                    <a:pt x="307" y="105"/>
                  </a:cubicBezTo>
                  <a:cubicBezTo>
                    <a:pt x="307" y="106"/>
                    <a:pt x="307" y="106"/>
                    <a:pt x="307" y="106"/>
                  </a:cubicBezTo>
                  <a:cubicBezTo>
                    <a:pt x="308" y="108"/>
                    <a:pt x="309" y="110"/>
                    <a:pt x="310" y="111"/>
                  </a:cubicBezTo>
                  <a:cubicBezTo>
                    <a:pt x="311" y="111"/>
                    <a:pt x="311" y="111"/>
                    <a:pt x="312" y="111"/>
                  </a:cubicBezTo>
                  <a:cubicBezTo>
                    <a:pt x="311" y="111"/>
                    <a:pt x="311" y="112"/>
                    <a:pt x="311" y="112"/>
                  </a:cubicBezTo>
                  <a:cubicBezTo>
                    <a:pt x="311" y="112"/>
                    <a:pt x="311" y="112"/>
                    <a:pt x="310" y="112"/>
                  </a:cubicBezTo>
                  <a:cubicBezTo>
                    <a:pt x="310" y="112"/>
                    <a:pt x="310" y="112"/>
                    <a:pt x="309" y="112"/>
                  </a:cubicBezTo>
                  <a:cubicBezTo>
                    <a:pt x="307" y="112"/>
                    <a:pt x="301" y="113"/>
                    <a:pt x="300" y="117"/>
                  </a:cubicBezTo>
                  <a:cubicBezTo>
                    <a:pt x="300" y="121"/>
                    <a:pt x="301" y="129"/>
                    <a:pt x="304" y="132"/>
                  </a:cubicBezTo>
                  <a:cubicBezTo>
                    <a:pt x="305" y="132"/>
                    <a:pt x="306" y="133"/>
                    <a:pt x="308" y="133"/>
                  </a:cubicBezTo>
                  <a:cubicBezTo>
                    <a:pt x="310" y="133"/>
                    <a:pt x="312" y="132"/>
                    <a:pt x="314" y="131"/>
                  </a:cubicBezTo>
                  <a:cubicBezTo>
                    <a:pt x="315" y="131"/>
                    <a:pt x="317" y="130"/>
                    <a:pt x="318" y="130"/>
                  </a:cubicBezTo>
                  <a:cubicBezTo>
                    <a:pt x="320" y="131"/>
                    <a:pt x="323" y="132"/>
                    <a:pt x="324" y="132"/>
                  </a:cubicBezTo>
                  <a:cubicBezTo>
                    <a:pt x="324" y="132"/>
                    <a:pt x="323" y="133"/>
                    <a:pt x="323" y="133"/>
                  </a:cubicBezTo>
                  <a:cubicBezTo>
                    <a:pt x="322" y="133"/>
                    <a:pt x="320" y="133"/>
                    <a:pt x="318" y="133"/>
                  </a:cubicBezTo>
                  <a:cubicBezTo>
                    <a:pt x="316" y="132"/>
                    <a:pt x="314" y="132"/>
                    <a:pt x="312" y="133"/>
                  </a:cubicBezTo>
                  <a:cubicBezTo>
                    <a:pt x="309" y="135"/>
                    <a:pt x="308" y="144"/>
                    <a:pt x="309" y="147"/>
                  </a:cubicBezTo>
                  <a:cubicBezTo>
                    <a:pt x="309" y="148"/>
                    <a:pt x="310" y="150"/>
                    <a:pt x="311" y="151"/>
                  </a:cubicBezTo>
                  <a:cubicBezTo>
                    <a:pt x="312" y="153"/>
                    <a:pt x="313" y="155"/>
                    <a:pt x="313" y="157"/>
                  </a:cubicBezTo>
                  <a:cubicBezTo>
                    <a:pt x="313" y="157"/>
                    <a:pt x="313" y="158"/>
                    <a:pt x="313" y="159"/>
                  </a:cubicBezTo>
                  <a:cubicBezTo>
                    <a:pt x="313" y="161"/>
                    <a:pt x="313" y="163"/>
                    <a:pt x="313" y="165"/>
                  </a:cubicBezTo>
                  <a:cubicBezTo>
                    <a:pt x="314" y="165"/>
                    <a:pt x="317" y="175"/>
                    <a:pt x="322" y="175"/>
                  </a:cubicBezTo>
                  <a:cubicBezTo>
                    <a:pt x="323" y="175"/>
                    <a:pt x="324" y="175"/>
                    <a:pt x="324" y="174"/>
                  </a:cubicBezTo>
                  <a:cubicBezTo>
                    <a:pt x="325" y="174"/>
                    <a:pt x="326" y="173"/>
                    <a:pt x="326" y="172"/>
                  </a:cubicBezTo>
                  <a:cubicBezTo>
                    <a:pt x="326" y="171"/>
                    <a:pt x="326" y="170"/>
                    <a:pt x="325" y="170"/>
                  </a:cubicBezTo>
                  <a:cubicBezTo>
                    <a:pt x="326" y="170"/>
                    <a:pt x="326" y="170"/>
                    <a:pt x="327" y="171"/>
                  </a:cubicBezTo>
                  <a:cubicBezTo>
                    <a:pt x="328" y="171"/>
                    <a:pt x="328" y="171"/>
                    <a:pt x="329" y="172"/>
                  </a:cubicBezTo>
                  <a:cubicBezTo>
                    <a:pt x="329" y="172"/>
                    <a:pt x="330" y="173"/>
                    <a:pt x="331" y="173"/>
                  </a:cubicBezTo>
                  <a:cubicBezTo>
                    <a:pt x="331" y="173"/>
                    <a:pt x="332" y="174"/>
                    <a:pt x="332" y="174"/>
                  </a:cubicBezTo>
                  <a:cubicBezTo>
                    <a:pt x="334" y="176"/>
                    <a:pt x="336" y="177"/>
                    <a:pt x="338" y="177"/>
                  </a:cubicBezTo>
                  <a:cubicBezTo>
                    <a:pt x="339" y="177"/>
                    <a:pt x="340" y="177"/>
                    <a:pt x="341" y="176"/>
                  </a:cubicBezTo>
                  <a:cubicBezTo>
                    <a:pt x="341" y="175"/>
                    <a:pt x="343" y="173"/>
                    <a:pt x="344" y="172"/>
                  </a:cubicBezTo>
                  <a:cubicBezTo>
                    <a:pt x="347" y="171"/>
                    <a:pt x="348" y="168"/>
                    <a:pt x="349" y="165"/>
                  </a:cubicBezTo>
                  <a:cubicBezTo>
                    <a:pt x="350" y="164"/>
                    <a:pt x="351" y="162"/>
                    <a:pt x="352" y="161"/>
                  </a:cubicBezTo>
                  <a:cubicBezTo>
                    <a:pt x="351" y="162"/>
                    <a:pt x="351" y="164"/>
                    <a:pt x="351" y="165"/>
                  </a:cubicBezTo>
                  <a:cubicBezTo>
                    <a:pt x="350" y="168"/>
                    <a:pt x="350" y="171"/>
                    <a:pt x="350" y="172"/>
                  </a:cubicBezTo>
                  <a:cubicBezTo>
                    <a:pt x="350" y="173"/>
                    <a:pt x="350" y="175"/>
                    <a:pt x="350" y="177"/>
                  </a:cubicBezTo>
                  <a:cubicBezTo>
                    <a:pt x="349" y="179"/>
                    <a:pt x="349" y="180"/>
                    <a:pt x="349" y="182"/>
                  </a:cubicBezTo>
                  <a:cubicBezTo>
                    <a:pt x="348" y="188"/>
                    <a:pt x="349" y="191"/>
                    <a:pt x="352" y="192"/>
                  </a:cubicBezTo>
                  <a:cubicBezTo>
                    <a:pt x="352" y="192"/>
                    <a:pt x="353" y="192"/>
                    <a:pt x="353" y="192"/>
                  </a:cubicBezTo>
                  <a:cubicBezTo>
                    <a:pt x="355" y="192"/>
                    <a:pt x="357" y="190"/>
                    <a:pt x="359" y="189"/>
                  </a:cubicBezTo>
                  <a:cubicBezTo>
                    <a:pt x="360" y="188"/>
                    <a:pt x="361" y="187"/>
                    <a:pt x="361" y="187"/>
                  </a:cubicBezTo>
                  <a:cubicBezTo>
                    <a:pt x="362" y="187"/>
                    <a:pt x="363" y="186"/>
                    <a:pt x="365" y="186"/>
                  </a:cubicBezTo>
                  <a:cubicBezTo>
                    <a:pt x="367" y="186"/>
                    <a:pt x="367" y="187"/>
                    <a:pt x="367" y="187"/>
                  </a:cubicBezTo>
                  <a:cubicBezTo>
                    <a:pt x="367" y="188"/>
                    <a:pt x="366" y="191"/>
                    <a:pt x="365" y="193"/>
                  </a:cubicBezTo>
                  <a:cubicBezTo>
                    <a:pt x="364" y="194"/>
                    <a:pt x="360" y="199"/>
                    <a:pt x="360" y="202"/>
                  </a:cubicBezTo>
                  <a:cubicBezTo>
                    <a:pt x="359" y="204"/>
                    <a:pt x="358" y="208"/>
                    <a:pt x="361" y="209"/>
                  </a:cubicBezTo>
                  <a:cubicBezTo>
                    <a:pt x="361" y="210"/>
                    <a:pt x="362" y="210"/>
                    <a:pt x="364" y="210"/>
                  </a:cubicBezTo>
                  <a:cubicBezTo>
                    <a:pt x="366" y="210"/>
                    <a:pt x="369" y="209"/>
                    <a:pt x="372" y="207"/>
                  </a:cubicBezTo>
                  <a:cubicBezTo>
                    <a:pt x="374" y="206"/>
                    <a:pt x="376" y="205"/>
                    <a:pt x="377" y="205"/>
                  </a:cubicBezTo>
                  <a:cubicBezTo>
                    <a:pt x="378" y="205"/>
                    <a:pt x="378" y="205"/>
                    <a:pt x="379" y="205"/>
                  </a:cubicBezTo>
                  <a:cubicBezTo>
                    <a:pt x="381" y="205"/>
                    <a:pt x="383" y="205"/>
                    <a:pt x="384" y="205"/>
                  </a:cubicBezTo>
                  <a:cubicBezTo>
                    <a:pt x="386" y="204"/>
                    <a:pt x="387" y="202"/>
                    <a:pt x="389" y="200"/>
                  </a:cubicBezTo>
                  <a:cubicBezTo>
                    <a:pt x="390" y="199"/>
                    <a:pt x="391" y="198"/>
                    <a:pt x="391" y="197"/>
                  </a:cubicBezTo>
                  <a:cubicBezTo>
                    <a:pt x="393" y="197"/>
                    <a:pt x="395" y="196"/>
                    <a:pt x="397" y="195"/>
                  </a:cubicBezTo>
                  <a:cubicBezTo>
                    <a:pt x="402" y="195"/>
                    <a:pt x="406" y="194"/>
                    <a:pt x="408" y="191"/>
                  </a:cubicBezTo>
                  <a:cubicBezTo>
                    <a:pt x="409" y="189"/>
                    <a:pt x="409" y="187"/>
                    <a:pt x="408" y="185"/>
                  </a:cubicBezTo>
                  <a:cubicBezTo>
                    <a:pt x="408" y="184"/>
                    <a:pt x="408" y="183"/>
                    <a:pt x="408" y="183"/>
                  </a:cubicBezTo>
                  <a:cubicBezTo>
                    <a:pt x="408" y="182"/>
                    <a:pt x="409" y="181"/>
                    <a:pt x="410" y="180"/>
                  </a:cubicBezTo>
                  <a:cubicBezTo>
                    <a:pt x="411" y="178"/>
                    <a:pt x="413" y="177"/>
                    <a:pt x="413" y="176"/>
                  </a:cubicBezTo>
                  <a:cubicBezTo>
                    <a:pt x="415" y="173"/>
                    <a:pt x="420" y="163"/>
                    <a:pt x="421" y="163"/>
                  </a:cubicBezTo>
                  <a:cubicBezTo>
                    <a:pt x="422" y="160"/>
                    <a:pt x="426" y="150"/>
                    <a:pt x="424" y="146"/>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60">
              <a:extLst>
                <a:ext uri="{FF2B5EF4-FFF2-40B4-BE49-F238E27FC236}">
                  <a16:creationId xmlns:a16="http://schemas.microsoft.com/office/drawing/2014/main" id="{F22FFC82-6A2C-4D68-8DD6-095D3CED738D}"/>
                </a:ext>
              </a:extLst>
            </p:cNvPr>
            <p:cNvSpPr>
              <a:spLocks/>
            </p:cNvSpPr>
            <p:nvPr/>
          </p:nvSpPr>
          <p:spPr bwMode="auto">
            <a:xfrm>
              <a:off x="3563927" y="1889759"/>
              <a:ext cx="698412" cy="503342"/>
            </a:xfrm>
            <a:custGeom>
              <a:avLst/>
              <a:gdLst>
                <a:gd name="T0" fmla="*/ 191 w 628"/>
                <a:gd name="T1" fmla="*/ 0 h 453"/>
                <a:gd name="T2" fmla="*/ 188 w 628"/>
                <a:gd name="T3" fmla="*/ 25 h 453"/>
                <a:gd name="T4" fmla="*/ 200 w 628"/>
                <a:gd name="T5" fmla="*/ 47 h 453"/>
                <a:gd name="T6" fmla="*/ 193 w 628"/>
                <a:gd name="T7" fmla="*/ 52 h 453"/>
                <a:gd name="T8" fmla="*/ 188 w 628"/>
                <a:gd name="T9" fmla="*/ 62 h 453"/>
                <a:gd name="T10" fmla="*/ 189 w 628"/>
                <a:gd name="T11" fmla="*/ 79 h 453"/>
                <a:gd name="T12" fmla="*/ 194 w 628"/>
                <a:gd name="T13" fmla="*/ 94 h 453"/>
                <a:gd name="T14" fmla="*/ 198 w 628"/>
                <a:gd name="T15" fmla="*/ 120 h 453"/>
                <a:gd name="T16" fmla="*/ 183 w 628"/>
                <a:gd name="T17" fmla="*/ 150 h 453"/>
                <a:gd name="T18" fmla="*/ 174 w 628"/>
                <a:gd name="T19" fmla="*/ 171 h 453"/>
                <a:gd name="T20" fmla="*/ 152 w 628"/>
                <a:gd name="T21" fmla="*/ 202 h 453"/>
                <a:gd name="T22" fmla="*/ 138 w 628"/>
                <a:gd name="T23" fmla="*/ 215 h 453"/>
                <a:gd name="T24" fmla="*/ 123 w 628"/>
                <a:gd name="T25" fmla="*/ 209 h 453"/>
                <a:gd name="T26" fmla="*/ 136 w 628"/>
                <a:gd name="T27" fmla="*/ 192 h 453"/>
                <a:gd name="T28" fmla="*/ 148 w 628"/>
                <a:gd name="T29" fmla="*/ 189 h 453"/>
                <a:gd name="T30" fmla="*/ 163 w 628"/>
                <a:gd name="T31" fmla="*/ 161 h 453"/>
                <a:gd name="T32" fmla="*/ 165 w 628"/>
                <a:gd name="T33" fmla="*/ 159 h 453"/>
                <a:gd name="T34" fmla="*/ 179 w 628"/>
                <a:gd name="T35" fmla="*/ 142 h 453"/>
                <a:gd name="T36" fmla="*/ 148 w 628"/>
                <a:gd name="T37" fmla="*/ 148 h 453"/>
                <a:gd name="T38" fmla="*/ 133 w 628"/>
                <a:gd name="T39" fmla="*/ 173 h 453"/>
                <a:gd name="T40" fmla="*/ 118 w 628"/>
                <a:gd name="T41" fmla="*/ 158 h 453"/>
                <a:gd name="T42" fmla="*/ 147 w 628"/>
                <a:gd name="T43" fmla="*/ 129 h 453"/>
                <a:gd name="T44" fmla="*/ 159 w 628"/>
                <a:gd name="T45" fmla="*/ 128 h 453"/>
                <a:gd name="T46" fmla="*/ 166 w 628"/>
                <a:gd name="T47" fmla="*/ 93 h 453"/>
                <a:gd name="T48" fmla="*/ 145 w 628"/>
                <a:gd name="T49" fmla="*/ 97 h 453"/>
                <a:gd name="T50" fmla="*/ 133 w 628"/>
                <a:gd name="T51" fmla="*/ 85 h 453"/>
                <a:gd name="T52" fmla="*/ 102 w 628"/>
                <a:gd name="T53" fmla="*/ 76 h 453"/>
                <a:gd name="T54" fmla="*/ 68 w 628"/>
                <a:gd name="T55" fmla="*/ 58 h 453"/>
                <a:gd name="T56" fmla="*/ 35 w 628"/>
                <a:gd name="T57" fmla="*/ 29 h 453"/>
                <a:gd name="T58" fmla="*/ 22 w 628"/>
                <a:gd name="T59" fmla="*/ 42 h 453"/>
                <a:gd name="T60" fmla="*/ 16 w 628"/>
                <a:gd name="T61" fmla="*/ 64 h 453"/>
                <a:gd name="T62" fmla="*/ 25 w 628"/>
                <a:gd name="T63" fmla="*/ 108 h 453"/>
                <a:gd name="T64" fmla="*/ 23 w 628"/>
                <a:gd name="T65" fmla="*/ 186 h 453"/>
                <a:gd name="T66" fmla="*/ 33 w 628"/>
                <a:gd name="T67" fmla="*/ 193 h 453"/>
                <a:gd name="T68" fmla="*/ 31 w 628"/>
                <a:gd name="T69" fmla="*/ 208 h 453"/>
                <a:gd name="T70" fmla="*/ 16 w 628"/>
                <a:gd name="T71" fmla="*/ 220 h 453"/>
                <a:gd name="T72" fmla="*/ 33 w 628"/>
                <a:gd name="T73" fmla="*/ 233 h 453"/>
                <a:gd name="T74" fmla="*/ 30 w 628"/>
                <a:gd name="T75" fmla="*/ 260 h 453"/>
                <a:gd name="T76" fmla="*/ 19 w 628"/>
                <a:gd name="T77" fmla="*/ 260 h 453"/>
                <a:gd name="T78" fmla="*/ 9 w 628"/>
                <a:gd name="T79" fmla="*/ 281 h 453"/>
                <a:gd name="T80" fmla="*/ 37 w 628"/>
                <a:gd name="T81" fmla="*/ 284 h 453"/>
                <a:gd name="T82" fmla="*/ 55 w 628"/>
                <a:gd name="T83" fmla="*/ 296 h 453"/>
                <a:gd name="T84" fmla="*/ 78 w 628"/>
                <a:gd name="T85" fmla="*/ 312 h 453"/>
                <a:gd name="T86" fmla="*/ 89 w 628"/>
                <a:gd name="T87" fmla="*/ 379 h 453"/>
                <a:gd name="T88" fmla="*/ 116 w 628"/>
                <a:gd name="T89" fmla="*/ 395 h 453"/>
                <a:gd name="T90" fmla="*/ 156 w 628"/>
                <a:gd name="T91" fmla="*/ 397 h 453"/>
                <a:gd name="T92" fmla="*/ 197 w 628"/>
                <a:gd name="T93" fmla="*/ 401 h 453"/>
                <a:gd name="T94" fmla="*/ 229 w 628"/>
                <a:gd name="T95" fmla="*/ 415 h 453"/>
                <a:gd name="T96" fmla="*/ 305 w 628"/>
                <a:gd name="T97" fmla="*/ 419 h 453"/>
                <a:gd name="T98" fmla="*/ 357 w 628"/>
                <a:gd name="T99" fmla="*/ 416 h 453"/>
                <a:gd name="T100" fmla="*/ 398 w 628"/>
                <a:gd name="T101" fmla="*/ 416 h 453"/>
                <a:gd name="T102" fmla="*/ 568 w 628"/>
                <a:gd name="T103" fmla="*/ 449 h 453"/>
                <a:gd name="T104" fmla="*/ 568 w 628"/>
                <a:gd name="T105" fmla="*/ 39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8" h="453">
                  <a:moveTo>
                    <a:pt x="626" y="104"/>
                  </a:moveTo>
                  <a:cubicBezTo>
                    <a:pt x="553" y="89"/>
                    <a:pt x="553" y="89"/>
                    <a:pt x="553" y="89"/>
                  </a:cubicBezTo>
                  <a:cubicBezTo>
                    <a:pt x="416" y="57"/>
                    <a:pt x="416" y="57"/>
                    <a:pt x="416" y="57"/>
                  </a:cubicBezTo>
                  <a:cubicBezTo>
                    <a:pt x="298" y="28"/>
                    <a:pt x="298" y="28"/>
                    <a:pt x="298" y="28"/>
                  </a:cubicBezTo>
                  <a:cubicBezTo>
                    <a:pt x="193" y="0"/>
                    <a:pt x="193" y="0"/>
                    <a:pt x="193" y="0"/>
                  </a:cubicBezTo>
                  <a:cubicBezTo>
                    <a:pt x="192" y="0"/>
                    <a:pt x="192" y="0"/>
                    <a:pt x="191" y="0"/>
                  </a:cubicBezTo>
                  <a:cubicBezTo>
                    <a:pt x="189" y="2"/>
                    <a:pt x="185" y="4"/>
                    <a:pt x="184" y="6"/>
                  </a:cubicBezTo>
                  <a:cubicBezTo>
                    <a:pt x="183" y="8"/>
                    <a:pt x="184" y="11"/>
                    <a:pt x="185" y="15"/>
                  </a:cubicBezTo>
                  <a:cubicBezTo>
                    <a:pt x="185" y="16"/>
                    <a:pt x="186" y="18"/>
                    <a:pt x="187" y="19"/>
                  </a:cubicBezTo>
                  <a:cubicBezTo>
                    <a:pt x="188" y="20"/>
                    <a:pt x="188" y="22"/>
                    <a:pt x="188" y="22"/>
                  </a:cubicBezTo>
                  <a:cubicBezTo>
                    <a:pt x="188" y="22"/>
                    <a:pt x="188" y="23"/>
                    <a:pt x="188" y="23"/>
                  </a:cubicBezTo>
                  <a:cubicBezTo>
                    <a:pt x="188" y="24"/>
                    <a:pt x="188" y="24"/>
                    <a:pt x="188" y="25"/>
                  </a:cubicBezTo>
                  <a:cubicBezTo>
                    <a:pt x="189" y="28"/>
                    <a:pt x="193" y="33"/>
                    <a:pt x="195" y="35"/>
                  </a:cubicBezTo>
                  <a:cubicBezTo>
                    <a:pt x="196" y="35"/>
                    <a:pt x="197" y="36"/>
                    <a:pt x="199" y="36"/>
                  </a:cubicBezTo>
                  <a:cubicBezTo>
                    <a:pt x="200" y="36"/>
                    <a:pt x="201" y="37"/>
                    <a:pt x="202" y="37"/>
                  </a:cubicBezTo>
                  <a:cubicBezTo>
                    <a:pt x="202" y="37"/>
                    <a:pt x="201" y="39"/>
                    <a:pt x="201" y="40"/>
                  </a:cubicBezTo>
                  <a:cubicBezTo>
                    <a:pt x="200" y="41"/>
                    <a:pt x="200" y="42"/>
                    <a:pt x="200" y="43"/>
                  </a:cubicBezTo>
                  <a:cubicBezTo>
                    <a:pt x="200" y="44"/>
                    <a:pt x="200" y="46"/>
                    <a:pt x="200" y="47"/>
                  </a:cubicBezTo>
                  <a:cubicBezTo>
                    <a:pt x="200" y="49"/>
                    <a:pt x="201" y="50"/>
                    <a:pt x="201" y="50"/>
                  </a:cubicBezTo>
                  <a:cubicBezTo>
                    <a:pt x="201" y="52"/>
                    <a:pt x="201" y="52"/>
                    <a:pt x="201" y="52"/>
                  </a:cubicBezTo>
                  <a:cubicBezTo>
                    <a:pt x="201" y="52"/>
                    <a:pt x="201" y="54"/>
                    <a:pt x="201" y="55"/>
                  </a:cubicBezTo>
                  <a:cubicBezTo>
                    <a:pt x="200" y="54"/>
                    <a:pt x="200" y="54"/>
                    <a:pt x="200" y="54"/>
                  </a:cubicBezTo>
                  <a:cubicBezTo>
                    <a:pt x="198" y="53"/>
                    <a:pt x="197" y="51"/>
                    <a:pt x="195" y="51"/>
                  </a:cubicBezTo>
                  <a:cubicBezTo>
                    <a:pt x="194" y="51"/>
                    <a:pt x="193" y="52"/>
                    <a:pt x="193" y="52"/>
                  </a:cubicBezTo>
                  <a:cubicBezTo>
                    <a:pt x="190" y="55"/>
                    <a:pt x="193" y="58"/>
                    <a:pt x="194" y="60"/>
                  </a:cubicBezTo>
                  <a:cubicBezTo>
                    <a:pt x="195" y="60"/>
                    <a:pt x="195" y="61"/>
                    <a:pt x="196" y="62"/>
                  </a:cubicBezTo>
                  <a:cubicBezTo>
                    <a:pt x="196" y="63"/>
                    <a:pt x="195" y="66"/>
                    <a:pt x="195" y="67"/>
                  </a:cubicBezTo>
                  <a:cubicBezTo>
                    <a:pt x="194" y="66"/>
                    <a:pt x="193" y="65"/>
                    <a:pt x="192" y="65"/>
                  </a:cubicBezTo>
                  <a:cubicBezTo>
                    <a:pt x="191" y="64"/>
                    <a:pt x="190" y="63"/>
                    <a:pt x="189" y="63"/>
                  </a:cubicBezTo>
                  <a:cubicBezTo>
                    <a:pt x="188" y="62"/>
                    <a:pt x="188" y="62"/>
                    <a:pt x="188" y="62"/>
                  </a:cubicBezTo>
                  <a:cubicBezTo>
                    <a:pt x="187" y="62"/>
                    <a:pt x="185" y="61"/>
                    <a:pt x="184" y="61"/>
                  </a:cubicBezTo>
                  <a:cubicBezTo>
                    <a:pt x="183" y="61"/>
                    <a:pt x="182" y="61"/>
                    <a:pt x="181" y="62"/>
                  </a:cubicBezTo>
                  <a:cubicBezTo>
                    <a:pt x="181" y="62"/>
                    <a:pt x="180" y="64"/>
                    <a:pt x="179" y="69"/>
                  </a:cubicBezTo>
                  <a:cubicBezTo>
                    <a:pt x="179" y="71"/>
                    <a:pt x="179" y="77"/>
                    <a:pt x="181" y="79"/>
                  </a:cubicBezTo>
                  <a:cubicBezTo>
                    <a:pt x="182" y="80"/>
                    <a:pt x="185" y="80"/>
                    <a:pt x="187" y="80"/>
                  </a:cubicBezTo>
                  <a:cubicBezTo>
                    <a:pt x="188" y="79"/>
                    <a:pt x="188" y="79"/>
                    <a:pt x="189" y="79"/>
                  </a:cubicBezTo>
                  <a:cubicBezTo>
                    <a:pt x="189" y="80"/>
                    <a:pt x="189" y="81"/>
                    <a:pt x="189" y="81"/>
                  </a:cubicBezTo>
                  <a:cubicBezTo>
                    <a:pt x="189" y="83"/>
                    <a:pt x="190" y="84"/>
                    <a:pt x="190" y="85"/>
                  </a:cubicBezTo>
                  <a:cubicBezTo>
                    <a:pt x="191" y="87"/>
                    <a:pt x="194" y="88"/>
                    <a:pt x="195" y="88"/>
                  </a:cubicBezTo>
                  <a:cubicBezTo>
                    <a:pt x="196" y="88"/>
                    <a:pt x="196" y="88"/>
                    <a:pt x="196" y="88"/>
                  </a:cubicBezTo>
                  <a:cubicBezTo>
                    <a:pt x="196" y="89"/>
                    <a:pt x="196" y="89"/>
                    <a:pt x="195" y="90"/>
                  </a:cubicBezTo>
                  <a:cubicBezTo>
                    <a:pt x="195" y="91"/>
                    <a:pt x="194" y="92"/>
                    <a:pt x="194" y="94"/>
                  </a:cubicBezTo>
                  <a:cubicBezTo>
                    <a:pt x="194" y="95"/>
                    <a:pt x="194" y="95"/>
                    <a:pt x="195" y="96"/>
                  </a:cubicBezTo>
                  <a:cubicBezTo>
                    <a:pt x="195" y="96"/>
                    <a:pt x="195" y="97"/>
                    <a:pt x="195" y="97"/>
                  </a:cubicBezTo>
                  <a:cubicBezTo>
                    <a:pt x="195" y="98"/>
                    <a:pt x="195" y="101"/>
                    <a:pt x="194" y="103"/>
                  </a:cubicBezTo>
                  <a:cubicBezTo>
                    <a:pt x="194" y="106"/>
                    <a:pt x="193" y="110"/>
                    <a:pt x="193" y="112"/>
                  </a:cubicBezTo>
                  <a:cubicBezTo>
                    <a:pt x="194" y="114"/>
                    <a:pt x="195" y="116"/>
                    <a:pt x="196" y="117"/>
                  </a:cubicBezTo>
                  <a:cubicBezTo>
                    <a:pt x="197" y="118"/>
                    <a:pt x="198" y="119"/>
                    <a:pt x="198" y="120"/>
                  </a:cubicBezTo>
                  <a:cubicBezTo>
                    <a:pt x="199" y="122"/>
                    <a:pt x="199" y="125"/>
                    <a:pt x="199" y="126"/>
                  </a:cubicBezTo>
                  <a:cubicBezTo>
                    <a:pt x="198" y="127"/>
                    <a:pt x="196" y="129"/>
                    <a:pt x="194" y="130"/>
                  </a:cubicBezTo>
                  <a:cubicBezTo>
                    <a:pt x="193" y="131"/>
                    <a:pt x="192" y="132"/>
                    <a:pt x="191" y="132"/>
                  </a:cubicBezTo>
                  <a:cubicBezTo>
                    <a:pt x="187" y="136"/>
                    <a:pt x="183" y="140"/>
                    <a:pt x="182" y="144"/>
                  </a:cubicBezTo>
                  <a:cubicBezTo>
                    <a:pt x="182" y="145"/>
                    <a:pt x="182" y="147"/>
                    <a:pt x="182" y="148"/>
                  </a:cubicBezTo>
                  <a:cubicBezTo>
                    <a:pt x="183" y="149"/>
                    <a:pt x="183" y="150"/>
                    <a:pt x="183" y="150"/>
                  </a:cubicBezTo>
                  <a:cubicBezTo>
                    <a:pt x="183" y="151"/>
                    <a:pt x="181" y="151"/>
                    <a:pt x="181" y="152"/>
                  </a:cubicBezTo>
                  <a:cubicBezTo>
                    <a:pt x="178" y="153"/>
                    <a:pt x="176" y="154"/>
                    <a:pt x="175" y="156"/>
                  </a:cubicBezTo>
                  <a:cubicBezTo>
                    <a:pt x="175" y="159"/>
                    <a:pt x="177" y="161"/>
                    <a:pt x="179" y="162"/>
                  </a:cubicBezTo>
                  <a:cubicBezTo>
                    <a:pt x="179" y="163"/>
                    <a:pt x="180" y="164"/>
                    <a:pt x="180" y="164"/>
                  </a:cubicBezTo>
                  <a:cubicBezTo>
                    <a:pt x="180" y="165"/>
                    <a:pt x="179" y="166"/>
                    <a:pt x="178" y="167"/>
                  </a:cubicBezTo>
                  <a:cubicBezTo>
                    <a:pt x="176" y="168"/>
                    <a:pt x="175" y="169"/>
                    <a:pt x="174" y="171"/>
                  </a:cubicBezTo>
                  <a:cubicBezTo>
                    <a:pt x="173" y="173"/>
                    <a:pt x="174" y="177"/>
                    <a:pt x="175" y="180"/>
                  </a:cubicBezTo>
                  <a:cubicBezTo>
                    <a:pt x="175" y="183"/>
                    <a:pt x="176" y="186"/>
                    <a:pt x="176" y="187"/>
                  </a:cubicBezTo>
                  <a:cubicBezTo>
                    <a:pt x="175" y="188"/>
                    <a:pt x="171" y="192"/>
                    <a:pt x="170" y="193"/>
                  </a:cubicBezTo>
                  <a:cubicBezTo>
                    <a:pt x="168" y="193"/>
                    <a:pt x="166" y="194"/>
                    <a:pt x="164" y="195"/>
                  </a:cubicBezTo>
                  <a:cubicBezTo>
                    <a:pt x="161" y="196"/>
                    <a:pt x="157" y="197"/>
                    <a:pt x="155" y="199"/>
                  </a:cubicBezTo>
                  <a:cubicBezTo>
                    <a:pt x="154" y="199"/>
                    <a:pt x="153" y="201"/>
                    <a:pt x="152" y="202"/>
                  </a:cubicBezTo>
                  <a:cubicBezTo>
                    <a:pt x="151" y="203"/>
                    <a:pt x="151" y="203"/>
                    <a:pt x="150" y="204"/>
                  </a:cubicBezTo>
                  <a:cubicBezTo>
                    <a:pt x="149" y="205"/>
                    <a:pt x="148" y="207"/>
                    <a:pt x="147" y="210"/>
                  </a:cubicBezTo>
                  <a:cubicBezTo>
                    <a:pt x="146" y="213"/>
                    <a:pt x="144" y="217"/>
                    <a:pt x="144" y="217"/>
                  </a:cubicBezTo>
                  <a:cubicBezTo>
                    <a:pt x="143" y="217"/>
                    <a:pt x="141" y="218"/>
                    <a:pt x="139" y="218"/>
                  </a:cubicBezTo>
                  <a:cubicBezTo>
                    <a:pt x="139" y="218"/>
                    <a:pt x="139" y="218"/>
                    <a:pt x="139" y="218"/>
                  </a:cubicBezTo>
                  <a:cubicBezTo>
                    <a:pt x="139" y="217"/>
                    <a:pt x="138" y="216"/>
                    <a:pt x="138" y="215"/>
                  </a:cubicBezTo>
                  <a:cubicBezTo>
                    <a:pt x="137" y="213"/>
                    <a:pt x="136" y="211"/>
                    <a:pt x="134" y="210"/>
                  </a:cubicBezTo>
                  <a:cubicBezTo>
                    <a:pt x="131" y="209"/>
                    <a:pt x="125" y="212"/>
                    <a:pt x="123" y="214"/>
                  </a:cubicBezTo>
                  <a:cubicBezTo>
                    <a:pt x="123" y="215"/>
                    <a:pt x="123" y="216"/>
                    <a:pt x="122" y="216"/>
                  </a:cubicBezTo>
                  <a:cubicBezTo>
                    <a:pt x="122" y="216"/>
                    <a:pt x="122" y="215"/>
                    <a:pt x="122" y="215"/>
                  </a:cubicBezTo>
                  <a:cubicBezTo>
                    <a:pt x="122" y="214"/>
                    <a:pt x="122" y="213"/>
                    <a:pt x="122" y="212"/>
                  </a:cubicBezTo>
                  <a:cubicBezTo>
                    <a:pt x="123" y="211"/>
                    <a:pt x="123" y="210"/>
                    <a:pt x="123" y="209"/>
                  </a:cubicBezTo>
                  <a:cubicBezTo>
                    <a:pt x="123" y="209"/>
                    <a:pt x="123" y="208"/>
                    <a:pt x="123" y="208"/>
                  </a:cubicBezTo>
                  <a:cubicBezTo>
                    <a:pt x="123" y="207"/>
                    <a:pt x="123" y="207"/>
                    <a:pt x="123" y="207"/>
                  </a:cubicBezTo>
                  <a:cubicBezTo>
                    <a:pt x="123" y="204"/>
                    <a:pt x="126" y="197"/>
                    <a:pt x="128" y="195"/>
                  </a:cubicBezTo>
                  <a:cubicBezTo>
                    <a:pt x="130" y="191"/>
                    <a:pt x="136" y="185"/>
                    <a:pt x="139" y="185"/>
                  </a:cubicBezTo>
                  <a:cubicBezTo>
                    <a:pt x="139" y="185"/>
                    <a:pt x="139" y="187"/>
                    <a:pt x="137" y="189"/>
                  </a:cubicBezTo>
                  <a:cubicBezTo>
                    <a:pt x="137" y="190"/>
                    <a:pt x="137" y="191"/>
                    <a:pt x="136" y="192"/>
                  </a:cubicBezTo>
                  <a:cubicBezTo>
                    <a:pt x="135" y="194"/>
                    <a:pt x="134" y="195"/>
                    <a:pt x="134" y="197"/>
                  </a:cubicBezTo>
                  <a:cubicBezTo>
                    <a:pt x="133" y="197"/>
                    <a:pt x="132" y="201"/>
                    <a:pt x="134" y="204"/>
                  </a:cubicBezTo>
                  <a:cubicBezTo>
                    <a:pt x="135" y="206"/>
                    <a:pt x="138" y="206"/>
                    <a:pt x="141" y="204"/>
                  </a:cubicBezTo>
                  <a:cubicBezTo>
                    <a:pt x="143" y="203"/>
                    <a:pt x="143" y="200"/>
                    <a:pt x="143" y="197"/>
                  </a:cubicBezTo>
                  <a:cubicBezTo>
                    <a:pt x="143" y="196"/>
                    <a:pt x="143" y="195"/>
                    <a:pt x="144" y="195"/>
                  </a:cubicBezTo>
                  <a:cubicBezTo>
                    <a:pt x="144" y="193"/>
                    <a:pt x="146" y="190"/>
                    <a:pt x="148" y="189"/>
                  </a:cubicBezTo>
                  <a:cubicBezTo>
                    <a:pt x="148" y="189"/>
                    <a:pt x="149" y="188"/>
                    <a:pt x="151" y="187"/>
                  </a:cubicBezTo>
                  <a:cubicBezTo>
                    <a:pt x="151" y="187"/>
                    <a:pt x="151" y="188"/>
                    <a:pt x="152" y="189"/>
                  </a:cubicBezTo>
                  <a:cubicBezTo>
                    <a:pt x="154" y="191"/>
                    <a:pt x="159" y="194"/>
                    <a:pt x="162" y="193"/>
                  </a:cubicBezTo>
                  <a:cubicBezTo>
                    <a:pt x="168" y="191"/>
                    <a:pt x="169" y="180"/>
                    <a:pt x="170" y="171"/>
                  </a:cubicBezTo>
                  <a:cubicBezTo>
                    <a:pt x="170" y="168"/>
                    <a:pt x="168" y="163"/>
                    <a:pt x="165" y="162"/>
                  </a:cubicBezTo>
                  <a:cubicBezTo>
                    <a:pt x="164" y="161"/>
                    <a:pt x="163" y="161"/>
                    <a:pt x="163" y="161"/>
                  </a:cubicBezTo>
                  <a:cubicBezTo>
                    <a:pt x="162" y="161"/>
                    <a:pt x="160" y="162"/>
                    <a:pt x="159" y="162"/>
                  </a:cubicBezTo>
                  <a:cubicBezTo>
                    <a:pt x="159" y="162"/>
                    <a:pt x="158" y="163"/>
                    <a:pt x="158" y="163"/>
                  </a:cubicBezTo>
                  <a:cubicBezTo>
                    <a:pt x="158" y="161"/>
                    <a:pt x="157" y="158"/>
                    <a:pt x="158" y="157"/>
                  </a:cubicBezTo>
                  <a:cubicBezTo>
                    <a:pt x="158" y="157"/>
                    <a:pt x="158" y="157"/>
                    <a:pt x="159" y="158"/>
                  </a:cubicBezTo>
                  <a:cubicBezTo>
                    <a:pt x="160" y="158"/>
                    <a:pt x="161" y="159"/>
                    <a:pt x="163" y="159"/>
                  </a:cubicBezTo>
                  <a:cubicBezTo>
                    <a:pt x="163" y="159"/>
                    <a:pt x="164" y="159"/>
                    <a:pt x="165" y="159"/>
                  </a:cubicBezTo>
                  <a:cubicBezTo>
                    <a:pt x="167" y="157"/>
                    <a:pt x="167" y="153"/>
                    <a:pt x="167" y="150"/>
                  </a:cubicBezTo>
                  <a:cubicBezTo>
                    <a:pt x="167" y="149"/>
                    <a:pt x="167" y="149"/>
                    <a:pt x="167" y="149"/>
                  </a:cubicBezTo>
                  <a:cubicBezTo>
                    <a:pt x="167" y="148"/>
                    <a:pt x="167" y="148"/>
                    <a:pt x="166" y="147"/>
                  </a:cubicBezTo>
                  <a:cubicBezTo>
                    <a:pt x="168" y="148"/>
                    <a:pt x="169" y="148"/>
                    <a:pt x="170" y="148"/>
                  </a:cubicBezTo>
                  <a:cubicBezTo>
                    <a:pt x="170" y="148"/>
                    <a:pt x="171" y="148"/>
                    <a:pt x="171" y="148"/>
                  </a:cubicBezTo>
                  <a:cubicBezTo>
                    <a:pt x="174" y="148"/>
                    <a:pt x="178" y="145"/>
                    <a:pt x="179" y="142"/>
                  </a:cubicBezTo>
                  <a:cubicBezTo>
                    <a:pt x="180" y="140"/>
                    <a:pt x="180" y="134"/>
                    <a:pt x="180" y="133"/>
                  </a:cubicBezTo>
                  <a:cubicBezTo>
                    <a:pt x="180" y="132"/>
                    <a:pt x="178" y="125"/>
                    <a:pt x="174" y="124"/>
                  </a:cubicBezTo>
                  <a:cubicBezTo>
                    <a:pt x="168" y="123"/>
                    <a:pt x="163" y="130"/>
                    <a:pt x="158" y="136"/>
                  </a:cubicBezTo>
                  <a:cubicBezTo>
                    <a:pt x="157" y="138"/>
                    <a:pt x="155" y="139"/>
                    <a:pt x="154" y="140"/>
                  </a:cubicBezTo>
                  <a:cubicBezTo>
                    <a:pt x="154" y="141"/>
                    <a:pt x="153" y="142"/>
                    <a:pt x="152" y="144"/>
                  </a:cubicBezTo>
                  <a:cubicBezTo>
                    <a:pt x="151" y="145"/>
                    <a:pt x="150" y="147"/>
                    <a:pt x="148" y="148"/>
                  </a:cubicBezTo>
                  <a:cubicBezTo>
                    <a:pt x="147" y="148"/>
                    <a:pt x="146" y="148"/>
                    <a:pt x="145" y="147"/>
                  </a:cubicBezTo>
                  <a:cubicBezTo>
                    <a:pt x="143" y="147"/>
                    <a:pt x="140" y="147"/>
                    <a:pt x="139" y="147"/>
                  </a:cubicBezTo>
                  <a:cubicBezTo>
                    <a:pt x="133" y="149"/>
                    <a:pt x="124" y="157"/>
                    <a:pt x="122" y="163"/>
                  </a:cubicBezTo>
                  <a:cubicBezTo>
                    <a:pt x="121" y="166"/>
                    <a:pt x="122" y="172"/>
                    <a:pt x="125" y="174"/>
                  </a:cubicBezTo>
                  <a:cubicBezTo>
                    <a:pt x="126" y="175"/>
                    <a:pt x="129" y="174"/>
                    <a:pt x="131" y="173"/>
                  </a:cubicBezTo>
                  <a:cubicBezTo>
                    <a:pt x="132" y="173"/>
                    <a:pt x="132" y="173"/>
                    <a:pt x="133" y="173"/>
                  </a:cubicBezTo>
                  <a:cubicBezTo>
                    <a:pt x="133" y="174"/>
                    <a:pt x="134" y="175"/>
                    <a:pt x="134" y="176"/>
                  </a:cubicBezTo>
                  <a:cubicBezTo>
                    <a:pt x="133" y="176"/>
                    <a:pt x="131" y="177"/>
                    <a:pt x="127" y="177"/>
                  </a:cubicBezTo>
                  <a:cubicBezTo>
                    <a:pt x="124" y="177"/>
                    <a:pt x="122" y="177"/>
                    <a:pt x="122" y="177"/>
                  </a:cubicBezTo>
                  <a:cubicBezTo>
                    <a:pt x="120" y="175"/>
                    <a:pt x="114" y="165"/>
                    <a:pt x="114" y="163"/>
                  </a:cubicBezTo>
                  <a:cubicBezTo>
                    <a:pt x="114" y="162"/>
                    <a:pt x="116" y="160"/>
                    <a:pt x="117" y="159"/>
                  </a:cubicBezTo>
                  <a:cubicBezTo>
                    <a:pt x="118" y="158"/>
                    <a:pt x="118" y="158"/>
                    <a:pt x="118" y="158"/>
                  </a:cubicBezTo>
                  <a:cubicBezTo>
                    <a:pt x="121" y="154"/>
                    <a:pt x="129" y="148"/>
                    <a:pt x="132" y="145"/>
                  </a:cubicBezTo>
                  <a:cubicBezTo>
                    <a:pt x="133" y="145"/>
                    <a:pt x="134" y="144"/>
                    <a:pt x="135" y="144"/>
                  </a:cubicBezTo>
                  <a:cubicBezTo>
                    <a:pt x="137" y="143"/>
                    <a:pt x="139" y="142"/>
                    <a:pt x="140" y="141"/>
                  </a:cubicBezTo>
                  <a:cubicBezTo>
                    <a:pt x="141" y="139"/>
                    <a:pt x="143" y="137"/>
                    <a:pt x="144" y="134"/>
                  </a:cubicBezTo>
                  <a:cubicBezTo>
                    <a:pt x="145" y="132"/>
                    <a:pt x="146" y="130"/>
                    <a:pt x="147" y="128"/>
                  </a:cubicBezTo>
                  <a:cubicBezTo>
                    <a:pt x="147" y="129"/>
                    <a:pt x="147" y="129"/>
                    <a:pt x="147" y="129"/>
                  </a:cubicBezTo>
                  <a:cubicBezTo>
                    <a:pt x="147" y="130"/>
                    <a:pt x="147" y="130"/>
                    <a:pt x="147" y="130"/>
                  </a:cubicBezTo>
                  <a:cubicBezTo>
                    <a:pt x="146" y="133"/>
                    <a:pt x="145" y="138"/>
                    <a:pt x="149" y="139"/>
                  </a:cubicBezTo>
                  <a:cubicBezTo>
                    <a:pt x="149" y="139"/>
                    <a:pt x="150" y="139"/>
                    <a:pt x="150" y="139"/>
                  </a:cubicBezTo>
                  <a:cubicBezTo>
                    <a:pt x="153" y="139"/>
                    <a:pt x="154" y="136"/>
                    <a:pt x="155" y="133"/>
                  </a:cubicBezTo>
                  <a:cubicBezTo>
                    <a:pt x="155" y="133"/>
                    <a:pt x="155" y="131"/>
                    <a:pt x="155" y="131"/>
                  </a:cubicBezTo>
                  <a:cubicBezTo>
                    <a:pt x="156" y="130"/>
                    <a:pt x="157" y="129"/>
                    <a:pt x="159" y="128"/>
                  </a:cubicBezTo>
                  <a:cubicBezTo>
                    <a:pt x="160" y="127"/>
                    <a:pt x="162" y="125"/>
                    <a:pt x="163" y="124"/>
                  </a:cubicBezTo>
                  <a:cubicBezTo>
                    <a:pt x="165" y="121"/>
                    <a:pt x="166" y="116"/>
                    <a:pt x="167" y="113"/>
                  </a:cubicBezTo>
                  <a:cubicBezTo>
                    <a:pt x="167" y="110"/>
                    <a:pt x="166" y="109"/>
                    <a:pt x="166" y="107"/>
                  </a:cubicBezTo>
                  <a:cubicBezTo>
                    <a:pt x="166" y="106"/>
                    <a:pt x="165" y="105"/>
                    <a:pt x="165" y="103"/>
                  </a:cubicBezTo>
                  <a:cubicBezTo>
                    <a:pt x="165" y="103"/>
                    <a:pt x="166" y="102"/>
                    <a:pt x="166" y="101"/>
                  </a:cubicBezTo>
                  <a:cubicBezTo>
                    <a:pt x="167" y="99"/>
                    <a:pt x="169" y="95"/>
                    <a:pt x="166" y="93"/>
                  </a:cubicBezTo>
                  <a:cubicBezTo>
                    <a:pt x="166" y="93"/>
                    <a:pt x="165" y="93"/>
                    <a:pt x="164" y="93"/>
                  </a:cubicBezTo>
                  <a:cubicBezTo>
                    <a:pt x="161" y="93"/>
                    <a:pt x="157" y="97"/>
                    <a:pt x="155" y="99"/>
                  </a:cubicBezTo>
                  <a:cubicBezTo>
                    <a:pt x="155" y="97"/>
                    <a:pt x="154" y="96"/>
                    <a:pt x="152" y="95"/>
                  </a:cubicBezTo>
                  <a:cubicBezTo>
                    <a:pt x="152" y="95"/>
                    <a:pt x="151" y="95"/>
                    <a:pt x="151" y="95"/>
                  </a:cubicBezTo>
                  <a:cubicBezTo>
                    <a:pt x="149" y="95"/>
                    <a:pt x="148" y="96"/>
                    <a:pt x="146" y="97"/>
                  </a:cubicBezTo>
                  <a:cubicBezTo>
                    <a:pt x="146" y="97"/>
                    <a:pt x="145" y="97"/>
                    <a:pt x="145" y="97"/>
                  </a:cubicBezTo>
                  <a:cubicBezTo>
                    <a:pt x="145" y="97"/>
                    <a:pt x="145" y="96"/>
                    <a:pt x="145" y="95"/>
                  </a:cubicBezTo>
                  <a:cubicBezTo>
                    <a:pt x="145" y="94"/>
                    <a:pt x="145" y="93"/>
                    <a:pt x="145" y="92"/>
                  </a:cubicBezTo>
                  <a:cubicBezTo>
                    <a:pt x="145" y="92"/>
                    <a:pt x="145" y="91"/>
                    <a:pt x="145" y="91"/>
                  </a:cubicBezTo>
                  <a:cubicBezTo>
                    <a:pt x="144" y="88"/>
                    <a:pt x="144" y="84"/>
                    <a:pt x="142" y="83"/>
                  </a:cubicBezTo>
                  <a:cubicBezTo>
                    <a:pt x="140" y="82"/>
                    <a:pt x="137" y="83"/>
                    <a:pt x="135" y="84"/>
                  </a:cubicBezTo>
                  <a:cubicBezTo>
                    <a:pt x="134" y="84"/>
                    <a:pt x="133" y="85"/>
                    <a:pt x="133" y="85"/>
                  </a:cubicBezTo>
                  <a:cubicBezTo>
                    <a:pt x="131" y="85"/>
                    <a:pt x="129" y="86"/>
                    <a:pt x="127" y="86"/>
                  </a:cubicBezTo>
                  <a:cubicBezTo>
                    <a:pt x="126" y="86"/>
                    <a:pt x="126" y="86"/>
                    <a:pt x="126" y="86"/>
                  </a:cubicBezTo>
                  <a:cubicBezTo>
                    <a:pt x="125" y="85"/>
                    <a:pt x="123" y="84"/>
                    <a:pt x="122" y="83"/>
                  </a:cubicBezTo>
                  <a:cubicBezTo>
                    <a:pt x="120" y="82"/>
                    <a:pt x="119" y="81"/>
                    <a:pt x="118" y="80"/>
                  </a:cubicBezTo>
                  <a:cubicBezTo>
                    <a:pt x="116" y="79"/>
                    <a:pt x="113" y="79"/>
                    <a:pt x="109" y="78"/>
                  </a:cubicBezTo>
                  <a:cubicBezTo>
                    <a:pt x="107" y="77"/>
                    <a:pt x="104" y="77"/>
                    <a:pt x="102" y="76"/>
                  </a:cubicBezTo>
                  <a:cubicBezTo>
                    <a:pt x="102" y="76"/>
                    <a:pt x="100" y="75"/>
                    <a:pt x="99" y="74"/>
                  </a:cubicBezTo>
                  <a:cubicBezTo>
                    <a:pt x="97" y="73"/>
                    <a:pt x="96" y="72"/>
                    <a:pt x="95" y="71"/>
                  </a:cubicBezTo>
                  <a:cubicBezTo>
                    <a:pt x="93" y="70"/>
                    <a:pt x="90" y="70"/>
                    <a:pt x="87" y="69"/>
                  </a:cubicBezTo>
                  <a:cubicBezTo>
                    <a:pt x="84" y="68"/>
                    <a:pt x="82" y="68"/>
                    <a:pt x="80" y="67"/>
                  </a:cubicBezTo>
                  <a:cubicBezTo>
                    <a:pt x="77" y="66"/>
                    <a:pt x="72" y="63"/>
                    <a:pt x="70" y="61"/>
                  </a:cubicBezTo>
                  <a:cubicBezTo>
                    <a:pt x="69" y="60"/>
                    <a:pt x="69" y="59"/>
                    <a:pt x="68" y="58"/>
                  </a:cubicBezTo>
                  <a:cubicBezTo>
                    <a:pt x="67" y="56"/>
                    <a:pt x="66" y="55"/>
                    <a:pt x="65" y="54"/>
                  </a:cubicBezTo>
                  <a:cubicBezTo>
                    <a:pt x="64" y="53"/>
                    <a:pt x="62" y="52"/>
                    <a:pt x="60" y="51"/>
                  </a:cubicBezTo>
                  <a:cubicBezTo>
                    <a:pt x="58" y="50"/>
                    <a:pt x="57" y="50"/>
                    <a:pt x="57" y="49"/>
                  </a:cubicBezTo>
                  <a:cubicBezTo>
                    <a:pt x="55" y="48"/>
                    <a:pt x="51" y="45"/>
                    <a:pt x="49" y="43"/>
                  </a:cubicBezTo>
                  <a:cubicBezTo>
                    <a:pt x="48" y="42"/>
                    <a:pt x="46" y="40"/>
                    <a:pt x="44" y="38"/>
                  </a:cubicBezTo>
                  <a:cubicBezTo>
                    <a:pt x="41" y="34"/>
                    <a:pt x="38" y="31"/>
                    <a:pt x="35" y="29"/>
                  </a:cubicBezTo>
                  <a:cubicBezTo>
                    <a:pt x="35" y="29"/>
                    <a:pt x="34" y="28"/>
                    <a:pt x="34" y="28"/>
                  </a:cubicBezTo>
                  <a:cubicBezTo>
                    <a:pt x="30" y="25"/>
                    <a:pt x="27" y="23"/>
                    <a:pt x="24" y="25"/>
                  </a:cubicBezTo>
                  <a:cubicBezTo>
                    <a:pt x="22" y="27"/>
                    <a:pt x="23" y="30"/>
                    <a:pt x="24" y="33"/>
                  </a:cubicBezTo>
                  <a:cubicBezTo>
                    <a:pt x="25" y="34"/>
                    <a:pt x="25" y="35"/>
                    <a:pt x="25" y="36"/>
                  </a:cubicBezTo>
                  <a:cubicBezTo>
                    <a:pt x="25" y="36"/>
                    <a:pt x="24" y="36"/>
                    <a:pt x="24" y="37"/>
                  </a:cubicBezTo>
                  <a:cubicBezTo>
                    <a:pt x="23" y="38"/>
                    <a:pt x="22" y="40"/>
                    <a:pt x="22" y="42"/>
                  </a:cubicBezTo>
                  <a:cubicBezTo>
                    <a:pt x="22" y="43"/>
                    <a:pt x="22" y="45"/>
                    <a:pt x="21" y="45"/>
                  </a:cubicBezTo>
                  <a:cubicBezTo>
                    <a:pt x="21" y="46"/>
                    <a:pt x="20" y="47"/>
                    <a:pt x="19" y="48"/>
                  </a:cubicBezTo>
                  <a:cubicBezTo>
                    <a:pt x="18" y="50"/>
                    <a:pt x="17" y="52"/>
                    <a:pt x="16" y="54"/>
                  </a:cubicBezTo>
                  <a:cubicBezTo>
                    <a:pt x="16" y="55"/>
                    <a:pt x="16" y="57"/>
                    <a:pt x="16" y="59"/>
                  </a:cubicBezTo>
                  <a:cubicBezTo>
                    <a:pt x="17" y="59"/>
                    <a:pt x="17" y="61"/>
                    <a:pt x="17" y="61"/>
                  </a:cubicBezTo>
                  <a:cubicBezTo>
                    <a:pt x="17" y="62"/>
                    <a:pt x="16" y="63"/>
                    <a:pt x="16" y="64"/>
                  </a:cubicBezTo>
                  <a:cubicBezTo>
                    <a:pt x="15" y="66"/>
                    <a:pt x="15" y="67"/>
                    <a:pt x="15" y="68"/>
                  </a:cubicBezTo>
                  <a:cubicBezTo>
                    <a:pt x="14" y="70"/>
                    <a:pt x="14" y="75"/>
                    <a:pt x="15" y="77"/>
                  </a:cubicBezTo>
                  <a:cubicBezTo>
                    <a:pt x="15" y="78"/>
                    <a:pt x="15" y="82"/>
                    <a:pt x="16" y="85"/>
                  </a:cubicBezTo>
                  <a:cubicBezTo>
                    <a:pt x="17" y="86"/>
                    <a:pt x="18" y="88"/>
                    <a:pt x="19" y="90"/>
                  </a:cubicBezTo>
                  <a:cubicBezTo>
                    <a:pt x="20" y="91"/>
                    <a:pt x="22" y="92"/>
                    <a:pt x="22" y="93"/>
                  </a:cubicBezTo>
                  <a:cubicBezTo>
                    <a:pt x="23" y="96"/>
                    <a:pt x="25" y="103"/>
                    <a:pt x="25" y="108"/>
                  </a:cubicBezTo>
                  <a:cubicBezTo>
                    <a:pt x="26" y="110"/>
                    <a:pt x="26" y="114"/>
                    <a:pt x="26" y="115"/>
                  </a:cubicBezTo>
                  <a:cubicBezTo>
                    <a:pt x="26" y="119"/>
                    <a:pt x="25" y="123"/>
                    <a:pt x="24" y="128"/>
                  </a:cubicBezTo>
                  <a:cubicBezTo>
                    <a:pt x="23" y="135"/>
                    <a:pt x="22" y="141"/>
                    <a:pt x="23" y="146"/>
                  </a:cubicBezTo>
                  <a:cubicBezTo>
                    <a:pt x="23" y="148"/>
                    <a:pt x="23" y="152"/>
                    <a:pt x="24" y="156"/>
                  </a:cubicBezTo>
                  <a:cubicBezTo>
                    <a:pt x="25" y="159"/>
                    <a:pt x="25" y="162"/>
                    <a:pt x="25" y="165"/>
                  </a:cubicBezTo>
                  <a:cubicBezTo>
                    <a:pt x="26" y="170"/>
                    <a:pt x="24" y="181"/>
                    <a:pt x="23" y="186"/>
                  </a:cubicBezTo>
                  <a:cubicBezTo>
                    <a:pt x="23" y="187"/>
                    <a:pt x="23" y="188"/>
                    <a:pt x="22" y="189"/>
                  </a:cubicBezTo>
                  <a:cubicBezTo>
                    <a:pt x="21" y="191"/>
                    <a:pt x="20" y="193"/>
                    <a:pt x="20" y="195"/>
                  </a:cubicBezTo>
                  <a:cubicBezTo>
                    <a:pt x="21" y="199"/>
                    <a:pt x="29" y="199"/>
                    <a:pt x="29" y="199"/>
                  </a:cubicBezTo>
                  <a:cubicBezTo>
                    <a:pt x="30" y="199"/>
                    <a:pt x="30" y="199"/>
                    <a:pt x="31" y="199"/>
                  </a:cubicBezTo>
                  <a:cubicBezTo>
                    <a:pt x="33" y="199"/>
                    <a:pt x="33" y="196"/>
                    <a:pt x="33" y="193"/>
                  </a:cubicBezTo>
                  <a:cubicBezTo>
                    <a:pt x="33" y="193"/>
                    <a:pt x="33" y="193"/>
                    <a:pt x="33" y="193"/>
                  </a:cubicBezTo>
                  <a:cubicBezTo>
                    <a:pt x="34" y="194"/>
                    <a:pt x="35" y="195"/>
                    <a:pt x="36" y="195"/>
                  </a:cubicBezTo>
                  <a:cubicBezTo>
                    <a:pt x="37" y="196"/>
                    <a:pt x="37" y="196"/>
                    <a:pt x="37" y="197"/>
                  </a:cubicBezTo>
                  <a:cubicBezTo>
                    <a:pt x="38" y="197"/>
                    <a:pt x="38" y="198"/>
                    <a:pt x="38" y="199"/>
                  </a:cubicBezTo>
                  <a:cubicBezTo>
                    <a:pt x="38" y="201"/>
                    <a:pt x="39" y="203"/>
                    <a:pt x="40" y="204"/>
                  </a:cubicBezTo>
                  <a:cubicBezTo>
                    <a:pt x="39" y="204"/>
                    <a:pt x="37" y="204"/>
                    <a:pt x="37" y="205"/>
                  </a:cubicBezTo>
                  <a:cubicBezTo>
                    <a:pt x="35" y="205"/>
                    <a:pt x="33" y="206"/>
                    <a:pt x="31" y="208"/>
                  </a:cubicBezTo>
                  <a:cubicBezTo>
                    <a:pt x="30" y="209"/>
                    <a:pt x="27" y="210"/>
                    <a:pt x="27" y="211"/>
                  </a:cubicBezTo>
                  <a:cubicBezTo>
                    <a:pt x="27" y="210"/>
                    <a:pt x="26" y="209"/>
                    <a:pt x="26" y="208"/>
                  </a:cubicBezTo>
                  <a:cubicBezTo>
                    <a:pt x="25" y="206"/>
                    <a:pt x="24" y="202"/>
                    <a:pt x="21" y="202"/>
                  </a:cubicBezTo>
                  <a:cubicBezTo>
                    <a:pt x="21" y="202"/>
                    <a:pt x="21" y="202"/>
                    <a:pt x="21" y="202"/>
                  </a:cubicBezTo>
                  <a:cubicBezTo>
                    <a:pt x="15" y="203"/>
                    <a:pt x="16" y="213"/>
                    <a:pt x="16" y="219"/>
                  </a:cubicBezTo>
                  <a:cubicBezTo>
                    <a:pt x="16" y="220"/>
                    <a:pt x="16" y="220"/>
                    <a:pt x="16" y="220"/>
                  </a:cubicBezTo>
                  <a:cubicBezTo>
                    <a:pt x="16" y="227"/>
                    <a:pt x="18" y="229"/>
                    <a:pt x="19" y="230"/>
                  </a:cubicBezTo>
                  <a:cubicBezTo>
                    <a:pt x="21" y="231"/>
                    <a:pt x="22" y="231"/>
                    <a:pt x="24" y="230"/>
                  </a:cubicBezTo>
                  <a:cubicBezTo>
                    <a:pt x="24" y="230"/>
                    <a:pt x="25" y="230"/>
                    <a:pt x="25" y="230"/>
                  </a:cubicBezTo>
                  <a:cubicBezTo>
                    <a:pt x="29" y="230"/>
                    <a:pt x="36" y="232"/>
                    <a:pt x="38" y="234"/>
                  </a:cubicBezTo>
                  <a:cubicBezTo>
                    <a:pt x="39" y="234"/>
                    <a:pt x="39" y="235"/>
                    <a:pt x="39" y="235"/>
                  </a:cubicBezTo>
                  <a:cubicBezTo>
                    <a:pt x="37" y="234"/>
                    <a:pt x="34" y="232"/>
                    <a:pt x="33" y="233"/>
                  </a:cubicBezTo>
                  <a:cubicBezTo>
                    <a:pt x="29" y="233"/>
                    <a:pt x="26" y="240"/>
                    <a:pt x="25" y="242"/>
                  </a:cubicBezTo>
                  <a:cubicBezTo>
                    <a:pt x="25" y="245"/>
                    <a:pt x="28" y="246"/>
                    <a:pt x="30" y="247"/>
                  </a:cubicBezTo>
                  <a:cubicBezTo>
                    <a:pt x="30" y="247"/>
                    <a:pt x="31" y="247"/>
                    <a:pt x="31" y="247"/>
                  </a:cubicBezTo>
                  <a:cubicBezTo>
                    <a:pt x="30" y="248"/>
                    <a:pt x="30" y="248"/>
                    <a:pt x="29" y="249"/>
                  </a:cubicBezTo>
                  <a:cubicBezTo>
                    <a:pt x="28" y="250"/>
                    <a:pt x="26" y="252"/>
                    <a:pt x="26" y="254"/>
                  </a:cubicBezTo>
                  <a:cubicBezTo>
                    <a:pt x="26" y="256"/>
                    <a:pt x="26" y="258"/>
                    <a:pt x="30" y="260"/>
                  </a:cubicBezTo>
                  <a:cubicBezTo>
                    <a:pt x="32" y="262"/>
                    <a:pt x="33" y="264"/>
                    <a:pt x="33" y="265"/>
                  </a:cubicBezTo>
                  <a:cubicBezTo>
                    <a:pt x="33" y="265"/>
                    <a:pt x="32" y="265"/>
                    <a:pt x="29" y="265"/>
                  </a:cubicBezTo>
                  <a:cubicBezTo>
                    <a:pt x="29" y="265"/>
                    <a:pt x="29" y="264"/>
                    <a:pt x="29" y="263"/>
                  </a:cubicBezTo>
                  <a:cubicBezTo>
                    <a:pt x="28" y="262"/>
                    <a:pt x="27" y="260"/>
                    <a:pt x="25" y="259"/>
                  </a:cubicBezTo>
                  <a:cubicBezTo>
                    <a:pt x="24" y="258"/>
                    <a:pt x="22" y="259"/>
                    <a:pt x="20" y="259"/>
                  </a:cubicBezTo>
                  <a:cubicBezTo>
                    <a:pt x="20" y="259"/>
                    <a:pt x="19" y="259"/>
                    <a:pt x="19" y="260"/>
                  </a:cubicBezTo>
                  <a:cubicBezTo>
                    <a:pt x="19" y="258"/>
                    <a:pt x="20" y="256"/>
                    <a:pt x="21" y="255"/>
                  </a:cubicBezTo>
                  <a:cubicBezTo>
                    <a:pt x="22" y="252"/>
                    <a:pt x="23" y="249"/>
                    <a:pt x="22" y="247"/>
                  </a:cubicBezTo>
                  <a:cubicBezTo>
                    <a:pt x="22" y="243"/>
                    <a:pt x="21" y="237"/>
                    <a:pt x="16" y="237"/>
                  </a:cubicBezTo>
                  <a:cubicBezTo>
                    <a:pt x="14" y="237"/>
                    <a:pt x="10" y="239"/>
                    <a:pt x="6" y="246"/>
                  </a:cubicBezTo>
                  <a:cubicBezTo>
                    <a:pt x="2" y="257"/>
                    <a:pt x="0" y="273"/>
                    <a:pt x="5" y="279"/>
                  </a:cubicBezTo>
                  <a:cubicBezTo>
                    <a:pt x="6" y="280"/>
                    <a:pt x="7" y="281"/>
                    <a:pt x="9" y="281"/>
                  </a:cubicBezTo>
                  <a:cubicBezTo>
                    <a:pt x="10" y="281"/>
                    <a:pt x="11" y="280"/>
                    <a:pt x="13" y="280"/>
                  </a:cubicBezTo>
                  <a:cubicBezTo>
                    <a:pt x="14" y="280"/>
                    <a:pt x="15" y="279"/>
                    <a:pt x="15" y="279"/>
                  </a:cubicBezTo>
                  <a:cubicBezTo>
                    <a:pt x="16" y="280"/>
                    <a:pt x="16" y="281"/>
                    <a:pt x="17" y="282"/>
                  </a:cubicBezTo>
                  <a:cubicBezTo>
                    <a:pt x="18" y="284"/>
                    <a:pt x="19" y="287"/>
                    <a:pt x="21" y="287"/>
                  </a:cubicBezTo>
                  <a:cubicBezTo>
                    <a:pt x="24" y="288"/>
                    <a:pt x="28" y="287"/>
                    <a:pt x="31" y="285"/>
                  </a:cubicBezTo>
                  <a:cubicBezTo>
                    <a:pt x="33" y="285"/>
                    <a:pt x="35" y="284"/>
                    <a:pt x="37" y="284"/>
                  </a:cubicBezTo>
                  <a:cubicBezTo>
                    <a:pt x="38" y="284"/>
                    <a:pt x="39" y="287"/>
                    <a:pt x="40" y="289"/>
                  </a:cubicBezTo>
                  <a:cubicBezTo>
                    <a:pt x="40" y="290"/>
                    <a:pt x="41" y="291"/>
                    <a:pt x="42" y="291"/>
                  </a:cubicBezTo>
                  <a:cubicBezTo>
                    <a:pt x="49" y="292"/>
                    <a:pt x="49" y="292"/>
                    <a:pt x="49" y="292"/>
                  </a:cubicBezTo>
                  <a:cubicBezTo>
                    <a:pt x="50" y="293"/>
                    <a:pt x="50" y="293"/>
                    <a:pt x="50" y="293"/>
                  </a:cubicBezTo>
                  <a:cubicBezTo>
                    <a:pt x="55" y="295"/>
                    <a:pt x="55" y="295"/>
                    <a:pt x="55" y="295"/>
                  </a:cubicBezTo>
                  <a:cubicBezTo>
                    <a:pt x="55" y="296"/>
                    <a:pt x="55" y="296"/>
                    <a:pt x="55" y="296"/>
                  </a:cubicBezTo>
                  <a:cubicBezTo>
                    <a:pt x="57" y="302"/>
                    <a:pt x="57" y="302"/>
                    <a:pt x="57" y="302"/>
                  </a:cubicBezTo>
                  <a:cubicBezTo>
                    <a:pt x="57" y="302"/>
                    <a:pt x="58" y="302"/>
                    <a:pt x="58" y="303"/>
                  </a:cubicBezTo>
                  <a:cubicBezTo>
                    <a:pt x="65" y="310"/>
                    <a:pt x="65" y="310"/>
                    <a:pt x="65" y="310"/>
                  </a:cubicBezTo>
                  <a:cubicBezTo>
                    <a:pt x="66" y="310"/>
                    <a:pt x="66" y="311"/>
                    <a:pt x="67" y="311"/>
                  </a:cubicBezTo>
                  <a:cubicBezTo>
                    <a:pt x="74" y="310"/>
                    <a:pt x="74" y="310"/>
                    <a:pt x="74" y="310"/>
                  </a:cubicBezTo>
                  <a:cubicBezTo>
                    <a:pt x="78" y="312"/>
                    <a:pt x="78" y="312"/>
                    <a:pt x="78" y="312"/>
                  </a:cubicBezTo>
                  <a:cubicBezTo>
                    <a:pt x="82" y="318"/>
                    <a:pt x="82" y="318"/>
                    <a:pt x="82" y="318"/>
                  </a:cubicBezTo>
                  <a:cubicBezTo>
                    <a:pt x="82" y="318"/>
                    <a:pt x="82" y="318"/>
                    <a:pt x="82" y="319"/>
                  </a:cubicBezTo>
                  <a:cubicBezTo>
                    <a:pt x="90" y="325"/>
                    <a:pt x="90" y="325"/>
                    <a:pt x="90" y="325"/>
                  </a:cubicBezTo>
                  <a:cubicBezTo>
                    <a:pt x="93" y="339"/>
                    <a:pt x="93" y="339"/>
                    <a:pt x="93" y="339"/>
                  </a:cubicBezTo>
                  <a:cubicBezTo>
                    <a:pt x="89" y="377"/>
                    <a:pt x="89" y="377"/>
                    <a:pt x="89" y="377"/>
                  </a:cubicBezTo>
                  <a:cubicBezTo>
                    <a:pt x="89" y="378"/>
                    <a:pt x="89" y="378"/>
                    <a:pt x="89" y="379"/>
                  </a:cubicBezTo>
                  <a:cubicBezTo>
                    <a:pt x="92" y="383"/>
                    <a:pt x="92" y="383"/>
                    <a:pt x="92" y="383"/>
                  </a:cubicBezTo>
                  <a:cubicBezTo>
                    <a:pt x="92" y="383"/>
                    <a:pt x="93" y="384"/>
                    <a:pt x="93" y="384"/>
                  </a:cubicBezTo>
                  <a:cubicBezTo>
                    <a:pt x="104" y="389"/>
                    <a:pt x="104" y="389"/>
                    <a:pt x="104" y="389"/>
                  </a:cubicBezTo>
                  <a:cubicBezTo>
                    <a:pt x="112" y="394"/>
                    <a:pt x="112" y="394"/>
                    <a:pt x="112" y="394"/>
                  </a:cubicBezTo>
                  <a:cubicBezTo>
                    <a:pt x="113" y="394"/>
                    <a:pt x="113" y="394"/>
                    <a:pt x="113" y="394"/>
                  </a:cubicBezTo>
                  <a:cubicBezTo>
                    <a:pt x="116" y="395"/>
                    <a:pt x="116" y="395"/>
                    <a:pt x="116" y="395"/>
                  </a:cubicBezTo>
                  <a:cubicBezTo>
                    <a:pt x="124" y="400"/>
                    <a:pt x="124" y="400"/>
                    <a:pt x="124" y="400"/>
                  </a:cubicBezTo>
                  <a:cubicBezTo>
                    <a:pt x="124" y="400"/>
                    <a:pt x="125" y="400"/>
                    <a:pt x="125" y="400"/>
                  </a:cubicBezTo>
                  <a:cubicBezTo>
                    <a:pt x="133" y="401"/>
                    <a:pt x="133" y="401"/>
                    <a:pt x="133" y="401"/>
                  </a:cubicBezTo>
                  <a:cubicBezTo>
                    <a:pt x="148" y="399"/>
                    <a:pt x="148" y="399"/>
                    <a:pt x="148" y="399"/>
                  </a:cubicBezTo>
                  <a:cubicBezTo>
                    <a:pt x="155" y="398"/>
                    <a:pt x="155" y="398"/>
                    <a:pt x="155" y="398"/>
                  </a:cubicBezTo>
                  <a:cubicBezTo>
                    <a:pt x="156" y="398"/>
                    <a:pt x="156" y="398"/>
                    <a:pt x="156" y="397"/>
                  </a:cubicBezTo>
                  <a:cubicBezTo>
                    <a:pt x="163" y="393"/>
                    <a:pt x="163" y="393"/>
                    <a:pt x="163" y="393"/>
                  </a:cubicBezTo>
                  <a:cubicBezTo>
                    <a:pt x="169" y="393"/>
                    <a:pt x="169" y="393"/>
                    <a:pt x="169" y="393"/>
                  </a:cubicBezTo>
                  <a:cubicBezTo>
                    <a:pt x="176" y="396"/>
                    <a:pt x="176" y="396"/>
                    <a:pt x="176" y="396"/>
                  </a:cubicBezTo>
                  <a:cubicBezTo>
                    <a:pt x="176" y="396"/>
                    <a:pt x="177" y="396"/>
                    <a:pt x="177" y="396"/>
                  </a:cubicBezTo>
                  <a:cubicBezTo>
                    <a:pt x="189" y="397"/>
                    <a:pt x="189" y="397"/>
                    <a:pt x="189" y="397"/>
                  </a:cubicBezTo>
                  <a:cubicBezTo>
                    <a:pt x="197" y="401"/>
                    <a:pt x="197" y="401"/>
                    <a:pt x="197" y="401"/>
                  </a:cubicBezTo>
                  <a:cubicBezTo>
                    <a:pt x="197" y="401"/>
                    <a:pt x="197" y="401"/>
                    <a:pt x="198" y="401"/>
                  </a:cubicBezTo>
                  <a:cubicBezTo>
                    <a:pt x="204" y="403"/>
                    <a:pt x="204" y="403"/>
                    <a:pt x="204" y="403"/>
                  </a:cubicBezTo>
                  <a:cubicBezTo>
                    <a:pt x="211" y="408"/>
                    <a:pt x="211" y="408"/>
                    <a:pt x="211" y="408"/>
                  </a:cubicBezTo>
                  <a:cubicBezTo>
                    <a:pt x="212" y="414"/>
                    <a:pt x="212" y="414"/>
                    <a:pt x="212" y="414"/>
                  </a:cubicBezTo>
                  <a:cubicBezTo>
                    <a:pt x="212" y="415"/>
                    <a:pt x="214" y="416"/>
                    <a:pt x="215" y="416"/>
                  </a:cubicBezTo>
                  <a:cubicBezTo>
                    <a:pt x="229" y="415"/>
                    <a:pt x="229" y="415"/>
                    <a:pt x="229" y="415"/>
                  </a:cubicBezTo>
                  <a:cubicBezTo>
                    <a:pt x="236" y="418"/>
                    <a:pt x="236" y="418"/>
                    <a:pt x="236" y="418"/>
                  </a:cubicBezTo>
                  <a:cubicBezTo>
                    <a:pt x="237" y="418"/>
                    <a:pt x="237" y="418"/>
                    <a:pt x="238" y="418"/>
                  </a:cubicBezTo>
                  <a:cubicBezTo>
                    <a:pt x="248" y="415"/>
                    <a:pt x="255" y="413"/>
                    <a:pt x="260" y="413"/>
                  </a:cubicBezTo>
                  <a:cubicBezTo>
                    <a:pt x="265" y="413"/>
                    <a:pt x="267" y="415"/>
                    <a:pt x="269" y="417"/>
                  </a:cubicBezTo>
                  <a:cubicBezTo>
                    <a:pt x="272" y="421"/>
                    <a:pt x="277" y="425"/>
                    <a:pt x="291" y="422"/>
                  </a:cubicBezTo>
                  <a:cubicBezTo>
                    <a:pt x="305" y="419"/>
                    <a:pt x="305" y="419"/>
                    <a:pt x="305" y="419"/>
                  </a:cubicBezTo>
                  <a:cubicBezTo>
                    <a:pt x="320" y="417"/>
                    <a:pt x="320" y="417"/>
                    <a:pt x="320" y="417"/>
                  </a:cubicBezTo>
                  <a:cubicBezTo>
                    <a:pt x="344" y="418"/>
                    <a:pt x="344" y="418"/>
                    <a:pt x="344" y="418"/>
                  </a:cubicBezTo>
                  <a:cubicBezTo>
                    <a:pt x="344" y="418"/>
                    <a:pt x="345" y="418"/>
                    <a:pt x="345" y="418"/>
                  </a:cubicBezTo>
                  <a:cubicBezTo>
                    <a:pt x="351" y="414"/>
                    <a:pt x="351" y="414"/>
                    <a:pt x="351" y="414"/>
                  </a:cubicBezTo>
                  <a:cubicBezTo>
                    <a:pt x="356" y="416"/>
                    <a:pt x="356" y="416"/>
                    <a:pt x="356" y="416"/>
                  </a:cubicBezTo>
                  <a:cubicBezTo>
                    <a:pt x="356" y="416"/>
                    <a:pt x="356" y="416"/>
                    <a:pt x="357" y="416"/>
                  </a:cubicBezTo>
                  <a:cubicBezTo>
                    <a:pt x="374" y="417"/>
                    <a:pt x="374" y="417"/>
                    <a:pt x="374" y="417"/>
                  </a:cubicBezTo>
                  <a:cubicBezTo>
                    <a:pt x="381" y="419"/>
                    <a:pt x="381" y="419"/>
                    <a:pt x="381" y="419"/>
                  </a:cubicBezTo>
                  <a:cubicBezTo>
                    <a:pt x="381" y="419"/>
                    <a:pt x="382" y="419"/>
                    <a:pt x="382" y="419"/>
                  </a:cubicBezTo>
                  <a:cubicBezTo>
                    <a:pt x="390" y="420"/>
                    <a:pt x="390" y="420"/>
                    <a:pt x="390" y="420"/>
                  </a:cubicBezTo>
                  <a:cubicBezTo>
                    <a:pt x="390" y="420"/>
                    <a:pt x="391" y="420"/>
                    <a:pt x="391" y="420"/>
                  </a:cubicBezTo>
                  <a:cubicBezTo>
                    <a:pt x="398" y="416"/>
                    <a:pt x="398" y="416"/>
                    <a:pt x="398" y="416"/>
                  </a:cubicBezTo>
                  <a:cubicBezTo>
                    <a:pt x="471" y="433"/>
                    <a:pt x="471" y="433"/>
                    <a:pt x="471" y="433"/>
                  </a:cubicBezTo>
                  <a:cubicBezTo>
                    <a:pt x="565" y="453"/>
                    <a:pt x="565" y="453"/>
                    <a:pt x="565" y="453"/>
                  </a:cubicBezTo>
                  <a:cubicBezTo>
                    <a:pt x="566" y="453"/>
                    <a:pt x="566" y="453"/>
                    <a:pt x="566" y="453"/>
                  </a:cubicBezTo>
                  <a:cubicBezTo>
                    <a:pt x="566" y="453"/>
                    <a:pt x="566" y="453"/>
                    <a:pt x="566" y="453"/>
                  </a:cubicBezTo>
                  <a:cubicBezTo>
                    <a:pt x="567" y="453"/>
                    <a:pt x="569" y="451"/>
                    <a:pt x="569" y="450"/>
                  </a:cubicBezTo>
                  <a:cubicBezTo>
                    <a:pt x="569" y="450"/>
                    <a:pt x="568" y="449"/>
                    <a:pt x="568" y="449"/>
                  </a:cubicBezTo>
                  <a:cubicBezTo>
                    <a:pt x="566" y="443"/>
                    <a:pt x="566" y="443"/>
                    <a:pt x="566" y="443"/>
                  </a:cubicBezTo>
                  <a:cubicBezTo>
                    <a:pt x="570" y="420"/>
                    <a:pt x="570" y="420"/>
                    <a:pt x="570" y="420"/>
                  </a:cubicBezTo>
                  <a:cubicBezTo>
                    <a:pt x="570" y="420"/>
                    <a:pt x="570" y="419"/>
                    <a:pt x="570" y="419"/>
                  </a:cubicBezTo>
                  <a:cubicBezTo>
                    <a:pt x="565" y="405"/>
                    <a:pt x="565" y="405"/>
                    <a:pt x="565" y="405"/>
                  </a:cubicBezTo>
                  <a:cubicBezTo>
                    <a:pt x="568" y="399"/>
                    <a:pt x="568" y="399"/>
                    <a:pt x="568" y="399"/>
                  </a:cubicBezTo>
                  <a:cubicBezTo>
                    <a:pt x="568" y="398"/>
                    <a:pt x="568" y="398"/>
                    <a:pt x="568" y="398"/>
                  </a:cubicBezTo>
                  <a:cubicBezTo>
                    <a:pt x="571" y="374"/>
                    <a:pt x="571" y="374"/>
                    <a:pt x="571" y="374"/>
                  </a:cubicBezTo>
                  <a:cubicBezTo>
                    <a:pt x="628" y="112"/>
                    <a:pt x="628" y="112"/>
                    <a:pt x="628" y="112"/>
                  </a:cubicBezTo>
                  <a:cubicBezTo>
                    <a:pt x="628" y="107"/>
                    <a:pt x="628" y="107"/>
                    <a:pt x="628" y="107"/>
                  </a:cubicBezTo>
                  <a:cubicBezTo>
                    <a:pt x="628" y="106"/>
                    <a:pt x="628" y="105"/>
                    <a:pt x="626" y="104"/>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2382650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_Our Story 1_Map Graphic">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904807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p>
            <a:fld id="{A1471D42-392E-4D14-982B-D9D765EA1509}" type="slidenum">
              <a:rPr lang="en-US" smtClean="0"/>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30" name="Freeform: Shape 29">
            <a:extLst>
              <a:ext uri="{FF2B5EF4-FFF2-40B4-BE49-F238E27FC236}">
                <a16:creationId xmlns:a16="http://schemas.microsoft.com/office/drawing/2014/main" id="{B09B4822-DFCA-4A82-BE14-0328C0654944}"/>
              </a:ext>
            </a:extLst>
          </p:cNvPr>
          <p:cNvSpPr/>
          <p:nvPr userDrawn="1"/>
        </p:nvSpPr>
        <p:spPr>
          <a:xfrm>
            <a:off x="8098217" y="0"/>
            <a:ext cx="4093783" cy="4261899"/>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2" name="Title 1">
            <a:extLst>
              <a:ext uri="{FF2B5EF4-FFF2-40B4-BE49-F238E27FC236}">
                <a16:creationId xmlns:a16="http://schemas.microsoft.com/office/drawing/2014/main" id="{E4C48CBC-9FBB-43DF-BD4A-B3216FB008EC}"/>
              </a:ext>
            </a:extLst>
          </p:cNvPr>
          <p:cNvSpPr>
            <a:spLocks noGrp="1"/>
          </p:cNvSpPr>
          <p:nvPr>
            <p:ph type="title" hasCustomPrompt="1"/>
          </p:nvPr>
        </p:nvSpPr>
        <p:spPr>
          <a:xfrm>
            <a:off x="838200" y="719015"/>
            <a:ext cx="10515600" cy="1109785"/>
          </a:xfrm>
        </p:spPr>
        <p:txBody>
          <a:bodyPr anchor="ctr"/>
          <a:lstStyle>
            <a:lvl1pPr>
              <a:defRPr>
                <a:solidFill>
                  <a:schemeClr val="accent1"/>
                </a:solidFill>
              </a:defRPr>
            </a:lvl1pPr>
          </a:lstStyle>
          <a:p>
            <a:r>
              <a:rPr lang="en-US"/>
              <a:t>Map graphic </a:t>
            </a:r>
          </a:p>
        </p:txBody>
      </p:sp>
      <p:grpSp>
        <p:nvGrpSpPr>
          <p:cNvPr id="14" name="Group 13">
            <a:extLst>
              <a:ext uri="{FF2B5EF4-FFF2-40B4-BE49-F238E27FC236}">
                <a16:creationId xmlns:a16="http://schemas.microsoft.com/office/drawing/2014/main" id="{EDD817DE-02DA-49EA-9A58-8576E6A68ACC}"/>
              </a:ext>
            </a:extLst>
          </p:cNvPr>
          <p:cNvGrpSpPr/>
          <p:nvPr userDrawn="1"/>
        </p:nvGrpSpPr>
        <p:grpSpPr>
          <a:xfrm>
            <a:off x="3062607" y="2213951"/>
            <a:ext cx="6460955" cy="4367349"/>
            <a:chOff x="3062607" y="1889759"/>
            <a:chExt cx="6460955" cy="4367349"/>
          </a:xfrm>
        </p:grpSpPr>
        <p:sp>
          <p:nvSpPr>
            <p:cNvPr id="15" name="Freeform 5">
              <a:extLst>
                <a:ext uri="{FF2B5EF4-FFF2-40B4-BE49-F238E27FC236}">
                  <a16:creationId xmlns:a16="http://schemas.microsoft.com/office/drawing/2014/main" id="{060798FB-BD62-47F1-B175-3D74CDE2A575}"/>
                </a:ext>
              </a:extLst>
            </p:cNvPr>
            <p:cNvSpPr>
              <a:spLocks noEditPoints="1"/>
            </p:cNvSpPr>
            <p:nvPr/>
          </p:nvSpPr>
          <p:spPr bwMode="auto">
            <a:xfrm>
              <a:off x="5657142" y="5664822"/>
              <a:ext cx="628672" cy="401258"/>
            </a:xfrm>
            <a:custGeom>
              <a:avLst/>
              <a:gdLst>
                <a:gd name="T0" fmla="*/ 466 w 566"/>
                <a:gd name="T1" fmla="*/ 354 h 361"/>
                <a:gd name="T2" fmla="*/ 454 w 566"/>
                <a:gd name="T3" fmla="*/ 334 h 361"/>
                <a:gd name="T4" fmla="*/ 452 w 566"/>
                <a:gd name="T5" fmla="*/ 307 h 361"/>
                <a:gd name="T6" fmla="*/ 445 w 566"/>
                <a:gd name="T7" fmla="*/ 286 h 361"/>
                <a:gd name="T8" fmla="*/ 451 w 566"/>
                <a:gd name="T9" fmla="*/ 262 h 361"/>
                <a:gd name="T10" fmla="*/ 463 w 566"/>
                <a:gd name="T11" fmla="*/ 244 h 361"/>
                <a:gd name="T12" fmla="*/ 460 w 566"/>
                <a:gd name="T13" fmla="*/ 217 h 361"/>
                <a:gd name="T14" fmla="*/ 483 w 566"/>
                <a:gd name="T15" fmla="*/ 231 h 361"/>
                <a:gd name="T16" fmla="*/ 518 w 566"/>
                <a:gd name="T17" fmla="*/ 245 h 361"/>
                <a:gd name="T18" fmla="*/ 539 w 566"/>
                <a:gd name="T19" fmla="*/ 267 h 361"/>
                <a:gd name="T20" fmla="*/ 555 w 566"/>
                <a:gd name="T21" fmla="*/ 291 h 361"/>
                <a:gd name="T22" fmla="*/ 556 w 566"/>
                <a:gd name="T23" fmla="*/ 311 h 361"/>
                <a:gd name="T24" fmla="*/ 535 w 566"/>
                <a:gd name="T25" fmla="*/ 325 h 361"/>
                <a:gd name="T26" fmla="*/ 507 w 566"/>
                <a:gd name="T27" fmla="*/ 333 h 361"/>
                <a:gd name="T28" fmla="*/ 489 w 566"/>
                <a:gd name="T29" fmla="*/ 353 h 361"/>
                <a:gd name="T30" fmla="*/ 398 w 566"/>
                <a:gd name="T31" fmla="*/ 183 h 361"/>
                <a:gd name="T32" fmla="*/ 423 w 566"/>
                <a:gd name="T33" fmla="*/ 177 h 361"/>
                <a:gd name="T34" fmla="*/ 433 w 566"/>
                <a:gd name="T35" fmla="*/ 157 h 361"/>
                <a:gd name="T36" fmla="*/ 413 w 566"/>
                <a:gd name="T37" fmla="*/ 144 h 361"/>
                <a:gd name="T38" fmla="*/ 386 w 566"/>
                <a:gd name="T39" fmla="*/ 144 h 361"/>
                <a:gd name="T40" fmla="*/ 367 w 566"/>
                <a:gd name="T41" fmla="*/ 138 h 361"/>
                <a:gd name="T42" fmla="*/ 389 w 566"/>
                <a:gd name="T43" fmla="*/ 164 h 361"/>
                <a:gd name="T44" fmla="*/ 398 w 566"/>
                <a:gd name="T45" fmla="*/ 183 h 361"/>
                <a:gd name="T46" fmla="*/ 354 w 566"/>
                <a:gd name="T47" fmla="*/ 156 h 361"/>
                <a:gd name="T48" fmla="*/ 327 w 566"/>
                <a:gd name="T49" fmla="*/ 148 h 361"/>
                <a:gd name="T50" fmla="*/ 348 w 566"/>
                <a:gd name="T51" fmla="*/ 132 h 361"/>
                <a:gd name="T52" fmla="*/ 359 w 566"/>
                <a:gd name="T53" fmla="*/ 118 h 361"/>
                <a:gd name="T54" fmla="*/ 335 w 566"/>
                <a:gd name="T55" fmla="*/ 117 h 361"/>
                <a:gd name="T56" fmla="*/ 308 w 566"/>
                <a:gd name="T57" fmla="*/ 117 h 361"/>
                <a:gd name="T58" fmla="*/ 329 w 566"/>
                <a:gd name="T59" fmla="*/ 125 h 361"/>
                <a:gd name="T60" fmla="*/ 189 w 566"/>
                <a:gd name="T61" fmla="*/ 108 h 361"/>
                <a:gd name="T62" fmla="*/ 198 w 566"/>
                <a:gd name="T63" fmla="*/ 85 h 361"/>
                <a:gd name="T64" fmla="*/ 174 w 566"/>
                <a:gd name="T65" fmla="*/ 60 h 361"/>
                <a:gd name="T66" fmla="*/ 147 w 566"/>
                <a:gd name="T67" fmla="*/ 71 h 361"/>
                <a:gd name="T68" fmla="*/ 155 w 566"/>
                <a:gd name="T69" fmla="*/ 94 h 361"/>
                <a:gd name="T70" fmla="*/ 171 w 566"/>
                <a:gd name="T71" fmla="*/ 96 h 361"/>
                <a:gd name="T72" fmla="*/ 81 w 566"/>
                <a:gd name="T73" fmla="*/ 41 h 361"/>
                <a:gd name="T74" fmla="*/ 93 w 566"/>
                <a:gd name="T75" fmla="*/ 21 h 361"/>
                <a:gd name="T76" fmla="*/ 88 w 566"/>
                <a:gd name="T77" fmla="*/ 0 h 361"/>
                <a:gd name="T78" fmla="*/ 62 w 566"/>
                <a:gd name="T79" fmla="*/ 5 h 361"/>
                <a:gd name="T80" fmla="*/ 46 w 566"/>
                <a:gd name="T81" fmla="*/ 21 h 361"/>
                <a:gd name="T82" fmla="*/ 81 w 566"/>
                <a:gd name="T83" fmla="*/ 41 h 361"/>
                <a:gd name="T84" fmla="*/ 14 w 566"/>
                <a:gd name="T85" fmla="*/ 38 h 361"/>
                <a:gd name="T86" fmla="*/ 8 w 566"/>
                <a:gd name="T87" fmla="*/ 3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6" h="361">
                  <a:moveTo>
                    <a:pt x="473" y="359"/>
                  </a:moveTo>
                  <a:cubicBezTo>
                    <a:pt x="473" y="358"/>
                    <a:pt x="472" y="358"/>
                    <a:pt x="471" y="358"/>
                  </a:cubicBezTo>
                  <a:cubicBezTo>
                    <a:pt x="470" y="357"/>
                    <a:pt x="467" y="355"/>
                    <a:pt x="466" y="354"/>
                  </a:cubicBezTo>
                  <a:cubicBezTo>
                    <a:pt x="464" y="354"/>
                    <a:pt x="459" y="353"/>
                    <a:pt x="457" y="352"/>
                  </a:cubicBezTo>
                  <a:cubicBezTo>
                    <a:pt x="455" y="350"/>
                    <a:pt x="453" y="346"/>
                    <a:pt x="453" y="343"/>
                  </a:cubicBezTo>
                  <a:cubicBezTo>
                    <a:pt x="452" y="341"/>
                    <a:pt x="453" y="336"/>
                    <a:pt x="454" y="334"/>
                  </a:cubicBezTo>
                  <a:cubicBezTo>
                    <a:pt x="454" y="332"/>
                    <a:pt x="454" y="328"/>
                    <a:pt x="455" y="326"/>
                  </a:cubicBezTo>
                  <a:cubicBezTo>
                    <a:pt x="455" y="323"/>
                    <a:pt x="456" y="318"/>
                    <a:pt x="455" y="316"/>
                  </a:cubicBezTo>
                  <a:cubicBezTo>
                    <a:pt x="455" y="314"/>
                    <a:pt x="452" y="309"/>
                    <a:pt x="452" y="307"/>
                  </a:cubicBezTo>
                  <a:cubicBezTo>
                    <a:pt x="452" y="307"/>
                    <a:pt x="452" y="305"/>
                    <a:pt x="452" y="305"/>
                  </a:cubicBezTo>
                  <a:cubicBezTo>
                    <a:pt x="451" y="302"/>
                    <a:pt x="449" y="297"/>
                    <a:pt x="448" y="295"/>
                  </a:cubicBezTo>
                  <a:cubicBezTo>
                    <a:pt x="448" y="293"/>
                    <a:pt x="446" y="288"/>
                    <a:pt x="445" y="286"/>
                  </a:cubicBezTo>
                  <a:cubicBezTo>
                    <a:pt x="444" y="284"/>
                    <a:pt x="439" y="280"/>
                    <a:pt x="439" y="277"/>
                  </a:cubicBezTo>
                  <a:cubicBezTo>
                    <a:pt x="438" y="275"/>
                    <a:pt x="441" y="270"/>
                    <a:pt x="442" y="269"/>
                  </a:cubicBezTo>
                  <a:cubicBezTo>
                    <a:pt x="444" y="266"/>
                    <a:pt x="449" y="264"/>
                    <a:pt x="451" y="262"/>
                  </a:cubicBezTo>
                  <a:cubicBezTo>
                    <a:pt x="451" y="262"/>
                    <a:pt x="452" y="262"/>
                    <a:pt x="452" y="262"/>
                  </a:cubicBezTo>
                  <a:cubicBezTo>
                    <a:pt x="453" y="260"/>
                    <a:pt x="456" y="255"/>
                    <a:pt x="457" y="253"/>
                  </a:cubicBezTo>
                  <a:cubicBezTo>
                    <a:pt x="459" y="251"/>
                    <a:pt x="463" y="247"/>
                    <a:pt x="463" y="244"/>
                  </a:cubicBezTo>
                  <a:cubicBezTo>
                    <a:pt x="463" y="241"/>
                    <a:pt x="457" y="237"/>
                    <a:pt x="456" y="234"/>
                  </a:cubicBezTo>
                  <a:cubicBezTo>
                    <a:pt x="455" y="232"/>
                    <a:pt x="454" y="228"/>
                    <a:pt x="455" y="226"/>
                  </a:cubicBezTo>
                  <a:cubicBezTo>
                    <a:pt x="455" y="223"/>
                    <a:pt x="457" y="218"/>
                    <a:pt x="460" y="217"/>
                  </a:cubicBezTo>
                  <a:cubicBezTo>
                    <a:pt x="461" y="217"/>
                    <a:pt x="463" y="218"/>
                    <a:pt x="464" y="219"/>
                  </a:cubicBezTo>
                  <a:cubicBezTo>
                    <a:pt x="467" y="220"/>
                    <a:pt x="471" y="224"/>
                    <a:pt x="474" y="226"/>
                  </a:cubicBezTo>
                  <a:cubicBezTo>
                    <a:pt x="476" y="227"/>
                    <a:pt x="480" y="230"/>
                    <a:pt x="483" y="231"/>
                  </a:cubicBezTo>
                  <a:cubicBezTo>
                    <a:pt x="485" y="232"/>
                    <a:pt x="489" y="232"/>
                    <a:pt x="491" y="233"/>
                  </a:cubicBezTo>
                  <a:cubicBezTo>
                    <a:pt x="494" y="233"/>
                    <a:pt x="499" y="235"/>
                    <a:pt x="501" y="236"/>
                  </a:cubicBezTo>
                  <a:cubicBezTo>
                    <a:pt x="505" y="238"/>
                    <a:pt x="514" y="243"/>
                    <a:pt x="518" y="245"/>
                  </a:cubicBezTo>
                  <a:cubicBezTo>
                    <a:pt x="521" y="246"/>
                    <a:pt x="525" y="248"/>
                    <a:pt x="527" y="249"/>
                  </a:cubicBezTo>
                  <a:cubicBezTo>
                    <a:pt x="530" y="251"/>
                    <a:pt x="534" y="256"/>
                    <a:pt x="535" y="258"/>
                  </a:cubicBezTo>
                  <a:cubicBezTo>
                    <a:pt x="536" y="260"/>
                    <a:pt x="538" y="265"/>
                    <a:pt x="539" y="267"/>
                  </a:cubicBezTo>
                  <a:cubicBezTo>
                    <a:pt x="540" y="269"/>
                    <a:pt x="542" y="274"/>
                    <a:pt x="544" y="276"/>
                  </a:cubicBezTo>
                  <a:cubicBezTo>
                    <a:pt x="545" y="277"/>
                    <a:pt x="548" y="279"/>
                    <a:pt x="549" y="281"/>
                  </a:cubicBezTo>
                  <a:cubicBezTo>
                    <a:pt x="551" y="283"/>
                    <a:pt x="553" y="289"/>
                    <a:pt x="555" y="291"/>
                  </a:cubicBezTo>
                  <a:cubicBezTo>
                    <a:pt x="557" y="292"/>
                    <a:pt x="563" y="294"/>
                    <a:pt x="564" y="296"/>
                  </a:cubicBezTo>
                  <a:cubicBezTo>
                    <a:pt x="565" y="298"/>
                    <a:pt x="566" y="303"/>
                    <a:pt x="565" y="305"/>
                  </a:cubicBezTo>
                  <a:cubicBezTo>
                    <a:pt x="564" y="307"/>
                    <a:pt x="558" y="309"/>
                    <a:pt x="556" y="311"/>
                  </a:cubicBezTo>
                  <a:cubicBezTo>
                    <a:pt x="555" y="311"/>
                    <a:pt x="554" y="313"/>
                    <a:pt x="554" y="313"/>
                  </a:cubicBezTo>
                  <a:cubicBezTo>
                    <a:pt x="551" y="315"/>
                    <a:pt x="547" y="320"/>
                    <a:pt x="545" y="321"/>
                  </a:cubicBezTo>
                  <a:cubicBezTo>
                    <a:pt x="543" y="323"/>
                    <a:pt x="538" y="324"/>
                    <a:pt x="535" y="325"/>
                  </a:cubicBezTo>
                  <a:cubicBezTo>
                    <a:pt x="533" y="325"/>
                    <a:pt x="528" y="327"/>
                    <a:pt x="526" y="327"/>
                  </a:cubicBezTo>
                  <a:cubicBezTo>
                    <a:pt x="523" y="327"/>
                    <a:pt x="517" y="326"/>
                    <a:pt x="517" y="326"/>
                  </a:cubicBezTo>
                  <a:cubicBezTo>
                    <a:pt x="507" y="333"/>
                    <a:pt x="507" y="333"/>
                    <a:pt x="507" y="333"/>
                  </a:cubicBezTo>
                  <a:cubicBezTo>
                    <a:pt x="502" y="339"/>
                    <a:pt x="502" y="339"/>
                    <a:pt x="502" y="339"/>
                  </a:cubicBezTo>
                  <a:cubicBezTo>
                    <a:pt x="492" y="344"/>
                    <a:pt x="492" y="344"/>
                    <a:pt x="492" y="344"/>
                  </a:cubicBezTo>
                  <a:cubicBezTo>
                    <a:pt x="489" y="353"/>
                    <a:pt x="489" y="353"/>
                    <a:pt x="489" y="353"/>
                  </a:cubicBezTo>
                  <a:cubicBezTo>
                    <a:pt x="482" y="361"/>
                    <a:pt x="482" y="361"/>
                    <a:pt x="482" y="361"/>
                  </a:cubicBezTo>
                  <a:cubicBezTo>
                    <a:pt x="482" y="361"/>
                    <a:pt x="473" y="361"/>
                    <a:pt x="473" y="359"/>
                  </a:cubicBezTo>
                  <a:close/>
                  <a:moveTo>
                    <a:pt x="398" y="183"/>
                  </a:moveTo>
                  <a:cubicBezTo>
                    <a:pt x="398" y="181"/>
                    <a:pt x="403" y="182"/>
                    <a:pt x="405" y="182"/>
                  </a:cubicBezTo>
                  <a:cubicBezTo>
                    <a:pt x="407" y="181"/>
                    <a:pt x="412" y="178"/>
                    <a:pt x="414" y="177"/>
                  </a:cubicBezTo>
                  <a:cubicBezTo>
                    <a:pt x="416" y="177"/>
                    <a:pt x="421" y="178"/>
                    <a:pt x="423" y="177"/>
                  </a:cubicBezTo>
                  <a:cubicBezTo>
                    <a:pt x="424" y="177"/>
                    <a:pt x="427" y="176"/>
                    <a:pt x="428" y="175"/>
                  </a:cubicBezTo>
                  <a:cubicBezTo>
                    <a:pt x="431" y="173"/>
                    <a:pt x="436" y="169"/>
                    <a:pt x="437" y="166"/>
                  </a:cubicBezTo>
                  <a:cubicBezTo>
                    <a:pt x="437" y="164"/>
                    <a:pt x="434" y="159"/>
                    <a:pt x="433" y="157"/>
                  </a:cubicBezTo>
                  <a:cubicBezTo>
                    <a:pt x="431" y="156"/>
                    <a:pt x="426" y="154"/>
                    <a:pt x="424" y="153"/>
                  </a:cubicBezTo>
                  <a:cubicBezTo>
                    <a:pt x="422" y="152"/>
                    <a:pt x="417" y="149"/>
                    <a:pt x="415" y="147"/>
                  </a:cubicBezTo>
                  <a:cubicBezTo>
                    <a:pt x="415" y="146"/>
                    <a:pt x="414" y="145"/>
                    <a:pt x="413" y="144"/>
                  </a:cubicBezTo>
                  <a:cubicBezTo>
                    <a:pt x="411" y="143"/>
                    <a:pt x="406" y="142"/>
                    <a:pt x="404" y="142"/>
                  </a:cubicBezTo>
                  <a:cubicBezTo>
                    <a:pt x="401" y="143"/>
                    <a:pt x="395" y="146"/>
                    <a:pt x="395" y="146"/>
                  </a:cubicBezTo>
                  <a:cubicBezTo>
                    <a:pt x="395" y="146"/>
                    <a:pt x="388" y="145"/>
                    <a:pt x="386" y="144"/>
                  </a:cubicBezTo>
                  <a:cubicBezTo>
                    <a:pt x="384" y="143"/>
                    <a:pt x="382" y="137"/>
                    <a:pt x="380" y="135"/>
                  </a:cubicBezTo>
                  <a:cubicBezTo>
                    <a:pt x="378" y="134"/>
                    <a:pt x="373" y="133"/>
                    <a:pt x="370" y="134"/>
                  </a:cubicBezTo>
                  <a:cubicBezTo>
                    <a:pt x="369" y="134"/>
                    <a:pt x="367" y="137"/>
                    <a:pt x="367" y="138"/>
                  </a:cubicBezTo>
                  <a:cubicBezTo>
                    <a:pt x="366" y="140"/>
                    <a:pt x="365" y="147"/>
                    <a:pt x="365" y="147"/>
                  </a:cubicBezTo>
                  <a:cubicBezTo>
                    <a:pt x="365" y="147"/>
                    <a:pt x="369" y="154"/>
                    <a:pt x="371" y="156"/>
                  </a:cubicBezTo>
                  <a:cubicBezTo>
                    <a:pt x="375" y="159"/>
                    <a:pt x="389" y="164"/>
                    <a:pt x="389" y="164"/>
                  </a:cubicBezTo>
                  <a:cubicBezTo>
                    <a:pt x="390" y="164"/>
                    <a:pt x="390" y="164"/>
                    <a:pt x="390" y="164"/>
                  </a:cubicBezTo>
                  <a:cubicBezTo>
                    <a:pt x="391" y="174"/>
                    <a:pt x="391" y="174"/>
                    <a:pt x="391" y="174"/>
                  </a:cubicBezTo>
                  <a:cubicBezTo>
                    <a:pt x="391" y="174"/>
                    <a:pt x="398" y="180"/>
                    <a:pt x="398" y="183"/>
                  </a:cubicBezTo>
                  <a:close/>
                  <a:moveTo>
                    <a:pt x="343" y="166"/>
                  </a:moveTo>
                  <a:cubicBezTo>
                    <a:pt x="345" y="165"/>
                    <a:pt x="345" y="165"/>
                    <a:pt x="345" y="165"/>
                  </a:cubicBezTo>
                  <a:cubicBezTo>
                    <a:pt x="354" y="156"/>
                    <a:pt x="354" y="156"/>
                    <a:pt x="354" y="156"/>
                  </a:cubicBezTo>
                  <a:cubicBezTo>
                    <a:pt x="346" y="148"/>
                    <a:pt x="346" y="148"/>
                    <a:pt x="346" y="148"/>
                  </a:cubicBezTo>
                  <a:cubicBezTo>
                    <a:pt x="337" y="145"/>
                    <a:pt x="337" y="145"/>
                    <a:pt x="337" y="145"/>
                  </a:cubicBezTo>
                  <a:cubicBezTo>
                    <a:pt x="327" y="148"/>
                    <a:pt x="327" y="148"/>
                    <a:pt x="327" y="148"/>
                  </a:cubicBezTo>
                  <a:cubicBezTo>
                    <a:pt x="335" y="156"/>
                    <a:pt x="335" y="156"/>
                    <a:pt x="335" y="156"/>
                  </a:cubicBezTo>
                  <a:cubicBezTo>
                    <a:pt x="343" y="166"/>
                    <a:pt x="343" y="166"/>
                    <a:pt x="343" y="166"/>
                  </a:cubicBezTo>
                  <a:close/>
                  <a:moveTo>
                    <a:pt x="348" y="132"/>
                  </a:moveTo>
                  <a:cubicBezTo>
                    <a:pt x="350" y="131"/>
                    <a:pt x="350" y="131"/>
                    <a:pt x="350" y="131"/>
                  </a:cubicBezTo>
                  <a:cubicBezTo>
                    <a:pt x="360" y="127"/>
                    <a:pt x="360" y="127"/>
                    <a:pt x="360" y="127"/>
                  </a:cubicBezTo>
                  <a:cubicBezTo>
                    <a:pt x="359" y="118"/>
                    <a:pt x="359" y="118"/>
                    <a:pt x="359" y="118"/>
                  </a:cubicBezTo>
                  <a:cubicBezTo>
                    <a:pt x="353" y="119"/>
                    <a:pt x="353" y="119"/>
                    <a:pt x="353" y="119"/>
                  </a:cubicBezTo>
                  <a:cubicBezTo>
                    <a:pt x="344" y="119"/>
                    <a:pt x="344" y="119"/>
                    <a:pt x="344" y="119"/>
                  </a:cubicBezTo>
                  <a:cubicBezTo>
                    <a:pt x="335" y="117"/>
                    <a:pt x="335" y="117"/>
                    <a:pt x="335" y="117"/>
                  </a:cubicBezTo>
                  <a:cubicBezTo>
                    <a:pt x="326" y="115"/>
                    <a:pt x="326" y="115"/>
                    <a:pt x="326" y="115"/>
                  </a:cubicBezTo>
                  <a:cubicBezTo>
                    <a:pt x="326" y="115"/>
                    <a:pt x="311" y="111"/>
                    <a:pt x="308" y="113"/>
                  </a:cubicBezTo>
                  <a:cubicBezTo>
                    <a:pt x="307" y="114"/>
                    <a:pt x="308" y="116"/>
                    <a:pt x="308" y="117"/>
                  </a:cubicBezTo>
                  <a:cubicBezTo>
                    <a:pt x="307" y="120"/>
                    <a:pt x="302" y="126"/>
                    <a:pt x="302" y="126"/>
                  </a:cubicBezTo>
                  <a:cubicBezTo>
                    <a:pt x="320" y="126"/>
                    <a:pt x="320" y="126"/>
                    <a:pt x="320" y="126"/>
                  </a:cubicBezTo>
                  <a:cubicBezTo>
                    <a:pt x="329" y="125"/>
                    <a:pt x="329" y="125"/>
                    <a:pt x="329" y="125"/>
                  </a:cubicBezTo>
                  <a:cubicBezTo>
                    <a:pt x="338" y="129"/>
                    <a:pt x="338" y="129"/>
                    <a:pt x="338" y="129"/>
                  </a:cubicBezTo>
                  <a:cubicBezTo>
                    <a:pt x="348" y="132"/>
                    <a:pt x="348" y="132"/>
                    <a:pt x="348" y="132"/>
                  </a:cubicBezTo>
                  <a:close/>
                  <a:moveTo>
                    <a:pt x="189" y="108"/>
                  </a:moveTo>
                  <a:cubicBezTo>
                    <a:pt x="206" y="103"/>
                    <a:pt x="206" y="103"/>
                    <a:pt x="206" y="103"/>
                  </a:cubicBezTo>
                  <a:cubicBezTo>
                    <a:pt x="200" y="94"/>
                    <a:pt x="200" y="94"/>
                    <a:pt x="200" y="94"/>
                  </a:cubicBezTo>
                  <a:cubicBezTo>
                    <a:pt x="198" y="85"/>
                    <a:pt x="198" y="85"/>
                    <a:pt x="198" y="85"/>
                  </a:cubicBezTo>
                  <a:cubicBezTo>
                    <a:pt x="189" y="86"/>
                    <a:pt x="189" y="86"/>
                    <a:pt x="189" y="86"/>
                  </a:cubicBezTo>
                  <a:cubicBezTo>
                    <a:pt x="186" y="78"/>
                    <a:pt x="186" y="78"/>
                    <a:pt x="186" y="78"/>
                  </a:cubicBezTo>
                  <a:cubicBezTo>
                    <a:pt x="186" y="78"/>
                    <a:pt x="179" y="62"/>
                    <a:pt x="174" y="60"/>
                  </a:cubicBezTo>
                  <a:cubicBezTo>
                    <a:pt x="171" y="59"/>
                    <a:pt x="166" y="62"/>
                    <a:pt x="164" y="64"/>
                  </a:cubicBezTo>
                  <a:cubicBezTo>
                    <a:pt x="162" y="65"/>
                    <a:pt x="158" y="70"/>
                    <a:pt x="155" y="71"/>
                  </a:cubicBezTo>
                  <a:cubicBezTo>
                    <a:pt x="153" y="72"/>
                    <a:pt x="148" y="70"/>
                    <a:pt x="147" y="71"/>
                  </a:cubicBezTo>
                  <a:cubicBezTo>
                    <a:pt x="146" y="72"/>
                    <a:pt x="145" y="75"/>
                    <a:pt x="145" y="76"/>
                  </a:cubicBezTo>
                  <a:cubicBezTo>
                    <a:pt x="144" y="78"/>
                    <a:pt x="147" y="85"/>
                    <a:pt x="147" y="85"/>
                  </a:cubicBezTo>
                  <a:cubicBezTo>
                    <a:pt x="155" y="94"/>
                    <a:pt x="155" y="94"/>
                    <a:pt x="155" y="94"/>
                  </a:cubicBezTo>
                  <a:cubicBezTo>
                    <a:pt x="163" y="103"/>
                    <a:pt x="163" y="103"/>
                    <a:pt x="163" y="103"/>
                  </a:cubicBezTo>
                  <a:cubicBezTo>
                    <a:pt x="172" y="102"/>
                    <a:pt x="172" y="102"/>
                    <a:pt x="172" y="102"/>
                  </a:cubicBezTo>
                  <a:cubicBezTo>
                    <a:pt x="171" y="96"/>
                    <a:pt x="171" y="96"/>
                    <a:pt x="171" y="96"/>
                  </a:cubicBezTo>
                  <a:cubicBezTo>
                    <a:pt x="180" y="99"/>
                    <a:pt x="180" y="99"/>
                    <a:pt x="180" y="99"/>
                  </a:cubicBezTo>
                  <a:cubicBezTo>
                    <a:pt x="189" y="108"/>
                    <a:pt x="189" y="108"/>
                    <a:pt x="189" y="108"/>
                  </a:cubicBezTo>
                  <a:close/>
                  <a:moveTo>
                    <a:pt x="81" y="41"/>
                  </a:moveTo>
                  <a:cubicBezTo>
                    <a:pt x="81" y="40"/>
                    <a:pt x="82" y="39"/>
                    <a:pt x="82" y="39"/>
                  </a:cubicBezTo>
                  <a:cubicBezTo>
                    <a:pt x="84" y="37"/>
                    <a:pt x="90" y="34"/>
                    <a:pt x="92" y="31"/>
                  </a:cubicBezTo>
                  <a:cubicBezTo>
                    <a:pt x="93" y="29"/>
                    <a:pt x="93" y="24"/>
                    <a:pt x="93" y="21"/>
                  </a:cubicBezTo>
                  <a:cubicBezTo>
                    <a:pt x="94" y="19"/>
                    <a:pt x="96" y="15"/>
                    <a:pt x="97" y="13"/>
                  </a:cubicBezTo>
                  <a:cubicBezTo>
                    <a:pt x="97" y="12"/>
                    <a:pt x="97" y="11"/>
                    <a:pt x="97" y="10"/>
                  </a:cubicBezTo>
                  <a:cubicBezTo>
                    <a:pt x="96" y="7"/>
                    <a:pt x="91" y="2"/>
                    <a:pt x="88" y="0"/>
                  </a:cubicBezTo>
                  <a:cubicBezTo>
                    <a:pt x="86" y="0"/>
                    <a:pt x="82" y="1"/>
                    <a:pt x="79" y="0"/>
                  </a:cubicBezTo>
                  <a:cubicBezTo>
                    <a:pt x="77" y="0"/>
                    <a:pt x="71" y="0"/>
                    <a:pt x="71" y="0"/>
                  </a:cubicBezTo>
                  <a:cubicBezTo>
                    <a:pt x="71" y="0"/>
                    <a:pt x="64" y="4"/>
                    <a:pt x="62" y="5"/>
                  </a:cubicBezTo>
                  <a:cubicBezTo>
                    <a:pt x="59" y="6"/>
                    <a:pt x="54" y="8"/>
                    <a:pt x="52" y="10"/>
                  </a:cubicBezTo>
                  <a:cubicBezTo>
                    <a:pt x="52" y="10"/>
                    <a:pt x="52" y="11"/>
                    <a:pt x="51" y="12"/>
                  </a:cubicBezTo>
                  <a:cubicBezTo>
                    <a:pt x="50" y="14"/>
                    <a:pt x="46" y="18"/>
                    <a:pt x="46" y="21"/>
                  </a:cubicBezTo>
                  <a:cubicBezTo>
                    <a:pt x="46" y="24"/>
                    <a:pt x="52" y="28"/>
                    <a:pt x="54" y="29"/>
                  </a:cubicBezTo>
                  <a:cubicBezTo>
                    <a:pt x="58" y="32"/>
                    <a:pt x="67" y="36"/>
                    <a:pt x="72" y="38"/>
                  </a:cubicBezTo>
                  <a:cubicBezTo>
                    <a:pt x="74" y="39"/>
                    <a:pt x="81" y="38"/>
                    <a:pt x="81" y="41"/>
                  </a:cubicBezTo>
                  <a:close/>
                  <a:moveTo>
                    <a:pt x="4" y="50"/>
                  </a:moveTo>
                  <a:cubicBezTo>
                    <a:pt x="5" y="47"/>
                    <a:pt x="5" y="47"/>
                    <a:pt x="5" y="47"/>
                  </a:cubicBezTo>
                  <a:cubicBezTo>
                    <a:pt x="14" y="38"/>
                    <a:pt x="14" y="38"/>
                    <a:pt x="14" y="38"/>
                  </a:cubicBezTo>
                  <a:cubicBezTo>
                    <a:pt x="16" y="34"/>
                    <a:pt x="16" y="34"/>
                    <a:pt x="16" y="34"/>
                  </a:cubicBezTo>
                  <a:cubicBezTo>
                    <a:pt x="17" y="25"/>
                    <a:pt x="17" y="25"/>
                    <a:pt x="17" y="25"/>
                  </a:cubicBezTo>
                  <a:cubicBezTo>
                    <a:pt x="8" y="32"/>
                    <a:pt x="8" y="32"/>
                    <a:pt x="8" y="32"/>
                  </a:cubicBezTo>
                  <a:cubicBezTo>
                    <a:pt x="0" y="41"/>
                    <a:pt x="0" y="41"/>
                    <a:pt x="0" y="41"/>
                  </a:cubicBezTo>
                  <a:cubicBezTo>
                    <a:pt x="4" y="50"/>
                    <a:pt x="4" y="50"/>
                    <a:pt x="4" y="50"/>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6">
              <a:extLst>
                <a:ext uri="{FF2B5EF4-FFF2-40B4-BE49-F238E27FC236}">
                  <a16:creationId xmlns:a16="http://schemas.microsoft.com/office/drawing/2014/main" id="{4B1A2BC6-D52F-4874-B630-FC06A24048EA}"/>
                </a:ext>
              </a:extLst>
            </p:cNvPr>
            <p:cNvSpPr>
              <a:spLocks/>
            </p:cNvSpPr>
            <p:nvPr/>
          </p:nvSpPr>
          <p:spPr bwMode="auto">
            <a:xfrm>
              <a:off x="8329503" y="2022164"/>
              <a:ext cx="379022" cy="598350"/>
            </a:xfrm>
            <a:custGeom>
              <a:avLst/>
              <a:gdLst>
                <a:gd name="T0" fmla="*/ 57 w 341"/>
                <a:gd name="T1" fmla="*/ 466 h 538"/>
                <a:gd name="T2" fmla="*/ 68 w 341"/>
                <a:gd name="T3" fmla="*/ 503 h 538"/>
                <a:gd name="T4" fmla="*/ 87 w 341"/>
                <a:gd name="T5" fmla="*/ 521 h 538"/>
                <a:gd name="T6" fmla="*/ 98 w 341"/>
                <a:gd name="T7" fmla="*/ 537 h 538"/>
                <a:gd name="T8" fmla="*/ 106 w 341"/>
                <a:gd name="T9" fmla="*/ 514 h 538"/>
                <a:gd name="T10" fmla="*/ 119 w 341"/>
                <a:gd name="T11" fmla="*/ 486 h 538"/>
                <a:gd name="T12" fmla="*/ 112 w 341"/>
                <a:gd name="T13" fmla="*/ 462 h 538"/>
                <a:gd name="T14" fmla="*/ 125 w 341"/>
                <a:gd name="T15" fmla="*/ 431 h 538"/>
                <a:gd name="T16" fmla="*/ 131 w 341"/>
                <a:gd name="T17" fmla="*/ 437 h 538"/>
                <a:gd name="T18" fmla="*/ 140 w 341"/>
                <a:gd name="T19" fmla="*/ 448 h 538"/>
                <a:gd name="T20" fmla="*/ 138 w 341"/>
                <a:gd name="T21" fmla="*/ 417 h 538"/>
                <a:gd name="T22" fmla="*/ 148 w 341"/>
                <a:gd name="T23" fmla="*/ 410 h 538"/>
                <a:gd name="T24" fmla="*/ 153 w 341"/>
                <a:gd name="T25" fmla="*/ 420 h 538"/>
                <a:gd name="T26" fmla="*/ 162 w 341"/>
                <a:gd name="T27" fmla="*/ 415 h 538"/>
                <a:gd name="T28" fmla="*/ 167 w 341"/>
                <a:gd name="T29" fmla="*/ 412 h 538"/>
                <a:gd name="T30" fmla="*/ 173 w 341"/>
                <a:gd name="T31" fmla="*/ 410 h 538"/>
                <a:gd name="T32" fmla="*/ 180 w 341"/>
                <a:gd name="T33" fmla="*/ 416 h 538"/>
                <a:gd name="T34" fmla="*/ 190 w 341"/>
                <a:gd name="T35" fmla="*/ 401 h 538"/>
                <a:gd name="T36" fmla="*/ 202 w 341"/>
                <a:gd name="T37" fmla="*/ 387 h 538"/>
                <a:gd name="T38" fmla="*/ 199 w 341"/>
                <a:gd name="T39" fmla="*/ 364 h 538"/>
                <a:gd name="T40" fmla="*/ 191 w 341"/>
                <a:gd name="T41" fmla="*/ 342 h 538"/>
                <a:gd name="T42" fmla="*/ 212 w 341"/>
                <a:gd name="T43" fmla="*/ 330 h 538"/>
                <a:gd name="T44" fmla="*/ 217 w 341"/>
                <a:gd name="T45" fmla="*/ 344 h 538"/>
                <a:gd name="T46" fmla="*/ 239 w 341"/>
                <a:gd name="T47" fmla="*/ 353 h 538"/>
                <a:gd name="T48" fmla="*/ 236 w 341"/>
                <a:gd name="T49" fmla="*/ 330 h 538"/>
                <a:gd name="T50" fmla="*/ 249 w 341"/>
                <a:gd name="T51" fmla="*/ 324 h 538"/>
                <a:gd name="T52" fmla="*/ 272 w 341"/>
                <a:gd name="T53" fmla="*/ 330 h 538"/>
                <a:gd name="T54" fmla="*/ 276 w 341"/>
                <a:gd name="T55" fmla="*/ 312 h 538"/>
                <a:gd name="T56" fmla="*/ 285 w 341"/>
                <a:gd name="T57" fmla="*/ 311 h 538"/>
                <a:gd name="T58" fmla="*/ 292 w 341"/>
                <a:gd name="T59" fmla="*/ 303 h 538"/>
                <a:gd name="T60" fmla="*/ 304 w 341"/>
                <a:gd name="T61" fmla="*/ 296 h 538"/>
                <a:gd name="T62" fmla="*/ 311 w 341"/>
                <a:gd name="T63" fmla="*/ 286 h 538"/>
                <a:gd name="T64" fmla="*/ 325 w 341"/>
                <a:gd name="T65" fmla="*/ 276 h 538"/>
                <a:gd name="T66" fmla="*/ 341 w 341"/>
                <a:gd name="T67" fmla="*/ 249 h 538"/>
                <a:gd name="T68" fmla="*/ 322 w 341"/>
                <a:gd name="T69" fmla="*/ 246 h 538"/>
                <a:gd name="T70" fmla="*/ 317 w 341"/>
                <a:gd name="T71" fmla="*/ 219 h 538"/>
                <a:gd name="T72" fmla="*/ 305 w 341"/>
                <a:gd name="T73" fmla="*/ 216 h 538"/>
                <a:gd name="T74" fmla="*/ 287 w 341"/>
                <a:gd name="T75" fmla="*/ 208 h 538"/>
                <a:gd name="T76" fmla="*/ 280 w 341"/>
                <a:gd name="T77" fmla="*/ 186 h 538"/>
                <a:gd name="T78" fmla="*/ 269 w 341"/>
                <a:gd name="T79" fmla="*/ 177 h 538"/>
                <a:gd name="T80" fmla="*/ 246 w 341"/>
                <a:gd name="T81" fmla="*/ 173 h 538"/>
                <a:gd name="T82" fmla="*/ 241 w 341"/>
                <a:gd name="T83" fmla="*/ 152 h 538"/>
                <a:gd name="T84" fmla="*/ 199 w 341"/>
                <a:gd name="T85" fmla="*/ 21 h 538"/>
                <a:gd name="T86" fmla="*/ 162 w 341"/>
                <a:gd name="T87" fmla="*/ 2 h 538"/>
                <a:gd name="T88" fmla="*/ 140 w 341"/>
                <a:gd name="T89" fmla="*/ 12 h 538"/>
                <a:gd name="T90" fmla="*/ 119 w 341"/>
                <a:gd name="T91" fmla="*/ 26 h 538"/>
                <a:gd name="T92" fmla="*/ 94 w 341"/>
                <a:gd name="T93" fmla="*/ 25 h 538"/>
                <a:gd name="T94" fmla="*/ 75 w 341"/>
                <a:gd name="T95" fmla="*/ 10 h 538"/>
                <a:gd name="T96" fmla="*/ 39 w 341"/>
                <a:gd name="T97" fmla="*/ 154 h 538"/>
                <a:gd name="T98" fmla="*/ 40 w 341"/>
                <a:gd name="T99" fmla="*/ 199 h 538"/>
                <a:gd name="T100" fmla="*/ 42 w 341"/>
                <a:gd name="T101" fmla="*/ 228 h 538"/>
                <a:gd name="T102" fmla="*/ 24 w 341"/>
                <a:gd name="T103" fmla="*/ 258 h 538"/>
                <a:gd name="T104" fmla="*/ 23 w 341"/>
                <a:gd name="T105" fmla="*/ 272 h 538"/>
                <a:gd name="T106" fmla="*/ 21 w 341"/>
                <a:gd name="T107" fmla="*/ 287 h 538"/>
                <a:gd name="T108" fmla="*/ 0 w 341"/>
                <a:gd name="T109" fmla="*/ 294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1" h="538">
                  <a:moveTo>
                    <a:pt x="0" y="294"/>
                  </a:moveTo>
                  <a:cubicBezTo>
                    <a:pt x="2" y="297"/>
                    <a:pt x="2" y="297"/>
                    <a:pt x="2" y="297"/>
                  </a:cubicBezTo>
                  <a:cubicBezTo>
                    <a:pt x="57" y="466"/>
                    <a:pt x="57" y="466"/>
                    <a:pt x="57" y="466"/>
                  </a:cubicBezTo>
                  <a:cubicBezTo>
                    <a:pt x="66" y="488"/>
                    <a:pt x="66" y="488"/>
                    <a:pt x="66" y="488"/>
                  </a:cubicBezTo>
                  <a:cubicBezTo>
                    <a:pt x="66" y="488"/>
                    <a:pt x="66" y="494"/>
                    <a:pt x="66" y="496"/>
                  </a:cubicBezTo>
                  <a:cubicBezTo>
                    <a:pt x="66" y="498"/>
                    <a:pt x="68" y="502"/>
                    <a:pt x="68" y="503"/>
                  </a:cubicBezTo>
                  <a:cubicBezTo>
                    <a:pt x="69" y="505"/>
                    <a:pt x="71" y="509"/>
                    <a:pt x="72" y="511"/>
                  </a:cubicBezTo>
                  <a:cubicBezTo>
                    <a:pt x="73" y="513"/>
                    <a:pt x="77" y="516"/>
                    <a:pt x="79" y="517"/>
                  </a:cubicBezTo>
                  <a:cubicBezTo>
                    <a:pt x="81" y="518"/>
                    <a:pt x="86" y="519"/>
                    <a:pt x="87" y="521"/>
                  </a:cubicBezTo>
                  <a:cubicBezTo>
                    <a:pt x="88" y="522"/>
                    <a:pt x="87" y="526"/>
                    <a:pt x="88" y="528"/>
                  </a:cubicBezTo>
                  <a:cubicBezTo>
                    <a:pt x="89" y="531"/>
                    <a:pt x="93" y="535"/>
                    <a:pt x="95" y="536"/>
                  </a:cubicBezTo>
                  <a:cubicBezTo>
                    <a:pt x="96" y="536"/>
                    <a:pt x="98" y="538"/>
                    <a:pt x="98" y="537"/>
                  </a:cubicBezTo>
                  <a:cubicBezTo>
                    <a:pt x="101" y="537"/>
                    <a:pt x="105" y="530"/>
                    <a:pt x="105" y="530"/>
                  </a:cubicBezTo>
                  <a:cubicBezTo>
                    <a:pt x="105" y="530"/>
                    <a:pt x="108" y="524"/>
                    <a:pt x="108" y="522"/>
                  </a:cubicBezTo>
                  <a:cubicBezTo>
                    <a:pt x="108" y="520"/>
                    <a:pt x="106" y="514"/>
                    <a:pt x="106" y="514"/>
                  </a:cubicBezTo>
                  <a:cubicBezTo>
                    <a:pt x="106" y="514"/>
                    <a:pt x="105" y="509"/>
                    <a:pt x="106" y="507"/>
                  </a:cubicBezTo>
                  <a:cubicBezTo>
                    <a:pt x="107" y="505"/>
                    <a:pt x="112" y="502"/>
                    <a:pt x="113" y="500"/>
                  </a:cubicBezTo>
                  <a:cubicBezTo>
                    <a:pt x="115" y="497"/>
                    <a:pt x="119" y="490"/>
                    <a:pt x="119" y="486"/>
                  </a:cubicBezTo>
                  <a:cubicBezTo>
                    <a:pt x="119" y="484"/>
                    <a:pt x="115" y="481"/>
                    <a:pt x="115" y="479"/>
                  </a:cubicBezTo>
                  <a:cubicBezTo>
                    <a:pt x="115" y="474"/>
                    <a:pt x="126" y="468"/>
                    <a:pt x="125" y="464"/>
                  </a:cubicBezTo>
                  <a:cubicBezTo>
                    <a:pt x="125" y="462"/>
                    <a:pt x="113" y="463"/>
                    <a:pt x="112" y="462"/>
                  </a:cubicBezTo>
                  <a:cubicBezTo>
                    <a:pt x="111" y="460"/>
                    <a:pt x="111" y="456"/>
                    <a:pt x="111" y="454"/>
                  </a:cubicBezTo>
                  <a:cubicBezTo>
                    <a:pt x="112" y="452"/>
                    <a:pt x="114" y="447"/>
                    <a:pt x="114" y="447"/>
                  </a:cubicBezTo>
                  <a:cubicBezTo>
                    <a:pt x="114" y="447"/>
                    <a:pt x="120" y="430"/>
                    <a:pt x="125" y="431"/>
                  </a:cubicBezTo>
                  <a:cubicBezTo>
                    <a:pt x="129" y="431"/>
                    <a:pt x="122" y="445"/>
                    <a:pt x="126" y="444"/>
                  </a:cubicBezTo>
                  <a:cubicBezTo>
                    <a:pt x="127" y="444"/>
                    <a:pt x="127" y="444"/>
                    <a:pt x="127" y="444"/>
                  </a:cubicBezTo>
                  <a:cubicBezTo>
                    <a:pt x="129" y="445"/>
                    <a:pt x="130" y="439"/>
                    <a:pt x="131" y="437"/>
                  </a:cubicBezTo>
                  <a:cubicBezTo>
                    <a:pt x="131" y="435"/>
                    <a:pt x="131" y="430"/>
                    <a:pt x="133" y="429"/>
                  </a:cubicBezTo>
                  <a:cubicBezTo>
                    <a:pt x="133" y="429"/>
                    <a:pt x="135" y="430"/>
                    <a:pt x="135" y="430"/>
                  </a:cubicBezTo>
                  <a:cubicBezTo>
                    <a:pt x="138" y="433"/>
                    <a:pt x="136" y="448"/>
                    <a:pt x="140" y="448"/>
                  </a:cubicBezTo>
                  <a:cubicBezTo>
                    <a:pt x="142" y="448"/>
                    <a:pt x="142" y="442"/>
                    <a:pt x="142" y="440"/>
                  </a:cubicBezTo>
                  <a:cubicBezTo>
                    <a:pt x="142" y="434"/>
                    <a:pt x="146" y="418"/>
                    <a:pt x="140" y="417"/>
                  </a:cubicBezTo>
                  <a:cubicBezTo>
                    <a:pt x="139" y="417"/>
                    <a:pt x="139" y="417"/>
                    <a:pt x="138" y="417"/>
                  </a:cubicBezTo>
                  <a:cubicBezTo>
                    <a:pt x="136" y="416"/>
                    <a:pt x="141" y="411"/>
                    <a:pt x="142" y="410"/>
                  </a:cubicBezTo>
                  <a:cubicBezTo>
                    <a:pt x="142" y="408"/>
                    <a:pt x="143" y="402"/>
                    <a:pt x="145" y="402"/>
                  </a:cubicBezTo>
                  <a:cubicBezTo>
                    <a:pt x="147" y="403"/>
                    <a:pt x="147" y="408"/>
                    <a:pt x="148" y="410"/>
                  </a:cubicBezTo>
                  <a:cubicBezTo>
                    <a:pt x="149" y="417"/>
                    <a:pt x="149" y="435"/>
                    <a:pt x="155" y="435"/>
                  </a:cubicBezTo>
                  <a:cubicBezTo>
                    <a:pt x="157" y="435"/>
                    <a:pt x="159" y="430"/>
                    <a:pt x="158" y="428"/>
                  </a:cubicBezTo>
                  <a:cubicBezTo>
                    <a:pt x="158" y="425"/>
                    <a:pt x="153" y="422"/>
                    <a:pt x="153" y="420"/>
                  </a:cubicBezTo>
                  <a:cubicBezTo>
                    <a:pt x="152" y="417"/>
                    <a:pt x="156" y="412"/>
                    <a:pt x="158" y="410"/>
                  </a:cubicBezTo>
                  <a:cubicBezTo>
                    <a:pt x="158" y="409"/>
                    <a:pt x="157" y="408"/>
                    <a:pt x="158" y="408"/>
                  </a:cubicBezTo>
                  <a:cubicBezTo>
                    <a:pt x="160" y="409"/>
                    <a:pt x="162" y="413"/>
                    <a:pt x="162" y="415"/>
                  </a:cubicBezTo>
                  <a:cubicBezTo>
                    <a:pt x="162" y="417"/>
                    <a:pt x="161" y="421"/>
                    <a:pt x="162" y="423"/>
                  </a:cubicBezTo>
                  <a:cubicBezTo>
                    <a:pt x="163" y="425"/>
                    <a:pt x="169" y="428"/>
                    <a:pt x="171" y="426"/>
                  </a:cubicBezTo>
                  <a:cubicBezTo>
                    <a:pt x="174" y="424"/>
                    <a:pt x="167" y="416"/>
                    <a:pt x="167" y="412"/>
                  </a:cubicBezTo>
                  <a:cubicBezTo>
                    <a:pt x="167" y="410"/>
                    <a:pt x="164" y="406"/>
                    <a:pt x="165" y="404"/>
                  </a:cubicBezTo>
                  <a:cubicBezTo>
                    <a:pt x="165" y="403"/>
                    <a:pt x="166" y="402"/>
                    <a:pt x="166" y="402"/>
                  </a:cubicBezTo>
                  <a:cubicBezTo>
                    <a:pt x="168" y="403"/>
                    <a:pt x="172" y="408"/>
                    <a:pt x="173" y="410"/>
                  </a:cubicBezTo>
                  <a:cubicBezTo>
                    <a:pt x="173" y="412"/>
                    <a:pt x="174" y="416"/>
                    <a:pt x="175" y="418"/>
                  </a:cubicBezTo>
                  <a:cubicBezTo>
                    <a:pt x="176" y="419"/>
                    <a:pt x="179" y="422"/>
                    <a:pt x="181" y="422"/>
                  </a:cubicBezTo>
                  <a:cubicBezTo>
                    <a:pt x="183" y="422"/>
                    <a:pt x="179" y="418"/>
                    <a:pt x="180" y="416"/>
                  </a:cubicBezTo>
                  <a:cubicBezTo>
                    <a:pt x="181" y="414"/>
                    <a:pt x="179" y="408"/>
                    <a:pt x="179" y="408"/>
                  </a:cubicBezTo>
                  <a:cubicBezTo>
                    <a:pt x="179" y="408"/>
                    <a:pt x="180" y="402"/>
                    <a:pt x="182" y="401"/>
                  </a:cubicBezTo>
                  <a:cubicBezTo>
                    <a:pt x="184" y="400"/>
                    <a:pt x="188" y="401"/>
                    <a:pt x="190" y="401"/>
                  </a:cubicBezTo>
                  <a:cubicBezTo>
                    <a:pt x="192" y="402"/>
                    <a:pt x="196" y="405"/>
                    <a:pt x="198" y="404"/>
                  </a:cubicBezTo>
                  <a:cubicBezTo>
                    <a:pt x="200" y="403"/>
                    <a:pt x="195" y="398"/>
                    <a:pt x="196" y="396"/>
                  </a:cubicBezTo>
                  <a:cubicBezTo>
                    <a:pt x="197" y="394"/>
                    <a:pt x="201" y="390"/>
                    <a:pt x="202" y="387"/>
                  </a:cubicBezTo>
                  <a:cubicBezTo>
                    <a:pt x="202" y="385"/>
                    <a:pt x="198" y="380"/>
                    <a:pt x="198" y="380"/>
                  </a:cubicBezTo>
                  <a:cubicBezTo>
                    <a:pt x="198" y="380"/>
                    <a:pt x="199" y="374"/>
                    <a:pt x="199" y="372"/>
                  </a:cubicBezTo>
                  <a:cubicBezTo>
                    <a:pt x="200" y="370"/>
                    <a:pt x="199" y="366"/>
                    <a:pt x="199" y="364"/>
                  </a:cubicBezTo>
                  <a:cubicBezTo>
                    <a:pt x="199" y="362"/>
                    <a:pt x="201" y="359"/>
                    <a:pt x="201" y="357"/>
                  </a:cubicBezTo>
                  <a:cubicBezTo>
                    <a:pt x="201" y="355"/>
                    <a:pt x="202" y="351"/>
                    <a:pt x="202" y="349"/>
                  </a:cubicBezTo>
                  <a:cubicBezTo>
                    <a:pt x="201" y="347"/>
                    <a:pt x="191" y="344"/>
                    <a:pt x="191" y="342"/>
                  </a:cubicBezTo>
                  <a:cubicBezTo>
                    <a:pt x="192" y="339"/>
                    <a:pt x="201" y="338"/>
                    <a:pt x="202" y="335"/>
                  </a:cubicBezTo>
                  <a:cubicBezTo>
                    <a:pt x="204" y="333"/>
                    <a:pt x="197" y="324"/>
                    <a:pt x="200" y="323"/>
                  </a:cubicBezTo>
                  <a:cubicBezTo>
                    <a:pt x="202" y="322"/>
                    <a:pt x="211" y="328"/>
                    <a:pt x="212" y="330"/>
                  </a:cubicBezTo>
                  <a:cubicBezTo>
                    <a:pt x="212" y="332"/>
                    <a:pt x="209" y="336"/>
                    <a:pt x="210" y="338"/>
                  </a:cubicBezTo>
                  <a:cubicBezTo>
                    <a:pt x="212" y="339"/>
                    <a:pt x="216" y="335"/>
                    <a:pt x="218" y="336"/>
                  </a:cubicBezTo>
                  <a:cubicBezTo>
                    <a:pt x="219" y="337"/>
                    <a:pt x="217" y="342"/>
                    <a:pt x="217" y="344"/>
                  </a:cubicBezTo>
                  <a:cubicBezTo>
                    <a:pt x="216" y="346"/>
                    <a:pt x="212" y="348"/>
                    <a:pt x="213" y="349"/>
                  </a:cubicBezTo>
                  <a:cubicBezTo>
                    <a:pt x="215" y="353"/>
                    <a:pt x="225" y="348"/>
                    <a:pt x="228" y="349"/>
                  </a:cubicBezTo>
                  <a:cubicBezTo>
                    <a:pt x="231" y="350"/>
                    <a:pt x="237" y="356"/>
                    <a:pt x="239" y="353"/>
                  </a:cubicBezTo>
                  <a:cubicBezTo>
                    <a:pt x="241" y="352"/>
                    <a:pt x="236" y="348"/>
                    <a:pt x="235" y="346"/>
                  </a:cubicBezTo>
                  <a:cubicBezTo>
                    <a:pt x="234" y="344"/>
                    <a:pt x="233" y="338"/>
                    <a:pt x="233" y="338"/>
                  </a:cubicBezTo>
                  <a:cubicBezTo>
                    <a:pt x="233" y="338"/>
                    <a:pt x="235" y="332"/>
                    <a:pt x="236" y="330"/>
                  </a:cubicBezTo>
                  <a:cubicBezTo>
                    <a:pt x="236" y="329"/>
                    <a:pt x="233" y="324"/>
                    <a:pt x="235" y="323"/>
                  </a:cubicBezTo>
                  <a:cubicBezTo>
                    <a:pt x="237" y="322"/>
                    <a:pt x="239" y="330"/>
                    <a:pt x="241" y="330"/>
                  </a:cubicBezTo>
                  <a:cubicBezTo>
                    <a:pt x="244" y="331"/>
                    <a:pt x="248" y="326"/>
                    <a:pt x="249" y="324"/>
                  </a:cubicBezTo>
                  <a:cubicBezTo>
                    <a:pt x="249" y="322"/>
                    <a:pt x="246" y="318"/>
                    <a:pt x="247" y="317"/>
                  </a:cubicBezTo>
                  <a:cubicBezTo>
                    <a:pt x="251" y="313"/>
                    <a:pt x="267" y="322"/>
                    <a:pt x="267" y="322"/>
                  </a:cubicBezTo>
                  <a:cubicBezTo>
                    <a:pt x="267" y="322"/>
                    <a:pt x="269" y="330"/>
                    <a:pt x="272" y="330"/>
                  </a:cubicBezTo>
                  <a:cubicBezTo>
                    <a:pt x="274" y="329"/>
                    <a:pt x="274" y="324"/>
                    <a:pt x="274" y="322"/>
                  </a:cubicBezTo>
                  <a:cubicBezTo>
                    <a:pt x="274" y="321"/>
                    <a:pt x="271" y="317"/>
                    <a:pt x="272" y="315"/>
                  </a:cubicBezTo>
                  <a:cubicBezTo>
                    <a:pt x="272" y="314"/>
                    <a:pt x="275" y="311"/>
                    <a:pt x="276" y="312"/>
                  </a:cubicBezTo>
                  <a:cubicBezTo>
                    <a:pt x="278" y="312"/>
                    <a:pt x="279" y="319"/>
                    <a:pt x="281" y="319"/>
                  </a:cubicBezTo>
                  <a:cubicBezTo>
                    <a:pt x="281" y="319"/>
                    <a:pt x="283" y="319"/>
                    <a:pt x="284" y="319"/>
                  </a:cubicBezTo>
                  <a:cubicBezTo>
                    <a:pt x="285" y="318"/>
                    <a:pt x="285" y="313"/>
                    <a:pt x="285" y="311"/>
                  </a:cubicBezTo>
                  <a:cubicBezTo>
                    <a:pt x="285" y="309"/>
                    <a:pt x="281" y="306"/>
                    <a:pt x="281" y="304"/>
                  </a:cubicBezTo>
                  <a:cubicBezTo>
                    <a:pt x="280" y="301"/>
                    <a:pt x="283" y="295"/>
                    <a:pt x="285" y="295"/>
                  </a:cubicBezTo>
                  <a:cubicBezTo>
                    <a:pt x="288" y="295"/>
                    <a:pt x="290" y="302"/>
                    <a:pt x="292" y="303"/>
                  </a:cubicBezTo>
                  <a:cubicBezTo>
                    <a:pt x="293" y="303"/>
                    <a:pt x="295" y="304"/>
                    <a:pt x="295" y="304"/>
                  </a:cubicBezTo>
                  <a:cubicBezTo>
                    <a:pt x="297" y="303"/>
                    <a:pt x="295" y="298"/>
                    <a:pt x="297" y="296"/>
                  </a:cubicBezTo>
                  <a:cubicBezTo>
                    <a:pt x="298" y="295"/>
                    <a:pt x="303" y="298"/>
                    <a:pt x="304" y="296"/>
                  </a:cubicBezTo>
                  <a:cubicBezTo>
                    <a:pt x="305" y="295"/>
                    <a:pt x="303" y="291"/>
                    <a:pt x="304" y="289"/>
                  </a:cubicBezTo>
                  <a:cubicBezTo>
                    <a:pt x="305" y="288"/>
                    <a:pt x="309" y="286"/>
                    <a:pt x="311" y="286"/>
                  </a:cubicBezTo>
                  <a:cubicBezTo>
                    <a:pt x="311" y="286"/>
                    <a:pt x="311" y="286"/>
                    <a:pt x="311" y="286"/>
                  </a:cubicBezTo>
                  <a:cubicBezTo>
                    <a:pt x="312" y="285"/>
                    <a:pt x="310" y="281"/>
                    <a:pt x="311" y="281"/>
                  </a:cubicBezTo>
                  <a:cubicBezTo>
                    <a:pt x="313" y="279"/>
                    <a:pt x="317" y="283"/>
                    <a:pt x="318" y="282"/>
                  </a:cubicBezTo>
                  <a:cubicBezTo>
                    <a:pt x="318" y="282"/>
                    <a:pt x="322" y="277"/>
                    <a:pt x="325" y="276"/>
                  </a:cubicBezTo>
                  <a:cubicBezTo>
                    <a:pt x="327" y="275"/>
                    <a:pt x="331" y="272"/>
                    <a:pt x="332" y="271"/>
                  </a:cubicBezTo>
                  <a:cubicBezTo>
                    <a:pt x="335" y="267"/>
                    <a:pt x="340" y="256"/>
                    <a:pt x="340" y="256"/>
                  </a:cubicBezTo>
                  <a:cubicBezTo>
                    <a:pt x="340" y="256"/>
                    <a:pt x="341" y="251"/>
                    <a:pt x="341" y="249"/>
                  </a:cubicBezTo>
                  <a:cubicBezTo>
                    <a:pt x="340" y="247"/>
                    <a:pt x="337" y="245"/>
                    <a:pt x="335" y="245"/>
                  </a:cubicBezTo>
                  <a:cubicBezTo>
                    <a:pt x="333" y="246"/>
                    <a:pt x="332" y="252"/>
                    <a:pt x="329" y="252"/>
                  </a:cubicBezTo>
                  <a:cubicBezTo>
                    <a:pt x="327" y="253"/>
                    <a:pt x="322" y="248"/>
                    <a:pt x="322" y="246"/>
                  </a:cubicBezTo>
                  <a:cubicBezTo>
                    <a:pt x="322" y="242"/>
                    <a:pt x="332" y="238"/>
                    <a:pt x="331" y="234"/>
                  </a:cubicBezTo>
                  <a:cubicBezTo>
                    <a:pt x="331" y="229"/>
                    <a:pt x="321" y="223"/>
                    <a:pt x="318" y="219"/>
                  </a:cubicBezTo>
                  <a:cubicBezTo>
                    <a:pt x="318" y="219"/>
                    <a:pt x="317" y="219"/>
                    <a:pt x="317" y="219"/>
                  </a:cubicBezTo>
                  <a:cubicBezTo>
                    <a:pt x="317" y="218"/>
                    <a:pt x="317" y="218"/>
                    <a:pt x="316" y="218"/>
                  </a:cubicBezTo>
                  <a:cubicBezTo>
                    <a:pt x="315" y="217"/>
                    <a:pt x="313" y="217"/>
                    <a:pt x="311" y="216"/>
                  </a:cubicBezTo>
                  <a:cubicBezTo>
                    <a:pt x="310" y="216"/>
                    <a:pt x="307" y="216"/>
                    <a:pt x="305" y="216"/>
                  </a:cubicBezTo>
                  <a:cubicBezTo>
                    <a:pt x="304" y="217"/>
                    <a:pt x="302" y="223"/>
                    <a:pt x="300" y="223"/>
                  </a:cubicBezTo>
                  <a:cubicBezTo>
                    <a:pt x="297" y="223"/>
                    <a:pt x="292" y="216"/>
                    <a:pt x="292" y="216"/>
                  </a:cubicBezTo>
                  <a:cubicBezTo>
                    <a:pt x="292" y="216"/>
                    <a:pt x="288" y="211"/>
                    <a:pt x="287" y="208"/>
                  </a:cubicBezTo>
                  <a:cubicBezTo>
                    <a:pt x="287" y="207"/>
                    <a:pt x="288" y="202"/>
                    <a:pt x="287" y="201"/>
                  </a:cubicBezTo>
                  <a:cubicBezTo>
                    <a:pt x="287" y="198"/>
                    <a:pt x="283" y="195"/>
                    <a:pt x="282" y="193"/>
                  </a:cubicBezTo>
                  <a:cubicBezTo>
                    <a:pt x="281" y="192"/>
                    <a:pt x="280" y="188"/>
                    <a:pt x="280" y="186"/>
                  </a:cubicBezTo>
                  <a:cubicBezTo>
                    <a:pt x="279" y="184"/>
                    <a:pt x="282" y="180"/>
                    <a:pt x="282" y="178"/>
                  </a:cubicBezTo>
                  <a:cubicBezTo>
                    <a:pt x="281" y="177"/>
                    <a:pt x="278" y="175"/>
                    <a:pt x="277" y="175"/>
                  </a:cubicBezTo>
                  <a:cubicBezTo>
                    <a:pt x="275" y="174"/>
                    <a:pt x="271" y="177"/>
                    <a:pt x="269" y="177"/>
                  </a:cubicBezTo>
                  <a:cubicBezTo>
                    <a:pt x="268" y="178"/>
                    <a:pt x="263" y="178"/>
                    <a:pt x="262" y="177"/>
                  </a:cubicBezTo>
                  <a:cubicBezTo>
                    <a:pt x="259" y="177"/>
                    <a:pt x="256" y="173"/>
                    <a:pt x="254" y="172"/>
                  </a:cubicBezTo>
                  <a:cubicBezTo>
                    <a:pt x="252" y="172"/>
                    <a:pt x="248" y="174"/>
                    <a:pt x="246" y="173"/>
                  </a:cubicBezTo>
                  <a:cubicBezTo>
                    <a:pt x="245" y="172"/>
                    <a:pt x="244" y="168"/>
                    <a:pt x="244" y="166"/>
                  </a:cubicBezTo>
                  <a:cubicBezTo>
                    <a:pt x="244" y="164"/>
                    <a:pt x="245" y="161"/>
                    <a:pt x="245" y="159"/>
                  </a:cubicBezTo>
                  <a:cubicBezTo>
                    <a:pt x="244" y="157"/>
                    <a:pt x="241" y="154"/>
                    <a:pt x="241" y="152"/>
                  </a:cubicBezTo>
                  <a:cubicBezTo>
                    <a:pt x="240" y="151"/>
                    <a:pt x="241" y="147"/>
                    <a:pt x="241" y="145"/>
                  </a:cubicBezTo>
                  <a:cubicBezTo>
                    <a:pt x="239" y="138"/>
                    <a:pt x="231" y="120"/>
                    <a:pt x="231" y="120"/>
                  </a:cubicBezTo>
                  <a:cubicBezTo>
                    <a:pt x="199" y="21"/>
                    <a:pt x="199" y="21"/>
                    <a:pt x="199" y="21"/>
                  </a:cubicBezTo>
                  <a:cubicBezTo>
                    <a:pt x="199" y="21"/>
                    <a:pt x="194" y="20"/>
                    <a:pt x="192" y="20"/>
                  </a:cubicBezTo>
                  <a:cubicBezTo>
                    <a:pt x="188" y="18"/>
                    <a:pt x="181" y="11"/>
                    <a:pt x="177" y="9"/>
                  </a:cubicBezTo>
                  <a:cubicBezTo>
                    <a:pt x="174" y="7"/>
                    <a:pt x="166" y="4"/>
                    <a:pt x="162" y="2"/>
                  </a:cubicBezTo>
                  <a:cubicBezTo>
                    <a:pt x="160" y="2"/>
                    <a:pt x="156" y="0"/>
                    <a:pt x="154" y="0"/>
                  </a:cubicBezTo>
                  <a:cubicBezTo>
                    <a:pt x="152" y="0"/>
                    <a:pt x="147" y="2"/>
                    <a:pt x="145" y="4"/>
                  </a:cubicBezTo>
                  <a:cubicBezTo>
                    <a:pt x="143" y="5"/>
                    <a:pt x="141" y="10"/>
                    <a:pt x="140" y="12"/>
                  </a:cubicBezTo>
                  <a:cubicBezTo>
                    <a:pt x="138" y="13"/>
                    <a:pt x="134" y="14"/>
                    <a:pt x="132" y="15"/>
                  </a:cubicBezTo>
                  <a:cubicBezTo>
                    <a:pt x="130" y="17"/>
                    <a:pt x="128" y="22"/>
                    <a:pt x="126" y="23"/>
                  </a:cubicBezTo>
                  <a:cubicBezTo>
                    <a:pt x="124" y="24"/>
                    <a:pt x="120" y="25"/>
                    <a:pt x="119" y="26"/>
                  </a:cubicBezTo>
                  <a:cubicBezTo>
                    <a:pt x="117" y="27"/>
                    <a:pt x="114" y="33"/>
                    <a:pt x="111" y="33"/>
                  </a:cubicBezTo>
                  <a:cubicBezTo>
                    <a:pt x="109" y="34"/>
                    <a:pt x="105" y="32"/>
                    <a:pt x="103" y="31"/>
                  </a:cubicBezTo>
                  <a:cubicBezTo>
                    <a:pt x="100" y="30"/>
                    <a:pt x="96" y="27"/>
                    <a:pt x="94" y="25"/>
                  </a:cubicBezTo>
                  <a:cubicBezTo>
                    <a:pt x="92" y="21"/>
                    <a:pt x="93" y="12"/>
                    <a:pt x="90" y="9"/>
                  </a:cubicBezTo>
                  <a:cubicBezTo>
                    <a:pt x="88" y="8"/>
                    <a:pt x="83" y="9"/>
                    <a:pt x="83" y="9"/>
                  </a:cubicBezTo>
                  <a:cubicBezTo>
                    <a:pt x="75" y="10"/>
                    <a:pt x="75" y="10"/>
                    <a:pt x="75" y="10"/>
                  </a:cubicBezTo>
                  <a:cubicBezTo>
                    <a:pt x="41" y="113"/>
                    <a:pt x="41" y="113"/>
                    <a:pt x="41" y="113"/>
                  </a:cubicBezTo>
                  <a:cubicBezTo>
                    <a:pt x="46" y="144"/>
                    <a:pt x="46" y="144"/>
                    <a:pt x="46" y="144"/>
                  </a:cubicBezTo>
                  <a:cubicBezTo>
                    <a:pt x="46" y="144"/>
                    <a:pt x="40" y="151"/>
                    <a:pt x="39" y="154"/>
                  </a:cubicBezTo>
                  <a:cubicBezTo>
                    <a:pt x="37" y="160"/>
                    <a:pt x="35" y="171"/>
                    <a:pt x="36" y="177"/>
                  </a:cubicBezTo>
                  <a:cubicBezTo>
                    <a:pt x="36" y="179"/>
                    <a:pt x="40" y="182"/>
                    <a:pt x="40" y="184"/>
                  </a:cubicBezTo>
                  <a:cubicBezTo>
                    <a:pt x="41" y="188"/>
                    <a:pt x="39" y="196"/>
                    <a:pt x="40" y="199"/>
                  </a:cubicBezTo>
                  <a:cubicBezTo>
                    <a:pt x="41" y="201"/>
                    <a:pt x="46" y="204"/>
                    <a:pt x="47" y="206"/>
                  </a:cubicBezTo>
                  <a:cubicBezTo>
                    <a:pt x="47" y="211"/>
                    <a:pt x="38" y="218"/>
                    <a:pt x="38" y="222"/>
                  </a:cubicBezTo>
                  <a:cubicBezTo>
                    <a:pt x="38" y="224"/>
                    <a:pt x="42" y="226"/>
                    <a:pt x="42" y="228"/>
                  </a:cubicBezTo>
                  <a:cubicBezTo>
                    <a:pt x="41" y="233"/>
                    <a:pt x="32" y="239"/>
                    <a:pt x="29" y="243"/>
                  </a:cubicBezTo>
                  <a:cubicBezTo>
                    <a:pt x="28" y="245"/>
                    <a:pt x="26" y="248"/>
                    <a:pt x="25" y="250"/>
                  </a:cubicBezTo>
                  <a:cubicBezTo>
                    <a:pt x="24" y="252"/>
                    <a:pt x="24" y="256"/>
                    <a:pt x="24" y="258"/>
                  </a:cubicBezTo>
                  <a:cubicBezTo>
                    <a:pt x="23" y="259"/>
                    <a:pt x="22" y="259"/>
                    <a:pt x="22" y="260"/>
                  </a:cubicBezTo>
                  <a:cubicBezTo>
                    <a:pt x="21" y="264"/>
                    <a:pt x="33" y="272"/>
                    <a:pt x="30" y="275"/>
                  </a:cubicBezTo>
                  <a:cubicBezTo>
                    <a:pt x="29" y="276"/>
                    <a:pt x="25" y="272"/>
                    <a:pt x="23" y="272"/>
                  </a:cubicBezTo>
                  <a:cubicBezTo>
                    <a:pt x="22" y="272"/>
                    <a:pt x="21" y="272"/>
                    <a:pt x="21" y="273"/>
                  </a:cubicBezTo>
                  <a:cubicBezTo>
                    <a:pt x="19" y="274"/>
                    <a:pt x="19" y="278"/>
                    <a:pt x="19" y="280"/>
                  </a:cubicBezTo>
                  <a:cubicBezTo>
                    <a:pt x="19" y="282"/>
                    <a:pt x="21" y="287"/>
                    <a:pt x="21" y="287"/>
                  </a:cubicBezTo>
                  <a:cubicBezTo>
                    <a:pt x="13" y="290"/>
                    <a:pt x="13" y="290"/>
                    <a:pt x="13" y="290"/>
                  </a:cubicBezTo>
                  <a:cubicBezTo>
                    <a:pt x="6" y="286"/>
                    <a:pt x="6" y="286"/>
                    <a:pt x="6" y="286"/>
                  </a:cubicBezTo>
                  <a:cubicBezTo>
                    <a:pt x="0" y="294"/>
                    <a:pt x="0" y="294"/>
                    <a:pt x="0" y="294"/>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7">
              <a:extLst>
                <a:ext uri="{FF2B5EF4-FFF2-40B4-BE49-F238E27FC236}">
                  <a16:creationId xmlns:a16="http://schemas.microsoft.com/office/drawing/2014/main" id="{CBC2773F-CDFB-4AE3-B5DD-74CE932954A4}"/>
                </a:ext>
              </a:extLst>
            </p:cNvPr>
            <p:cNvSpPr>
              <a:spLocks/>
            </p:cNvSpPr>
            <p:nvPr/>
          </p:nvSpPr>
          <p:spPr bwMode="auto">
            <a:xfrm>
              <a:off x="8076821" y="2894421"/>
              <a:ext cx="163738" cy="359819"/>
            </a:xfrm>
            <a:custGeom>
              <a:avLst/>
              <a:gdLst>
                <a:gd name="T0" fmla="*/ 139 w 147"/>
                <a:gd name="T1" fmla="*/ 145 h 323"/>
                <a:gd name="T2" fmla="*/ 139 w 147"/>
                <a:gd name="T3" fmla="*/ 118 h 323"/>
                <a:gd name="T4" fmla="*/ 117 w 147"/>
                <a:gd name="T5" fmla="*/ 104 h 323"/>
                <a:gd name="T6" fmla="*/ 104 w 147"/>
                <a:gd name="T7" fmla="*/ 106 h 323"/>
                <a:gd name="T8" fmla="*/ 110 w 147"/>
                <a:gd name="T9" fmla="*/ 78 h 323"/>
                <a:gd name="T10" fmla="*/ 119 w 147"/>
                <a:gd name="T11" fmla="*/ 62 h 323"/>
                <a:gd name="T12" fmla="*/ 124 w 147"/>
                <a:gd name="T13" fmla="*/ 40 h 323"/>
                <a:gd name="T14" fmla="*/ 44 w 147"/>
                <a:gd name="T15" fmla="*/ 0 h 323"/>
                <a:gd name="T16" fmla="*/ 22 w 147"/>
                <a:gd name="T17" fmla="*/ 12 h 323"/>
                <a:gd name="T18" fmla="*/ 18 w 147"/>
                <a:gd name="T19" fmla="*/ 29 h 323"/>
                <a:gd name="T20" fmla="*/ 0 w 147"/>
                <a:gd name="T21" fmla="*/ 60 h 323"/>
                <a:gd name="T22" fmla="*/ 8 w 147"/>
                <a:gd name="T23" fmla="*/ 70 h 323"/>
                <a:gd name="T24" fmla="*/ 6 w 147"/>
                <a:gd name="T25" fmla="*/ 86 h 323"/>
                <a:gd name="T26" fmla="*/ 12 w 147"/>
                <a:gd name="T27" fmla="*/ 116 h 323"/>
                <a:gd name="T28" fmla="*/ 17 w 147"/>
                <a:gd name="T29" fmla="*/ 128 h 323"/>
                <a:gd name="T30" fmla="*/ 30 w 147"/>
                <a:gd name="T31" fmla="*/ 145 h 323"/>
                <a:gd name="T32" fmla="*/ 43 w 147"/>
                <a:gd name="T33" fmla="*/ 156 h 323"/>
                <a:gd name="T34" fmla="*/ 53 w 147"/>
                <a:gd name="T35" fmla="*/ 167 h 323"/>
                <a:gd name="T36" fmla="*/ 42 w 147"/>
                <a:gd name="T37" fmla="*/ 180 h 323"/>
                <a:gd name="T38" fmla="*/ 34 w 147"/>
                <a:gd name="T39" fmla="*/ 193 h 323"/>
                <a:gd name="T40" fmla="*/ 27 w 147"/>
                <a:gd name="T41" fmla="*/ 206 h 323"/>
                <a:gd name="T42" fmla="*/ 1 w 147"/>
                <a:gd name="T43" fmla="*/ 245 h 323"/>
                <a:gd name="T44" fmla="*/ 6 w 147"/>
                <a:gd name="T45" fmla="*/ 257 h 323"/>
                <a:gd name="T46" fmla="*/ 28 w 147"/>
                <a:gd name="T47" fmla="*/ 278 h 323"/>
                <a:gd name="T48" fmla="*/ 42 w 147"/>
                <a:gd name="T49" fmla="*/ 286 h 323"/>
                <a:gd name="T50" fmla="*/ 63 w 147"/>
                <a:gd name="T51" fmla="*/ 291 h 323"/>
                <a:gd name="T52" fmla="*/ 80 w 147"/>
                <a:gd name="T53" fmla="*/ 297 h 323"/>
                <a:gd name="T54" fmla="*/ 77 w 147"/>
                <a:gd name="T55" fmla="*/ 312 h 323"/>
                <a:gd name="T56" fmla="*/ 90 w 147"/>
                <a:gd name="T57" fmla="*/ 321 h 323"/>
                <a:gd name="T58" fmla="*/ 97 w 147"/>
                <a:gd name="T59" fmla="*/ 305 h 323"/>
                <a:gd name="T60" fmla="*/ 105 w 147"/>
                <a:gd name="T61" fmla="*/ 286 h 323"/>
                <a:gd name="T62" fmla="*/ 110 w 147"/>
                <a:gd name="T63" fmla="*/ 270 h 323"/>
                <a:gd name="T64" fmla="*/ 113 w 147"/>
                <a:gd name="T65" fmla="*/ 259 h 323"/>
                <a:gd name="T66" fmla="*/ 119 w 147"/>
                <a:gd name="T67" fmla="*/ 249 h 323"/>
                <a:gd name="T68" fmla="*/ 120 w 147"/>
                <a:gd name="T69" fmla="*/ 234 h 323"/>
                <a:gd name="T70" fmla="*/ 129 w 147"/>
                <a:gd name="T71" fmla="*/ 224 h 323"/>
                <a:gd name="T72" fmla="*/ 135 w 147"/>
                <a:gd name="T73" fmla="*/ 212 h 323"/>
                <a:gd name="T74" fmla="*/ 131 w 147"/>
                <a:gd name="T75" fmla="*/ 194 h 323"/>
                <a:gd name="T76" fmla="*/ 128 w 147"/>
                <a:gd name="T77" fmla="*/ 173 h 323"/>
                <a:gd name="T78" fmla="*/ 122 w 147"/>
                <a:gd name="T79" fmla="*/ 164 h 323"/>
                <a:gd name="T80" fmla="*/ 127 w 147"/>
                <a:gd name="T81" fmla="*/ 162 h 323"/>
                <a:gd name="T82" fmla="*/ 131 w 147"/>
                <a:gd name="T83" fmla="*/ 171 h 323"/>
                <a:gd name="T84" fmla="*/ 145 w 147"/>
                <a:gd name="T85" fmla="*/ 15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7" h="323">
                  <a:moveTo>
                    <a:pt x="145" y="153"/>
                  </a:moveTo>
                  <a:cubicBezTo>
                    <a:pt x="144" y="151"/>
                    <a:pt x="143" y="150"/>
                    <a:pt x="141" y="148"/>
                  </a:cubicBezTo>
                  <a:cubicBezTo>
                    <a:pt x="140" y="147"/>
                    <a:pt x="139" y="146"/>
                    <a:pt x="139" y="145"/>
                  </a:cubicBezTo>
                  <a:cubicBezTo>
                    <a:pt x="138" y="142"/>
                    <a:pt x="138" y="136"/>
                    <a:pt x="139" y="130"/>
                  </a:cubicBezTo>
                  <a:cubicBezTo>
                    <a:pt x="139" y="126"/>
                    <a:pt x="139" y="122"/>
                    <a:pt x="139" y="120"/>
                  </a:cubicBezTo>
                  <a:cubicBezTo>
                    <a:pt x="139" y="118"/>
                    <a:pt x="139" y="118"/>
                    <a:pt x="139" y="118"/>
                  </a:cubicBezTo>
                  <a:cubicBezTo>
                    <a:pt x="138" y="113"/>
                    <a:pt x="138" y="109"/>
                    <a:pt x="136" y="107"/>
                  </a:cubicBezTo>
                  <a:cubicBezTo>
                    <a:pt x="133" y="105"/>
                    <a:pt x="129" y="104"/>
                    <a:pt x="122" y="104"/>
                  </a:cubicBezTo>
                  <a:cubicBezTo>
                    <a:pt x="120" y="104"/>
                    <a:pt x="118" y="104"/>
                    <a:pt x="117" y="104"/>
                  </a:cubicBezTo>
                  <a:cubicBezTo>
                    <a:pt x="115" y="105"/>
                    <a:pt x="114" y="105"/>
                    <a:pt x="112" y="106"/>
                  </a:cubicBezTo>
                  <a:cubicBezTo>
                    <a:pt x="111" y="106"/>
                    <a:pt x="109" y="107"/>
                    <a:pt x="108" y="107"/>
                  </a:cubicBezTo>
                  <a:cubicBezTo>
                    <a:pt x="107" y="107"/>
                    <a:pt x="105" y="106"/>
                    <a:pt x="104" y="106"/>
                  </a:cubicBezTo>
                  <a:cubicBezTo>
                    <a:pt x="102" y="104"/>
                    <a:pt x="102" y="95"/>
                    <a:pt x="105" y="85"/>
                  </a:cubicBezTo>
                  <a:cubicBezTo>
                    <a:pt x="106" y="81"/>
                    <a:pt x="107" y="78"/>
                    <a:pt x="108" y="77"/>
                  </a:cubicBezTo>
                  <a:cubicBezTo>
                    <a:pt x="108" y="78"/>
                    <a:pt x="109" y="78"/>
                    <a:pt x="110" y="78"/>
                  </a:cubicBezTo>
                  <a:cubicBezTo>
                    <a:pt x="114" y="77"/>
                    <a:pt x="119" y="72"/>
                    <a:pt x="120" y="68"/>
                  </a:cubicBezTo>
                  <a:cubicBezTo>
                    <a:pt x="121" y="66"/>
                    <a:pt x="120" y="65"/>
                    <a:pt x="120" y="63"/>
                  </a:cubicBezTo>
                  <a:cubicBezTo>
                    <a:pt x="120" y="63"/>
                    <a:pt x="119" y="62"/>
                    <a:pt x="119" y="62"/>
                  </a:cubicBezTo>
                  <a:cubicBezTo>
                    <a:pt x="120" y="60"/>
                    <a:pt x="120" y="57"/>
                    <a:pt x="121" y="55"/>
                  </a:cubicBezTo>
                  <a:cubicBezTo>
                    <a:pt x="122" y="53"/>
                    <a:pt x="122" y="51"/>
                    <a:pt x="123" y="50"/>
                  </a:cubicBezTo>
                  <a:cubicBezTo>
                    <a:pt x="123" y="48"/>
                    <a:pt x="124" y="43"/>
                    <a:pt x="124" y="40"/>
                  </a:cubicBezTo>
                  <a:cubicBezTo>
                    <a:pt x="124" y="40"/>
                    <a:pt x="124" y="40"/>
                    <a:pt x="124" y="39"/>
                  </a:cubicBezTo>
                  <a:cubicBezTo>
                    <a:pt x="124" y="35"/>
                    <a:pt x="124" y="32"/>
                    <a:pt x="122" y="30"/>
                  </a:cubicBezTo>
                  <a:cubicBezTo>
                    <a:pt x="109" y="13"/>
                    <a:pt x="68" y="0"/>
                    <a:pt x="44" y="0"/>
                  </a:cubicBezTo>
                  <a:cubicBezTo>
                    <a:pt x="39" y="0"/>
                    <a:pt x="35" y="0"/>
                    <a:pt x="32" y="1"/>
                  </a:cubicBezTo>
                  <a:cubicBezTo>
                    <a:pt x="28" y="2"/>
                    <a:pt x="25" y="7"/>
                    <a:pt x="22" y="12"/>
                  </a:cubicBezTo>
                  <a:cubicBezTo>
                    <a:pt x="22" y="12"/>
                    <a:pt x="22" y="12"/>
                    <a:pt x="22" y="12"/>
                  </a:cubicBezTo>
                  <a:cubicBezTo>
                    <a:pt x="20" y="15"/>
                    <a:pt x="19" y="19"/>
                    <a:pt x="18" y="21"/>
                  </a:cubicBezTo>
                  <a:cubicBezTo>
                    <a:pt x="18" y="23"/>
                    <a:pt x="18" y="24"/>
                    <a:pt x="18" y="26"/>
                  </a:cubicBezTo>
                  <a:cubicBezTo>
                    <a:pt x="18" y="27"/>
                    <a:pt x="18" y="29"/>
                    <a:pt x="18" y="29"/>
                  </a:cubicBezTo>
                  <a:cubicBezTo>
                    <a:pt x="17" y="35"/>
                    <a:pt x="12" y="46"/>
                    <a:pt x="9" y="50"/>
                  </a:cubicBezTo>
                  <a:cubicBezTo>
                    <a:pt x="8" y="51"/>
                    <a:pt x="7" y="52"/>
                    <a:pt x="6" y="53"/>
                  </a:cubicBezTo>
                  <a:cubicBezTo>
                    <a:pt x="3" y="55"/>
                    <a:pt x="1" y="57"/>
                    <a:pt x="0" y="60"/>
                  </a:cubicBezTo>
                  <a:cubicBezTo>
                    <a:pt x="0" y="63"/>
                    <a:pt x="3" y="67"/>
                    <a:pt x="4" y="68"/>
                  </a:cubicBezTo>
                  <a:cubicBezTo>
                    <a:pt x="5" y="69"/>
                    <a:pt x="6" y="69"/>
                    <a:pt x="7" y="70"/>
                  </a:cubicBezTo>
                  <a:cubicBezTo>
                    <a:pt x="7" y="70"/>
                    <a:pt x="7" y="70"/>
                    <a:pt x="8" y="70"/>
                  </a:cubicBezTo>
                  <a:cubicBezTo>
                    <a:pt x="9" y="71"/>
                    <a:pt x="11" y="75"/>
                    <a:pt x="11" y="76"/>
                  </a:cubicBezTo>
                  <a:cubicBezTo>
                    <a:pt x="11" y="78"/>
                    <a:pt x="10" y="81"/>
                    <a:pt x="9" y="83"/>
                  </a:cubicBezTo>
                  <a:cubicBezTo>
                    <a:pt x="8" y="84"/>
                    <a:pt x="7" y="85"/>
                    <a:pt x="6" y="86"/>
                  </a:cubicBezTo>
                  <a:cubicBezTo>
                    <a:pt x="4" y="88"/>
                    <a:pt x="3" y="90"/>
                    <a:pt x="2" y="92"/>
                  </a:cubicBezTo>
                  <a:cubicBezTo>
                    <a:pt x="1" y="96"/>
                    <a:pt x="3" y="104"/>
                    <a:pt x="5" y="107"/>
                  </a:cubicBezTo>
                  <a:cubicBezTo>
                    <a:pt x="6" y="110"/>
                    <a:pt x="9" y="114"/>
                    <a:pt x="12" y="116"/>
                  </a:cubicBezTo>
                  <a:cubicBezTo>
                    <a:pt x="11" y="117"/>
                    <a:pt x="9" y="120"/>
                    <a:pt x="11" y="122"/>
                  </a:cubicBezTo>
                  <a:cubicBezTo>
                    <a:pt x="11" y="123"/>
                    <a:pt x="12" y="124"/>
                    <a:pt x="14" y="125"/>
                  </a:cubicBezTo>
                  <a:cubicBezTo>
                    <a:pt x="15" y="126"/>
                    <a:pt x="17" y="127"/>
                    <a:pt x="17" y="128"/>
                  </a:cubicBezTo>
                  <a:cubicBezTo>
                    <a:pt x="19" y="131"/>
                    <a:pt x="24" y="134"/>
                    <a:pt x="27" y="136"/>
                  </a:cubicBezTo>
                  <a:cubicBezTo>
                    <a:pt x="27" y="137"/>
                    <a:pt x="27" y="138"/>
                    <a:pt x="28" y="139"/>
                  </a:cubicBezTo>
                  <a:cubicBezTo>
                    <a:pt x="28" y="142"/>
                    <a:pt x="29" y="144"/>
                    <a:pt x="30" y="145"/>
                  </a:cubicBezTo>
                  <a:cubicBezTo>
                    <a:pt x="31" y="145"/>
                    <a:pt x="33" y="147"/>
                    <a:pt x="34" y="148"/>
                  </a:cubicBezTo>
                  <a:cubicBezTo>
                    <a:pt x="35" y="150"/>
                    <a:pt x="36" y="151"/>
                    <a:pt x="37" y="151"/>
                  </a:cubicBezTo>
                  <a:cubicBezTo>
                    <a:pt x="38" y="153"/>
                    <a:pt x="41" y="155"/>
                    <a:pt x="43" y="156"/>
                  </a:cubicBezTo>
                  <a:cubicBezTo>
                    <a:pt x="47" y="158"/>
                    <a:pt x="50" y="160"/>
                    <a:pt x="51" y="163"/>
                  </a:cubicBezTo>
                  <a:cubicBezTo>
                    <a:pt x="51" y="165"/>
                    <a:pt x="53" y="166"/>
                    <a:pt x="55" y="166"/>
                  </a:cubicBezTo>
                  <a:cubicBezTo>
                    <a:pt x="54" y="166"/>
                    <a:pt x="54" y="167"/>
                    <a:pt x="53" y="167"/>
                  </a:cubicBezTo>
                  <a:cubicBezTo>
                    <a:pt x="52" y="169"/>
                    <a:pt x="50" y="170"/>
                    <a:pt x="49" y="172"/>
                  </a:cubicBezTo>
                  <a:cubicBezTo>
                    <a:pt x="48" y="173"/>
                    <a:pt x="47" y="174"/>
                    <a:pt x="46" y="176"/>
                  </a:cubicBezTo>
                  <a:cubicBezTo>
                    <a:pt x="45" y="178"/>
                    <a:pt x="43" y="180"/>
                    <a:pt x="42" y="180"/>
                  </a:cubicBezTo>
                  <a:cubicBezTo>
                    <a:pt x="42" y="181"/>
                    <a:pt x="42" y="181"/>
                    <a:pt x="41" y="181"/>
                  </a:cubicBezTo>
                  <a:cubicBezTo>
                    <a:pt x="40" y="182"/>
                    <a:pt x="40" y="182"/>
                    <a:pt x="39" y="183"/>
                  </a:cubicBezTo>
                  <a:cubicBezTo>
                    <a:pt x="37" y="185"/>
                    <a:pt x="35" y="190"/>
                    <a:pt x="34" y="193"/>
                  </a:cubicBezTo>
                  <a:cubicBezTo>
                    <a:pt x="34" y="194"/>
                    <a:pt x="34" y="195"/>
                    <a:pt x="34" y="196"/>
                  </a:cubicBezTo>
                  <a:cubicBezTo>
                    <a:pt x="34" y="198"/>
                    <a:pt x="34" y="200"/>
                    <a:pt x="33" y="200"/>
                  </a:cubicBezTo>
                  <a:cubicBezTo>
                    <a:pt x="33" y="202"/>
                    <a:pt x="29" y="204"/>
                    <a:pt x="27" y="206"/>
                  </a:cubicBezTo>
                  <a:cubicBezTo>
                    <a:pt x="11" y="214"/>
                    <a:pt x="8" y="220"/>
                    <a:pt x="4" y="239"/>
                  </a:cubicBezTo>
                  <a:cubicBezTo>
                    <a:pt x="4" y="239"/>
                    <a:pt x="3" y="240"/>
                    <a:pt x="3" y="241"/>
                  </a:cubicBezTo>
                  <a:cubicBezTo>
                    <a:pt x="2" y="242"/>
                    <a:pt x="1" y="244"/>
                    <a:pt x="1" y="245"/>
                  </a:cubicBezTo>
                  <a:cubicBezTo>
                    <a:pt x="1" y="246"/>
                    <a:pt x="0" y="247"/>
                    <a:pt x="0" y="248"/>
                  </a:cubicBezTo>
                  <a:cubicBezTo>
                    <a:pt x="1" y="251"/>
                    <a:pt x="3" y="254"/>
                    <a:pt x="6" y="257"/>
                  </a:cubicBezTo>
                  <a:cubicBezTo>
                    <a:pt x="6" y="257"/>
                    <a:pt x="6" y="257"/>
                    <a:pt x="6" y="257"/>
                  </a:cubicBezTo>
                  <a:cubicBezTo>
                    <a:pt x="5" y="258"/>
                    <a:pt x="4" y="260"/>
                    <a:pt x="4" y="261"/>
                  </a:cubicBezTo>
                  <a:cubicBezTo>
                    <a:pt x="6" y="268"/>
                    <a:pt x="18" y="275"/>
                    <a:pt x="22" y="277"/>
                  </a:cubicBezTo>
                  <a:cubicBezTo>
                    <a:pt x="23" y="277"/>
                    <a:pt x="26" y="278"/>
                    <a:pt x="28" y="278"/>
                  </a:cubicBezTo>
                  <a:cubicBezTo>
                    <a:pt x="29" y="279"/>
                    <a:pt x="30" y="279"/>
                    <a:pt x="31" y="279"/>
                  </a:cubicBezTo>
                  <a:cubicBezTo>
                    <a:pt x="33" y="280"/>
                    <a:pt x="37" y="282"/>
                    <a:pt x="39" y="283"/>
                  </a:cubicBezTo>
                  <a:cubicBezTo>
                    <a:pt x="40" y="284"/>
                    <a:pt x="41" y="285"/>
                    <a:pt x="42" y="286"/>
                  </a:cubicBezTo>
                  <a:cubicBezTo>
                    <a:pt x="46" y="290"/>
                    <a:pt x="50" y="294"/>
                    <a:pt x="55" y="295"/>
                  </a:cubicBezTo>
                  <a:cubicBezTo>
                    <a:pt x="57" y="295"/>
                    <a:pt x="59" y="293"/>
                    <a:pt x="61" y="292"/>
                  </a:cubicBezTo>
                  <a:cubicBezTo>
                    <a:pt x="62" y="292"/>
                    <a:pt x="63" y="291"/>
                    <a:pt x="63" y="291"/>
                  </a:cubicBezTo>
                  <a:cubicBezTo>
                    <a:pt x="66" y="290"/>
                    <a:pt x="70" y="289"/>
                    <a:pt x="73" y="289"/>
                  </a:cubicBezTo>
                  <a:cubicBezTo>
                    <a:pt x="77" y="289"/>
                    <a:pt x="78" y="290"/>
                    <a:pt x="78" y="290"/>
                  </a:cubicBezTo>
                  <a:cubicBezTo>
                    <a:pt x="79" y="291"/>
                    <a:pt x="80" y="294"/>
                    <a:pt x="80" y="297"/>
                  </a:cubicBezTo>
                  <a:cubicBezTo>
                    <a:pt x="81" y="299"/>
                    <a:pt x="80" y="302"/>
                    <a:pt x="79" y="304"/>
                  </a:cubicBezTo>
                  <a:cubicBezTo>
                    <a:pt x="78" y="307"/>
                    <a:pt x="77" y="309"/>
                    <a:pt x="77" y="311"/>
                  </a:cubicBezTo>
                  <a:cubicBezTo>
                    <a:pt x="77" y="312"/>
                    <a:pt x="77" y="312"/>
                    <a:pt x="77" y="312"/>
                  </a:cubicBezTo>
                  <a:cubicBezTo>
                    <a:pt x="77" y="316"/>
                    <a:pt x="77" y="320"/>
                    <a:pt x="79" y="322"/>
                  </a:cubicBezTo>
                  <a:cubicBezTo>
                    <a:pt x="80" y="323"/>
                    <a:pt x="81" y="323"/>
                    <a:pt x="83" y="323"/>
                  </a:cubicBezTo>
                  <a:cubicBezTo>
                    <a:pt x="85" y="323"/>
                    <a:pt x="88" y="322"/>
                    <a:pt x="90" y="321"/>
                  </a:cubicBezTo>
                  <a:cubicBezTo>
                    <a:pt x="92" y="320"/>
                    <a:pt x="95" y="315"/>
                    <a:pt x="96" y="314"/>
                  </a:cubicBezTo>
                  <a:cubicBezTo>
                    <a:pt x="96" y="312"/>
                    <a:pt x="97" y="311"/>
                    <a:pt x="97" y="309"/>
                  </a:cubicBezTo>
                  <a:cubicBezTo>
                    <a:pt x="97" y="307"/>
                    <a:pt x="97" y="306"/>
                    <a:pt x="97" y="305"/>
                  </a:cubicBezTo>
                  <a:cubicBezTo>
                    <a:pt x="98" y="304"/>
                    <a:pt x="99" y="303"/>
                    <a:pt x="100" y="301"/>
                  </a:cubicBezTo>
                  <a:cubicBezTo>
                    <a:pt x="101" y="300"/>
                    <a:pt x="103" y="298"/>
                    <a:pt x="103" y="296"/>
                  </a:cubicBezTo>
                  <a:cubicBezTo>
                    <a:pt x="104" y="294"/>
                    <a:pt x="105" y="290"/>
                    <a:pt x="105" y="286"/>
                  </a:cubicBezTo>
                  <a:cubicBezTo>
                    <a:pt x="106" y="284"/>
                    <a:pt x="106" y="281"/>
                    <a:pt x="106" y="279"/>
                  </a:cubicBezTo>
                  <a:cubicBezTo>
                    <a:pt x="107" y="279"/>
                    <a:pt x="107" y="278"/>
                    <a:pt x="108" y="277"/>
                  </a:cubicBezTo>
                  <a:cubicBezTo>
                    <a:pt x="110" y="275"/>
                    <a:pt x="111" y="272"/>
                    <a:pt x="110" y="270"/>
                  </a:cubicBezTo>
                  <a:cubicBezTo>
                    <a:pt x="110" y="268"/>
                    <a:pt x="108" y="267"/>
                    <a:pt x="107" y="267"/>
                  </a:cubicBezTo>
                  <a:cubicBezTo>
                    <a:pt x="107" y="267"/>
                    <a:pt x="107" y="266"/>
                    <a:pt x="107" y="266"/>
                  </a:cubicBezTo>
                  <a:cubicBezTo>
                    <a:pt x="108" y="263"/>
                    <a:pt x="111" y="260"/>
                    <a:pt x="113" y="259"/>
                  </a:cubicBezTo>
                  <a:cubicBezTo>
                    <a:pt x="114" y="259"/>
                    <a:pt x="114" y="259"/>
                    <a:pt x="115" y="259"/>
                  </a:cubicBezTo>
                  <a:cubicBezTo>
                    <a:pt x="118" y="259"/>
                    <a:pt x="121" y="259"/>
                    <a:pt x="122" y="257"/>
                  </a:cubicBezTo>
                  <a:cubicBezTo>
                    <a:pt x="123" y="254"/>
                    <a:pt x="121" y="251"/>
                    <a:pt x="119" y="249"/>
                  </a:cubicBezTo>
                  <a:cubicBezTo>
                    <a:pt x="118" y="248"/>
                    <a:pt x="118" y="248"/>
                    <a:pt x="117" y="247"/>
                  </a:cubicBezTo>
                  <a:cubicBezTo>
                    <a:pt x="115" y="243"/>
                    <a:pt x="116" y="240"/>
                    <a:pt x="119" y="235"/>
                  </a:cubicBezTo>
                  <a:cubicBezTo>
                    <a:pt x="119" y="235"/>
                    <a:pt x="120" y="234"/>
                    <a:pt x="120" y="234"/>
                  </a:cubicBezTo>
                  <a:cubicBezTo>
                    <a:pt x="120" y="234"/>
                    <a:pt x="122" y="233"/>
                    <a:pt x="122" y="233"/>
                  </a:cubicBezTo>
                  <a:cubicBezTo>
                    <a:pt x="125" y="233"/>
                    <a:pt x="127" y="232"/>
                    <a:pt x="128" y="231"/>
                  </a:cubicBezTo>
                  <a:cubicBezTo>
                    <a:pt x="129" y="229"/>
                    <a:pt x="129" y="226"/>
                    <a:pt x="129" y="224"/>
                  </a:cubicBezTo>
                  <a:cubicBezTo>
                    <a:pt x="130" y="222"/>
                    <a:pt x="130" y="221"/>
                    <a:pt x="130" y="220"/>
                  </a:cubicBezTo>
                  <a:cubicBezTo>
                    <a:pt x="130" y="219"/>
                    <a:pt x="132" y="216"/>
                    <a:pt x="134" y="214"/>
                  </a:cubicBezTo>
                  <a:cubicBezTo>
                    <a:pt x="134" y="213"/>
                    <a:pt x="135" y="213"/>
                    <a:pt x="135" y="212"/>
                  </a:cubicBezTo>
                  <a:cubicBezTo>
                    <a:pt x="135" y="212"/>
                    <a:pt x="139" y="206"/>
                    <a:pt x="139" y="202"/>
                  </a:cubicBezTo>
                  <a:cubicBezTo>
                    <a:pt x="139" y="200"/>
                    <a:pt x="137" y="198"/>
                    <a:pt x="134" y="196"/>
                  </a:cubicBezTo>
                  <a:cubicBezTo>
                    <a:pt x="133" y="196"/>
                    <a:pt x="132" y="194"/>
                    <a:pt x="131" y="194"/>
                  </a:cubicBezTo>
                  <a:cubicBezTo>
                    <a:pt x="131" y="193"/>
                    <a:pt x="131" y="191"/>
                    <a:pt x="130" y="190"/>
                  </a:cubicBezTo>
                  <a:cubicBezTo>
                    <a:pt x="130" y="189"/>
                    <a:pt x="129" y="187"/>
                    <a:pt x="129" y="186"/>
                  </a:cubicBezTo>
                  <a:cubicBezTo>
                    <a:pt x="130" y="183"/>
                    <a:pt x="128" y="176"/>
                    <a:pt x="128" y="173"/>
                  </a:cubicBezTo>
                  <a:cubicBezTo>
                    <a:pt x="127" y="172"/>
                    <a:pt x="127" y="170"/>
                    <a:pt x="126" y="169"/>
                  </a:cubicBezTo>
                  <a:cubicBezTo>
                    <a:pt x="125" y="168"/>
                    <a:pt x="124" y="166"/>
                    <a:pt x="125" y="166"/>
                  </a:cubicBezTo>
                  <a:cubicBezTo>
                    <a:pt x="122" y="164"/>
                    <a:pt x="122" y="164"/>
                    <a:pt x="122" y="164"/>
                  </a:cubicBezTo>
                  <a:cubicBezTo>
                    <a:pt x="122" y="164"/>
                    <a:pt x="122" y="164"/>
                    <a:pt x="122" y="164"/>
                  </a:cubicBezTo>
                  <a:cubicBezTo>
                    <a:pt x="125" y="165"/>
                    <a:pt x="125" y="165"/>
                    <a:pt x="125" y="165"/>
                  </a:cubicBezTo>
                  <a:cubicBezTo>
                    <a:pt x="126" y="164"/>
                    <a:pt x="126" y="163"/>
                    <a:pt x="127" y="162"/>
                  </a:cubicBezTo>
                  <a:cubicBezTo>
                    <a:pt x="127" y="161"/>
                    <a:pt x="127" y="159"/>
                    <a:pt x="128" y="158"/>
                  </a:cubicBezTo>
                  <a:cubicBezTo>
                    <a:pt x="129" y="159"/>
                    <a:pt x="129" y="161"/>
                    <a:pt x="130" y="163"/>
                  </a:cubicBezTo>
                  <a:cubicBezTo>
                    <a:pt x="131" y="165"/>
                    <a:pt x="131" y="169"/>
                    <a:pt x="131" y="171"/>
                  </a:cubicBezTo>
                  <a:cubicBezTo>
                    <a:pt x="131" y="172"/>
                    <a:pt x="132" y="189"/>
                    <a:pt x="140" y="190"/>
                  </a:cubicBezTo>
                  <a:cubicBezTo>
                    <a:pt x="145" y="190"/>
                    <a:pt x="146" y="180"/>
                    <a:pt x="146" y="179"/>
                  </a:cubicBezTo>
                  <a:cubicBezTo>
                    <a:pt x="147" y="173"/>
                    <a:pt x="147" y="159"/>
                    <a:pt x="145" y="153"/>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8">
              <a:extLst>
                <a:ext uri="{FF2B5EF4-FFF2-40B4-BE49-F238E27FC236}">
                  <a16:creationId xmlns:a16="http://schemas.microsoft.com/office/drawing/2014/main" id="{BD92D355-D850-4796-8B7C-59FBE48FEBAE}"/>
                </a:ext>
              </a:extLst>
            </p:cNvPr>
            <p:cNvSpPr>
              <a:spLocks/>
            </p:cNvSpPr>
            <p:nvPr/>
          </p:nvSpPr>
          <p:spPr bwMode="auto">
            <a:xfrm>
              <a:off x="8069746" y="3140028"/>
              <a:ext cx="115223" cy="187995"/>
            </a:xfrm>
            <a:custGeom>
              <a:avLst/>
              <a:gdLst>
                <a:gd name="T0" fmla="*/ 96 w 104"/>
                <a:gd name="T1" fmla="*/ 136 h 169"/>
                <a:gd name="T2" fmla="*/ 94 w 104"/>
                <a:gd name="T3" fmla="*/ 137 h 169"/>
                <a:gd name="T4" fmla="*/ 85 w 104"/>
                <a:gd name="T5" fmla="*/ 142 h 169"/>
                <a:gd name="T6" fmla="*/ 85 w 104"/>
                <a:gd name="T7" fmla="*/ 142 h 169"/>
                <a:gd name="T8" fmla="*/ 85 w 104"/>
                <a:gd name="T9" fmla="*/ 141 h 169"/>
                <a:gd name="T10" fmla="*/ 87 w 104"/>
                <a:gd name="T11" fmla="*/ 138 h 169"/>
                <a:gd name="T12" fmla="*/ 90 w 104"/>
                <a:gd name="T13" fmla="*/ 133 h 169"/>
                <a:gd name="T14" fmla="*/ 90 w 104"/>
                <a:gd name="T15" fmla="*/ 127 h 169"/>
                <a:gd name="T16" fmla="*/ 91 w 104"/>
                <a:gd name="T17" fmla="*/ 125 h 169"/>
                <a:gd name="T18" fmla="*/ 93 w 104"/>
                <a:gd name="T19" fmla="*/ 119 h 169"/>
                <a:gd name="T20" fmla="*/ 88 w 104"/>
                <a:gd name="T21" fmla="*/ 113 h 169"/>
                <a:gd name="T22" fmla="*/ 83 w 104"/>
                <a:gd name="T23" fmla="*/ 113 h 169"/>
                <a:gd name="T24" fmla="*/ 80 w 104"/>
                <a:gd name="T25" fmla="*/ 113 h 169"/>
                <a:gd name="T26" fmla="*/ 67 w 104"/>
                <a:gd name="T27" fmla="*/ 103 h 169"/>
                <a:gd name="T28" fmla="*/ 66 w 104"/>
                <a:gd name="T29" fmla="*/ 100 h 169"/>
                <a:gd name="T30" fmla="*/ 64 w 104"/>
                <a:gd name="T31" fmla="*/ 95 h 169"/>
                <a:gd name="T32" fmla="*/ 59 w 104"/>
                <a:gd name="T33" fmla="*/ 91 h 169"/>
                <a:gd name="T34" fmla="*/ 56 w 104"/>
                <a:gd name="T35" fmla="*/ 89 h 169"/>
                <a:gd name="T36" fmla="*/ 52 w 104"/>
                <a:gd name="T37" fmla="*/ 78 h 169"/>
                <a:gd name="T38" fmla="*/ 52 w 104"/>
                <a:gd name="T39" fmla="*/ 75 h 169"/>
                <a:gd name="T40" fmla="*/ 51 w 104"/>
                <a:gd name="T41" fmla="*/ 70 h 169"/>
                <a:gd name="T42" fmla="*/ 46 w 104"/>
                <a:gd name="T43" fmla="*/ 62 h 169"/>
                <a:gd name="T44" fmla="*/ 42 w 104"/>
                <a:gd name="T45" fmla="*/ 58 h 169"/>
                <a:gd name="T46" fmla="*/ 39 w 104"/>
                <a:gd name="T47" fmla="*/ 56 h 169"/>
                <a:gd name="T48" fmla="*/ 32 w 104"/>
                <a:gd name="T49" fmla="*/ 49 h 169"/>
                <a:gd name="T50" fmla="*/ 28 w 104"/>
                <a:gd name="T51" fmla="*/ 43 h 169"/>
                <a:gd name="T52" fmla="*/ 29 w 104"/>
                <a:gd name="T53" fmla="*/ 40 h 169"/>
                <a:gd name="T54" fmla="*/ 29 w 104"/>
                <a:gd name="T55" fmla="*/ 36 h 169"/>
                <a:gd name="T56" fmla="*/ 26 w 104"/>
                <a:gd name="T57" fmla="*/ 31 h 169"/>
                <a:gd name="T58" fmla="*/ 23 w 104"/>
                <a:gd name="T59" fmla="*/ 29 h 169"/>
                <a:gd name="T60" fmla="*/ 25 w 104"/>
                <a:gd name="T61" fmla="*/ 27 h 169"/>
                <a:gd name="T62" fmla="*/ 27 w 104"/>
                <a:gd name="T63" fmla="*/ 25 h 169"/>
                <a:gd name="T64" fmla="*/ 30 w 104"/>
                <a:gd name="T65" fmla="*/ 17 h 169"/>
                <a:gd name="T66" fmla="*/ 30 w 104"/>
                <a:gd name="T67" fmla="*/ 16 h 169"/>
                <a:gd name="T68" fmla="*/ 30 w 104"/>
                <a:gd name="T69" fmla="*/ 10 h 169"/>
                <a:gd name="T70" fmla="*/ 31 w 104"/>
                <a:gd name="T71" fmla="*/ 9 h 169"/>
                <a:gd name="T72" fmla="*/ 34 w 104"/>
                <a:gd name="T73" fmla="*/ 5 h 169"/>
                <a:gd name="T74" fmla="*/ 30 w 104"/>
                <a:gd name="T75" fmla="*/ 1 h 169"/>
                <a:gd name="T76" fmla="*/ 23 w 104"/>
                <a:gd name="T77" fmla="*/ 0 h 169"/>
                <a:gd name="T78" fmla="*/ 15 w 104"/>
                <a:gd name="T79" fmla="*/ 1 h 169"/>
                <a:gd name="T80" fmla="*/ 7 w 104"/>
                <a:gd name="T81" fmla="*/ 6 h 169"/>
                <a:gd name="T82" fmla="*/ 2 w 104"/>
                <a:gd name="T83" fmla="*/ 15 h 169"/>
                <a:gd name="T84" fmla="*/ 1 w 104"/>
                <a:gd name="T85" fmla="*/ 18 h 169"/>
                <a:gd name="T86" fmla="*/ 1 w 104"/>
                <a:gd name="T87" fmla="*/ 27 h 169"/>
                <a:gd name="T88" fmla="*/ 24 w 104"/>
                <a:gd name="T89" fmla="*/ 108 h 169"/>
                <a:gd name="T90" fmla="*/ 37 w 104"/>
                <a:gd name="T91" fmla="*/ 159 h 169"/>
                <a:gd name="T92" fmla="*/ 37 w 104"/>
                <a:gd name="T93" fmla="*/ 160 h 169"/>
                <a:gd name="T94" fmla="*/ 41 w 104"/>
                <a:gd name="T95" fmla="*/ 168 h 169"/>
                <a:gd name="T96" fmla="*/ 43 w 104"/>
                <a:gd name="T97" fmla="*/ 169 h 169"/>
                <a:gd name="T98" fmla="*/ 44 w 104"/>
                <a:gd name="T99" fmla="*/ 169 h 169"/>
                <a:gd name="T100" fmla="*/ 97 w 104"/>
                <a:gd name="T101" fmla="*/ 157 h 169"/>
                <a:gd name="T102" fmla="*/ 99 w 104"/>
                <a:gd name="T103" fmla="*/ 156 h 169"/>
                <a:gd name="T104" fmla="*/ 100 w 104"/>
                <a:gd name="T105" fmla="*/ 157 h 169"/>
                <a:gd name="T106" fmla="*/ 103 w 104"/>
                <a:gd name="T107" fmla="*/ 156 h 169"/>
                <a:gd name="T108" fmla="*/ 104 w 104"/>
                <a:gd name="T109" fmla="*/ 154 h 169"/>
                <a:gd name="T110" fmla="*/ 96 w 104"/>
                <a:gd name="T111" fmla="*/ 13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4" h="169">
                  <a:moveTo>
                    <a:pt x="96" y="136"/>
                  </a:moveTo>
                  <a:cubicBezTo>
                    <a:pt x="95" y="136"/>
                    <a:pt x="95" y="136"/>
                    <a:pt x="94" y="137"/>
                  </a:cubicBezTo>
                  <a:cubicBezTo>
                    <a:pt x="89" y="141"/>
                    <a:pt x="86" y="142"/>
                    <a:pt x="85" y="142"/>
                  </a:cubicBezTo>
                  <a:cubicBezTo>
                    <a:pt x="85" y="142"/>
                    <a:pt x="85" y="142"/>
                    <a:pt x="85" y="142"/>
                  </a:cubicBezTo>
                  <a:cubicBezTo>
                    <a:pt x="84" y="141"/>
                    <a:pt x="84" y="141"/>
                    <a:pt x="85" y="141"/>
                  </a:cubicBezTo>
                  <a:cubicBezTo>
                    <a:pt x="85" y="139"/>
                    <a:pt x="86" y="138"/>
                    <a:pt x="87" y="138"/>
                  </a:cubicBezTo>
                  <a:cubicBezTo>
                    <a:pt x="88" y="137"/>
                    <a:pt x="90" y="136"/>
                    <a:pt x="90" y="133"/>
                  </a:cubicBezTo>
                  <a:cubicBezTo>
                    <a:pt x="89" y="132"/>
                    <a:pt x="89" y="128"/>
                    <a:pt x="90" y="127"/>
                  </a:cubicBezTo>
                  <a:cubicBezTo>
                    <a:pt x="90" y="126"/>
                    <a:pt x="90" y="125"/>
                    <a:pt x="91" y="125"/>
                  </a:cubicBezTo>
                  <a:cubicBezTo>
                    <a:pt x="92" y="123"/>
                    <a:pt x="93" y="121"/>
                    <a:pt x="93" y="119"/>
                  </a:cubicBezTo>
                  <a:cubicBezTo>
                    <a:pt x="92" y="117"/>
                    <a:pt x="90" y="114"/>
                    <a:pt x="88" y="113"/>
                  </a:cubicBezTo>
                  <a:cubicBezTo>
                    <a:pt x="87" y="112"/>
                    <a:pt x="85" y="112"/>
                    <a:pt x="83" y="113"/>
                  </a:cubicBezTo>
                  <a:cubicBezTo>
                    <a:pt x="82" y="113"/>
                    <a:pt x="81" y="113"/>
                    <a:pt x="80" y="113"/>
                  </a:cubicBezTo>
                  <a:cubicBezTo>
                    <a:pt x="76" y="112"/>
                    <a:pt x="69" y="106"/>
                    <a:pt x="67" y="103"/>
                  </a:cubicBezTo>
                  <a:cubicBezTo>
                    <a:pt x="67" y="102"/>
                    <a:pt x="66" y="101"/>
                    <a:pt x="66" y="100"/>
                  </a:cubicBezTo>
                  <a:cubicBezTo>
                    <a:pt x="65" y="98"/>
                    <a:pt x="65" y="96"/>
                    <a:pt x="64" y="95"/>
                  </a:cubicBezTo>
                  <a:cubicBezTo>
                    <a:pt x="63" y="94"/>
                    <a:pt x="61" y="93"/>
                    <a:pt x="59" y="91"/>
                  </a:cubicBezTo>
                  <a:cubicBezTo>
                    <a:pt x="58" y="91"/>
                    <a:pt x="57" y="89"/>
                    <a:pt x="56" y="89"/>
                  </a:cubicBezTo>
                  <a:cubicBezTo>
                    <a:pt x="55" y="87"/>
                    <a:pt x="53" y="82"/>
                    <a:pt x="52" y="78"/>
                  </a:cubicBezTo>
                  <a:cubicBezTo>
                    <a:pt x="52" y="77"/>
                    <a:pt x="52" y="76"/>
                    <a:pt x="52" y="75"/>
                  </a:cubicBezTo>
                  <a:cubicBezTo>
                    <a:pt x="52" y="73"/>
                    <a:pt x="52" y="71"/>
                    <a:pt x="51" y="70"/>
                  </a:cubicBezTo>
                  <a:cubicBezTo>
                    <a:pt x="51" y="67"/>
                    <a:pt x="47" y="63"/>
                    <a:pt x="46" y="62"/>
                  </a:cubicBezTo>
                  <a:cubicBezTo>
                    <a:pt x="45" y="61"/>
                    <a:pt x="43" y="60"/>
                    <a:pt x="42" y="58"/>
                  </a:cubicBezTo>
                  <a:cubicBezTo>
                    <a:pt x="40" y="58"/>
                    <a:pt x="39" y="57"/>
                    <a:pt x="39" y="56"/>
                  </a:cubicBezTo>
                  <a:cubicBezTo>
                    <a:pt x="37" y="54"/>
                    <a:pt x="34" y="51"/>
                    <a:pt x="32" y="49"/>
                  </a:cubicBezTo>
                  <a:cubicBezTo>
                    <a:pt x="31" y="48"/>
                    <a:pt x="29" y="44"/>
                    <a:pt x="28" y="43"/>
                  </a:cubicBezTo>
                  <a:cubicBezTo>
                    <a:pt x="28" y="42"/>
                    <a:pt x="29" y="41"/>
                    <a:pt x="29" y="40"/>
                  </a:cubicBezTo>
                  <a:cubicBezTo>
                    <a:pt x="29" y="39"/>
                    <a:pt x="30" y="37"/>
                    <a:pt x="29" y="36"/>
                  </a:cubicBezTo>
                  <a:cubicBezTo>
                    <a:pt x="29" y="34"/>
                    <a:pt x="27" y="33"/>
                    <a:pt x="26" y="31"/>
                  </a:cubicBezTo>
                  <a:cubicBezTo>
                    <a:pt x="25" y="30"/>
                    <a:pt x="24" y="29"/>
                    <a:pt x="23" y="29"/>
                  </a:cubicBezTo>
                  <a:cubicBezTo>
                    <a:pt x="24" y="29"/>
                    <a:pt x="24" y="28"/>
                    <a:pt x="25" y="27"/>
                  </a:cubicBezTo>
                  <a:cubicBezTo>
                    <a:pt x="26" y="27"/>
                    <a:pt x="26" y="26"/>
                    <a:pt x="27" y="25"/>
                  </a:cubicBezTo>
                  <a:cubicBezTo>
                    <a:pt x="28" y="23"/>
                    <a:pt x="30" y="17"/>
                    <a:pt x="30" y="17"/>
                  </a:cubicBezTo>
                  <a:cubicBezTo>
                    <a:pt x="30" y="16"/>
                    <a:pt x="30" y="16"/>
                    <a:pt x="30" y="16"/>
                  </a:cubicBezTo>
                  <a:cubicBezTo>
                    <a:pt x="30" y="14"/>
                    <a:pt x="30" y="11"/>
                    <a:pt x="30" y="10"/>
                  </a:cubicBezTo>
                  <a:cubicBezTo>
                    <a:pt x="30" y="10"/>
                    <a:pt x="31" y="10"/>
                    <a:pt x="31" y="9"/>
                  </a:cubicBezTo>
                  <a:cubicBezTo>
                    <a:pt x="33" y="9"/>
                    <a:pt x="34" y="7"/>
                    <a:pt x="34" y="5"/>
                  </a:cubicBezTo>
                  <a:cubicBezTo>
                    <a:pt x="34" y="3"/>
                    <a:pt x="33" y="2"/>
                    <a:pt x="30" y="1"/>
                  </a:cubicBezTo>
                  <a:cubicBezTo>
                    <a:pt x="28" y="0"/>
                    <a:pt x="25" y="0"/>
                    <a:pt x="23" y="0"/>
                  </a:cubicBezTo>
                  <a:cubicBezTo>
                    <a:pt x="21" y="0"/>
                    <a:pt x="17" y="1"/>
                    <a:pt x="15" y="1"/>
                  </a:cubicBezTo>
                  <a:cubicBezTo>
                    <a:pt x="13" y="2"/>
                    <a:pt x="9" y="4"/>
                    <a:pt x="7" y="6"/>
                  </a:cubicBezTo>
                  <a:cubicBezTo>
                    <a:pt x="5" y="8"/>
                    <a:pt x="3" y="13"/>
                    <a:pt x="2" y="15"/>
                  </a:cubicBezTo>
                  <a:cubicBezTo>
                    <a:pt x="2" y="15"/>
                    <a:pt x="1" y="17"/>
                    <a:pt x="1" y="18"/>
                  </a:cubicBezTo>
                  <a:cubicBezTo>
                    <a:pt x="0" y="22"/>
                    <a:pt x="1" y="26"/>
                    <a:pt x="1" y="27"/>
                  </a:cubicBezTo>
                  <a:cubicBezTo>
                    <a:pt x="24" y="108"/>
                    <a:pt x="24" y="108"/>
                    <a:pt x="24" y="108"/>
                  </a:cubicBezTo>
                  <a:cubicBezTo>
                    <a:pt x="37" y="159"/>
                    <a:pt x="37" y="159"/>
                    <a:pt x="37" y="159"/>
                  </a:cubicBezTo>
                  <a:cubicBezTo>
                    <a:pt x="37" y="160"/>
                    <a:pt x="37" y="160"/>
                    <a:pt x="37" y="160"/>
                  </a:cubicBezTo>
                  <a:cubicBezTo>
                    <a:pt x="41" y="168"/>
                    <a:pt x="41" y="168"/>
                    <a:pt x="41" y="168"/>
                  </a:cubicBezTo>
                  <a:cubicBezTo>
                    <a:pt x="42" y="169"/>
                    <a:pt x="42" y="169"/>
                    <a:pt x="43" y="169"/>
                  </a:cubicBezTo>
                  <a:cubicBezTo>
                    <a:pt x="43" y="169"/>
                    <a:pt x="44" y="169"/>
                    <a:pt x="44" y="169"/>
                  </a:cubicBezTo>
                  <a:cubicBezTo>
                    <a:pt x="97" y="157"/>
                    <a:pt x="97" y="157"/>
                    <a:pt x="97" y="157"/>
                  </a:cubicBezTo>
                  <a:cubicBezTo>
                    <a:pt x="99" y="156"/>
                    <a:pt x="99" y="156"/>
                    <a:pt x="99" y="156"/>
                  </a:cubicBezTo>
                  <a:cubicBezTo>
                    <a:pt x="99" y="156"/>
                    <a:pt x="100" y="157"/>
                    <a:pt x="100" y="157"/>
                  </a:cubicBezTo>
                  <a:cubicBezTo>
                    <a:pt x="101" y="157"/>
                    <a:pt x="102" y="156"/>
                    <a:pt x="103" y="156"/>
                  </a:cubicBezTo>
                  <a:cubicBezTo>
                    <a:pt x="103" y="155"/>
                    <a:pt x="104" y="154"/>
                    <a:pt x="104" y="154"/>
                  </a:cubicBezTo>
                  <a:cubicBezTo>
                    <a:pt x="103" y="152"/>
                    <a:pt x="100" y="136"/>
                    <a:pt x="96" y="136"/>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9">
              <a:extLst>
                <a:ext uri="{FF2B5EF4-FFF2-40B4-BE49-F238E27FC236}">
                  <a16:creationId xmlns:a16="http://schemas.microsoft.com/office/drawing/2014/main" id="{003EAB63-A1BB-48C7-B8D8-19A4A3AD28FF}"/>
                </a:ext>
              </a:extLst>
            </p:cNvPr>
            <p:cNvSpPr>
              <a:spLocks noEditPoints="1"/>
            </p:cNvSpPr>
            <p:nvPr/>
          </p:nvSpPr>
          <p:spPr bwMode="auto">
            <a:xfrm>
              <a:off x="3062607" y="4840070"/>
              <a:ext cx="2027517" cy="1417038"/>
            </a:xfrm>
            <a:custGeom>
              <a:avLst/>
              <a:gdLst>
                <a:gd name="T0" fmla="*/ 938 w 1824"/>
                <a:gd name="T1" fmla="*/ 901 h 1274"/>
                <a:gd name="T2" fmla="*/ 913 w 1824"/>
                <a:gd name="T3" fmla="*/ 1014 h 1274"/>
                <a:gd name="T4" fmla="*/ 965 w 1824"/>
                <a:gd name="T5" fmla="*/ 914 h 1274"/>
                <a:gd name="T6" fmla="*/ 917 w 1824"/>
                <a:gd name="T7" fmla="*/ 953 h 1274"/>
                <a:gd name="T8" fmla="*/ 923 w 1824"/>
                <a:gd name="T9" fmla="*/ 981 h 1274"/>
                <a:gd name="T10" fmla="*/ 509 w 1824"/>
                <a:gd name="T11" fmla="*/ 413 h 1274"/>
                <a:gd name="T12" fmla="*/ 612 w 1824"/>
                <a:gd name="T13" fmla="*/ 481 h 1274"/>
                <a:gd name="T14" fmla="*/ 653 w 1824"/>
                <a:gd name="T15" fmla="*/ 544 h 1274"/>
                <a:gd name="T16" fmla="*/ 552 w 1824"/>
                <a:gd name="T17" fmla="*/ 590 h 1274"/>
                <a:gd name="T18" fmla="*/ 505 w 1824"/>
                <a:gd name="T19" fmla="*/ 674 h 1274"/>
                <a:gd name="T20" fmla="*/ 556 w 1824"/>
                <a:gd name="T21" fmla="*/ 720 h 1274"/>
                <a:gd name="T22" fmla="*/ 524 w 1824"/>
                <a:gd name="T23" fmla="*/ 745 h 1274"/>
                <a:gd name="T24" fmla="*/ 621 w 1824"/>
                <a:gd name="T25" fmla="*/ 738 h 1274"/>
                <a:gd name="T26" fmla="*/ 643 w 1824"/>
                <a:gd name="T27" fmla="*/ 873 h 1274"/>
                <a:gd name="T28" fmla="*/ 748 w 1824"/>
                <a:gd name="T29" fmla="*/ 848 h 1274"/>
                <a:gd name="T30" fmla="*/ 787 w 1824"/>
                <a:gd name="T31" fmla="*/ 882 h 1274"/>
                <a:gd name="T32" fmla="*/ 698 w 1824"/>
                <a:gd name="T33" fmla="*/ 1023 h 1274"/>
                <a:gd name="T34" fmla="*/ 572 w 1824"/>
                <a:gd name="T35" fmla="*/ 1111 h 1274"/>
                <a:gd name="T36" fmla="*/ 624 w 1824"/>
                <a:gd name="T37" fmla="*/ 1102 h 1274"/>
                <a:gd name="T38" fmla="*/ 709 w 1824"/>
                <a:gd name="T39" fmla="*/ 1084 h 1274"/>
                <a:gd name="T40" fmla="*/ 785 w 1824"/>
                <a:gd name="T41" fmla="*/ 1012 h 1274"/>
                <a:gd name="T42" fmla="*/ 871 w 1824"/>
                <a:gd name="T43" fmla="*/ 918 h 1274"/>
                <a:gd name="T44" fmla="*/ 897 w 1824"/>
                <a:gd name="T45" fmla="*/ 830 h 1274"/>
                <a:gd name="T46" fmla="*/ 952 w 1824"/>
                <a:gd name="T47" fmla="*/ 730 h 1274"/>
                <a:gd name="T48" fmla="*/ 1046 w 1824"/>
                <a:gd name="T49" fmla="*/ 690 h 1274"/>
                <a:gd name="T50" fmla="*/ 985 w 1824"/>
                <a:gd name="T51" fmla="*/ 802 h 1274"/>
                <a:gd name="T52" fmla="*/ 1042 w 1824"/>
                <a:gd name="T53" fmla="*/ 773 h 1274"/>
                <a:gd name="T54" fmla="*/ 1078 w 1824"/>
                <a:gd name="T55" fmla="*/ 713 h 1274"/>
                <a:gd name="T56" fmla="*/ 1095 w 1824"/>
                <a:gd name="T57" fmla="*/ 687 h 1274"/>
                <a:gd name="T58" fmla="*/ 1150 w 1824"/>
                <a:gd name="T59" fmla="*/ 693 h 1274"/>
                <a:gd name="T60" fmla="*/ 1244 w 1824"/>
                <a:gd name="T61" fmla="*/ 713 h 1274"/>
                <a:gd name="T62" fmla="*/ 1386 w 1824"/>
                <a:gd name="T63" fmla="*/ 680 h 1274"/>
                <a:gd name="T64" fmla="*/ 1515 w 1824"/>
                <a:gd name="T65" fmla="*/ 761 h 1274"/>
                <a:gd name="T66" fmla="*/ 1528 w 1824"/>
                <a:gd name="T67" fmla="*/ 706 h 1274"/>
                <a:gd name="T68" fmla="*/ 1537 w 1824"/>
                <a:gd name="T69" fmla="*/ 680 h 1274"/>
                <a:gd name="T70" fmla="*/ 1617 w 1824"/>
                <a:gd name="T71" fmla="*/ 738 h 1274"/>
                <a:gd name="T72" fmla="*/ 1670 w 1824"/>
                <a:gd name="T73" fmla="*/ 786 h 1274"/>
                <a:gd name="T74" fmla="*/ 1748 w 1824"/>
                <a:gd name="T75" fmla="*/ 863 h 1274"/>
                <a:gd name="T76" fmla="*/ 1796 w 1824"/>
                <a:gd name="T77" fmla="*/ 881 h 1274"/>
                <a:gd name="T78" fmla="*/ 1734 w 1824"/>
                <a:gd name="T79" fmla="*/ 793 h 1274"/>
                <a:gd name="T80" fmla="*/ 1558 w 1824"/>
                <a:gd name="T81" fmla="*/ 674 h 1274"/>
                <a:gd name="T82" fmla="*/ 1389 w 1824"/>
                <a:gd name="T83" fmla="*/ 668 h 1274"/>
                <a:gd name="T84" fmla="*/ 1072 w 1824"/>
                <a:gd name="T85" fmla="*/ 43 h 1274"/>
                <a:gd name="T86" fmla="*/ 932 w 1824"/>
                <a:gd name="T87" fmla="*/ 43 h 1274"/>
                <a:gd name="T88" fmla="*/ 818 w 1824"/>
                <a:gd name="T89" fmla="*/ 35 h 1274"/>
                <a:gd name="T90" fmla="*/ 721 w 1824"/>
                <a:gd name="T91" fmla="*/ 43 h 1274"/>
                <a:gd name="T92" fmla="*/ 650 w 1824"/>
                <a:gd name="T93" fmla="*/ 81 h 1274"/>
                <a:gd name="T94" fmla="*/ 549 w 1824"/>
                <a:gd name="T95" fmla="*/ 221 h 1274"/>
                <a:gd name="T96" fmla="*/ 673 w 1824"/>
                <a:gd name="T97" fmla="*/ 329 h 1274"/>
                <a:gd name="T98" fmla="*/ 665 w 1824"/>
                <a:gd name="T99" fmla="*/ 354 h 1274"/>
                <a:gd name="T100" fmla="*/ 587 w 1824"/>
                <a:gd name="T101" fmla="*/ 325 h 1274"/>
                <a:gd name="T102" fmla="*/ 665 w 1824"/>
                <a:gd name="T103" fmla="*/ 1101 h 1274"/>
                <a:gd name="T104" fmla="*/ 605 w 1824"/>
                <a:gd name="T105" fmla="*/ 1129 h 1274"/>
                <a:gd name="T106" fmla="*/ 557 w 1824"/>
                <a:gd name="T107" fmla="*/ 1130 h 1274"/>
                <a:gd name="T108" fmla="*/ 449 w 1824"/>
                <a:gd name="T109" fmla="*/ 1183 h 1274"/>
                <a:gd name="T110" fmla="*/ 442 w 1824"/>
                <a:gd name="T111" fmla="*/ 1202 h 1274"/>
                <a:gd name="T112" fmla="*/ 388 w 1824"/>
                <a:gd name="T113" fmla="*/ 520 h 1274"/>
                <a:gd name="T114" fmla="*/ 417 w 1824"/>
                <a:gd name="T115" fmla="*/ 1218 h 1274"/>
                <a:gd name="T116" fmla="*/ 407 w 1824"/>
                <a:gd name="T117" fmla="*/ 1214 h 1274"/>
                <a:gd name="T118" fmla="*/ 368 w 1824"/>
                <a:gd name="T119" fmla="*/ 1208 h 1274"/>
                <a:gd name="T120" fmla="*/ 94 w 1824"/>
                <a:gd name="T121" fmla="*/ 1254 h 1274"/>
                <a:gd name="T122" fmla="*/ 1 w 1824"/>
                <a:gd name="T123" fmla="*/ 1267 h 1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24" h="1274">
                  <a:moveTo>
                    <a:pt x="938" y="901"/>
                  </a:moveTo>
                  <a:cubicBezTo>
                    <a:pt x="938" y="900"/>
                    <a:pt x="939" y="896"/>
                    <a:pt x="940" y="895"/>
                  </a:cubicBezTo>
                  <a:cubicBezTo>
                    <a:pt x="941" y="894"/>
                    <a:pt x="945" y="896"/>
                    <a:pt x="946" y="895"/>
                  </a:cubicBezTo>
                  <a:cubicBezTo>
                    <a:pt x="946" y="893"/>
                    <a:pt x="940" y="892"/>
                    <a:pt x="940" y="890"/>
                  </a:cubicBezTo>
                  <a:cubicBezTo>
                    <a:pt x="940" y="889"/>
                    <a:pt x="944" y="889"/>
                    <a:pt x="946" y="889"/>
                  </a:cubicBezTo>
                  <a:cubicBezTo>
                    <a:pt x="947" y="889"/>
                    <a:pt x="951" y="891"/>
                    <a:pt x="952" y="890"/>
                  </a:cubicBezTo>
                  <a:cubicBezTo>
                    <a:pt x="954" y="888"/>
                    <a:pt x="949" y="880"/>
                    <a:pt x="951" y="878"/>
                  </a:cubicBezTo>
                  <a:cubicBezTo>
                    <a:pt x="952" y="876"/>
                    <a:pt x="955" y="875"/>
                    <a:pt x="957" y="875"/>
                  </a:cubicBezTo>
                  <a:cubicBezTo>
                    <a:pt x="959" y="876"/>
                    <a:pt x="961" y="880"/>
                    <a:pt x="963" y="881"/>
                  </a:cubicBezTo>
                  <a:cubicBezTo>
                    <a:pt x="964" y="881"/>
                    <a:pt x="967" y="880"/>
                    <a:pt x="968" y="880"/>
                  </a:cubicBezTo>
                  <a:cubicBezTo>
                    <a:pt x="970" y="880"/>
                    <a:pt x="973" y="881"/>
                    <a:pt x="974" y="882"/>
                  </a:cubicBezTo>
                  <a:cubicBezTo>
                    <a:pt x="975" y="883"/>
                    <a:pt x="973" y="888"/>
                    <a:pt x="975" y="888"/>
                  </a:cubicBezTo>
                  <a:cubicBezTo>
                    <a:pt x="977" y="889"/>
                    <a:pt x="977" y="881"/>
                    <a:pt x="979" y="882"/>
                  </a:cubicBezTo>
                  <a:cubicBezTo>
                    <a:pt x="981" y="882"/>
                    <a:pt x="980" y="887"/>
                    <a:pt x="980" y="888"/>
                  </a:cubicBezTo>
                  <a:cubicBezTo>
                    <a:pt x="979" y="890"/>
                    <a:pt x="977" y="894"/>
                    <a:pt x="975" y="894"/>
                  </a:cubicBezTo>
                  <a:cubicBezTo>
                    <a:pt x="973" y="895"/>
                    <a:pt x="970" y="891"/>
                    <a:pt x="969" y="892"/>
                  </a:cubicBezTo>
                  <a:cubicBezTo>
                    <a:pt x="967" y="892"/>
                    <a:pt x="967" y="897"/>
                    <a:pt x="966" y="898"/>
                  </a:cubicBezTo>
                  <a:cubicBezTo>
                    <a:pt x="965" y="899"/>
                    <a:pt x="961" y="899"/>
                    <a:pt x="960" y="898"/>
                  </a:cubicBezTo>
                  <a:cubicBezTo>
                    <a:pt x="959" y="898"/>
                    <a:pt x="961" y="893"/>
                    <a:pt x="960" y="893"/>
                  </a:cubicBezTo>
                  <a:cubicBezTo>
                    <a:pt x="958" y="893"/>
                    <a:pt x="959" y="897"/>
                    <a:pt x="959" y="898"/>
                  </a:cubicBezTo>
                  <a:cubicBezTo>
                    <a:pt x="958" y="900"/>
                    <a:pt x="953" y="902"/>
                    <a:pt x="953" y="902"/>
                  </a:cubicBezTo>
                  <a:cubicBezTo>
                    <a:pt x="953" y="902"/>
                    <a:pt x="952" y="908"/>
                    <a:pt x="951" y="908"/>
                  </a:cubicBezTo>
                  <a:cubicBezTo>
                    <a:pt x="949" y="909"/>
                    <a:pt x="946" y="906"/>
                    <a:pt x="944" y="905"/>
                  </a:cubicBezTo>
                  <a:cubicBezTo>
                    <a:pt x="943" y="905"/>
                    <a:pt x="942" y="903"/>
                    <a:pt x="941" y="902"/>
                  </a:cubicBezTo>
                  <a:cubicBezTo>
                    <a:pt x="940" y="902"/>
                    <a:pt x="938" y="902"/>
                    <a:pt x="938" y="901"/>
                  </a:cubicBezTo>
                  <a:close/>
                  <a:moveTo>
                    <a:pt x="964" y="865"/>
                  </a:moveTo>
                  <a:cubicBezTo>
                    <a:pt x="963" y="863"/>
                    <a:pt x="963" y="863"/>
                    <a:pt x="963" y="863"/>
                  </a:cubicBezTo>
                  <a:cubicBezTo>
                    <a:pt x="957" y="867"/>
                    <a:pt x="957" y="867"/>
                    <a:pt x="957" y="867"/>
                  </a:cubicBezTo>
                  <a:cubicBezTo>
                    <a:pt x="956" y="873"/>
                    <a:pt x="956" y="873"/>
                    <a:pt x="956" y="873"/>
                  </a:cubicBezTo>
                  <a:cubicBezTo>
                    <a:pt x="961" y="871"/>
                    <a:pt x="961" y="871"/>
                    <a:pt x="961" y="871"/>
                  </a:cubicBezTo>
                  <a:cubicBezTo>
                    <a:pt x="964" y="865"/>
                    <a:pt x="964" y="865"/>
                    <a:pt x="964" y="865"/>
                  </a:cubicBezTo>
                  <a:close/>
                  <a:moveTo>
                    <a:pt x="955" y="967"/>
                  </a:moveTo>
                  <a:cubicBezTo>
                    <a:pt x="950" y="966"/>
                    <a:pt x="950" y="966"/>
                    <a:pt x="950" y="966"/>
                  </a:cubicBezTo>
                  <a:cubicBezTo>
                    <a:pt x="945" y="966"/>
                    <a:pt x="945" y="966"/>
                    <a:pt x="945" y="966"/>
                  </a:cubicBezTo>
                  <a:cubicBezTo>
                    <a:pt x="939" y="968"/>
                    <a:pt x="939" y="968"/>
                    <a:pt x="939" y="968"/>
                  </a:cubicBezTo>
                  <a:cubicBezTo>
                    <a:pt x="938" y="974"/>
                    <a:pt x="938" y="974"/>
                    <a:pt x="938" y="974"/>
                  </a:cubicBezTo>
                  <a:cubicBezTo>
                    <a:pt x="944" y="977"/>
                    <a:pt x="944" y="977"/>
                    <a:pt x="944" y="977"/>
                  </a:cubicBezTo>
                  <a:cubicBezTo>
                    <a:pt x="949" y="970"/>
                    <a:pt x="949" y="970"/>
                    <a:pt x="949" y="970"/>
                  </a:cubicBezTo>
                  <a:cubicBezTo>
                    <a:pt x="955" y="967"/>
                    <a:pt x="955" y="967"/>
                    <a:pt x="955" y="967"/>
                  </a:cubicBezTo>
                  <a:close/>
                  <a:moveTo>
                    <a:pt x="929" y="912"/>
                  </a:moveTo>
                  <a:cubicBezTo>
                    <a:pt x="929" y="912"/>
                    <a:pt x="927" y="915"/>
                    <a:pt x="927" y="916"/>
                  </a:cubicBezTo>
                  <a:cubicBezTo>
                    <a:pt x="927" y="918"/>
                    <a:pt x="931" y="919"/>
                    <a:pt x="932" y="920"/>
                  </a:cubicBezTo>
                  <a:cubicBezTo>
                    <a:pt x="934" y="921"/>
                    <a:pt x="939" y="922"/>
                    <a:pt x="939" y="922"/>
                  </a:cubicBezTo>
                  <a:cubicBezTo>
                    <a:pt x="939" y="922"/>
                    <a:pt x="936" y="917"/>
                    <a:pt x="935" y="916"/>
                  </a:cubicBezTo>
                  <a:cubicBezTo>
                    <a:pt x="934" y="915"/>
                    <a:pt x="929" y="912"/>
                    <a:pt x="929" y="912"/>
                  </a:cubicBezTo>
                  <a:close/>
                  <a:moveTo>
                    <a:pt x="915" y="1008"/>
                  </a:moveTo>
                  <a:cubicBezTo>
                    <a:pt x="913" y="1008"/>
                    <a:pt x="913" y="1008"/>
                    <a:pt x="913" y="1008"/>
                  </a:cubicBezTo>
                  <a:cubicBezTo>
                    <a:pt x="907" y="1009"/>
                    <a:pt x="907" y="1009"/>
                    <a:pt x="907" y="1009"/>
                  </a:cubicBezTo>
                  <a:cubicBezTo>
                    <a:pt x="906" y="1015"/>
                    <a:pt x="906" y="1015"/>
                    <a:pt x="906" y="1015"/>
                  </a:cubicBezTo>
                  <a:cubicBezTo>
                    <a:pt x="913" y="1014"/>
                    <a:pt x="913" y="1014"/>
                    <a:pt x="913" y="1014"/>
                  </a:cubicBezTo>
                  <a:cubicBezTo>
                    <a:pt x="915" y="1008"/>
                    <a:pt x="915" y="1008"/>
                    <a:pt x="915" y="1008"/>
                  </a:cubicBezTo>
                  <a:close/>
                  <a:moveTo>
                    <a:pt x="902" y="1010"/>
                  </a:moveTo>
                  <a:cubicBezTo>
                    <a:pt x="899" y="1009"/>
                    <a:pt x="899" y="1009"/>
                    <a:pt x="899" y="1009"/>
                  </a:cubicBezTo>
                  <a:cubicBezTo>
                    <a:pt x="893" y="1015"/>
                    <a:pt x="893" y="1015"/>
                    <a:pt x="893" y="1015"/>
                  </a:cubicBezTo>
                  <a:cubicBezTo>
                    <a:pt x="894" y="1020"/>
                    <a:pt x="894" y="1020"/>
                    <a:pt x="894" y="1020"/>
                  </a:cubicBezTo>
                  <a:cubicBezTo>
                    <a:pt x="900" y="1016"/>
                    <a:pt x="900" y="1016"/>
                    <a:pt x="900" y="1016"/>
                  </a:cubicBezTo>
                  <a:cubicBezTo>
                    <a:pt x="902" y="1010"/>
                    <a:pt x="902" y="1010"/>
                    <a:pt x="902" y="1010"/>
                  </a:cubicBezTo>
                  <a:close/>
                  <a:moveTo>
                    <a:pt x="937" y="968"/>
                  </a:moveTo>
                  <a:cubicBezTo>
                    <a:pt x="943" y="963"/>
                    <a:pt x="943" y="963"/>
                    <a:pt x="943" y="963"/>
                  </a:cubicBezTo>
                  <a:cubicBezTo>
                    <a:pt x="949" y="962"/>
                    <a:pt x="949" y="962"/>
                    <a:pt x="949" y="962"/>
                  </a:cubicBezTo>
                  <a:cubicBezTo>
                    <a:pt x="943" y="956"/>
                    <a:pt x="943" y="956"/>
                    <a:pt x="943" y="956"/>
                  </a:cubicBezTo>
                  <a:cubicBezTo>
                    <a:pt x="950" y="954"/>
                    <a:pt x="950" y="954"/>
                    <a:pt x="950" y="954"/>
                  </a:cubicBezTo>
                  <a:cubicBezTo>
                    <a:pt x="950" y="954"/>
                    <a:pt x="954" y="956"/>
                    <a:pt x="956" y="956"/>
                  </a:cubicBezTo>
                  <a:cubicBezTo>
                    <a:pt x="957" y="957"/>
                    <a:pt x="960" y="958"/>
                    <a:pt x="961" y="957"/>
                  </a:cubicBezTo>
                  <a:cubicBezTo>
                    <a:pt x="963" y="956"/>
                    <a:pt x="965" y="953"/>
                    <a:pt x="964" y="951"/>
                  </a:cubicBezTo>
                  <a:cubicBezTo>
                    <a:pt x="964" y="949"/>
                    <a:pt x="960" y="946"/>
                    <a:pt x="959" y="945"/>
                  </a:cubicBezTo>
                  <a:cubicBezTo>
                    <a:pt x="957" y="945"/>
                    <a:pt x="953" y="945"/>
                    <a:pt x="953" y="945"/>
                  </a:cubicBezTo>
                  <a:cubicBezTo>
                    <a:pt x="953" y="945"/>
                    <a:pt x="957" y="941"/>
                    <a:pt x="959" y="941"/>
                  </a:cubicBezTo>
                  <a:cubicBezTo>
                    <a:pt x="960" y="941"/>
                    <a:pt x="963" y="944"/>
                    <a:pt x="964" y="945"/>
                  </a:cubicBezTo>
                  <a:cubicBezTo>
                    <a:pt x="966" y="945"/>
                    <a:pt x="969" y="945"/>
                    <a:pt x="971" y="945"/>
                  </a:cubicBezTo>
                  <a:cubicBezTo>
                    <a:pt x="974" y="943"/>
                    <a:pt x="978" y="933"/>
                    <a:pt x="978" y="933"/>
                  </a:cubicBezTo>
                  <a:cubicBezTo>
                    <a:pt x="978" y="933"/>
                    <a:pt x="973" y="932"/>
                    <a:pt x="972" y="931"/>
                  </a:cubicBezTo>
                  <a:cubicBezTo>
                    <a:pt x="970" y="930"/>
                    <a:pt x="966" y="928"/>
                    <a:pt x="966" y="926"/>
                  </a:cubicBezTo>
                  <a:cubicBezTo>
                    <a:pt x="966" y="924"/>
                    <a:pt x="970" y="922"/>
                    <a:pt x="969" y="920"/>
                  </a:cubicBezTo>
                  <a:cubicBezTo>
                    <a:pt x="969" y="918"/>
                    <a:pt x="967" y="915"/>
                    <a:pt x="965" y="914"/>
                  </a:cubicBezTo>
                  <a:cubicBezTo>
                    <a:pt x="964" y="913"/>
                    <a:pt x="961" y="911"/>
                    <a:pt x="960" y="912"/>
                  </a:cubicBezTo>
                  <a:cubicBezTo>
                    <a:pt x="958" y="912"/>
                    <a:pt x="958" y="917"/>
                    <a:pt x="957" y="918"/>
                  </a:cubicBezTo>
                  <a:cubicBezTo>
                    <a:pt x="956" y="920"/>
                    <a:pt x="952" y="924"/>
                    <a:pt x="952" y="924"/>
                  </a:cubicBezTo>
                  <a:cubicBezTo>
                    <a:pt x="952" y="924"/>
                    <a:pt x="951" y="914"/>
                    <a:pt x="948" y="912"/>
                  </a:cubicBezTo>
                  <a:cubicBezTo>
                    <a:pt x="947" y="912"/>
                    <a:pt x="944" y="913"/>
                    <a:pt x="942" y="913"/>
                  </a:cubicBezTo>
                  <a:cubicBezTo>
                    <a:pt x="941" y="913"/>
                    <a:pt x="938" y="909"/>
                    <a:pt x="937" y="910"/>
                  </a:cubicBezTo>
                  <a:cubicBezTo>
                    <a:pt x="935" y="911"/>
                    <a:pt x="940" y="914"/>
                    <a:pt x="941" y="916"/>
                  </a:cubicBezTo>
                  <a:cubicBezTo>
                    <a:pt x="941" y="917"/>
                    <a:pt x="939" y="922"/>
                    <a:pt x="939" y="922"/>
                  </a:cubicBezTo>
                  <a:cubicBezTo>
                    <a:pt x="940" y="928"/>
                    <a:pt x="940" y="928"/>
                    <a:pt x="940" y="928"/>
                  </a:cubicBezTo>
                  <a:cubicBezTo>
                    <a:pt x="940" y="928"/>
                    <a:pt x="936" y="922"/>
                    <a:pt x="934" y="923"/>
                  </a:cubicBezTo>
                  <a:cubicBezTo>
                    <a:pt x="933" y="924"/>
                    <a:pt x="937" y="928"/>
                    <a:pt x="936" y="929"/>
                  </a:cubicBezTo>
                  <a:cubicBezTo>
                    <a:pt x="935" y="930"/>
                    <a:pt x="931" y="925"/>
                    <a:pt x="930" y="926"/>
                  </a:cubicBezTo>
                  <a:cubicBezTo>
                    <a:pt x="928" y="927"/>
                    <a:pt x="930" y="933"/>
                    <a:pt x="928" y="933"/>
                  </a:cubicBezTo>
                  <a:cubicBezTo>
                    <a:pt x="927" y="933"/>
                    <a:pt x="927" y="928"/>
                    <a:pt x="927" y="926"/>
                  </a:cubicBezTo>
                  <a:cubicBezTo>
                    <a:pt x="926" y="924"/>
                    <a:pt x="924" y="921"/>
                    <a:pt x="923" y="920"/>
                  </a:cubicBezTo>
                  <a:cubicBezTo>
                    <a:pt x="921" y="919"/>
                    <a:pt x="918" y="920"/>
                    <a:pt x="917" y="920"/>
                  </a:cubicBezTo>
                  <a:cubicBezTo>
                    <a:pt x="915" y="921"/>
                    <a:pt x="913" y="924"/>
                    <a:pt x="913" y="926"/>
                  </a:cubicBezTo>
                  <a:cubicBezTo>
                    <a:pt x="913" y="928"/>
                    <a:pt x="914" y="931"/>
                    <a:pt x="915" y="932"/>
                  </a:cubicBezTo>
                  <a:cubicBezTo>
                    <a:pt x="916" y="933"/>
                    <a:pt x="921" y="932"/>
                    <a:pt x="922" y="933"/>
                  </a:cubicBezTo>
                  <a:cubicBezTo>
                    <a:pt x="922" y="935"/>
                    <a:pt x="918" y="937"/>
                    <a:pt x="918" y="939"/>
                  </a:cubicBezTo>
                  <a:cubicBezTo>
                    <a:pt x="918" y="941"/>
                    <a:pt x="925" y="941"/>
                    <a:pt x="924" y="942"/>
                  </a:cubicBezTo>
                  <a:cubicBezTo>
                    <a:pt x="923" y="944"/>
                    <a:pt x="919" y="939"/>
                    <a:pt x="918" y="940"/>
                  </a:cubicBezTo>
                  <a:cubicBezTo>
                    <a:pt x="915" y="942"/>
                    <a:pt x="920" y="953"/>
                    <a:pt x="920" y="953"/>
                  </a:cubicBezTo>
                  <a:cubicBezTo>
                    <a:pt x="923" y="959"/>
                    <a:pt x="923" y="959"/>
                    <a:pt x="923" y="959"/>
                  </a:cubicBezTo>
                  <a:cubicBezTo>
                    <a:pt x="917" y="953"/>
                    <a:pt x="917" y="953"/>
                    <a:pt x="917" y="953"/>
                  </a:cubicBezTo>
                  <a:cubicBezTo>
                    <a:pt x="917" y="953"/>
                    <a:pt x="916" y="948"/>
                    <a:pt x="915" y="947"/>
                  </a:cubicBezTo>
                  <a:cubicBezTo>
                    <a:pt x="914" y="946"/>
                    <a:pt x="910" y="946"/>
                    <a:pt x="909" y="944"/>
                  </a:cubicBezTo>
                  <a:cubicBezTo>
                    <a:pt x="909" y="943"/>
                    <a:pt x="912" y="940"/>
                    <a:pt x="912" y="938"/>
                  </a:cubicBezTo>
                  <a:cubicBezTo>
                    <a:pt x="911" y="937"/>
                    <a:pt x="906" y="937"/>
                    <a:pt x="906" y="937"/>
                  </a:cubicBezTo>
                  <a:cubicBezTo>
                    <a:pt x="900" y="938"/>
                    <a:pt x="900" y="938"/>
                    <a:pt x="900" y="938"/>
                  </a:cubicBezTo>
                  <a:cubicBezTo>
                    <a:pt x="900" y="938"/>
                    <a:pt x="891" y="945"/>
                    <a:pt x="889" y="949"/>
                  </a:cubicBezTo>
                  <a:cubicBezTo>
                    <a:pt x="887" y="951"/>
                    <a:pt x="884" y="957"/>
                    <a:pt x="884" y="960"/>
                  </a:cubicBezTo>
                  <a:cubicBezTo>
                    <a:pt x="885" y="962"/>
                    <a:pt x="889" y="963"/>
                    <a:pt x="890" y="964"/>
                  </a:cubicBezTo>
                  <a:cubicBezTo>
                    <a:pt x="892" y="966"/>
                    <a:pt x="894" y="970"/>
                    <a:pt x="894" y="970"/>
                  </a:cubicBezTo>
                  <a:cubicBezTo>
                    <a:pt x="895" y="976"/>
                    <a:pt x="895" y="976"/>
                    <a:pt x="895" y="976"/>
                  </a:cubicBezTo>
                  <a:cubicBezTo>
                    <a:pt x="895" y="976"/>
                    <a:pt x="895" y="981"/>
                    <a:pt x="895" y="982"/>
                  </a:cubicBezTo>
                  <a:cubicBezTo>
                    <a:pt x="896" y="984"/>
                    <a:pt x="901" y="984"/>
                    <a:pt x="902" y="985"/>
                  </a:cubicBezTo>
                  <a:cubicBezTo>
                    <a:pt x="903" y="986"/>
                    <a:pt x="903" y="991"/>
                    <a:pt x="905" y="991"/>
                  </a:cubicBezTo>
                  <a:cubicBezTo>
                    <a:pt x="907" y="991"/>
                    <a:pt x="909" y="987"/>
                    <a:pt x="909" y="985"/>
                  </a:cubicBezTo>
                  <a:cubicBezTo>
                    <a:pt x="911" y="982"/>
                    <a:pt x="911" y="973"/>
                    <a:pt x="911" y="973"/>
                  </a:cubicBezTo>
                  <a:cubicBezTo>
                    <a:pt x="905" y="974"/>
                    <a:pt x="905" y="974"/>
                    <a:pt x="905" y="974"/>
                  </a:cubicBezTo>
                  <a:cubicBezTo>
                    <a:pt x="905" y="974"/>
                    <a:pt x="900" y="979"/>
                    <a:pt x="899" y="978"/>
                  </a:cubicBezTo>
                  <a:cubicBezTo>
                    <a:pt x="898" y="977"/>
                    <a:pt x="901" y="972"/>
                    <a:pt x="901" y="972"/>
                  </a:cubicBezTo>
                  <a:cubicBezTo>
                    <a:pt x="906" y="971"/>
                    <a:pt x="906" y="971"/>
                    <a:pt x="906" y="971"/>
                  </a:cubicBezTo>
                  <a:cubicBezTo>
                    <a:pt x="912" y="972"/>
                    <a:pt x="912" y="972"/>
                    <a:pt x="912" y="972"/>
                  </a:cubicBezTo>
                  <a:cubicBezTo>
                    <a:pt x="912" y="972"/>
                    <a:pt x="910" y="977"/>
                    <a:pt x="911" y="978"/>
                  </a:cubicBezTo>
                  <a:cubicBezTo>
                    <a:pt x="912" y="979"/>
                    <a:pt x="917" y="975"/>
                    <a:pt x="917" y="975"/>
                  </a:cubicBezTo>
                  <a:cubicBezTo>
                    <a:pt x="922" y="970"/>
                    <a:pt x="922" y="970"/>
                    <a:pt x="922" y="970"/>
                  </a:cubicBezTo>
                  <a:cubicBezTo>
                    <a:pt x="922" y="970"/>
                    <a:pt x="915" y="979"/>
                    <a:pt x="917" y="981"/>
                  </a:cubicBezTo>
                  <a:cubicBezTo>
                    <a:pt x="918" y="982"/>
                    <a:pt x="922" y="979"/>
                    <a:pt x="923" y="981"/>
                  </a:cubicBezTo>
                  <a:cubicBezTo>
                    <a:pt x="925" y="984"/>
                    <a:pt x="915" y="989"/>
                    <a:pt x="913" y="993"/>
                  </a:cubicBezTo>
                  <a:cubicBezTo>
                    <a:pt x="913" y="994"/>
                    <a:pt x="910" y="997"/>
                    <a:pt x="911" y="998"/>
                  </a:cubicBezTo>
                  <a:cubicBezTo>
                    <a:pt x="912" y="1000"/>
                    <a:pt x="916" y="999"/>
                    <a:pt x="917" y="998"/>
                  </a:cubicBezTo>
                  <a:cubicBezTo>
                    <a:pt x="921" y="997"/>
                    <a:pt x="924" y="990"/>
                    <a:pt x="926" y="987"/>
                  </a:cubicBezTo>
                  <a:cubicBezTo>
                    <a:pt x="927" y="985"/>
                    <a:pt x="932" y="983"/>
                    <a:pt x="932" y="981"/>
                  </a:cubicBezTo>
                  <a:cubicBezTo>
                    <a:pt x="932" y="979"/>
                    <a:pt x="926" y="976"/>
                    <a:pt x="926" y="976"/>
                  </a:cubicBezTo>
                  <a:cubicBezTo>
                    <a:pt x="932" y="974"/>
                    <a:pt x="932" y="974"/>
                    <a:pt x="932" y="974"/>
                  </a:cubicBezTo>
                  <a:cubicBezTo>
                    <a:pt x="932" y="968"/>
                    <a:pt x="932" y="968"/>
                    <a:pt x="932" y="968"/>
                  </a:cubicBezTo>
                  <a:cubicBezTo>
                    <a:pt x="937" y="968"/>
                    <a:pt x="937" y="968"/>
                    <a:pt x="937" y="968"/>
                  </a:cubicBezTo>
                  <a:close/>
                  <a:moveTo>
                    <a:pt x="802" y="846"/>
                  </a:moveTo>
                  <a:cubicBezTo>
                    <a:pt x="802" y="845"/>
                    <a:pt x="802" y="845"/>
                    <a:pt x="802" y="845"/>
                  </a:cubicBezTo>
                  <a:cubicBezTo>
                    <a:pt x="805" y="840"/>
                    <a:pt x="805" y="840"/>
                    <a:pt x="805" y="840"/>
                  </a:cubicBezTo>
                  <a:cubicBezTo>
                    <a:pt x="802" y="846"/>
                    <a:pt x="802" y="846"/>
                    <a:pt x="802" y="846"/>
                  </a:cubicBezTo>
                  <a:close/>
                  <a:moveTo>
                    <a:pt x="466" y="378"/>
                  </a:moveTo>
                  <a:cubicBezTo>
                    <a:pt x="463" y="381"/>
                    <a:pt x="463" y="381"/>
                    <a:pt x="463" y="381"/>
                  </a:cubicBezTo>
                  <a:cubicBezTo>
                    <a:pt x="479" y="397"/>
                    <a:pt x="479" y="397"/>
                    <a:pt x="479" y="397"/>
                  </a:cubicBezTo>
                  <a:cubicBezTo>
                    <a:pt x="485" y="400"/>
                    <a:pt x="485" y="400"/>
                    <a:pt x="485" y="400"/>
                  </a:cubicBezTo>
                  <a:cubicBezTo>
                    <a:pt x="491" y="401"/>
                    <a:pt x="491" y="401"/>
                    <a:pt x="491" y="401"/>
                  </a:cubicBezTo>
                  <a:cubicBezTo>
                    <a:pt x="496" y="405"/>
                    <a:pt x="496" y="405"/>
                    <a:pt x="496" y="405"/>
                  </a:cubicBezTo>
                  <a:cubicBezTo>
                    <a:pt x="502" y="406"/>
                    <a:pt x="502" y="406"/>
                    <a:pt x="502" y="406"/>
                  </a:cubicBezTo>
                  <a:cubicBezTo>
                    <a:pt x="495" y="402"/>
                    <a:pt x="495" y="402"/>
                    <a:pt x="495" y="402"/>
                  </a:cubicBezTo>
                  <a:cubicBezTo>
                    <a:pt x="513" y="409"/>
                    <a:pt x="513" y="409"/>
                    <a:pt x="513" y="409"/>
                  </a:cubicBezTo>
                  <a:cubicBezTo>
                    <a:pt x="519" y="415"/>
                    <a:pt x="519" y="415"/>
                    <a:pt x="519" y="415"/>
                  </a:cubicBezTo>
                  <a:cubicBezTo>
                    <a:pt x="514" y="413"/>
                    <a:pt x="514" y="413"/>
                    <a:pt x="514" y="413"/>
                  </a:cubicBezTo>
                  <a:cubicBezTo>
                    <a:pt x="509" y="413"/>
                    <a:pt x="509" y="413"/>
                    <a:pt x="509" y="413"/>
                  </a:cubicBezTo>
                  <a:cubicBezTo>
                    <a:pt x="505" y="419"/>
                    <a:pt x="505" y="419"/>
                    <a:pt x="505" y="419"/>
                  </a:cubicBezTo>
                  <a:cubicBezTo>
                    <a:pt x="499" y="421"/>
                    <a:pt x="499" y="421"/>
                    <a:pt x="499" y="421"/>
                  </a:cubicBezTo>
                  <a:cubicBezTo>
                    <a:pt x="494" y="419"/>
                    <a:pt x="494" y="419"/>
                    <a:pt x="494" y="419"/>
                  </a:cubicBezTo>
                  <a:cubicBezTo>
                    <a:pt x="494" y="413"/>
                    <a:pt x="494" y="413"/>
                    <a:pt x="494" y="413"/>
                  </a:cubicBezTo>
                  <a:cubicBezTo>
                    <a:pt x="493" y="419"/>
                    <a:pt x="493" y="419"/>
                    <a:pt x="493" y="419"/>
                  </a:cubicBezTo>
                  <a:cubicBezTo>
                    <a:pt x="498" y="425"/>
                    <a:pt x="498" y="425"/>
                    <a:pt x="498" y="425"/>
                  </a:cubicBezTo>
                  <a:cubicBezTo>
                    <a:pt x="500" y="431"/>
                    <a:pt x="500" y="431"/>
                    <a:pt x="500" y="431"/>
                  </a:cubicBezTo>
                  <a:cubicBezTo>
                    <a:pt x="505" y="436"/>
                    <a:pt x="505" y="436"/>
                    <a:pt x="505" y="436"/>
                  </a:cubicBezTo>
                  <a:cubicBezTo>
                    <a:pt x="507" y="437"/>
                    <a:pt x="507" y="437"/>
                    <a:pt x="507" y="437"/>
                  </a:cubicBezTo>
                  <a:cubicBezTo>
                    <a:pt x="503" y="449"/>
                    <a:pt x="503" y="449"/>
                    <a:pt x="503" y="449"/>
                  </a:cubicBezTo>
                  <a:cubicBezTo>
                    <a:pt x="506" y="455"/>
                    <a:pt x="506" y="455"/>
                    <a:pt x="506" y="455"/>
                  </a:cubicBezTo>
                  <a:cubicBezTo>
                    <a:pt x="512" y="460"/>
                    <a:pt x="512" y="460"/>
                    <a:pt x="512" y="460"/>
                  </a:cubicBezTo>
                  <a:cubicBezTo>
                    <a:pt x="529" y="465"/>
                    <a:pt x="529" y="465"/>
                    <a:pt x="529" y="465"/>
                  </a:cubicBezTo>
                  <a:cubicBezTo>
                    <a:pt x="541" y="471"/>
                    <a:pt x="541" y="471"/>
                    <a:pt x="541" y="471"/>
                  </a:cubicBezTo>
                  <a:cubicBezTo>
                    <a:pt x="547" y="468"/>
                    <a:pt x="547" y="468"/>
                    <a:pt x="547" y="468"/>
                  </a:cubicBezTo>
                  <a:cubicBezTo>
                    <a:pt x="553" y="469"/>
                    <a:pt x="553" y="469"/>
                    <a:pt x="553" y="469"/>
                  </a:cubicBezTo>
                  <a:cubicBezTo>
                    <a:pt x="565" y="465"/>
                    <a:pt x="565" y="465"/>
                    <a:pt x="565" y="465"/>
                  </a:cubicBezTo>
                  <a:cubicBezTo>
                    <a:pt x="583" y="465"/>
                    <a:pt x="583" y="465"/>
                    <a:pt x="583" y="465"/>
                  </a:cubicBezTo>
                  <a:cubicBezTo>
                    <a:pt x="588" y="466"/>
                    <a:pt x="588" y="466"/>
                    <a:pt x="588" y="466"/>
                  </a:cubicBezTo>
                  <a:cubicBezTo>
                    <a:pt x="600" y="476"/>
                    <a:pt x="600" y="476"/>
                    <a:pt x="600" y="476"/>
                  </a:cubicBezTo>
                  <a:cubicBezTo>
                    <a:pt x="599" y="471"/>
                    <a:pt x="599" y="471"/>
                    <a:pt x="599" y="471"/>
                  </a:cubicBezTo>
                  <a:cubicBezTo>
                    <a:pt x="594" y="464"/>
                    <a:pt x="594" y="464"/>
                    <a:pt x="594" y="464"/>
                  </a:cubicBezTo>
                  <a:cubicBezTo>
                    <a:pt x="600" y="463"/>
                    <a:pt x="600" y="463"/>
                    <a:pt x="600" y="463"/>
                  </a:cubicBezTo>
                  <a:cubicBezTo>
                    <a:pt x="606" y="469"/>
                    <a:pt x="606" y="469"/>
                    <a:pt x="606" y="469"/>
                  </a:cubicBezTo>
                  <a:cubicBezTo>
                    <a:pt x="612" y="481"/>
                    <a:pt x="612" y="481"/>
                    <a:pt x="612" y="481"/>
                  </a:cubicBezTo>
                  <a:cubicBezTo>
                    <a:pt x="618" y="469"/>
                    <a:pt x="618" y="469"/>
                    <a:pt x="618" y="469"/>
                  </a:cubicBezTo>
                  <a:cubicBezTo>
                    <a:pt x="624" y="465"/>
                    <a:pt x="624" y="465"/>
                    <a:pt x="624" y="465"/>
                  </a:cubicBezTo>
                  <a:cubicBezTo>
                    <a:pt x="630" y="460"/>
                    <a:pt x="630" y="460"/>
                    <a:pt x="630" y="460"/>
                  </a:cubicBezTo>
                  <a:cubicBezTo>
                    <a:pt x="636" y="457"/>
                    <a:pt x="636" y="457"/>
                    <a:pt x="636" y="457"/>
                  </a:cubicBezTo>
                  <a:cubicBezTo>
                    <a:pt x="642" y="451"/>
                    <a:pt x="642" y="451"/>
                    <a:pt x="642" y="451"/>
                  </a:cubicBezTo>
                  <a:cubicBezTo>
                    <a:pt x="648" y="455"/>
                    <a:pt x="648" y="455"/>
                    <a:pt x="648" y="455"/>
                  </a:cubicBezTo>
                  <a:cubicBezTo>
                    <a:pt x="654" y="449"/>
                    <a:pt x="654" y="449"/>
                    <a:pt x="654" y="449"/>
                  </a:cubicBezTo>
                  <a:cubicBezTo>
                    <a:pt x="658" y="443"/>
                    <a:pt x="658" y="443"/>
                    <a:pt x="658" y="443"/>
                  </a:cubicBezTo>
                  <a:cubicBezTo>
                    <a:pt x="664" y="443"/>
                    <a:pt x="664" y="443"/>
                    <a:pt x="664" y="443"/>
                  </a:cubicBezTo>
                  <a:cubicBezTo>
                    <a:pt x="660" y="447"/>
                    <a:pt x="660" y="447"/>
                    <a:pt x="660" y="447"/>
                  </a:cubicBezTo>
                  <a:cubicBezTo>
                    <a:pt x="666" y="451"/>
                    <a:pt x="666" y="451"/>
                    <a:pt x="666" y="451"/>
                  </a:cubicBezTo>
                  <a:cubicBezTo>
                    <a:pt x="669" y="458"/>
                    <a:pt x="669" y="458"/>
                    <a:pt x="669" y="458"/>
                  </a:cubicBezTo>
                  <a:cubicBezTo>
                    <a:pt x="669" y="464"/>
                    <a:pt x="669" y="464"/>
                    <a:pt x="669" y="464"/>
                  </a:cubicBezTo>
                  <a:cubicBezTo>
                    <a:pt x="664" y="470"/>
                    <a:pt x="664" y="470"/>
                    <a:pt x="664" y="470"/>
                  </a:cubicBezTo>
                  <a:cubicBezTo>
                    <a:pt x="658" y="473"/>
                    <a:pt x="658" y="473"/>
                    <a:pt x="658" y="473"/>
                  </a:cubicBezTo>
                  <a:cubicBezTo>
                    <a:pt x="652" y="471"/>
                    <a:pt x="652" y="471"/>
                    <a:pt x="652" y="471"/>
                  </a:cubicBezTo>
                  <a:cubicBezTo>
                    <a:pt x="650" y="472"/>
                    <a:pt x="650" y="472"/>
                    <a:pt x="650" y="472"/>
                  </a:cubicBezTo>
                  <a:cubicBezTo>
                    <a:pt x="649" y="478"/>
                    <a:pt x="649" y="478"/>
                    <a:pt x="649" y="478"/>
                  </a:cubicBezTo>
                  <a:cubicBezTo>
                    <a:pt x="655" y="480"/>
                    <a:pt x="655" y="480"/>
                    <a:pt x="655" y="480"/>
                  </a:cubicBezTo>
                  <a:cubicBezTo>
                    <a:pt x="664" y="491"/>
                    <a:pt x="664" y="491"/>
                    <a:pt x="664" y="491"/>
                  </a:cubicBezTo>
                  <a:cubicBezTo>
                    <a:pt x="664" y="504"/>
                    <a:pt x="664" y="504"/>
                    <a:pt x="664" y="504"/>
                  </a:cubicBezTo>
                  <a:cubicBezTo>
                    <a:pt x="669" y="521"/>
                    <a:pt x="669" y="521"/>
                    <a:pt x="669" y="521"/>
                  </a:cubicBezTo>
                  <a:cubicBezTo>
                    <a:pt x="668" y="527"/>
                    <a:pt x="668" y="527"/>
                    <a:pt x="668" y="527"/>
                  </a:cubicBezTo>
                  <a:cubicBezTo>
                    <a:pt x="658" y="539"/>
                    <a:pt x="658" y="539"/>
                    <a:pt x="658" y="539"/>
                  </a:cubicBezTo>
                  <a:cubicBezTo>
                    <a:pt x="653" y="544"/>
                    <a:pt x="653" y="544"/>
                    <a:pt x="653" y="544"/>
                  </a:cubicBezTo>
                  <a:cubicBezTo>
                    <a:pt x="640" y="544"/>
                    <a:pt x="640" y="544"/>
                    <a:pt x="640" y="544"/>
                  </a:cubicBezTo>
                  <a:cubicBezTo>
                    <a:pt x="635" y="545"/>
                    <a:pt x="635" y="545"/>
                    <a:pt x="635" y="545"/>
                  </a:cubicBezTo>
                  <a:cubicBezTo>
                    <a:pt x="629" y="541"/>
                    <a:pt x="629" y="541"/>
                    <a:pt x="629" y="541"/>
                  </a:cubicBezTo>
                  <a:cubicBezTo>
                    <a:pt x="623" y="542"/>
                    <a:pt x="623" y="542"/>
                    <a:pt x="623" y="542"/>
                  </a:cubicBezTo>
                  <a:cubicBezTo>
                    <a:pt x="618" y="547"/>
                    <a:pt x="618" y="547"/>
                    <a:pt x="618" y="547"/>
                  </a:cubicBezTo>
                  <a:cubicBezTo>
                    <a:pt x="610" y="560"/>
                    <a:pt x="610" y="560"/>
                    <a:pt x="610" y="560"/>
                  </a:cubicBezTo>
                  <a:cubicBezTo>
                    <a:pt x="598" y="571"/>
                    <a:pt x="598" y="571"/>
                    <a:pt x="598" y="571"/>
                  </a:cubicBezTo>
                  <a:cubicBezTo>
                    <a:pt x="592" y="572"/>
                    <a:pt x="592" y="572"/>
                    <a:pt x="592" y="572"/>
                  </a:cubicBezTo>
                  <a:cubicBezTo>
                    <a:pt x="586" y="568"/>
                    <a:pt x="586" y="568"/>
                    <a:pt x="586" y="568"/>
                  </a:cubicBezTo>
                  <a:cubicBezTo>
                    <a:pt x="580" y="570"/>
                    <a:pt x="580" y="570"/>
                    <a:pt x="580" y="570"/>
                  </a:cubicBezTo>
                  <a:cubicBezTo>
                    <a:pt x="575" y="575"/>
                    <a:pt x="575" y="575"/>
                    <a:pt x="575" y="575"/>
                  </a:cubicBezTo>
                  <a:cubicBezTo>
                    <a:pt x="580" y="565"/>
                    <a:pt x="580" y="565"/>
                    <a:pt x="580" y="565"/>
                  </a:cubicBezTo>
                  <a:cubicBezTo>
                    <a:pt x="577" y="560"/>
                    <a:pt x="577" y="560"/>
                    <a:pt x="577" y="560"/>
                  </a:cubicBezTo>
                  <a:cubicBezTo>
                    <a:pt x="566" y="556"/>
                    <a:pt x="566" y="556"/>
                    <a:pt x="566" y="556"/>
                  </a:cubicBezTo>
                  <a:cubicBezTo>
                    <a:pt x="560" y="556"/>
                    <a:pt x="560" y="556"/>
                    <a:pt x="560" y="556"/>
                  </a:cubicBezTo>
                  <a:cubicBezTo>
                    <a:pt x="554" y="561"/>
                    <a:pt x="554" y="561"/>
                    <a:pt x="554" y="561"/>
                  </a:cubicBezTo>
                  <a:cubicBezTo>
                    <a:pt x="553" y="567"/>
                    <a:pt x="553" y="567"/>
                    <a:pt x="553" y="567"/>
                  </a:cubicBezTo>
                  <a:cubicBezTo>
                    <a:pt x="558" y="572"/>
                    <a:pt x="558" y="572"/>
                    <a:pt x="558" y="572"/>
                  </a:cubicBezTo>
                  <a:cubicBezTo>
                    <a:pt x="550" y="570"/>
                    <a:pt x="550" y="570"/>
                    <a:pt x="550" y="570"/>
                  </a:cubicBezTo>
                  <a:cubicBezTo>
                    <a:pt x="544" y="574"/>
                    <a:pt x="544" y="574"/>
                    <a:pt x="544" y="574"/>
                  </a:cubicBezTo>
                  <a:cubicBezTo>
                    <a:pt x="542" y="580"/>
                    <a:pt x="542" y="580"/>
                    <a:pt x="542" y="580"/>
                  </a:cubicBezTo>
                  <a:cubicBezTo>
                    <a:pt x="544" y="586"/>
                    <a:pt x="544" y="586"/>
                    <a:pt x="544" y="586"/>
                  </a:cubicBezTo>
                  <a:cubicBezTo>
                    <a:pt x="540" y="590"/>
                    <a:pt x="540" y="590"/>
                    <a:pt x="540" y="590"/>
                  </a:cubicBezTo>
                  <a:cubicBezTo>
                    <a:pt x="546" y="595"/>
                    <a:pt x="546" y="595"/>
                    <a:pt x="546" y="595"/>
                  </a:cubicBezTo>
                  <a:cubicBezTo>
                    <a:pt x="552" y="590"/>
                    <a:pt x="552" y="590"/>
                    <a:pt x="552" y="590"/>
                  </a:cubicBezTo>
                  <a:cubicBezTo>
                    <a:pt x="546" y="598"/>
                    <a:pt x="546" y="598"/>
                    <a:pt x="546" y="598"/>
                  </a:cubicBezTo>
                  <a:cubicBezTo>
                    <a:pt x="540" y="601"/>
                    <a:pt x="540" y="601"/>
                    <a:pt x="540" y="601"/>
                  </a:cubicBezTo>
                  <a:cubicBezTo>
                    <a:pt x="542" y="606"/>
                    <a:pt x="542" y="606"/>
                    <a:pt x="542" y="606"/>
                  </a:cubicBezTo>
                  <a:cubicBezTo>
                    <a:pt x="542" y="607"/>
                    <a:pt x="542" y="607"/>
                    <a:pt x="542" y="607"/>
                  </a:cubicBezTo>
                  <a:cubicBezTo>
                    <a:pt x="547" y="610"/>
                    <a:pt x="547" y="610"/>
                    <a:pt x="547" y="610"/>
                  </a:cubicBezTo>
                  <a:cubicBezTo>
                    <a:pt x="544" y="610"/>
                    <a:pt x="544" y="610"/>
                    <a:pt x="544" y="610"/>
                  </a:cubicBezTo>
                  <a:cubicBezTo>
                    <a:pt x="542" y="607"/>
                    <a:pt x="542" y="607"/>
                    <a:pt x="542" y="607"/>
                  </a:cubicBezTo>
                  <a:cubicBezTo>
                    <a:pt x="542" y="607"/>
                    <a:pt x="542" y="607"/>
                    <a:pt x="542" y="607"/>
                  </a:cubicBezTo>
                  <a:cubicBezTo>
                    <a:pt x="542" y="606"/>
                    <a:pt x="542" y="606"/>
                    <a:pt x="542" y="606"/>
                  </a:cubicBezTo>
                  <a:cubicBezTo>
                    <a:pt x="540" y="604"/>
                    <a:pt x="540" y="604"/>
                    <a:pt x="540" y="604"/>
                  </a:cubicBezTo>
                  <a:cubicBezTo>
                    <a:pt x="534" y="603"/>
                    <a:pt x="534" y="603"/>
                    <a:pt x="534" y="603"/>
                  </a:cubicBezTo>
                  <a:cubicBezTo>
                    <a:pt x="528" y="608"/>
                    <a:pt x="528" y="608"/>
                    <a:pt x="528" y="608"/>
                  </a:cubicBezTo>
                  <a:cubicBezTo>
                    <a:pt x="510" y="631"/>
                    <a:pt x="510" y="631"/>
                    <a:pt x="510" y="631"/>
                  </a:cubicBezTo>
                  <a:cubicBezTo>
                    <a:pt x="508" y="637"/>
                    <a:pt x="508" y="637"/>
                    <a:pt x="508" y="637"/>
                  </a:cubicBezTo>
                  <a:cubicBezTo>
                    <a:pt x="509" y="643"/>
                    <a:pt x="509" y="643"/>
                    <a:pt x="509" y="643"/>
                  </a:cubicBezTo>
                  <a:cubicBezTo>
                    <a:pt x="508" y="649"/>
                    <a:pt x="508" y="649"/>
                    <a:pt x="508" y="649"/>
                  </a:cubicBezTo>
                  <a:cubicBezTo>
                    <a:pt x="496" y="650"/>
                    <a:pt x="496" y="650"/>
                    <a:pt x="496" y="650"/>
                  </a:cubicBezTo>
                  <a:cubicBezTo>
                    <a:pt x="499" y="656"/>
                    <a:pt x="499" y="656"/>
                    <a:pt x="499" y="656"/>
                  </a:cubicBezTo>
                  <a:cubicBezTo>
                    <a:pt x="505" y="660"/>
                    <a:pt x="505" y="660"/>
                    <a:pt x="505" y="660"/>
                  </a:cubicBezTo>
                  <a:cubicBezTo>
                    <a:pt x="498" y="661"/>
                    <a:pt x="498" y="661"/>
                    <a:pt x="498" y="661"/>
                  </a:cubicBezTo>
                  <a:cubicBezTo>
                    <a:pt x="492" y="659"/>
                    <a:pt x="492" y="659"/>
                    <a:pt x="492" y="659"/>
                  </a:cubicBezTo>
                  <a:cubicBezTo>
                    <a:pt x="491" y="665"/>
                    <a:pt x="491" y="665"/>
                    <a:pt x="491" y="665"/>
                  </a:cubicBezTo>
                  <a:cubicBezTo>
                    <a:pt x="493" y="671"/>
                    <a:pt x="493" y="671"/>
                    <a:pt x="493" y="671"/>
                  </a:cubicBezTo>
                  <a:cubicBezTo>
                    <a:pt x="499" y="668"/>
                    <a:pt x="499" y="668"/>
                    <a:pt x="499" y="668"/>
                  </a:cubicBezTo>
                  <a:cubicBezTo>
                    <a:pt x="505" y="674"/>
                    <a:pt x="505" y="674"/>
                    <a:pt x="505" y="674"/>
                  </a:cubicBezTo>
                  <a:cubicBezTo>
                    <a:pt x="499" y="679"/>
                    <a:pt x="499" y="679"/>
                    <a:pt x="499" y="679"/>
                  </a:cubicBezTo>
                  <a:cubicBezTo>
                    <a:pt x="501" y="686"/>
                    <a:pt x="501" y="686"/>
                    <a:pt x="501" y="686"/>
                  </a:cubicBezTo>
                  <a:cubicBezTo>
                    <a:pt x="507" y="690"/>
                    <a:pt x="507" y="690"/>
                    <a:pt x="507" y="690"/>
                  </a:cubicBezTo>
                  <a:cubicBezTo>
                    <a:pt x="507" y="696"/>
                    <a:pt x="507" y="696"/>
                    <a:pt x="507" y="696"/>
                  </a:cubicBezTo>
                  <a:cubicBezTo>
                    <a:pt x="510" y="702"/>
                    <a:pt x="510" y="702"/>
                    <a:pt x="510" y="702"/>
                  </a:cubicBezTo>
                  <a:cubicBezTo>
                    <a:pt x="516" y="698"/>
                    <a:pt x="516" y="698"/>
                    <a:pt x="516" y="698"/>
                  </a:cubicBezTo>
                  <a:cubicBezTo>
                    <a:pt x="516" y="692"/>
                    <a:pt x="516" y="692"/>
                    <a:pt x="516" y="692"/>
                  </a:cubicBezTo>
                  <a:cubicBezTo>
                    <a:pt x="522" y="680"/>
                    <a:pt x="522" y="680"/>
                    <a:pt x="522" y="680"/>
                  </a:cubicBezTo>
                  <a:cubicBezTo>
                    <a:pt x="535" y="672"/>
                    <a:pt x="535" y="672"/>
                    <a:pt x="535" y="672"/>
                  </a:cubicBezTo>
                  <a:cubicBezTo>
                    <a:pt x="538" y="666"/>
                    <a:pt x="538" y="666"/>
                    <a:pt x="538" y="666"/>
                  </a:cubicBezTo>
                  <a:cubicBezTo>
                    <a:pt x="538" y="669"/>
                    <a:pt x="538" y="669"/>
                    <a:pt x="538" y="669"/>
                  </a:cubicBezTo>
                  <a:cubicBezTo>
                    <a:pt x="533" y="675"/>
                    <a:pt x="533" y="675"/>
                    <a:pt x="533" y="675"/>
                  </a:cubicBezTo>
                  <a:cubicBezTo>
                    <a:pt x="521" y="685"/>
                    <a:pt x="521" y="685"/>
                    <a:pt x="521" y="685"/>
                  </a:cubicBezTo>
                  <a:cubicBezTo>
                    <a:pt x="519" y="691"/>
                    <a:pt x="519" y="691"/>
                    <a:pt x="519" y="691"/>
                  </a:cubicBezTo>
                  <a:cubicBezTo>
                    <a:pt x="519" y="697"/>
                    <a:pt x="519" y="697"/>
                    <a:pt x="519" y="697"/>
                  </a:cubicBezTo>
                  <a:cubicBezTo>
                    <a:pt x="525" y="695"/>
                    <a:pt x="525" y="695"/>
                    <a:pt x="525" y="695"/>
                  </a:cubicBezTo>
                  <a:cubicBezTo>
                    <a:pt x="522" y="701"/>
                    <a:pt x="522" y="701"/>
                    <a:pt x="522" y="701"/>
                  </a:cubicBezTo>
                  <a:cubicBezTo>
                    <a:pt x="534" y="702"/>
                    <a:pt x="534" y="702"/>
                    <a:pt x="534" y="702"/>
                  </a:cubicBezTo>
                  <a:cubicBezTo>
                    <a:pt x="528" y="707"/>
                    <a:pt x="528" y="707"/>
                    <a:pt x="528" y="707"/>
                  </a:cubicBezTo>
                  <a:cubicBezTo>
                    <a:pt x="522" y="708"/>
                    <a:pt x="522" y="708"/>
                    <a:pt x="522" y="708"/>
                  </a:cubicBezTo>
                  <a:cubicBezTo>
                    <a:pt x="526" y="715"/>
                    <a:pt x="526" y="715"/>
                    <a:pt x="526" y="715"/>
                  </a:cubicBezTo>
                  <a:cubicBezTo>
                    <a:pt x="532" y="713"/>
                    <a:pt x="532" y="713"/>
                    <a:pt x="532" y="713"/>
                  </a:cubicBezTo>
                  <a:cubicBezTo>
                    <a:pt x="538" y="715"/>
                    <a:pt x="538" y="715"/>
                    <a:pt x="538" y="715"/>
                  </a:cubicBezTo>
                  <a:cubicBezTo>
                    <a:pt x="544" y="720"/>
                    <a:pt x="544" y="720"/>
                    <a:pt x="544" y="720"/>
                  </a:cubicBezTo>
                  <a:cubicBezTo>
                    <a:pt x="556" y="720"/>
                    <a:pt x="556" y="720"/>
                    <a:pt x="556" y="720"/>
                  </a:cubicBezTo>
                  <a:cubicBezTo>
                    <a:pt x="562" y="720"/>
                    <a:pt x="562" y="720"/>
                    <a:pt x="562" y="720"/>
                  </a:cubicBezTo>
                  <a:cubicBezTo>
                    <a:pt x="568" y="715"/>
                    <a:pt x="568" y="715"/>
                    <a:pt x="568" y="715"/>
                  </a:cubicBezTo>
                  <a:cubicBezTo>
                    <a:pt x="572" y="720"/>
                    <a:pt x="572" y="720"/>
                    <a:pt x="572" y="720"/>
                  </a:cubicBezTo>
                  <a:cubicBezTo>
                    <a:pt x="566" y="722"/>
                    <a:pt x="566" y="722"/>
                    <a:pt x="566" y="722"/>
                  </a:cubicBezTo>
                  <a:cubicBezTo>
                    <a:pt x="572" y="724"/>
                    <a:pt x="572" y="724"/>
                    <a:pt x="572" y="724"/>
                  </a:cubicBezTo>
                  <a:cubicBezTo>
                    <a:pt x="577" y="730"/>
                    <a:pt x="577" y="730"/>
                    <a:pt x="577" y="730"/>
                  </a:cubicBezTo>
                  <a:cubicBezTo>
                    <a:pt x="575" y="736"/>
                    <a:pt x="575" y="736"/>
                    <a:pt x="575" y="736"/>
                  </a:cubicBezTo>
                  <a:cubicBezTo>
                    <a:pt x="569" y="740"/>
                    <a:pt x="569" y="740"/>
                    <a:pt x="569" y="740"/>
                  </a:cubicBezTo>
                  <a:cubicBezTo>
                    <a:pt x="564" y="738"/>
                    <a:pt x="564" y="738"/>
                    <a:pt x="564" y="738"/>
                  </a:cubicBezTo>
                  <a:cubicBezTo>
                    <a:pt x="564" y="732"/>
                    <a:pt x="564" y="732"/>
                    <a:pt x="564" y="732"/>
                  </a:cubicBezTo>
                  <a:cubicBezTo>
                    <a:pt x="560" y="726"/>
                    <a:pt x="560" y="726"/>
                    <a:pt x="560" y="726"/>
                  </a:cubicBezTo>
                  <a:cubicBezTo>
                    <a:pt x="555" y="732"/>
                    <a:pt x="555" y="732"/>
                    <a:pt x="555" y="732"/>
                  </a:cubicBezTo>
                  <a:cubicBezTo>
                    <a:pt x="549" y="735"/>
                    <a:pt x="549" y="735"/>
                    <a:pt x="549" y="735"/>
                  </a:cubicBezTo>
                  <a:cubicBezTo>
                    <a:pt x="543" y="740"/>
                    <a:pt x="543" y="740"/>
                    <a:pt x="543" y="740"/>
                  </a:cubicBezTo>
                  <a:cubicBezTo>
                    <a:pt x="551" y="731"/>
                    <a:pt x="551" y="731"/>
                    <a:pt x="551" y="731"/>
                  </a:cubicBezTo>
                  <a:cubicBezTo>
                    <a:pt x="549" y="725"/>
                    <a:pt x="549" y="725"/>
                    <a:pt x="549" y="725"/>
                  </a:cubicBezTo>
                  <a:cubicBezTo>
                    <a:pt x="543" y="722"/>
                    <a:pt x="543" y="722"/>
                    <a:pt x="543" y="722"/>
                  </a:cubicBezTo>
                  <a:cubicBezTo>
                    <a:pt x="537" y="722"/>
                    <a:pt x="537" y="722"/>
                    <a:pt x="537" y="722"/>
                  </a:cubicBezTo>
                  <a:cubicBezTo>
                    <a:pt x="536" y="716"/>
                    <a:pt x="536" y="716"/>
                    <a:pt x="536" y="716"/>
                  </a:cubicBezTo>
                  <a:cubicBezTo>
                    <a:pt x="531" y="720"/>
                    <a:pt x="531" y="720"/>
                    <a:pt x="531" y="720"/>
                  </a:cubicBezTo>
                  <a:cubicBezTo>
                    <a:pt x="525" y="726"/>
                    <a:pt x="525" y="726"/>
                    <a:pt x="525" y="726"/>
                  </a:cubicBezTo>
                  <a:cubicBezTo>
                    <a:pt x="522" y="731"/>
                    <a:pt x="522" y="731"/>
                    <a:pt x="522" y="731"/>
                  </a:cubicBezTo>
                  <a:cubicBezTo>
                    <a:pt x="516" y="735"/>
                    <a:pt x="516" y="735"/>
                    <a:pt x="516" y="735"/>
                  </a:cubicBezTo>
                  <a:cubicBezTo>
                    <a:pt x="512" y="741"/>
                    <a:pt x="512" y="741"/>
                    <a:pt x="512" y="741"/>
                  </a:cubicBezTo>
                  <a:cubicBezTo>
                    <a:pt x="524" y="745"/>
                    <a:pt x="524" y="745"/>
                    <a:pt x="524" y="745"/>
                  </a:cubicBezTo>
                  <a:cubicBezTo>
                    <a:pt x="521" y="750"/>
                    <a:pt x="521" y="750"/>
                    <a:pt x="521" y="750"/>
                  </a:cubicBezTo>
                  <a:cubicBezTo>
                    <a:pt x="526" y="756"/>
                    <a:pt x="526" y="756"/>
                    <a:pt x="526" y="756"/>
                  </a:cubicBezTo>
                  <a:cubicBezTo>
                    <a:pt x="532" y="759"/>
                    <a:pt x="532" y="759"/>
                    <a:pt x="532" y="759"/>
                  </a:cubicBezTo>
                  <a:cubicBezTo>
                    <a:pt x="535" y="756"/>
                    <a:pt x="535" y="756"/>
                    <a:pt x="535" y="756"/>
                  </a:cubicBezTo>
                  <a:cubicBezTo>
                    <a:pt x="535" y="761"/>
                    <a:pt x="535" y="761"/>
                    <a:pt x="535" y="761"/>
                  </a:cubicBezTo>
                  <a:cubicBezTo>
                    <a:pt x="540" y="767"/>
                    <a:pt x="540" y="767"/>
                    <a:pt x="540" y="767"/>
                  </a:cubicBezTo>
                  <a:cubicBezTo>
                    <a:pt x="541" y="769"/>
                    <a:pt x="541" y="769"/>
                    <a:pt x="541" y="769"/>
                  </a:cubicBezTo>
                  <a:cubicBezTo>
                    <a:pt x="546" y="776"/>
                    <a:pt x="546" y="776"/>
                    <a:pt x="546" y="776"/>
                  </a:cubicBezTo>
                  <a:cubicBezTo>
                    <a:pt x="552" y="780"/>
                    <a:pt x="552" y="780"/>
                    <a:pt x="552" y="780"/>
                  </a:cubicBezTo>
                  <a:cubicBezTo>
                    <a:pt x="549" y="785"/>
                    <a:pt x="549" y="785"/>
                    <a:pt x="549" y="785"/>
                  </a:cubicBezTo>
                  <a:cubicBezTo>
                    <a:pt x="551" y="791"/>
                    <a:pt x="551" y="791"/>
                    <a:pt x="551" y="791"/>
                  </a:cubicBezTo>
                  <a:cubicBezTo>
                    <a:pt x="564" y="794"/>
                    <a:pt x="564" y="794"/>
                    <a:pt x="564" y="794"/>
                  </a:cubicBezTo>
                  <a:cubicBezTo>
                    <a:pt x="575" y="794"/>
                    <a:pt x="575" y="794"/>
                    <a:pt x="575" y="794"/>
                  </a:cubicBezTo>
                  <a:cubicBezTo>
                    <a:pt x="587" y="791"/>
                    <a:pt x="587" y="791"/>
                    <a:pt x="587" y="791"/>
                  </a:cubicBezTo>
                  <a:cubicBezTo>
                    <a:pt x="592" y="787"/>
                    <a:pt x="592" y="787"/>
                    <a:pt x="592" y="787"/>
                  </a:cubicBezTo>
                  <a:cubicBezTo>
                    <a:pt x="598" y="782"/>
                    <a:pt x="598" y="782"/>
                    <a:pt x="598" y="782"/>
                  </a:cubicBezTo>
                  <a:cubicBezTo>
                    <a:pt x="601" y="783"/>
                    <a:pt x="601" y="783"/>
                    <a:pt x="601" y="783"/>
                  </a:cubicBezTo>
                  <a:cubicBezTo>
                    <a:pt x="606" y="782"/>
                    <a:pt x="606" y="782"/>
                    <a:pt x="606" y="782"/>
                  </a:cubicBezTo>
                  <a:cubicBezTo>
                    <a:pt x="608" y="781"/>
                    <a:pt x="608" y="781"/>
                    <a:pt x="608" y="781"/>
                  </a:cubicBezTo>
                  <a:cubicBezTo>
                    <a:pt x="609" y="768"/>
                    <a:pt x="609" y="768"/>
                    <a:pt x="609" y="768"/>
                  </a:cubicBezTo>
                  <a:cubicBezTo>
                    <a:pt x="602" y="765"/>
                    <a:pt x="602" y="765"/>
                    <a:pt x="602" y="765"/>
                  </a:cubicBezTo>
                  <a:cubicBezTo>
                    <a:pt x="605" y="760"/>
                    <a:pt x="605" y="760"/>
                    <a:pt x="605" y="760"/>
                  </a:cubicBezTo>
                  <a:cubicBezTo>
                    <a:pt x="611" y="756"/>
                    <a:pt x="611" y="756"/>
                    <a:pt x="611" y="756"/>
                  </a:cubicBezTo>
                  <a:cubicBezTo>
                    <a:pt x="616" y="744"/>
                    <a:pt x="616" y="744"/>
                    <a:pt x="616" y="744"/>
                  </a:cubicBezTo>
                  <a:cubicBezTo>
                    <a:pt x="621" y="738"/>
                    <a:pt x="621" y="738"/>
                    <a:pt x="621" y="738"/>
                  </a:cubicBezTo>
                  <a:cubicBezTo>
                    <a:pt x="620" y="732"/>
                    <a:pt x="620" y="732"/>
                    <a:pt x="620" y="732"/>
                  </a:cubicBezTo>
                  <a:cubicBezTo>
                    <a:pt x="624" y="737"/>
                    <a:pt x="624" y="737"/>
                    <a:pt x="624" y="737"/>
                  </a:cubicBezTo>
                  <a:cubicBezTo>
                    <a:pt x="629" y="735"/>
                    <a:pt x="629" y="735"/>
                    <a:pt x="629" y="735"/>
                  </a:cubicBezTo>
                  <a:cubicBezTo>
                    <a:pt x="626" y="739"/>
                    <a:pt x="626" y="739"/>
                    <a:pt x="626" y="739"/>
                  </a:cubicBezTo>
                  <a:cubicBezTo>
                    <a:pt x="620" y="741"/>
                    <a:pt x="620" y="741"/>
                    <a:pt x="620" y="741"/>
                  </a:cubicBezTo>
                  <a:cubicBezTo>
                    <a:pt x="618" y="747"/>
                    <a:pt x="618" y="747"/>
                    <a:pt x="618" y="747"/>
                  </a:cubicBezTo>
                  <a:cubicBezTo>
                    <a:pt x="612" y="759"/>
                    <a:pt x="612" y="759"/>
                    <a:pt x="612" y="759"/>
                  </a:cubicBezTo>
                  <a:cubicBezTo>
                    <a:pt x="611" y="765"/>
                    <a:pt x="611" y="765"/>
                    <a:pt x="611" y="765"/>
                  </a:cubicBezTo>
                  <a:cubicBezTo>
                    <a:pt x="617" y="771"/>
                    <a:pt x="617" y="771"/>
                    <a:pt x="617" y="771"/>
                  </a:cubicBezTo>
                  <a:cubicBezTo>
                    <a:pt x="616" y="777"/>
                    <a:pt x="616" y="777"/>
                    <a:pt x="616" y="777"/>
                  </a:cubicBezTo>
                  <a:cubicBezTo>
                    <a:pt x="617" y="783"/>
                    <a:pt x="617" y="783"/>
                    <a:pt x="617" y="783"/>
                  </a:cubicBezTo>
                  <a:cubicBezTo>
                    <a:pt x="621" y="786"/>
                    <a:pt x="621" y="786"/>
                    <a:pt x="621" y="786"/>
                  </a:cubicBezTo>
                  <a:cubicBezTo>
                    <a:pt x="621" y="793"/>
                    <a:pt x="621" y="793"/>
                    <a:pt x="621" y="793"/>
                  </a:cubicBezTo>
                  <a:cubicBezTo>
                    <a:pt x="632" y="816"/>
                    <a:pt x="632" y="816"/>
                    <a:pt x="632" y="816"/>
                  </a:cubicBezTo>
                  <a:cubicBezTo>
                    <a:pt x="621" y="834"/>
                    <a:pt x="621" y="834"/>
                    <a:pt x="621" y="834"/>
                  </a:cubicBezTo>
                  <a:cubicBezTo>
                    <a:pt x="622" y="838"/>
                    <a:pt x="622" y="838"/>
                    <a:pt x="622" y="838"/>
                  </a:cubicBezTo>
                  <a:cubicBezTo>
                    <a:pt x="634" y="849"/>
                    <a:pt x="634" y="849"/>
                    <a:pt x="634" y="849"/>
                  </a:cubicBezTo>
                  <a:cubicBezTo>
                    <a:pt x="628" y="852"/>
                    <a:pt x="628" y="852"/>
                    <a:pt x="628" y="852"/>
                  </a:cubicBezTo>
                  <a:cubicBezTo>
                    <a:pt x="630" y="864"/>
                    <a:pt x="630" y="864"/>
                    <a:pt x="630" y="864"/>
                  </a:cubicBezTo>
                  <a:cubicBezTo>
                    <a:pt x="628" y="870"/>
                    <a:pt x="628" y="870"/>
                    <a:pt x="628" y="870"/>
                  </a:cubicBezTo>
                  <a:cubicBezTo>
                    <a:pt x="625" y="876"/>
                    <a:pt x="625" y="876"/>
                    <a:pt x="625" y="876"/>
                  </a:cubicBezTo>
                  <a:cubicBezTo>
                    <a:pt x="620" y="878"/>
                    <a:pt x="620" y="878"/>
                    <a:pt x="620" y="878"/>
                  </a:cubicBezTo>
                  <a:cubicBezTo>
                    <a:pt x="625" y="878"/>
                    <a:pt x="625" y="878"/>
                    <a:pt x="625" y="878"/>
                  </a:cubicBezTo>
                  <a:cubicBezTo>
                    <a:pt x="632" y="882"/>
                    <a:pt x="632" y="882"/>
                    <a:pt x="632" y="882"/>
                  </a:cubicBezTo>
                  <a:cubicBezTo>
                    <a:pt x="643" y="873"/>
                    <a:pt x="643" y="873"/>
                    <a:pt x="643" y="873"/>
                  </a:cubicBezTo>
                  <a:cubicBezTo>
                    <a:pt x="647" y="867"/>
                    <a:pt x="647" y="867"/>
                    <a:pt x="647" y="867"/>
                  </a:cubicBezTo>
                  <a:cubicBezTo>
                    <a:pt x="653" y="865"/>
                    <a:pt x="653" y="865"/>
                    <a:pt x="653" y="865"/>
                  </a:cubicBezTo>
                  <a:cubicBezTo>
                    <a:pt x="659" y="861"/>
                    <a:pt x="659" y="861"/>
                    <a:pt x="659" y="861"/>
                  </a:cubicBezTo>
                  <a:cubicBezTo>
                    <a:pt x="665" y="860"/>
                    <a:pt x="665" y="860"/>
                    <a:pt x="665" y="860"/>
                  </a:cubicBezTo>
                  <a:cubicBezTo>
                    <a:pt x="677" y="850"/>
                    <a:pt x="677" y="850"/>
                    <a:pt x="677" y="850"/>
                  </a:cubicBezTo>
                  <a:cubicBezTo>
                    <a:pt x="683" y="853"/>
                    <a:pt x="683" y="853"/>
                    <a:pt x="683" y="853"/>
                  </a:cubicBezTo>
                  <a:cubicBezTo>
                    <a:pt x="686" y="859"/>
                    <a:pt x="686" y="859"/>
                    <a:pt x="686" y="859"/>
                  </a:cubicBezTo>
                  <a:cubicBezTo>
                    <a:pt x="693" y="861"/>
                    <a:pt x="693" y="861"/>
                    <a:pt x="693" y="861"/>
                  </a:cubicBezTo>
                  <a:cubicBezTo>
                    <a:pt x="694" y="867"/>
                    <a:pt x="694" y="867"/>
                    <a:pt x="694" y="867"/>
                  </a:cubicBezTo>
                  <a:cubicBezTo>
                    <a:pt x="700" y="864"/>
                    <a:pt x="700" y="864"/>
                    <a:pt x="700" y="864"/>
                  </a:cubicBezTo>
                  <a:cubicBezTo>
                    <a:pt x="706" y="858"/>
                    <a:pt x="706" y="858"/>
                    <a:pt x="706" y="858"/>
                  </a:cubicBezTo>
                  <a:cubicBezTo>
                    <a:pt x="706" y="864"/>
                    <a:pt x="706" y="864"/>
                    <a:pt x="706" y="864"/>
                  </a:cubicBezTo>
                  <a:cubicBezTo>
                    <a:pt x="713" y="868"/>
                    <a:pt x="713" y="868"/>
                    <a:pt x="713" y="868"/>
                  </a:cubicBezTo>
                  <a:cubicBezTo>
                    <a:pt x="727" y="892"/>
                    <a:pt x="727" y="892"/>
                    <a:pt x="727" y="892"/>
                  </a:cubicBezTo>
                  <a:cubicBezTo>
                    <a:pt x="728" y="893"/>
                    <a:pt x="728" y="893"/>
                    <a:pt x="728" y="893"/>
                  </a:cubicBezTo>
                  <a:cubicBezTo>
                    <a:pt x="735" y="893"/>
                    <a:pt x="735" y="893"/>
                    <a:pt x="735" y="893"/>
                  </a:cubicBezTo>
                  <a:cubicBezTo>
                    <a:pt x="738" y="887"/>
                    <a:pt x="738" y="887"/>
                    <a:pt x="738" y="887"/>
                  </a:cubicBezTo>
                  <a:cubicBezTo>
                    <a:pt x="735" y="882"/>
                    <a:pt x="735" y="882"/>
                    <a:pt x="735" y="882"/>
                  </a:cubicBezTo>
                  <a:cubicBezTo>
                    <a:pt x="732" y="873"/>
                    <a:pt x="732" y="873"/>
                    <a:pt x="732" y="873"/>
                  </a:cubicBezTo>
                  <a:cubicBezTo>
                    <a:pt x="735" y="867"/>
                    <a:pt x="735" y="867"/>
                    <a:pt x="735" y="867"/>
                  </a:cubicBezTo>
                  <a:cubicBezTo>
                    <a:pt x="735" y="855"/>
                    <a:pt x="735" y="855"/>
                    <a:pt x="735" y="855"/>
                  </a:cubicBezTo>
                  <a:cubicBezTo>
                    <a:pt x="741" y="858"/>
                    <a:pt x="741" y="858"/>
                    <a:pt x="741" y="858"/>
                  </a:cubicBezTo>
                  <a:cubicBezTo>
                    <a:pt x="746" y="846"/>
                    <a:pt x="746" y="846"/>
                    <a:pt x="746" y="846"/>
                  </a:cubicBezTo>
                  <a:cubicBezTo>
                    <a:pt x="743" y="841"/>
                    <a:pt x="743" y="841"/>
                    <a:pt x="743" y="841"/>
                  </a:cubicBezTo>
                  <a:cubicBezTo>
                    <a:pt x="748" y="848"/>
                    <a:pt x="748" y="848"/>
                    <a:pt x="748" y="848"/>
                  </a:cubicBezTo>
                  <a:cubicBezTo>
                    <a:pt x="760" y="852"/>
                    <a:pt x="760" y="852"/>
                    <a:pt x="760" y="852"/>
                  </a:cubicBezTo>
                  <a:cubicBezTo>
                    <a:pt x="763" y="859"/>
                    <a:pt x="763" y="859"/>
                    <a:pt x="763" y="859"/>
                  </a:cubicBezTo>
                  <a:cubicBezTo>
                    <a:pt x="760" y="858"/>
                    <a:pt x="760" y="858"/>
                    <a:pt x="760" y="858"/>
                  </a:cubicBezTo>
                  <a:cubicBezTo>
                    <a:pt x="758" y="852"/>
                    <a:pt x="758" y="852"/>
                    <a:pt x="758" y="852"/>
                  </a:cubicBezTo>
                  <a:cubicBezTo>
                    <a:pt x="752" y="850"/>
                    <a:pt x="752" y="850"/>
                    <a:pt x="752" y="850"/>
                  </a:cubicBezTo>
                  <a:cubicBezTo>
                    <a:pt x="746" y="855"/>
                    <a:pt x="746" y="855"/>
                    <a:pt x="746" y="855"/>
                  </a:cubicBezTo>
                  <a:cubicBezTo>
                    <a:pt x="744" y="867"/>
                    <a:pt x="744" y="867"/>
                    <a:pt x="744" y="867"/>
                  </a:cubicBezTo>
                  <a:cubicBezTo>
                    <a:pt x="750" y="870"/>
                    <a:pt x="750" y="870"/>
                    <a:pt x="750" y="870"/>
                  </a:cubicBezTo>
                  <a:cubicBezTo>
                    <a:pt x="751" y="876"/>
                    <a:pt x="751" y="876"/>
                    <a:pt x="751" y="876"/>
                  </a:cubicBezTo>
                  <a:cubicBezTo>
                    <a:pt x="754" y="878"/>
                    <a:pt x="754" y="878"/>
                    <a:pt x="754" y="878"/>
                  </a:cubicBezTo>
                  <a:cubicBezTo>
                    <a:pt x="760" y="878"/>
                    <a:pt x="760" y="878"/>
                    <a:pt x="760" y="878"/>
                  </a:cubicBezTo>
                  <a:cubicBezTo>
                    <a:pt x="772" y="871"/>
                    <a:pt x="772" y="871"/>
                    <a:pt x="772" y="871"/>
                  </a:cubicBezTo>
                  <a:cubicBezTo>
                    <a:pt x="790" y="862"/>
                    <a:pt x="790" y="862"/>
                    <a:pt x="790" y="862"/>
                  </a:cubicBezTo>
                  <a:cubicBezTo>
                    <a:pt x="796" y="857"/>
                    <a:pt x="796" y="857"/>
                    <a:pt x="796" y="857"/>
                  </a:cubicBezTo>
                  <a:cubicBezTo>
                    <a:pt x="800" y="852"/>
                    <a:pt x="800" y="852"/>
                    <a:pt x="800" y="852"/>
                  </a:cubicBezTo>
                  <a:cubicBezTo>
                    <a:pt x="802" y="846"/>
                    <a:pt x="802" y="846"/>
                    <a:pt x="802" y="846"/>
                  </a:cubicBezTo>
                  <a:cubicBezTo>
                    <a:pt x="802" y="845"/>
                    <a:pt x="802" y="845"/>
                    <a:pt x="802" y="845"/>
                  </a:cubicBezTo>
                  <a:cubicBezTo>
                    <a:pt x="805" y="840"/>
                    <a:pt x="805" y="840"/>
                    <a:pt x="805" y="840"/>
                  </a:cubicBezTo>
                  <a:cubicBezTo>
                    <a:pt x="802" y="846"/>
                    <a:pt x="802" y="846"/>
                    <a:pt x="802" y="846"/>
                  </a:cubicBezTo>
                  <a:cubicBezTo>
                    <a:pt x="803" y="850"/>
                    <a:pt x="803" y="850"/>
                    <a:pt x="803" y="850"/>
                  </a:cubicBezTo>
                  <a:cubicBezTo>
                    <a:pt x="798" y="856"/>
                    <a:pt x="798" y="856"/>
                    <a:pt x="798" y="856"/>
                  </a:cubicBezTo>
                  <a:cubicBezTo>
                    <a:pt x="798" y="863"/>
                    <a:pt x="798" y="863"/>
                    <a:pt x="798" y="863"/>
                  </a:cubicBezTo>
                  <a:cubicBezTo>
                    <a:pt x="801" y="868"/>
                    <a:pt x="801" y="868"/>
                    <a:pt x="801" y="868"/>
                  </a:cubicBezTo>
                  <a:cubicBezTo>
                    <a:pt x="791" y="876"/>
                    <a:pt x="791" y="876"/>
                    <a:pt x="791" y="876"/>
                  </a:cubicBezTo>
                  <a:cubicBezTo>
                    <a:pt x="787" y="882"/>
                    <a:pt x="787" y="882"/>
                    <a:pt x="787" y="882"/>
                  </a:cubicBezTo>
                  <a:cubicBezTo>
                    <a:pt x="782" y="887"/>
                    <a:pt x="782" y="887"/>
                    <a:pt x="782" y="887"/>
                  </a:cubicBezTo>
                  <a:cubicBezTo>
                    <a:pt x="780" y="894"/>
                    <a:pt x="780" y="894"/>
                    <a:pt x="780" y="894"/>
                  </a:cubicBezTo>
                  <a:cubicBezTo>
                    <a:pt x="780" y="900"/>
                    <a:pt x="780" y="900"/>
                    <a:pt x="780" y="900"/>
                  </a:cubicBezTo>
                  <a:cubicBezTo>
                    <a:pt x="783" y="905"/>
                    <a:pt x="783" y="905"/>
                    <a:pt x="783" y="905"/>
                  </a:cubicBezTo>
                  <a:cubicBezTo>
                    <a:pt x="789" y="905"/>
                    <a:pt x="789" y="905"/>
                    <a:pt x="789" y="905"/>
                  </a:cubicBezTo>
                  <a:cubicBezTo>
                    <a:pt x="795" y="908"/>
                    <a:pt x="795" y="908"/>
                    <a:pt x="795" y="908"/>
                  </a:cubicBezTo>
                  <a:cubicBezTo>
                    <a:pt x="791" y="907"/>
                    <a:pt x="791" y="907"/>
                    <a:pt x="791" y="907"/>
                  </a:cubicBezTo>
                  <a:cubicBezTo>
                    <a:pt x="784" y="908"/>
                    <a:pt x="784" y="908"/>
                    <a:pt x="784" y="908"/>
                  </a:cubicBezTo>
                  <a:cubicBezTo>
                    <a:pt x="779" y="914"/>
                    <a:pt x="779" y="914"/>
                    <a:pt x="779" y="914"/>
                  </a:cubicBezTo>
                  <a:cubicBezTo>
                    <a:pt x="778" y="931"/>
                    <a:pt x="778" y="931"/>
                    <a:pt x="778" y="931"/>
                  </a:cubicBezTo>
                  <a:cubicBezTo>
                    <a:pt x="776" y="944"/>
                    <a:pt x="776" y="944"/>
                    <a:pt x="776" y="944"/>
                  </a:cubicBezTo>
                  <a:cubicBezTo>
                    <a:pt x="780" y="949"/>
                    <a:pt x="780" y="949"/>
                    <a:pt x="780" y="949"/>
                  </a:cubicBezTo>
                  <a:cubicBezTo>
                    <a:pt x="782" y="956"/>
                    <a:pt x="782" y="956"/>
                    <a:pt x="782" y="956"/>
                  </a:cubicBezTo>
                  <a:cubicBezTo>
                    <a:pt x="788" y="951"/>
                    <a:pt x="788" y="951"/>
                    <a:pt x="788" y="951"/>
                  </a:cubicBezTo>
                  <a:cubicBezTo>
                    <a:pt x="784" y="957"/>
                    <a:pt x="784" y="957"/>
                    <a:pt x="784" y="957"/>
                  </a:cubicBezTo>
                  <a:cubicBezTo>
                    <a:pt x="778" y="957"/>
                    <a:pt x="778" y="957"/>
                    <a:pt x="778" y="957"/>
                  </a:cubicBezTo>
                  <a:cubicBezTo>
                    <a:pt x="777" y="951"/>
                    <a:pt x="777" y="951"/>
                    <a:pt x="777" y="951"/>
                  </a:cubicBezTo>
                  <a:cubicBezTo>
                    <a:pt x="771" y="954"/>
                    <a:pt x="771" y="954"/>
                    <a:pt x="771" y="954"/>
                  </a:cubicBezTo>
                  <a:cubicBezTo>
                    <a:pt x="760" y="965"/>
                    <a:pt x="738" y="981"/>
                    <a:pt x="741" y="1000"/>
                  </a:cubicBezTo>
                  <a:cubicBezTo>
                    <a:pt x="738" y="1005"/>
                    <a:pt x="738" y="1005"/>
                    <a:pt x="738" y="1005"/>
                  </a:cubicBezTo>
                  <a:cubicBezTo>
                    <a:pt x="731" y="1001"/>
                    <a:pt x="731" y="1001"/>
                    <a:pt x="731" y="1001"/>
                  </a:cubicBezTo>
                  <a:cubicBezTo>
                    <a:pt x="725" y="1006"/>
                    <a:pt x="725" y="1006"/>
                    <a:pt x="725" y="1006"/>
                  </a:cubicBezTo>
                  <a:cubicBezTo>
                    <a:pt x="722" y="1012"/>
                    <a:pt x="722" y="1012"/>
                    <a:pt x="722" y="1012"/>
                  </a:cubicBezTo>
                  <a:cubicBezTo>
                    <a:pt x="710" y="1016"/>
                    <a:pt x="710" y="1016"/>
                    <a:pt x="710" y="1016"/>
                  </a:cubicBezTo>
                  <a:cubicBezTo>
                    <a:pt x="698" y="1023"/>
                    <a:pt x="698" y="1023"/>
                    <a:pt x="698" y="1023"/>
                  </a:cubicBezTo>
                  <a:cubicBezTo>
                    <a:pt x="693" y="1029"/>
                    <a:pt x="693" y="1029"/>
                    <a:pt x="693" y="1029"/>
                  </a:cubicBezTo>
                  <a:cubicBezTo>
                    <a:pt x="689" y="1031"/>
                    <a:pt x="689" y="1031"/>
                    <a:pt x="689" y="1031"/>
                  </a:cubicBezTo>
                  <a:cubicBezTo>
                    <a:pt x="677" y="1042"/>
                    <a:pt x="677" y="1042"/>
                    <a:pt x="677" y="1042"/>
                  </a:cubicBezTo>
                  <a:cubicBezTo>
                    <a:pt x="675" y="1048"/>
                    <a:pt x="675" y="1048"/>
                    <a:pt x="675" y="1048"/>
                  </a:cubicBezTo>
                  <a:cubicBezTo>
                    <a:pt x="672" y="1060"/>
                    <a:pt x="672" y="1060"/>
                    <a:pt x="672" y="1060"/>
                  </a:cubicBezTo>
                  <a:cubicBezTo>
                    <a:pt x="675" y="1066"/>
                    <a:pt x="675" y="1066"/>
                    <a:pt x="675" y="1066"/>
                  </a:cubicBezTo>
                  <a:cubicBezTo>
                    <a:pt x="681" y="1069"/>
                    <a:pt x="681" y="1069"/>
                    <a:pt x="681" y="1069"/>
                  </a:cubicBezTo>
                  <a:cubicBezTo>
                    <a:pt x="681" y="1075"/>
                    <a:pt x="681" y="1075"/>
                    <a:pt x="681" y="1075"/>
                  </a:cubicBezTo>
                  <a:cubicBezTo>
                    <a:pt x="675" y="1074"/>
                    <a:pt x="675" y="1074"/>
                    <a:pt x="675" y="1074"/>
                  </a:cubicBezTo>
                  <a:cubicBezTo>
                    <a:pt x="669" y="1069"/>
                    <a:pt x="669" y="1069"/>
                    <a:pt x="669" y="1069"/>
                  </a:cubicBezTo>
                  <a:cubicBezTo>
                    <a:pt x="662" y="1071"/>
                    <a:pt x="662" y="1071"/>
                    <a:pt x="662" y="1071"/>
                  </a:cubicBezTo>
                  <a:cubicBezTo>
                    <a:pt x="664" y="1077"/>
                    <a:pt x="664" y="1077"/>
                    <a:pt x="664" y="1077"/>
                  </a:cubicBezTo>
                  <a:cubicBezTo>
                    <a:pt x="658" y="1074"/>
                    <a:pt x="658" y="1074"/>
                    <a:pt x="658" y="1074"/>
                  </a:cubicBezTo>
                  <a:cubicBezTo>
                    <a:pt x="653" y="1068"/>
                    <a:pt x="653" y="1068"/>
                    <a:pt x="653" y="1068"/>
                  </a:cubicBezTo>
                  <a:cubicBezTo>
                    <a:pt x="654" y="1062"/>
                    <a:pt x="654" y="1062"/>
                    <a:pt x="654" y="1062"/>
                  </a:cubicBezTo>
                  <a:cubicBezTo>
                    <a:pt x="649" y="1063"/>
                    <a:pt x="649" y="1063"/>
                    <a:pt x="649" y="1063"/>
                  </a:cubicBezTo>
                  <a:cubicBezTo>
                    <a:pt x="643" y="1060"/>
                    <a:pt x="643" y="1060"/>
                    <a:pt x="643" y="1060"/>
                  </a:cubicBezTo>
                  <a:cubicBezTo>
                    <a:pt x="625" y="1066"/>
                    <a:pt x="625" y="1066"/>
                    <a:pt x="625" y="1066"/>
                  </a:cubicBezTo>
                  <a:cubicBezTo>
                    <a:pt x="606" y="1079"/>
                    <a:pt x="606" y="1079"/>
                    <a:pt x="606" y="1079"/>
                  </a:cubicBezTo>
                  <a:cubicBezTo>
                    <a:pt x="597" y="1091"/>
                    <a:pt x="597" y="1091"/>
                    <a:pt x="597" y="1091"/>
                  </a:cubicBezTo>
                  <a:cubicBezTo>
                    <a:pt x="595" y="1097"/>
                    <a:pt x="595" y="1097"/>
                    <a:pt x="595" y="1097"/>
                  </a:cubicBezTo>
                  <a:cubicBezTo>
                    <a:pt x="591" y="1103"/>
                    <a:pt x="591" y="1103"/>
                    <a:pt x="591" y="1103"/>
                  </a:cubicBezTo>
                  <a:cubicBezTo>
                    <a:pt x="579" y="1107"/>
                    <a:pt x="579" y="1107"/>
                    <a:pt x="579" y="1107"/>
                  </a:cubicBezTo>
                  <a:cubicBezTo>
                    <a:pt x="578" y="1114"/>
                    <a:pt x="578" y="1114"/>
                    <a:pt x="578" y="1114"/>
                  </a:cubicBezTo>
                  <a:cubicBezTo>
                    <a:pt x="572" y="1111"/>
                    <a:pt x="572" y="1111"/>
                    <a:pt x="572" y="1111"/>
                  </a:cubicBezTo>
                  <a:cubicBezTo>
                    <a:pt x="566" y="1114"/>
                    <a:pt x="566" y="1114"/>
                    <a:pt x="566" y="1114"/>
                  </a:cubicBezTo>
                  <a:cubicBezTo>
                    <a:pt x="562" y="1120"/>
                    <a:pt x="562" y="1120"/>
                    <a:pt x="562" y="1120"/>
                  </a:cubicBezTo>
                  <a:cubicBezTo>
                    <a:pt x="564" y="1126"/>
                    <a:pt x="564" y="1126"/>
                    <a:pt x="564" y="1126"/>
                  </a:cubicBezTo>
                  <a:cubicBezTo>
                    <a:pt x="561" y="1132"/>
                    <a:pt x="561" y="1132"/>
                    <a:pt x="561" y="1132"/>
                  </a:cubicBezTo>
                  <a:cubicBezTo>
                    <a:pt x="561" y="1138"/>
                    <a:pt x="561" y="1138"/>
                    <a:pt x="561" y="1138"/>
                  </a:cubicBezTo>
                  <a:cubicBezTo>
                    <a:pt x="567" y="1134"/>
                    <a:pt x="567" y="1134"/>
                    <a:pt x="567" y="1134"/>
                  </a:cubicBezTo>
                  <a:cubicBezTo>
                    <a:pt x="572" y="1128"/>
                    <a:pt x="572" y="1128"/>
                    <a:pt x="572" y="1128"/>
                  </a:cubicBezTo>
                  <a:cubicBezTo>
                    <a:pt x="566" y="1123"/>
                    <a:pt x="566" y="1123"/>
                    <a:pt x="566" y="1123"/>
                  </a:cubicBezTo>
                  <a:cubicBezTo>
                    <a:pt x="567" y="1118"/>
                    <a:pt x="567" y="1118"/>
                    <a:pt x="567" y="1118"/>
                  </a:cubicBezTo>
                  <a:cubicBezTo>
                    <a:pt x="573" y="1119"/>
                    <a:pt x="573" y="1119"/>
                    <a:pt x="573" y="1119"/>
                  </a:cubicBezTo>
                  <a:cubicBezTo>
                    <a:pt x="577" y="1125"/>
                    <a:pt x="577" y="1125"/>
                    <a:pt x="577" y="1125"/>
                  </a:cubicBezTo>
                  <a:cubicBezTo>
                    <a:pt x="579" y="1130"/>
                    <a:pt x="579" y="1130"/>
                    <a:pt x="579" y="1130"/>
                  </a:cubicBezTo>
                  <a:cubicBezTo>
                    <a:pt x="591" y="1127"/>
                    <a:pt x="591" y="1127"/>
                    <a:pt x="591" y="1127"/>
                  </a:cubicBezTo>
                  <a:cubicBezTo>
                    <a:pt x="588" y="1121"/>
                    <a:pt x="588" y="1121"/>
                    <a:pt x="588" y="1121"/>
                  </a:cubicBezTo>
                  <a:cubicBezTo>
                    <a:pt x="590" y="1115"/>
                    <a:pt x="590" y="1115"/>
                    <a:pt x="590" y="1115"/>
                  </a:cubicBezTo>
                  <a:cubicBezTo>
                    <a:pt x="587" y="1109"/>
                    <a:pt x="587" y="1109"/>
                    <a:pt x="587" y="1109"/>
                  </a:cubicBezTo>
                  <a:cubicBezTo>
                    <a:pt x="592" y="1106"/>
                    <a:pt x="592" y="1106"/>
                    <a:pt x="592" y="1106"/>
                  </a:cubicBezTo>
                  <a:cubicBezTo>
                    <a:pt x="595" y="1118"/>
                    <a:pt x="595" y="1118"/>
                    <a:pt x="595" y="1118"/>
                  </a:cubicBezTo>
                  <a:cubicBezTo>
                    <a:pt x="597" y="1124"/>
                    <a:pt x="597" y="1124"/>
                    <a:pt x="597" y="1124"/>
                  </a:cubicBezTo>
                  <a:cubicBezTo>
                    <a:pt x="603" y="1126"/>
                    <a:pt x="603" y="1126"/>
                    <a:pt x="603" y="1126"/>
                  </a:cubicBezTo>
                  <a:cubicBezTo>
                    <a:pt x="609" y="1120"/>
                    <a:pt x="609" y="1120"/>
                    <a:pt x="609" y="1120"/>
                  </a:cubicBezTo>
                  <a:cubicBezTo>
                    <a:pt x="615" y="1116"/>
                    <a:pt x="615" y="1116"/>
                    <a:pt x="615" y="1116"/>
                  </a:cubicBezTo>
                  <a:cubicBezTo>
                    <a:pt x="614" y="1111"/>
                    <a:pt x="614" y="1111"/>
                    <a:pt x="614" y="1111"/>
                  </a:cubicBezTo>
                  <a:cubicBezTo>
                    <a:pt x="620" y="1108"/>
                    <a:pt x="620" y="1108"/>
                    <a:pt x="620" y="1108"/>
                  </a:cubicBezTo>
                  <a:cubicBezTo>
                    <a:pt x="624" y="1102"/>
                    <a:pt x="624" y="1102"/>
                    <a:pt x="624" y="1102"/>
                  </a:cubicBezTo>
                  <a:cubicBezTo>
                    <a:pt x="627" y="1090"/>
                    <a:pt x="627" y="1090"/>
                    <a:pt x="627" y="1090"/>
                  </a:cubicBezTo>
                  <a:cubicBezTo>
                    <a:pt x="633" y="1085"/>
                    <a:pt x="633" y="1085"/>
                    <a:pt x="633" y="1085"/>
                  </a:cubicBezTo>
                  <a:cubicBezTo>
                    <a:pt x="639" y="1085"/>
                    <a:pt x="639" y="1085"/>
                    <a:pt x="639" y="1085"/>
                  </a:cubicBezTo>
                  <a:cubicBezTo>
                    <a:pt x="643" y="1092"/>
                    <a:pt x="643" y="1092"/>
                    <a:pt x="643" y="1092"/>
                  </a:cubicBezTo>
                  <a:cubicBezTo>
                    <a:pt x="637" y="1090"/>
                    <a:pt x="637" y="1090"/>
                    <a:pt x="637" y="1090"/>
                  </a:cubicBezTo>
                  <a:cubicBezTo>
                    <a:pt x="635" y="1097"/>
                    <a:pt x="635" y="1097"/>
                    <a:pt x="635" y="1097"/>
                  </a:cubicBezTo>
                  <a:cubicBezTo>
                    <a:pt x="637" y="1103"/>
                    <a:pt x="637" y="1103"/>
                    <a:pt x="637" y="1103"/>
                  </a:cubicBezTo>
                  <a:cubicBezTo>
                    <a:pt x="643" y="1104"/>
                    <a:pt x="643" y="1104"/>
                    <a:pt x="643" y="1104"/>
                  </a:cubicBezTo>
                  <a:cubicBezTo>
                    <a:pt x="649" y="1101"/>
                    <a:pt x="649" y="1101"/>
                    <a:pt x="649" y="1101"/>
                  </a:cubicBezTo>
                  <a:cubicBezTo>
                    <a:pt x="654" y="1095"/>
                    <a:pt x="654" y="1095"/>
                    <a:pt x="654" y="1095"/>
                  </a:cubicBezTo>
                  <a:cubicBezTo>
                    <a:pt x="660" y="1097"/>
                    <a:pt x="660" y="1097"/>
                    <a:pt x="660" y="1097"/>
                  </a:cubicBezTo>
                  <a:cubicBezTo>
                    <a:pt x="666" y="1096"/>
                    <a:pt x="666" y="1096"/>
                    <a:pt x="666" y="1096"/>
                  </a:cubicBezTo>
                  <a:cubicBezTo>
                    <a:pt x="663" y="1090"/>
                    <a:pt x="663" y="1090"/>
                    <a:pt x="663" y="1090"/>
                  </a:cubicBezTo>
                  <a:cubicBezTo>
                    <a:pt x="669" y="1089"/>
                    <a:pt x="669" y="1089"/>
                    <a:pt x="669" y="1089"/>
                  </a:cubicBezTo>
                  <a:cubicBezTo>
                    <a:pt x="672" y="1096"/>
                    <a:pt x="672" y="1096"/>
                    <a:pt x="672" y="1096"/>
                  </a:cubicBezTo>
                  <a:cubicBezTo>
                    <a:pt x="678" y="1084"/>
                    <a:pt x="678" y="1084"/>
                    <a:pt x="678" y="1084"/>
                  </a:cubicBezTo>
                  <a:cubicBezTo>
                    <a:pt x="684" y="1084"/>
                    <a:pt x="684" y="1084"/>
                    <a:pt x="684" y="1084"/>
                  </a:cubicBezTo>
                  <a:cubicBezTo>
                    <a:pt x="690" y="1081"/>
                    <a:pt x="690" y="1081"/>
                    <a:pt x="690" y="1081"/>
                  </a:cubicBezTo>
                  <a:cubicBezTo>
                    <a:pt x="693" y="1074"/>
                    <a:pt x="693" y="1074"/>
                    <a:pt x="693" y="1074"/>
                  </a:cubicBezTo>
                  <a:cubicBezTo>
                    <a:pt x="700" y="1070"/>
                    <a:pt x="700" y="1070"/>
                    <a:pt x="700" y="1070"/>
                  </a:cubicBezTo>
                  <a:cubicBezTo>
                    <a:pt x="706" y="1071"/>
                    <a:pt x="706" y="1071"/>
                    <a:pt x="706" y="1071"/>
                  </a:cubicBezTo>
                  <a:cubicBezTo>
                    <a:pt x="705" y="1078"/>
                    <a:pt x="705" y="1078"/>
                    <a:pt x="705" y="1078"/>
                  </a:cubicBezTo>
                  <a:cubicBezTo>
                    <a:pt x="705" y="1084"/>
                    <a:pt x="705" y="1084"/>
                    <a:pt x="705" y="1084"/>
                  </a:cubicBezTo>
                  <a:cubicBezTo>
                    <a:pt x="703" y="1089"/>
                    <a:pt x="703" y="1089"/>
                    <a:pt x="703" y="1089"/>
                  </a:cubicBezTo>
                  <a:cubicBezTo>
                    <a:pt x="709" y="1084"/>
                    <a:pt x="709" y="1084"/>
                    <a:pt x="709" y="1084"/>
                  </a:cubicBezTo>
                  <a:cubicBezTo>
                    <a:pt x="713" y="1071"/>
                    <a:pt x="713" y="1071"/>
                    <a:pt x="713" y="1071"/>
                  </a:cubicBezTo>
                  <a:cubicBezTo>
                    <a:pt x="724" y="1066"/>
                    <a:pt x="724" y="1066"/>
                    <a:pt x="724" y="1066"/>
                  </a:cubicBezTo>
                  <a:cubicBezTo>
                    <a:pt x="730" y="1067"/>
                    <a:pt x="730" y="1067"/>
                    <a:pt x="730" y="1067"/>
                  </a:cubicBezTo>
                  <a:cubicBezTo>
                    <a:pt x="735" y="1061"/>
                    <a:pt x="735" y="1061"/>
                    <a:pt x="735" y="1061"/>
                  </a:cubicBezTo>
                  <a:cubicBezTo>
                    <a:pt x="741" y="1057"/>
                    <a:pt x="741" y="1057"/>
                    <a:pt x="741" y="1057"/>
                  </a:cubicBezTo>
                  <a:cubicBezTo>
                    <a:pt x="743" y="1051"/>
                    <a:pt x="743" y="1051"/>
                    <a:pt x="743" y="1051"/>
                  </a:cubicBezTo>
                  <a:cubicBezTo>
                    <a:pt x="749" y="1048"/>
                    <a:pt x="749" y="1048"/>
                    <a:pt x="749" y="1048"/>
                  </a:cubicBezTo>
                  <a:cubicBezTo>
                    <a:pt x="747" y="1054"/>
                    <a:pt x="747" y="1054"/>
                    <a:pt x="747" y="1054"/>
                  </a:cubicBezTo>
                  <a:cubicBezTo>
                    <a:pt x="749" y="1060"/>
                    <a:pt x="749" y="1060"/>
                    <a:pt x="749" y="1060"/>
                  </a:cubicBezTo>
                  <a:cubicBezTo>
                    <a:pt x="753" y="1059"/>
                    <a:pt x="753" y="1059"/>
                    <a:pt x="753" y="1059"/>
                  </a:cubicBezTo>
                  <a:cubicBezTo>
                    <a:pt x="753" y="1046"/>
                    <a:pt x="753" y="1046"/>
                    <a:pt x="753" y="1046"/>
                  </a:cubicBezTo>
                  <a:cubicBezTo>
                    <a:pt x="759" y="1045"/>
                    <a:pt x="759" y="1045"/>
                    <a:pt x="759" y="1045"/>
                  </a:cubicBezTo>
                  <a:cubicBezTo>
                    <a:pt x="753" y="1044"/>
                    <a:pt x="753" y="1044"/>
                    <a:pt x="753" y="1044"/>
                  </a:cubicBezTo>
                  <a:cubicBezTo>
                    <a:pt x="757" y="1038"/>
                    <a:pt x="757" y="1038"/>
                    <a:pt x="757" y="1038"/>
                  </a:cubicBezTo>
                  <a:cubicBezTo>
                    <a:pt x="751" y="1036"/>
                    <a:pt x="751" y="1036"/>
                    <a:pt x="751" y="1036"/>
                  </a:cubicBezTo>
                  <a:cubicBezTo>
                    <a:pt x="745" y="1038"/>
                    <a:pt x="745" y="1038"/>
                    <a:pt x="745" y="1038"/>
                  </a:cubicBezTo>
                  <a:cubicBezTo>
                    <a:pt x="754" y="1026"/>
                    <a:pt x="754" y="1026"/>
                    <a:pt x="754" y="1026"/>
                  </a:cubicBezTo>
                  <a:cubicBezTo>
                    <a:pt x="761" y="1027"/>
                    <a:pt x="761" y="1027"/>
                    <a:pt x="761" y="1027"/>
                  </a:cubicBezTo>
                  <a:cubicBezTo>
                    <a:pt x="767" y="1024"/>
                    <a:pt x="767" y="1024"/>
                    <a:pt x="767" y="1024"/>
                  </a:cubicBezTo>
                  <a:cubicBezTo>
                    <a:pt x="772" y="1026"/>
                    <a:pt x="772" y="1026"/>
                    <a:pt x="772" y="1026"/>
                  </a:cubicBezTo>
                  <a:cubicBezTo>
                    <a:pt x="773" y="1020"/>
                    <a:pt x="773" y="1020"/>
                    <a:pt x="773" y="1020"/>
                  </a:cubicBezTo>
                  <a:cubicBezTo>
                    <a:pt x="768" y="1017"/>
                    <a:pt x="768" y="1017"/>
                    <a:pt x="768" y="1017"/>
                  </a:cubicBezTo>
                  <a:cubicBezTo>
                    <a:pt x="773" y="1012"/>
                    <a:pt x="773" y="1012"/>
                    <a:pt x="773" y="1012"/>
                  </a:cubicBezTo>
                  <a:cubicBezTo>
                    <a:pt x="779" y="1016"/>
                    <a:pt x="779" y="1016"/>
                    <a:pt x="779" y="1016"/>
                  </a:cubicBezTo>
                  <a:cubicBezTo>
                    <a:pt x="785" y="1012"/>
                    <a:pt x="785" y="1012"/>
                    <a:pt x="785" y="1012"/>
                  </a:cubicBezTo>
                  <a:cubicBezTo>
                    <a:pt x="788" y="1006"/>
                    <a:pt x="788" y="1006"/>
                    <a:pt x="788" y="1006"/>
                  </a:cubicBezTo>
                  <a:cubicBezTo>
                    <a:pt x="787" y="1000"/>
                    <a:pt x="787" y="1000"/>
                    <a:pt x="787" y="1000"/>
                  </a:cubicBezTo>
                  <a:cubicBezTo>
                    <a:pt x="793" y="1001"/>
                    <a:pt x="793" y="1001"/>
                    <a:pt x="793" y="1001"/>
                  </a:cubicBezTo>
                  <a:cubicBezTo>
                    <a:pt x="799" y="1001"/>
                    <a:pt x="799" y="1001"/>
                    <a:pt x="799" y="1001"/>
                  </a:cubicBezTo>
                  <a:cubicBezTo>
                    <a:pt x="798" y="999"/>
                    <a:pt x="798" y="999"/>
                    <a:pt x="798" y="999"/>
                  </a:cubicBezTo>
                  <a:cubicBezTo>
                    <a:pt x="804" y="996"/>
                    <a:pt x="804" y="996"/>
                    <a:pt x="804" y="996"/>
                  </a:cubicBezTo>
                  <a:cubicBezTo>
                    <a:pt x="806" y="990"/>
                    <a:pt x="806" y="990"/>
                    <a:pt x="806" y="990"/>
                  </a:cubicBezTo>
                  <a:cubicBezTo>
                    <a:pt x="812" y="994"/>
                    <a:pt x="812" y="994"/>
                    <a:pt x="812" y="994"/>
                  </a:cubicBezTo>
                  <a:cubicBezTo>
                    <a:pt x="827" y="978"/>
                    <a:pt x="827" y="978"/>
                    <a:pt x="827" y="978"/>
                  </a:cubicBezTo>
                  <a:cubicBezTo>
                    <a:pt x="827" y="978"/>
                    <a:pt x="824" y="973"/>
                    <a:pt x="824" y="971"/>
                  </a:cubicBezTo>
                  <a:cubicBezTo>
                    <a:pt x="824" y="970"/>
                    <a:pt x="827" y="967"/>
                    <a:pt x="827" y="966"/>
                  </a:cubicBezTo>
                  <a:cubicBezTo>
                    <a:pt x="826" y="964"/>
                    <a:pt x="821" y="966"/>
                    <a:pt x="821" y="965"/>
                  </a:cubicBezTo>
                  <a:cubicBezTo>
                    <a:pt x="820" y="961"/>
                    <a:pt x="829" y="955"/>
                    <a:pt x="832" y="954"/>
                  </a:cubicBezTo>
                  <a:cubicBezTo>
                    <a:pt x="834" y="954"/>
                    <a:pt x="837" y="957"/>
                    <a:pt x="838" y="956"/>
                  </a:cubicBezTo>
                  <a:cubicBezTo>
                    <a:pt x="839" y="955"/>
                    <a:pt x="836" y="951"/>
                    <a:pt x="836" y="950"/>
                  </a:cubicBezTo>
                  <a:cubicBezTo>
                    <a:pt x="837" y="949"/>
                    <a:pt x="841" y="948"/>
                    <a:pt x="842" y="948"/>
                  </a:cubicBezTo>
                  <a:cubicBezTo>
                    <a:pt x="844" y="948"/>
                    <a:pt x="848" y="949"/>
                    <a:pt x="849" y="948"/>
                  </a:cubicBezTo>
                  <a:cubicBezTo>
                    <a:pt x="850" y="947"/>
                    <a:pt x="848" y="944"/>
                    <a:pt x="848" y="943"/>
                  </a:cubicBezTo>
                  <a:cubicBezTo>
                    <a:pt x="849" y="941"/>
                    <a:pt x="852" y="937"/>
                    <a:pt x="852" y="937"/>
                  </a:cubicBezTo>
                  <a:cubicBezTo>
                    <a:pt x="852" y="931"/>
                    <a:pt x="852" y="931"/>
                    <a:pt x="852" y="931"/>
                  </a:cubicBezTo>
                  <a:cubicBezTo>
                    <a:pt x="858" y="934"/>
                    <a:pt x="858" y="934"/>
                    <a:pt x="858" y="934"/>
                  </a:cubicBezTo>
                  <a:cubicBezTo>
                    <a:pt x="864" y="933"/>
                    <a:pt x="864" y="933"/>
                    <a:pt x="864" y="933"/>
                  </a:cubicBezTo>
                  <a:cubicBezTo>
                    <a:pt x="864" y="933"/>
                    <a:pt x="863" y="929"/>
                    <a:pt x="864" y="927"/>
                  </a:cubicBezTo>
                  <a:cubicBezTo>
                    <a:pt x="865" y="926"/>
                    <a:pt x="868" y="926"/>
                    <a:pt x="869" y="924"/>
                  </a:cubicBezTo>
                  <a:cubicBezTo>
                    <a:pt x="870" y="923"/>
                    <a:pt x="870" y="920"/>
                    <a:pt x="871" y="918"/>
                  </a:cubicBezTo>
                  <a:cubicBezTo>
                    <a:pt x="872" y="916"/>
                    <a:pt x="875" y="914"/>
                    <a:pt x="877" y="913"/>
                  </a:cubicBezTo>
                  <a:cubicBezTo>
                    <a:pt x="878" y="912"/>
                    <a:pt x="881" y="911"/>
                    <a:pt x="883" y="911"/>
                  </a:cubicBezTo>
                  <a:cubicBezTo>
                    <a:pt x="884" y="910"/>
                    <a:pt x="887" y="913"/>
                    <a:pt x="889" y="912"/>
                  </a:cubicBezTo>
                  <a:cubicBezTo>
                    <a:pt x="890" y="911"/>
                    <a:pt x="887" y="907"/>
                    <a:pt x="888" y="906"/>
                  </a:cubicBezTo>
                  <a:cubicBezTo>
                    <a:pt x="889" y="905"/>
                    <a:pt x="893" y="906"/>
                    <a:pt x="894" y="905"/>
                  </a:cubicBezTo>
                  <a:cubicBezTo>
                    <a:pt x="896" y="905"/>
                    <a:pt x="899" y="904"/>
                    <a:pt x="900" y="902"/>
                  </a:cubicBezTo>
                  <a:cubicBezTo>
                    <a:pt x="901" y="901"/>
                    <a:pt x="902" y="898"/>
                    <a:pt x="902" y="897"/>
                  </a:cubicBezTo>
                  <a:cubicBezTo>
                    <a:pt x="902" y="895"/>
                    <a:pt x="902" y="892"/>
                    <a:pt x="901" y="891"/>
                  </a:cubicBezTo>
                  <a:cubicBezTo>
                    <a:pt x="899" y="890"/>
                    <a:pt x="896" y="895"/>
                    <a:pt x="895" y="893"/>
                  </a:cubicBezTo>
                  <a:cubicBezTo>
                    <a:pt x="894" y="892"/>
                    <a:pt x="899" y="889"/>
                    <a:pt x="901" y="888"/>
                  </a:cubicBezTo>
                  <a:cubicBezTo>
                    <a:pt x="902" y="887"/>
                    <a:pt x="906" y="887"/>
                    <a:pt x="906" y="885"/>
                  </a:cubicBezTo>
                  <a:cubicBezTo>
                    <a:pt x="907" y="883"/>
                    <a:pt x="902" y="881"/>
                    <a:pt x="902" y="879"/>
                  </a:cubicBezTo>
                  <a:cubicBezTo>
                    <a:pt x="903" y="878"/>
                    <a:pt x="907" y="877"/>
                    <a:pt x="908" y="875"/>
                  </a:cubicBezTo>
                  <a:cubicBezTo>
                    <a:pt x="909" y="874"/>
                    <a:pt x="909" y="871"/>
                    <a:pt x="911" y="870"/>
                  </a:cubicBezTo>
                  <a:cubicBezTo>
                    <a:pt x="912" y="868"/>
                    <a:pt x="915" y="869"/>
                    <a:pt x="917" y="868"/>
                  </a:cubicBezTo>
                  <a:cubicBezTo>
                    <a:pt x="919" y="867"/>
                    <a:pt x="921" y="864"/>
                    <a:pt x="922" y="863"/>
                  </a:cubicBezTo>
                  <a:cubicBezTo>
                    <a:pt x="924" y="860"/>
                    <a:pt x="930" y="854"/>
                    <a:pt x="930" y="850"/>
                  </a:cubicBezTo>
                  <a:cubicBezTo>
                    <a:pt x="929" y="849"/>
                    <a:pt x="927" y="846"/>
                    <a:pt x="925" y="845"/>
                  </a:cubicBezTo>
                  <a:cubicBezTo>
                    <a:pt x="924" y="844"/>
                    <a:pt x="921" y="844"/>
                    <a:pt x="919" y="843"/>
                  </a:cubicBezTo>
                  <a:cubicBezTo>
                    <a:pt x="918" y="842"/>
                    <a:pt x="915" y="838"/>
                    <a:pt x="913" y="838"/>
                  </a:cubicBezTo>
                  <a:cubicBezTo>
                    <a:pt x="912" y="837"/>
                    <a:pt x="909" y="839"/>
                    <a:pt x="907" y="839"/>
                  </a:cubicBezTo>
                  <a:cubicBezTo>
                    <a:pt x="906" y="839"/>
                    <a:pt x="901" y="838"/>
                    <a:pt x="901" y="838"/>
                  </a:cubicBezTo>
                  <a:cubicBezTo>
                    <a:pt x="895" y="840"/>
                    <a:pt x="895" y="840"/>
                    <a:pt x="895" y="840"/>
                  </a:cubicBezTo>
                  <a:cubicBezTo>
                    <a:pt x="894" y="836"/>
                    <a:pt x="894" y="836"/>
                    <a:pt x="894" y="836"/>
                  </a:cubicBezTo>
                  <a:cubicBezTo>
                    <a:pt x="894" y="836"/>
                    <a:pt x="897" y="832"/>
                    <a:pt x="897" y="830"/>
                  </a:cubicBezTo>
                  <a:cubicBezTo>
                    <a:pt x="898" y="829"/>
                    <a:pt x="897" y="825"/>
                    <a:pt x="897" y="824"/>
                  </a:cubicBezTo>
                  <a:cubicBezTo>
                    <a:pt x="897" y="822"/>
                    <a:pt x="897" y="819"/>
                    <a:pt x="898" y="818"/>
                  </a:cubicBezTo>
                  <a:cubicBezTo>
                    <a:pt x="900" y="815"/>
                    <a:pt x="908" y="814"/>
                    <a:pt x="909" y="811"/>
                  </a:cubicBezTo>
                  <a:cubicBezTo>
                    <a:pt x="910" y="810"/>
                    <a:pt x="908" y="806"/>
                    <a:pt x="908" y="805"/>
                  </a:cubicBezTo>
                  <a:cubicBezTo>
                    <a:pt x="908" y="803"/>
                    <a:pt x="908" y="800"/>
                    <a:pt x="909" y="799"/>
                  </a:cubicBezTo>
                  <a:cubicBezTo>
                    <a:pt x="910" y="798"/>
                    <a:pt x="914" y="799"/>
                    <a:pt x="915" y="798"/>
                  </a:cubicBezTo>
                  <a:cubicBezTo>
                    <a:pt x="917" y="797"/>
                    <a:pt x="918" y="792"/>
                    <a:pt x="920" y="792"/>
                  </a:cubicBezTo>
                  <a:cubicBezTo>
                    <a:pt x="922" y="792"/>
                    <a:pt x="920" y="798"/>
                    <a:pt x="922" y="798"/>
                  </a:cubicBezTo>
                  <a:cubicBezTo>
                    <a:pt x="923" y="799"/>
                    <a:pt x="927" y="795"/>
                    <a:pt x="927" y="795"/>
                  </a:cubicBezTo>
                  <a:cubicBezTo>
                    <a:pt x="931" y="789"/>
                    <a:pt x="931" y="789"/>
                    <a:pt x="931" y="789"/>
                  </a:cubicBezTo>
                  <a:cubicBezTo>
                    <a:pt x="931" y="789"/>
                    <a:pt x="930" y="784"/>
                    <a:pt x="929" y="783"/>
                  </a:cubicBezTo>
                  <a:cubicBezTo>
                    <a:pt x="928" y="782"/>
                    <a:pt x="923" y="784"/>
                    <a:pt x="923" y="782"/>
                  </a:cubicBezTo>
                  <a:cubicBezTo>
                    <a:pt x="923" y="781"/>
                    <a:pt x="928" y="780"/>
                    <a:pt x="929" y="780"/>
                  </a:cubicBezTo>
                  <a:cubicBezTo>
                    <a:pt x="930" y="780"/>
                    <a:pt x="933" y="780"/>
                    <a:pt x="935" y="779"/>
                  </a:cubicBezTo>
                  <a:cubicBezTo>
                    <a:pt x="937" y="779"/>
                    <a:pt x="940" y="777"/>
                    <a:pt x="941" y="776"/>
                  </a:cubicBezTo>
                  <a:cubicBezTo>
                    <a:pt x="943" y="773"/>
                    <a:pt x="945" y="767"/>
                    <a:pt x="944" y="764"/>
                  </a:cubicBezTo>
                  <a:cubicBezTo>
                    <a:pt x="943" y="762"/>
                    <a:pt x="940" y="760"/>
                    <a:pt x="938" y="759"/>
                  </a:cubicBezTo>
                  <a:cubicBezTo>
                    <a:pt x="937" y="758"/>
                    <a:pt x="933" y="757"/>
                    <a:pt x="932" y="756"/>
                  </a:cubicBezTo>
                  <a:cubicBezTo>
                    <a:pt x="930" y="755"/>
                    <a:pt x="926" y="753"/>
                    <a:pt x="926" y="751"/>
                  </a:cubicBezTo>
                  <a:cubicBezTo>
                    <a:pt x="927" y="750"/>
                    <a:pt x="930" y="750"/>
                    <a:pt x="932" y="750"/>
                  </a:cubicBezTo>
                  <a:cubicBezTo>
                    <a:pt x="934" y="751"/>
                    <a:pt x="936" y="753"/>
                    <a:pt x="938" y="754"/>
                  </a:cubicBezTo>
                  <a:cubicBezTo>
                    <a:pt x="939" y="754"/>
                    <a:pt x="942" y="755"/>
                    <a:pt x="943" y="754"/>
                  </a:cubicBezTo>
                  <a:cubicBezTo>
                    <a:pt x="947" y="752"/>
                    <a:pt x="953" y="742"/>
                    <a:pt x="953" y="742"/>
                  </a:cubicBezTo>
                  <a:cubicBezTo>
                    <a:pt x="949" y="736"/>
                    <a:pt x="949" y="736"/>
                    <a:pt x="949" y="736"/>
                  </a:cubicBezTo>
                  <a:cubicBezTo>
                    <a:pt x="952" y="730"/>
                    <a:pt x="952" y="730"/>
                    <a:pt x="952" y="730"/>
                  </a:cubicBezTo>
                  <a:cubicBezTo>
                    <a:pt x="961" y="719"/>
                    <a:pt x="961" y="719"/>
                    <a:pt x="961" y="719"/>
                  </a:cubicBezTo>
                  <a:cubicBezTo>
                    <a:pt x="967" y="714"/>
                    <a:pt x="967" y="714"/>
                    <a:pt x="967" y="714"/>
                  </a:cubicBezTo>
                  <a:cubicBezTo>
                    <a:pt x="964" y="708"/>
                    <a:pt x="964" y="708"/>
                    <a:pt x="964" y="708"/>
                  </a:cubicBezTo>
                  <a:cubicBezTo>
                    <a:pt x="968" y="702"/>
                    <a:pt x="968" y="702"/>
                    <a:pt x="968" y="702"/>
                  </a:cubicBezTo>
                  <a:cubicBezTo>
                    <a:pt x="973" y="696"/>
                    <a:pt x="973" y="696"/>
                    <a:pt x="973" y="696"/>
                  </a:cubicBezTo>
                  <a:cubicBezTo>
                    <a:pt x="979" y="694"/>
                    <a:pt x="979" y="694"/>
                    <a:pt x="979" y="694"/>
                  </a:cubicBezTo>
                  <a:cubicBezTo>
                    <a:pt x="985" y="688"/>
                    <a:pt x="985" y="688"/>
                    <a:pt x="985" y="688"/>
                  </a:cubicBezTo>
                  <a:cubicBezTo>
                    <a:pt x="987" y="682"/>
                    <a:pt x="987" y="682"/>
                    <a:pt x="987" y="682"/>
                  </a:cubicBezTo>
                  <a:cubicBezTo>
                    <a:pt x="1000" y="674"/>
                    <a:pt x="1000" y="674"/>
                    <a:pt x="1000" y="674"/>
                  </a:cubicBezTo>
                  <a:cubicBezTo>
                    <a:pt x="1000" y="668"/>
                    <a:pt x="1000" y="668"/>
                    <a:pt x="1000" y="668"/>
                  </a:cubicBezTo>
                  <a:cubicBezTo>
                    <a:pt x="1001" y="668"/>
                    <a:pt x="1001" y="668"/>
                    <a:pt x="1001" y="668"/>
                  </a:cubicBezTo>
                  <a:cubicBezTo>
                    <a:pt x="1002" y="674"/>
                    <a:pt x="1002" y="674"/>
                    <a:pt x="1002" y="674"/>
                  </a:cubicBezTo>
                  <a:cubicBezTo>
                    <a:pt x="1008" y="675"/>
                    <a:pt x="1008" y="675"/>
                    <a:pt x="1008" y="675"/>
                  </a:cubicBezTo>
                  <a:cubicBezTo>
                    <a:pt x="1013" y="674"/>
                    <a:pt x="1013" y="674"/>
                    <a:pt x="1013" y="674"/>
                  </a:cubicBezTo>
                  <a:cubicBezTo>
                    <a:pt x="1019" y="674"/>
                    <a:pt x="1019" y="674"/>
                    <a:pt x="1019" y="674"/>
                  </a:cubicBezTo>
                  <a:cubicBezTo>
                    <a:pt x="1023" y="663"/>
                    <a:pt x="1023" y="663"/>
                    <a:pt x="1023" y="663"/>
                  </a:cubicBezTo>
                  <a:cubicBezTo>
                    <a:pt x="1027" y="657"/>
                    <a:pt x="1027" y="657"/>
                    <a:pt x="1027" y="657"/>
                  </a:cubicBezTo>
                  <a:cubicBezTo>
                    <a:pt x="1033" y="654"/>
                    <a:pt x="1033" y="654"/>
                    <a:pt x="1033" y="654"/>
                  </a:cubicBezTo>
                  <a:cubicBezTo>
                    <a:pt x="1038" y="654"/>
                    <a:pt x="1038" y="654"/>
                    <a:pt x="1038" y="654"/>
                  </a:cubicBezTo>
                  <a:cubicBezTo>
                    <a:pt x="1033" y="659"/>
                    <a:pt x="1033" y="659"/>
                    <a:pt x="1033" y="659"/>
                  </a:cubicBezTo>
                  <a:cubicBezTo>
                    <a:pt x="1023" y="671"/>
                    <a:pt x="1023" y="671"/>
                    <a:pt x="1023" y="671"/>
                  </a:cubicBezTo>
                  <a:cubicBezTo>
                    <a:pt x="1020" y="676"/>
                    <a:pt x="1020" y="676"/>
                    <a:pt x="1020" y="676"/>
                  </a:cubicBezTo>
                  <a:cubicBezTo>
                    <a:pt x="1020" y="681"/>
                    <a:pt x="1020" y="681"/>
                    <a:pt x="1020" y="681"/>
                  </a:cubicBezTo>
                  <a:cubicBezTo>
                    <a:pt x="1034" y="689"/>
                    <a:pt x="1034" y="689"/>
                    <a:pt x="1034" y="689"/>
                  </a:cubicBezTo>
                  <a:cubicBezTo>
                    <a:pt x="1046" y="690"/>
                    <a:pt x="1046" y="690"/>
                    <a:pt x="1046" y="690"/>
                  </a:cubicBezTo>
                  <a:cubicBezTo>
                    <a:pt x="1052" y="694"/>
                    <a:pt x="1052" y="694"/>
                    <a:pt x="1052" y="694"/>
                  </a:cubicBezTo>
                  <a:cubicBezTo>
                    <a:pt x="1034" y="693"/>
                    <a:pt x="1034" y="693"/>
                    <a:pt x="1034" y="693"/>
                  </a:cubicBezTo>
                  <a:cubicBezTo>
                    <a:pt x="1028" y="691"/>
                    <a:pt x="1028" y="691"/>
                    <a:pt x="1028" y="691"/>
                  </a:cubicBezTo>
                  <a:cubicBezTo>
                    <a:pt x="1023" y="695"/>
                    <a:pt x="1023" y="695"/>
                    <a:pt x="1023" y="695"/>
                  </a:cubicBezTo>
                  <a:cubicBezTo>
                    <a:pt x="1018" y="696"/>
                    <a:pt x="1018" y="696"/>
                    <a:pt x="1018" y="696"/>
                  </a:cubicBezTo>
                  <a:cubicBezTo>
                    <a:pt x="1006" y="691"/>
                    <a:pt x="1006" y="691"/>
                    <a:pt x="1006" y="691"/>
                  </a:cubicBezTo>
                  <a:cubicBezTo>
                    <a:pt x="1000" y="696"/>
                    <a:pt x="1000" y="696"/>
                    <a:pt x="1000" y="696"/>
                  </a:cubicBezTo>
                  <a:cubicBezTo>
                    <a:pt x="990" y="708"/>
                    <a:pt x="990" y="708"/>
                    <a:pt x="990" y="708"/>
                  </a:cubicBezTo>
                  <a:cubicBezTo>
                    <a:pt x="978" y="715"/>
                    <a:pt x="978" y="715"/>
                    <a:pt x="978" y="715"/>
                  </a:cubicBezTo>
                  <a:cubicBezTo>
                    <a:pt x="984" y="727"/>
                    <a:pt x="984" y="727"/>
                    <a:pt x="984" y="727"/>
                  </a:cubicBezTo>
                  <a:cubicBezTo>
                    <a:pt x="985" y="739"/>
                    <a:pt x="985" y="739"/>
                    <a:pt x="985" y="739"/>
                  </a:cubicBezTo>
                  <a:cubicBezTo>
                    <a:pt x="982" y="742"/>
                    <a:pt x="982" y="742"/>
                    <a:pt x="982" y="742"/>
                  </a:cubicBezTo>
                  <a:cubicBezTo>
                    <a:pt x="983" y="749"/>
                    <a:pt x="983" y="749"/>
                    <a:pt x="983" y="749"/>
                  </a:cubicBezTo>
                  <a:cubicBezTo>
                    <a:pt x="976" y="761"/>
                    <a:pt x="976" y="761"/>
                    <a:pt x="976" y="761"/>
                  </a:cubicBezTo>
                  <a:cubicBezTo>
                    <a:pt x="974" y="767"/>
                    <a:pt x="974" y="767"/>
                    <a:pt x="974" y="767"/>
                  </a:cubicBezTo>
                  <a:cubicBezTo>
                    <a:pt x="971" y="782"/>
                    <a:pt x="971" y="782"/>
                    <a:pt x="971" y="782"/>
                  </a:cubicBezTo>
                  <a:cubicBezTo>
                    <a:pt x="976" y="789"/>
                    <a:pt x="976" y="789"/>
                    <a:pt x="976" y="789"/>
                  </a:cubicBezTo>
                  <a:cubicBezTo>
                    <a:pt x="982" y="790"/>
                    <a:pt x="982" y="790"/>
                    <a:pt x="982" y="790"/>
                  </a:cubicBezTo>
                  <a:cubicBezTo>
                    <a:pt x="987" y="788"/>
                    <a:pt x="987" y="788"/>
                    <a:pt x="987" y="788"/>
                  </a:cubicBezTo>
                  <a:cubicBezTo>
                    <a:pt x="994" y="782"/>
                    <a:pt x="994" y="782"/>
                    <a:pt x="994" y="782"/>
                  </a:cubicBezTo>
                  <a:cubicBezTo>
                    <a:pt x="1000" y="781"/>
                    <a:pt x="1000" y="781"/>
                    <a:pt x="1000" y="781"/>
                  </a:cubicBezTo>
                  <a:cubicBezTo>
                    <a:pt x="994" y="792"/>
                    <a:pt x="994" y="792"/>
                    <a:pt x="994" y="792"/>
                  </a:cubicBezTo>
                  <a:cubicBezTo>
                    <a:pt x="987" y="797"/>
                    <a:pt x="987" y="797"/>
                    <a:pt x="987" y="797"/>
                  </a:cubicBezTo>
                  <a:cubicBezTo>
                    <a:pt x="991" y="803"/>
                    <a:pt x="991" y="803"/>
                    <a:pt x="991" y="803"/>
                  </a:cubicBezTo>
                  <a:cubicBezTo>
                    <a:pt x="985" y="802"/>
                    <a:pt x="985" y="802"/>
                    <a:pt x="985" y="802"/>
                  </a:cubicBezTo>
                  <a:cubicBezTo>
                    <a:pt x="979" y="804"/>
                    <a:pt x="979" y="804"/>
                    <a:pt x="979" y="804"/>
                  </a:cubicBezTo>
                  <a:cubicBezTo>
                    <a:pt x="973" y="809"/>
                    <a:pt x="973" y="809"/>
                    <a:pt x="973" y="809"/>
                  </a:cubicBezTo>
                  <a:cubicBezTo>
                    <a:pt x="971" y="815"/>
                    <a:pt x="971" y="815"/>
                    <a:pt x="971" y="815"/>
                  </a:cubicBezTo>
                  <a:cubicBezTo>
                    <a:pt x="975" y="820"/>
                    <a:pt x="975" y="820"/>
                    <a:pt x="975" y="820"/>
                  </a:cubicBezTo>
                  <a:cubicBezTo>
                    <a:pt x="980" y="824"/>
                    <a:pt x="980" y="824"/>
                    <a:pt x="980" y="824"/>
                  </a:cubicBezTo>
                  <a:cubicBezTo>
                    <a:pt x="986" y="823"/>
                    <a:pt x="986" y="823"/>
                    <a:pt x="986" y="823"/>
                  </a:cubicBezTo>
                  <a:cubicBezTo>
                    <a:pt x="990" y="816"/>
                    <a:pt x="990" y="816"/>
                    <a:pt x="990" y="816"/>
                  </a:cubicBezTo>
                  <a:cubicBezTo>
                    <a:pt x="996" y="817"/>
                    <a:pt x="996" y="817"/>
                    <a:pt x="996" y="817"/>
                  </a:cubicBezTo>
                  <a:cubicBezTo>
                    <a:pt x="1002" y="817"/>
                    <a:pt x="1002" y="817"/>
                    <a:pt x="1002" y="817"/>
                  </a:cubicBezTo>
                  <a:cubicBezTo>
                    <a:pt x="997" y="811"/>
                    <a:pt x="997" y="811"/>
                    <a:pt x="997" y="811"/>
                  </a:cubicBezTo>
                  <a:cubicBezTo>
                    <a:pt x="1009" y="814"/>
                    <a:pt x="1009" y="814"/>
                    <a:pt x="1009" y="814"/>
                  </a:cubicBezTo>
                  <a:cubicBezTo>
                    <a:pt x="1009" y="808"/>
                    <a:pt x="1009" y="808"/>
                    <a:pt x="1009" y="808"/>
                  </a:cubicBezTo>
                  <a:cubicBezTo>
                    <a:pt x="1017" y="797"/>
                    <a:pt x="1017" y="797"/>
                    <a:pt x="1017" y="797"/>
                  </a:cubicBezTo>
                  <a:cubicBezTo>
                    <a:pt x="1016" y="791"/>
                    <a:pt x="1016" y="791"/>
                    <a:pt x="1016" y="791"/>
                  </a:cubicBezTo>
                  <a:cubicBezTo>
                    <a:pt x="1023" y="793"/>
                    <a:pt x="1023" y="793"/>
                    <a:pt x="1023" y="793"/>
                  </a:cubicBezTo>
                  <a:cubicBezTo>
                    <a:pt x="1027" y="781"/>
                    <a:pt x="1027" y="781"/>
                    <a:pt x="1027" y="781"/>
                  </a:cubicBezTo>
                  <a:cubicBezTo>
                    <a:pt x="1026" y="787"/>
                    <a:pt x="1026" y="787"/>
                    <a:pt x="1026" y="787"/>
                  </a:cubicBezTo>
                  <a:cubicBezTo>
                    <a:pt x="1028" y="793"/>
                    <a:pt x="1028" y="793"/>
                    <a:pt x="1028" y="793"/>
                  </a:cubicBezTo>
                  <a:cubicBezTo>
                    <a:pt x="1030" y="787"/>
                    <a:pt x="1030" y="787"/>
                    <a:pt x="1030" y="787"/>
                  </a:cubicBezTo>
                  <a:cubicBezTo>
                    <a:pt x="1036" y="783"/>
                    <a:pt x="1036" y="783"/>
                    <a:pt x="1036" y="783"/>
                  </a:cubicBezTo>
                  <a:cubicBezTo>
                    <a:pt x="1037" y="781"/>
                    <a:pt x="1037" y="781"/>
                    <a:pt x="1037" y="781"/>
                  </a:cubicBezTo>
                  <a:cubicBezTo>
                    <a:pt x="1034" y="772"/>
                    <a:pt x="1034" y="772"/>
                    <a:pt x="1034" y="772"/>
                  </a:cubicBezTo>
                  <a:cubicBezTo>
                    <a:pt x="1038" y="774"/>
                    <a:pt x="1038" y="774"/>
                    <a:pt x="1038" y="774"/>
                  </a:cubicBezTo>
                  <a:cubicBezTo>
                    <a:pt x="1044" y="779"/>
                    <a:pt x="1044" y="779"/>
                    <a:pt x="1044" y="779"/>
                  </a:cubicBezTo>
                  <a:cubicBezTo>
                    <a:pt x="1042" y="773"/>
                    <a:pt x="1042" y="773"/>
                    <a:pt x="1042" y="773"/>
                  </a:cubicBezTo>
                  <a:cubicBezTo>
                    <a:pt x="1042" y="767"/>
                    <a:pt x="1042" y="767"/>
                    <a:pt x="1042" y="767"/>
                  </a:cubicBezTo>
                  <a:cubicBezTo>
                    <a:pt x="1044" y="761"/>
                    <a:pt x="1044" y="761"/>
                    <a:pt x="1044" y="761"/>
                  </a:cubicBezTo>
                  <a:cubicBezTo>
                    <a:pt x="1045" y="767"/>
                    <a:pt x="1045" y="767"/>
                    <a:pt x="1045" y="767"/>
                  </a:cubicBezTo>
                  <a:cubicBezTo>
                    <a:pt x="1050" y="773"/>
                    <a:pt x="1050" y="773"/>
                    <a:pt x="1050" y="773"/>
                  </a:cubicBezTo>
                  <a:cubicBezTo>
                    <a:pt x="1047" y="767"/>
                    <a:pt x="1047" y="767"/>
                    <a:pt x="1047" y="767"/>
                  </a:cubicBezTo>
                  <a:cubicBezTo>
                    <a:pt x="1049" y="761"/>
                    <a:pt x="1049" y="761"/>
                    <a:pt x="1049" y="761"/>
                  </a:cubicBezTo>
                  <a:cubicBezTo>
                    <a:pt x="1053" y="755"/>
                    <a:pt x="1053" y="755"/>
                    <a:pt x="1053" y="755"/>
                  </a:cubicBezTo>
                  <a:cubicBezTo>
                    <a:pt x="1053" y="749"/>
                    <a:pt x="1053" y="749"/>
                    <a:pt x="1053" y="749"/>
                  </a:cubicBezTo>
                  <a:cubicBezTo>
                    <a:pt x="1059" y="760"/>
                    <a:pt x="1059" y="760"/>
                    <a:pt x="1059" y="760"/>
                  </a:cubicBezTo>
                  <a:cubicBezTo>
                    <a:pt x="1059" y="754"/>
                    <a:pt x="1059" y="754"/>
                    <a:pt x="1059" y="754"/>
                  </a:cubicBezTo>
                  <a:cubicBezTo>
                    <a:pt x="1063" y="753"/>
                    <a:pt x="1063" y="753"/>
                    <a:pt x="1063" y="753"/>
                  </a:cubicBezTo>
                  <a:cubicBezTo>
                    <a:pt x="1079" y="756"/>
                    <a:pt x="1079" y="756"/>
                    <a:pt x="1079" y="756"/>
                  </a:cubicBezTo>
                  <a:cubicBezTo>
                    <a:pt x="1082" y="750"/>
                    <a:pt x="1082" y="750"/>
                    <a:pt x="1082" y="750"/>
                  </a:cubicBezTo>
                  <a:cubicBezTo>
                    <a:pt x="1086" y="749"/>
                    <a:pt x="1086" y="749"/>
                    <a:pt x="1086" y="749"/>
                  </a:cubicBezTo>
                  <a:cubicBezTo>
                    <a:pt x="1086" y="743"/>
                    <a:pt x="1086" y="743"/>
                    <a:pt x="1086" y="743"/>
                  </a:cubicBezTo>
                  <a:cubicBezTo>
                    <a:pt x="1090" y="737"/>
                    <a:pt x="1090" y="737"/>
                    <a:pt x="1090" y="737"/>
                  </a:cubicBezTo>
                  <a:cubicBezTo>
                    <a:pt x="1090" y="731"/>
                    <a:pt x="1090" y="731"/>
                    <a:pt x="1090" y="731"/>
                  </a:cubicBezTo>
                  <a:cubicBezTo>
                    <a:pt x="1083" y="732"/>
                    <a:pt x="1083" y="732"/>
                    <a:pt x="1083" y="732"/>
                  </a:cubicBezTo>
                  <a:cubicBezTo>
                    <a:pt x="1088" y="726"/>
                    <a:pt x="1088" y="726"/>
                    <a:pt x="1088" y="726"/>
                  </a:cubicBezTo>
                  <a:cubicBezTo>
                    <a:pt x="1090" y="720"/>
                    <a:pt x="1090" y="720"/>
                    <a:pt x="1090" y="720"/>
                  </a:cubicBezTo>
                  <a:cubicBezTo>
                    <a:pt x="1096" y="717"/>
                    <a:pt x="1096" y="717"/>
                    <a:pt x="1096" y="717"/>
                  </a:cubicBezTo>
                  <a:cubicBezTo>
                    <a:pt x="1094" y="712"/>
                    <a:pt x="1094" y="712"/>
                    <a:pt x="1094" y="712"/>
                  </a:cubicBezTo>
                  <a:cubicBezTo>
                    <a:pt x="1087" y="709"/>
                    <a:pt x="1087" y="709"/>
                    <a:pt x="1087" y="709"/>
                  </a:cubicBezTo>
                  <a:cubicBezTo>
                    <a:pt x="1085" y="715"/>
                    <a:pt x="1085" y="715"/>
                    <a:pt x="1085" y="715"/>
                  </a:cubicBezTo>
                  <a:cubicBezTo>
                    <a:pt x="1078" y="713"/>
                    <a:pt x="1078" y="713"/>
                    <a:pt x="1078" y="713"/>
                  </a:cubicBezTo>
                  <a:cubicBezTo>
                    <a:pt x="1072" y="716"/>
                    <a:pt x="1072" y="716"/>
                    <a:pt x="1072" y="716"/>
                  </a:cubicBezTo>
                  <a:cubicBezTo>
                    <a:pt x="1077" y="711"/>
                    <a:pt x="1077" y="711"/>
                    <a:pt x="1077" y="711"/>
                  </a:cubicBezTo>
                  <a:cubicBezTo>
                    <a:pt x="1083" y="709"/>
                    <a:pt x="1083" y="709"/>
                    <a:pt x="1083" y="709"/>
                  </a:cubicBezTo>
                  <a:cubicBezTo>
                    <a:pt x="1085" y="704"/>
                    <a:pt x="1085" y="704"/>
                    <a:pt x="1085" y="704"/>
                  </a:cubicBezTo>
                  <a:cubicBezTo>
                    <a:pt x="1081" y="698"/>
                    <a:pt x="1081" y="698"/>
                    <a:pt x="1081" y="698"/>
                  </a:cubicBezTo>
                  <a:cubicBezTo>
                    <a:pt x="1078" y="704"/>
                    <a:pt x="1078" y="704"/>
                    <a:pt x="1078" y="704"/>
                  </a:cubicBezTo>
                  <a:cubicBezTo>
                    <a:pt x="1075" y="698"/>
                    <a:pt x="1075" y="698"/>
                    <a:pt x="1075" y="698"/>
                  </a:cubicBezTo>
                  <a:cubicBezTo>
                    <a:pt x="1069" y="701"/>
                    <a:pt x="1069" y="701"/>
                    <a:pt x="1069" y="701"/>
                  </a:cubicBezTo>
                  <a:cubicBezTo>
                    <a:pt x="1072" y="695"/>
                    <a:pt x="1072" y="695"/>
                    <a:pt x="1072" y="695"/>
                  </a:cubicBezTo>
                  <a:cubicBezTo>
                    <a:pt x="1067" y="698"/>
                    <a:pt x="1067" y="698"/>
                    <a:pt x="1067" y="698"/>
                  </a:cubicBezTo>
                  <a:cubicBezTo>
                    <a:pt x="1079" y="689"/>
                    <a:pt x="1079" y="689"/>
                    <a:pt x="1079" y="689"/>
                  </a:cubicBezTo>
                  <a:cubicBezTo>
                    <a:pt x="1080" y="683"/>
                    <a:pt x="1080" y="683"/>
                    <a:pt x="1080" y="683"/>
                  </a:cubicBezTo>
                  <a:cubicBezTo>
                    <a:pt x="1078" y="677"/>
                    <a:pt x="1078" y="677"/>
                    <a:pt x="1078" y="677"/>
                  </a:cubicBezTo>
                  <a:cubicBezTo>
                    <a:pt x="1073" y="683"/>
                    <a:pt x="1073" y="683"/>
                    <a:pt x="1073" y="683"/>
                  </a:cubicBezTo>
                  <a:cubicBezTo>
                    <a:pt x="1074" y="677"/>
                    <a:pt x="1074" y="677"/>
                    <a:pt x="1074" y="677"/>
                  </a:cubicBezTo>
                  <a:cubicBezTo>
                    <a:pt x="1080" y="673"/>
                    <a:pt x="1080" y="673"/>
                    <a:pt x="1080" y="673"/>
                  </a:cubicBezTo>
                  <a:cubicBezTo>
                    <a:pt x="1086" y="676"/>
                    <a:pt x="1086" y="676"/>
                    <a:pt x="1086" y="676"/>
                  </a:cubicBezTo>
                  <a:cubicBezTo>
                    <a:pt x="1087" y="671"/>
                    <a:pt x="1087" y="671"/>
                    <a:pt x="1087" y="671"/>
                  </a:cubicBezTo>
                  <a:cubicBezTo>
                    <a:pt x="1090" y="665"/>
                    <a:pt x="1090" y="665"/>
                    <a:pt x="1090" y="665"/>
                  </a:cubicBezTo>
                  <a:cubicBezTo>
                    <a:pt x="1093" y="658"/>
                    <a:pt x="1093" y="658"/>
                    <a:pt x="1093" y="658"/>
                  </a:cubicBezTo>
                  <a:cubicBezTo>
                    <a:pt x="1092" y="667"/>
                    <a:pt x="1092" y="667"/>
                    <a:pt x="1092" y="667"/>
                  </a:cubicBezTo>
                  <a:cubicBezTo>
                    <a:pt x="1089" y="673"/>
                    <a:pt x="1089" y="673"/>
                    <a:pt x="1089" y="673"/>
                  </a:cubicBezTo>
                  <a:cubicBezTo>
                    <a:pt x="1088" y="679"/>
                    <a:pt x="1088" y="679"/>
                    <a:pt x="1088" y="679"/>
                  </a:cubicBezTo>
                  <a:cubicBezTo>
                    <a:pt x="1089" y="685"/>
                    <a:pt x="1089" y="685"/>
                    <a:pt x="1089" y="685"/>
                  </a:cubicBezTo>
                  <a:cubicBezTo>
                    <a:pt x="1095" y="687"/>
                    <a:pt x="1095" y="687"/>
                    <a:pt x="1095" y="687"/>
                  </a:cubicBezTo>
                  <a:cubicBezTo>
                    <a:pt x="1097" y="681"/>
                    <a:pt x="1097" y="681"/>
                    <a:pt x="1097" y="681"/>
                  </a:cubicBezTo>
                  <a:cubicBezTo>
                    <a:pt x="1101" y="687"/>
                    <a:pt x="1101" y="687"/>
                    <a:pt x="1101" y="687"/>
                  </a:cubicBezTo>
                  <a:cubicBezTo>
                    <a:pt x="1100" y="675"/>
                    <a:pt x="1100" y="675"/>
                    <a:pt x="1100" y="675"/>
                  </a:cubicBezTo>
                  <a:cubicBezTo>
                    <a:pt x="1101" y="669"/>
                    <a:pt x="1101" y="669"/>
                    <a:pt x="1101" y="669"/>
                  </a:cubicBezTo>
                  <a:cubicBezTo>
                    <a:pt x="1104" y="681"/>
                    <a:pt x="1104" y="681"/>
                    <a:pt x="1104" y="681"/>
                  </a:cubicBezTo>
                  <a:cubicBezTo>
                    <a:pt x="1105" y="675"/>
                    <a:pt x="1105" y="675"/>
                    <a:pt x="1105" y="675"/>
                  </a:cubicBezTo>
                  <a:cubicBezTo>
                    <a:pt x="1111" y="680"/>
                    <a:pt x="1111" y="680"/>
                    <a:pt x="1111" y="680"/>
                  </a:cubicBezTo>
                  <a:cubicBezTo>
                    <a:pt x="1112" y="675"/>
                    <a:pt x="1112" y="675"/>
                    <a:pt x="1112" y="675"/>
                  </a:cubicBezTo>
                  <a:cubicBezTo>
                    <a:pt x="1118" y="675"/>
                    <a:pt x="1118" y="675"/>
                    <a:pt x="1118" y="675"/>
                  </a:cubicBezTo>
                  <a:cubicBezTo>
                    <a:pt x="1124" y="674"/>
                    <a:pt x="1124" y="674"/>
                    <a:pt x="1124" y="674"/>
                  </a:cubicBezTo>
                  <a:cubicBezTo>
                    <a:pt x="1131" y="662"/>
                    <a:pt x="1131" y="662"/>
                    <a:pt x="1131" y="662"/>
                  </a:cubicBezTo>
                  <a:cubicBezTo>
                    <a:pt x="1137" y="660"/>
                    <a:pt x="1137" y="660"/>
                    <a:pt x="1137" y="660"/>
                  </a:cubicBezTo>
                  <a:cubicBezTo>
                    <a:pt x="1142" y="663"/>
                    <a:pt x="1142" y="663"/>
                    <a:pt x="1142" y="663"/>
                  </a:cubicBezTo>
                  <a:cubicBezTo>
                    <a:pt x="1131" y="665"/>
                    <a:pt x="1131" y="665"/>
                    <a:pt x="1131" y="665"/>
                  </a:cubicBezTo>
                  <a:cubicBezTo>
                    <a:pt x="1130" y="671"/>
                    <a:pt x="1130" y="671"/>
                    <a:pt x="1130" y="671"/>
                  </a:cubicBezTo>
                  <a:cubicBezTo>
                    <a:pt x="1130" y="678"/>
                    <a:pt x="1130" y="678"/>
                    <a:pt x="1130" y="678"/>
                  </a:cubicBezTo>
                  <a:cubicBezTo>
                    <a:pt x="1136" y="680"/>
                    <a:pt x="1136" y="680"/>
                    <a:pt x="1136" y="680"/>
                  </a:cubicBezTo>
                  <a:cubicBezTo>
                    <a:pt x="1142" y="682"/>
                    <a:pt x="1142" y="682"/>
                    <a:pt x="1142" y="682"/>
                  </a:cubicBezTo>
                  <a:cubicBezTo>
                    <a:pt x="1145" y="676"/>
                    <a:pt x="1145" y="676"/>
                    <a:pt x="1145" y="676"/>
                  </a:cubicBezTo>
                  <a:cubicBezTo>
                    <a:pt x="1152" y="678"/>
                    <a:pt x="1152" y="678"/>
                    <a:pt x="1152" y="678"/>
                  </a:cubicBezTo>
                  <a:cubicBezTo>
                    <a:pt x="1139" y="686"/>
                    <a:pt x="1139" y="686"/>
                    <a:pt x="1139" y="686"/>
                  </a:cubicBezTo>
                  <a:cubicBezTo>
                    <a:pt x="1136" y="691"/>
                    <a:pt x="1136" y="691"/>
                    <a:pt x="1136" y="691"/>
                  </a:cubicBezTo>
                  <a:cubicBezTo>
                    <a:pt x="1142" y="690"/>
                    <a:pt x="1142" y="690"/>
                    <a:pt x="1142" y="690"/>
                  </a:cubicBezTo>
                  <a:cubicBezTo>
                    <a:pt x="1154" y="680"/>
                    <a:pt x="1154" y="680"/>
                    <a:pt x="1154" y="680"/>
                  </a:cubicBezTo>
                  <a:cubicBezTo>
                    <a:pt x="1150" y="693"/>
                    <a:pt x="1150" y="693"/>
                    <a:pt x="1150" y="693"/>
                  </a:cubicBezTo>
                  <a:cubicBezTo>
                    <a:pt x="1156" y="689"/>
                    <a:pt x="1156" y="689"/>
                    <a:pt x="1156" y="689"/>
                  </a:cubicBezTo>
                  <a:cubicBezTo>
                    <a:pt x="1162" y="691"/>
                    <a:pt x="1162" y="691"/>
                    <a:pt x="1162" y="691"/>
                  </a:cubicBezTo>
                  <a:cubicBezTo>
                    <a:pt x="1168" y="690"/>
                    <a:pt x="1168" y="690"/>
                    <a:pt x="1168" y="690"/>
                  </a:cubicBezTo>
                  <a:cubicBezTo>
                    <a:pt x="1166" y="695"/>
                    <a:pt x="1166" y="695"/>
                    <a:pt x="1166" y="695"/>
                  </a:cubicBezTo>
                  <a:cubicBezTo>
                    <a:pt x="1166" y="701"/>
                    <a:pt x="1166" y="701"/>
                    <a:pt x="1166" y="701"/>
                  </a:cubicBezTo>
                  <a:cubicBezTo>
                    <a:pt x="1172" y="700"/>
                    <a:pt x="1172" y="700"/>
                    <a:pt x="1172" y="700"/>
                  </a:cubicBezTo>
                  <a:cubicBezTo>
                    <a:pt x="1178" y="704"/>
                    <a:pt x="1178" y="704"/>
                    <a:pt x="1178" y="704"/>
                  </a:cubicBezTo>
                  <a:cubicBezTo>
                    <a:pt x="1183" y="705"/>
                    <a:pt x="1183" y="705"/>
                    <a:pt x="1183" y="705"/>
                  </a:cubicBezTo>
                  <a:cubicBezTo>
                    <a:pt x="1189" y="700"/>
                    <a:pt x="1189" y="700"/>
                    <a:pt x="1189" y="700"/>
                  </a:cubicBezTo>
                  <a:cubicBezTo>
                    <a:pt x="1190" y="693"/>
                    <a:pt x="1190" y="693"/>
                    <a:pt x="1190" y="693"/>
                  </a:cubicBezTo>
                  <a:cubicBezTo>
                    <a:pt x="1194" y="687"/>
                    <a:pt x="1194" y="687"/>
                    <a:pt x="1194" y="687"/>
                  </a:cubicBezTo>
                  <a:cubicBezTo>
                    <a:pt x="1197" y="681"/>
                    <a:pt x="1197" y="681"/>
                    <a:pt x="1197" y="681"/>
                  </a:cubicBezTo>
                  <a:cubicBezTo>
                    <a:pt x="1201" y="675"/>
                    <a:pt x="1201" y="675"/>
                    <a:pt x="1201" y="675"/>
                  </a:cubicBezTo>
                  <a:cubicBezTo>
                    <a:pt x="1198" y="682"/>
                    <a:pt x="1198" y="682"/>
                    <a:pt x="1198" y="682"/>
                  </a:cubicBezTo>
                  <a:cubicBezTo>
                    <a:pt x="1197" y="687"/>
                    <a:pt x="1197" y="687"/>
                    <a:pt x="1197" y="687"/>
                  </a:cubicBezTo>
                  <a:cubicBezTo>
                    <a:pt x="1199" y="693"/>
                    <a:pt x="1199" y="693"/>
                    <a:pt x="1199" y="693"/>
                  </a:cubicBezTo>
                  <a:cubicBezTo>
                    <a:pt x="1197" y="699"/>
                    <a:pt x="1197" y="699"/>
                    <a:pt x="1197" y="699"/>
                  </a:cubicBezTo>
                  <a:cubicBezTo>
                    <a:pt x="1201" y="705"/>
                    <a:pt x="1201" y="705"/>
                    <a:pt x="1201" y="705"/>
                  </a:cubicBezTo>
                  <a:cubicBezTo>
                    <a:pt x="1207" y="709"/>
                    <a:pt x="1207" y="709"/>
                    <a:pt x="1207" y="709"/>
                  </a:cubicBezTo>
                  <a:cubicBezTo>
                    <a:pt x="1219" y="708"/>
                    <a:pt x="1219" y="708"/>
                    <a:pt x="1219" y="708"/>
                  </a:cubicBezTo>
                  <a:cubicBezTo>
                    <a:pt x="1225" y="711"/>
                    <a:pt x="1225" y="711"/>
                    <a:pt x="1225" y="711"/>
                  </a:cubicBezTo>
                  <a:cubicBezTo>
                    <a:pt x="1229" y="717"/>
                    <a:pt x="1229" y="717"/>
                    <a:pt x="1229" y="717"/>
                  </a:cubicBezTo>
                  <a:cubicBezTo>
                    <a:pt x="1235" y="718"/>
                    <a:pt x="1235" y="718"/>
                    <a:pt x="1235" y="718"/>
                  </a:cubicBezTo>
                  <a:cubicBezTo>
                    <a:pt x="1238" y="717"/>
                    <a:pt x="1238" y="717"/>
                    <a:pt x="1238" y="717"/>
                  </a:cubicBezTo>
                  <a:cubicBezTo>
                    <a:pt x="1244" y="713"/>
                    <a:pt x="1244" y="713"/>
                    <a:pt x="1244" y="713"/>
                  </a:cubicBezTo>
                  <a:cubicBezTo>
                    <a:pt x="1263" y="706"/>
                    <a:pt x="1263" y="706"/>
                    <a:pt x="1263" y="706"/>
                  </a:cubicBezTo>
                  <a:cubicBezTo>
                    <a:pt x="1274" y="700"/>
                    <a:pt x="1274" y="700"/>
                    <a:pt x="1274" y="700"/>
                  </a:cubicBezTo>
                  <a:cubicBezTo>
                    <a:pt x="1304" y="700"/>
                    <a:pt x="1304" y="700"/>
                    <a:pt x="1304" y="700"/>
                  </a:cubicBezTo>
                  <a:cubicBezTo>
                    <a:pt x="1310" y="701"/>
                    <a:pt x="1310" y="701"/>
                    <a:pt x="1310" y="701"/>
                  </a:cubicBezTo>
                  <a:cubicBezTo>
                    <a:pt x="1318" y="694"/>
                    <a:pt x="1318" y="694"/>
                    <a:pt x="1318" y="694"/>
                  </a:cubicBezTo>
                  <a:cubicBezTo>
                    <a:pt x="1318" y="689"/>
                    <a:pt x="1318" y="689"/>
                    <a:pt x="1318" y="689"/>
                  </a:cubicBezTo>
                  <a:cubicBezTo>
                    <a:pt x="1323" y="694"/>
                    <a:pt x="1323" y="694"/>
                    <a:pt x="1323" y="694"/>
                  </a:cubicBezTo>
                  <a:cubicBezTo>
                    <a:pt x="1324" y="698"/>
                    <a:pt x="1324" y="698"/>
                    <a:pt x="1324" y="698"/>
                  </a:cubicBezTo>
                  <a:cubicBezTo>
                    <a:pt x="1322" y="704"/>
                    <a:pt x="1322" y="704"/>
                    <a:pt x="1322" y="704"/>
                  </a:cubicBezTo>
                  <a:cubicBezTo>
                    <a:pt x="1340" y="707"/>
                    <a:pt x="1340" y="707"/>
                    <a:pt x="1340" y="707"/>
                  </a:cubicBezTo>
                  <a:cubicBezTo>
                    <a:pt x="1358" y="706"/>
                    <a:pt x="1358" y="706"/>
                    <a:pt x="1358" y="706"/>
                  </a:cubicBezTo>
                  <a:cubicBezTo>
                    <a:pt x="1363" y="702"/>
                    <a:pt x="1363" y="702"/>
                    <a:pt x="1363" y="702"/>
                  </a:cubicBezTo>
                  <a:cubicBezTo>
                    <a:pt x="1374" y="689"/>
                    <a:pt x="1374" y="689"/>
                    <a:pt x="1374" y="689"/>
                  </a:cubicBezTo>
                  <a:cubicBezTo>
                    <a:pt x="1378" y="678"/>
                    <a:pt x="1378" y="678"/>
                    <a:pt x="1378" y="678"/>
                  </a:cubicBezTo>
                  <a:cubicBezTo>
                    <a:pt x="1384" y="676"/>
                    <a:pt x="1384" y="676"/>
                    <a:pt x="1384" y="676"/>
                  </a:cubicBezTo>
                  <a:cubicBezTo>
                    <a:pt x="1392" y="682"/>
                    <a:pt x="1392" y="682"/>
                    <a:pt x="1392" y="682"/>
                  </a:cubicBezTo>
                  <a:cubicBezTo>
                    <a:pt x="1397" y="682"/>
                    <a:pt x="1397" y="682"/>
                    <a:pt x="1397" y="682"/>
                  </a:cubicBezTo>
                  <a:cubicBezTo>
                    <a:pt x="1403" y="683"/>
                    <a:pt x="1403" y="683"/>
                    <a:pt x="1403" y="683"/>
                  </a:cubicBezTo>
                  <a:cubicBezTo>
                    <a:pt x="1397" y="683"/>
                    <a:pt x="1397" y="683"/>
                    <a:pt x="1397" y="683"/>
                  </a:cubicBezTo>
                  <a:cubicBezTo>
                    <a:pt x="1391" y="686"/>
                    <a:pt x="1391" y="686"/>
                    <a:pt x="1391" y="686"/>
                  </a:cubicBezTo>
                  <a:cubicBezTo>
                    <a:pt x="1393" y="692"/>
                    <a:pt x="1393" y="692"/>
                    <a:pt x="1393" y="692"/>
                  </a:cubicBezTo>
                  <a:cubicBezTo>
                    <a:pt x="1396" y="698"/>
                    <a:pt x="1396" y="698"/>
                    <a:pt x="1396" y="698"/>
                  </a:cubicBezTo>
                  <a:cubicBezTo>
                    <a:pt x="1392" y="692"/>
                    <a:pt x="1392" y="692"/>
                    <a:pt x="1392" y="692"/>
                  </a:cubicBezTo>
                  <a:cubicBezTo>
                    <a:pt x="1390" y="686"/>
                    <a:pt x="1390" y="686"/>
                    <a:pt x="1390" y="686"/>
                  </a:cubicBezTo>
                  <a:cubicBezTo>
                    <a:pt x="1386" y="680"/>
                    <a:pt x="1386" y="680"/>
                    <a:pt x="1386" y="680"/>
                  </a:cubicBezTo>
                  <a:cubicBezTo>
                    <a:pt x="1379" y="682"/>
                    <a:pt x="1379" y="682"/>
                    <a:pt x="1379" y="682"/>
                  </a:cubicBezTo>
                  <a:cubicBezTo>
                    <a:pt x="1381" y="689"/>
                    <a:pt x="1381" y="689"/>
                    <a:pt x="1381" y="689"/>
                  </a:cubicBezTo>
                  <a:cubicBezTo>
                    <a:pt x="1386" y="694"/>
                    <a:pt x="1386" y="694"/>
                    <a:pt x="1386" y="694"/>
                  </a:cubicBezTo>
                  <a:cubicBezTo>
                    <a:pt x="1386" y="701"/>
                    <a:pt x="1386" y="701"/>
                    <a:pt x="1386" y="701"/>
                  </a:cubicBezTo>
                  <a:cubicBezTo>
                    <a:pt x="1385" y="706"/>
                    <a:pt x="1385" y="706"/>
                    <a:pt x="1385" y="706"/>
                  </a:cubicBezTo>
                  <a:cubicBezTo>
                    <a:pt x="1379" y="711"/>
                    <a:pt x="1379" y="711"/>
                    <a:pt x="1379" y="711"/>
                  </a:cubicBezTo>
                  <a:cubicBezTo>
                    <a:pt x="1391" y="713"/>
                    <a:pt x="1391" y="713"/>
                    <a:pt x="1391" y="713"/>
                  </a:cubicBezTo>
                  <a:cubicBezTo>
                    <a:pt x="1397" y="716"/>
                    <a:pt x="1397" y="716"/>
                    <a:pt x="1397" y="716"/>
                  </a:cubicBezTo>
                  <a:cubicBezTo>
                    <a:pt x="1403" y="716"/>
                    <a:pt x="1403" y="716"/>
                    <a:pt x="1403" y="716"/>
                  </a:cubicBezTo>
                  <a:cubicBezTo>
                    <a:pt x="1409" y="719"/>
                    <a:pt x="1409" y="719"/>
                    <a:pt x="1409" y="719"/>
                  </a:cubicBezTo>
                  <a:cubicBezTo>
                    <a:pt x="1415" y="719"/>
                    <a:pt x="1415" y="719"/>
                    <a:pt x="1415" y="719"/>
                  </a:cubicBezTo>
                  <a:cubicBezTo>
                    <a:pt x="1426" y="723"/>
                    <a:pt x="1426" y="723"/>
                    <a:pt x="1426" y="723"/>
                  </a:cubicBezTo>
                  <a:cubicBezTo>
                    <a:pt x="1433" y="719"/>
                    <a:pt x="1433" y="719"/>
                    <a:pt x="1433" y="719"/>
                  </a:cubicBezTo>
                  <a:cubicBezTo>
                    <a:pt x="1433" y="724"/>
                    <a:pt x="1433" y="724"/>
                    <a:pt x="1433" y="724"/>
                  </a:cubicBezTo>
                  <a:cubicBezTo>
                    <a:pt x="1438" y="724"/>
                    <a:pt x="1438" y="724"/>
                    <a:pt x="1438" y="724"/>
                  </a:cubicBezTo>
                  <a:cubicBezTo>
                    <a:pt x="1445" y="726"/>
                    <a:pt x="1445" y="726"/>
                    <a:pt x="1445" y="726"/>
                  </a:cubicBezTo>
                  <a:cubicBezTo>
                    <a:pt x="1456" y="733"/>
                    <a:pt x="1456" y="733"/>
                    <a:pt x="1456" y="733"/>
                  </a:cubicBezTo>
                  <a:cubicBezTo>
                    <a:pt x="1460" y="739"/>
                    <a:pt x="1460" y="739"/>
                    <a:pt x="1460" y="739"/>
                  </a:cubicBezTo>
                  <a:cubicBezTo>
                    <a:pt x="1473" y="745"/>
                    <a:pt x="1473" y="745"/>
                    <a:pt x="1473" y="745"/>
                  </a:cubicBezTo>
                  <a:cubicBezTo>
                    <a:pt x="1478" y="742"/>
                    <a:pt x="1478" y="742"/>
                    <a:pt x="1478" y="742"/>
                  </a:cubicBezTo>
                  <a:cubicBezTo>
                    <a:pt x="1473" y="748"/>
                    <a:pt x="1473" y="748"/>
                    <a:pt x="1473" y="748"/>
                  </a:cubicBezTo>
                  <a:cubicBezTo>
                    <a:pt x="1491" y="753"/>
                    <a:pt x="1491" y="753"/>
                    <a:pt x="1491" y="753"/>
                  </a:cubicBezTo>
                  <a:cubicBezTo>
                    <a:pt x="1503" y="754"/>
                    <a:pt x="1503" y="754"/>
                    <a:pt x="1503" y="754"/>
                  </a:cubicBezTo>
                  <a:cubicBezTo>
                    <a:pt x="1509" y="757"/>
                    <a:pt x="1509" y="757"/>
                    <a:pt x="1509" y="757"/>
                  </a:cubicBezTo>
                  <a:cubicBezTo>
                    <a:pt x="1515" y="761"/>
                    <a:pt x="1515" y="761"/>
                    <a:pt x="1515" y="761"/>
                  </a:cubicBezTo>
                  <a:cubicBezTo>
                    <a:pt x="1517" y="757"/>
                    <a:pt x="1517" y="757"/>
                    <a:pt x="1517" y="757"/>
                  </a:cubicBezTo>
                  <a:cubicBezTo>
                    <a:pt x="1517" y="750"/>
                    <a:pt x="1517" y="750"/>
                    <a:pt x="1517" y="750"/>
                  </a:cubicBezTo>
                  <a:cubicBezTo>
                    <a:pt x="1515" y="745"/>
                    <a:pt x="1515" y="745"/>
                    <a:pt x="1515" y="745"/>
                  </a:cubicBezTo>
                  <a:cubicBezTo>
                    <a:pt x="1527" y="749"/>
                    <a:pt x="1527" y="749"/>
                    <a:pt x="1527" y="749"/>
                  </a:cubicBezTo>
                  <a:cubicBezTo>
                    <a:pt x="1532" y="743"/>
                    <a:pt x="1532" y="743"/>
                    <a:pt x="1532" y="743"/>
                  </a:cubicBezTo>
                  <a:cubicBezTo>
                    <a:pt x="1529" y="737"/>
                    <a:pt x="1529" y="737"/>
                    <a:pt x="1529" y="737"/>
                  </a:cubicBezTo>
                  <a:cubicBezTo>
                    <a:pt x="1524" y="731"/>
                    <a:pt x="1524" y="731"/>
                    <a:pt x="1524" y="731"/>
                  </a:cubicBezTo>
                  <a:cubicBezTo>
                    <a:pt x="1518" y="728"/>
                    <a:pt x="1518" y="728"/>
                    <a:pt x="1518" y="728"/>
                  </a:cubicBezTo>
                  <a:cubicBezTo>
                    <a:pt x="1512" y="731"/>
                    <a:pt x="1512" y="731"/>
                    <a:pt x="1512" y="731"/>
                  </a:cubicBezTo>
                  <a:cubicBezTo>
                    <a:pt x="1513" y="726"/>
                    <a:pt x="1513" y="726"/>
                    <a:pt x="1513" y="726"/>
                  </a:cubicBezTo>
                  <a:cubicBezTo>
                    <a:pt x="1507" y="726"/>
                    <a:pt x="1507" y="726"/>
                    <a:pt x="1507" y="726"/>
                  </a:cubicBezTo>
                  <a:cubicBezTo>
                    <a:pt x="1504" y="720"/>
                    <a:pt x="1504" y="720"/>
                    <a:pt x="1504" y="720"/>
                  </a:cubicBezTo>
                  <a:cubicBezTo>
                    <a:pt x="1492" y="720"/>
                    <a:pt x="1492" y="720"/>
                    <a:pt x="1492" y="720"/>
                  </a:cubicBezTo>
                  <a:cubicBezTo>
                    <a:pt x="1486" y="723"/>
                    <a:pt x="1486" y="723"/>
                    <a:pt x="1486" y="723"/>
                  </a:cubicBezTo>
                  <a:cubicBezTo>
                    <a:pt x="1490" y="717"/>
                    <a:pt x="1490" y="717"/>
                    <a:pt x="1490" y="717"/>
                  </a:cubicBezTo>
                  <a:cubicBezTo>
                    <a:pt x="1485" y="712"/>
                    <a:pt x="1485" y="712"/>
                    <a:pt x="1485" y="712"/>
                  </a:cubicBezTo>
                  <a:cubicBezTo>
                    <a:pt x="1491" y="715"/>
                    <a:pt x="1491" y="715"/>
                    <a:pt x="1491" y="715"/>
                  </a:cubicBezTo>
                  <a:cubicBezTo>
                    <a:pt x="1497" y="712"/>
                    <a:pt x="1497" y="712"/>
                    <a:pt x="1497" y="712"/>
                  </a:cubicBezTo>
                  <a:cubicBezTo>
                    <a:pt x="1503" y="713"/>
                    <a:pt x="1503" y="713"/>
                    <a:pt x="1503" y="713"/>
                  </a:cubicBezTo>
                  <a:cubicBezTo>
                    <a:pt x="1507" y="719"/>
                    <a:pt x="1507" y="719"/>
                    <a:pt x="1507" y="719"/>
                  </a:cubicBezTo>
                  <a:cubicBezTo>
                    <a:pt x="1513" y="720"/>
                    <a:pt x="1513" y="720"/>
                    <a:pt x="1513" y="720"/>
                  </a:cubicBezTo>
                  <a:cubicBezTo>
                    <a:pt x="1519" y="718"/>
                    <a:pt x="1519" y="718"/>
                    <a:pt x="1519" y="718"/>
                  </a:cubicBezTo>
                  <a:cubicBezTo>
                    <a:pt x="1518" y="712"/>
                    <a:pt x="1518" y="712"/>
                    <a:pt x="1518" y="712"/>
                  </a:cubicBezTo>
                  <a:cubicBezTo>
                    <a:pt x="1515" y="706"/>
                    <a:pt x="1515" y="706"/>
                    <a:pt x="1515" y="706"/>
                  </a:cubicBezTo>
                  <a:cubicBezTo>
                    <a:pt x="1528" y="706"/>
                    <a:pt x="1528" y="706"/>
                    <a:pt x="1528" y="706"/>
                  </a:cubicBezTo>
                  <a:cubicBezTo>
                    <a:pt x="1522" y="712"/>
                    <a:pt x="1522" y="712"/>
                    <a:pt x="1522" y="712"/>
                  </a:cubicBezTo>
                  <a:cubicBezTo>
                    <a:pt x="1524" y="719"/>
                    <a:pt x="1524" y="719"/>
                    <a:pt x="1524" y="719"/>
                  </a:cubicBezTo>
                  <a:cubicBezTo>
                    <a:pt x="1535" y="730"/>
                    <a:pt x="1535" y="730"/>
                    <a:pt x="1535" y="730"/>
                  </a:cubicBezTo>
                  <a:cubicBezTo>
                    <a:pt x="1533" y="737"/>
                    <a:pt x="1533" y="737"/>
                    <a:pt x="1533" y="737"/>
                  </a:cubicBezTo>
                  <a:cubicBezTo>
                    <a:pt x="1539" y="739"/>
                    <a:pt x="1539" y="739"/>
                    <a:pt x="1539" y="739"/>
                  </a:cubicBezTo>
                  <a:cubicBezTo>
                    <a:pt x="1544" y="734"/>
                    <a:pt x="1544" y="734"/>
                    <a:pt x="1544" y="734"/>
                  </a:cubicBezTo>
                  <a:cubicBezTo>
                    <a:pt x="1551" y="732"/>
                    <a:pt x="1551" y="732"/>
                    <a:pt x="1551" y="732"/>
                  </a:cubicBezTo>
                  <a:cubicBezTo>
                    <a:pt x="1555" y="738"/>
                    <a:pt x="1555" y="738"/>
                    <a:pt x="1555" y="738"/>
                  </a:cubicBezTo>
                  <a:cubicBezTo>
                    <a:pt x="1561" y="742"/>
                    <a:pt x="1561" y="742"/>
                    <a:pt x="1561" y="742"/>
                  </a:cubicBezTo>
                  <a:cubicBezTo>
                    <a:pt x="1567" y="739"/>
                    <a:pt x="1567" y="739"/>
                    <a:pt x="1567" y="739"/>
                  </a:cubicBezTo>
                  <a:cubicBezTo>
                    <a:pt x="1566" y="734"/>
                    <a:pt x="1566" y="734"/>
                    <a:pt x="1566" y="734"/>
                  </a:cubicBezTo>
                  <a:cubicBezTo>
                    <a:pt x="1558" y="722"/>
                    <a:pt x="1558" y="722"/>
                    <a:pt x="1558" y="722"/>
                  </a:cubicBezTo>
                  <a:cubicBezTo>
                    <a:pt x="1555" y="716"/>
                    <a:pt x="1555" y="716"/>
                    <a:pt x="1555" y="716"/>
                  </a:cubicBezTo>
                  <a:cubicBezTo>
                    <a:pt x="1557" y="717"/>
                    <a:pt x="1557" y="717"/>
                    <a:pt x="1557" y="717"/>
                  </a:cubicBezTo>
                  <a:cubicBezTo>
                    <a:pt x="1551" y="711"/>
                    <a:pt x="1551" y="711"/>
                    <a:pt x="1551" y="711"/>
                  </a:cubicBezTo>
                  <a:cubicBezTo>
                    <a:pt x="1538" y="694"/>
                    <a:pt x="1538" y="694"/>
                    <a:pt x="1538" y="694"/>
                  </a:cubicBezTo>
                  <a:cubicBezTo>
                    <a:pt x="1534" y="687"/>
                    <a:pt x="1534" y="687"/>
                    <a:pt x="1534" y="687"/>
                  </a:cubicBezTo>
                  <a:cubicBezTo>
                    <a:pt x="1532" y="682"/>
                    <a:pt x="1532" y="682"/>
                    <a:pt x="1532" y="682"/>
                  </a:cubicBezTo>
                  <a:cubicBezTo>
                    <a:pt x="1538" y="686"/>
                    <a:pt x="1538" y="686"/>
                    <a:pt x="1538" y="686"/>
                  </a:cubicBezTo>
                  <a:cubicBezTo>
                    <a:pt x="1532" y="680"/>
                    <a:pt x="1532" y="680"/>
                    <a:pt x="1532" y="680"/>
                  </a:cubicBezTo>
                  <a:cubicBezTo>
                    <a:pt x="1526" y="676"/>
                    <a:pt x="1526" y="676"/>
                    <a:pt x="1526" y="676"/>
                  </a:cubicBezTo>
                  <a:cubicBezTo>
                    <a:pt x="1528" y="676"/>
                    <a:pt x="1528" y="676"/>
                    <a:pt x="1528" y="676"/>
                  </a:cubicBezTo>
                  <a:cubicBezTo>
                    <a:pt x="1528" y="664"/>
                    <a:pt x="1528" y="664"/>
                    <a:pt x="1528" y="664"/>
                  </a:cubicBezTo>
                  <a:cubicBezTo>
                    <a:pt x="1531" y="675"/>
                    <a:pt x="1531" y="675"/>
                    <a:pt x="1531" y="675"/>
                  </a:cubicBezTo>
                  <a:cubicBezTo>
                    <a:pt x="1537" y="680"/>
                    <a:pt x="1537" y="680"/>
                    <a:pt x="1537" y="680"/>
                  </a:cubicBezTo>
                  <a:cubicBezTo>
                    <a:pt x="1546" y="692"/>
                    <a:pt x="1546" y="692"/>
                    <a:pt x="1546" y="692"/>
                  </a:cubicBezTo>
                  <a:cubicBezTo>
                    <a:pt x="1549" y="698"/>
                    <a:pt x="1549" y="698"/>
                    <a:pt x="1549" y="698"/>
                  </a:cubicBezTo>
                  <a:cubicBezTo>
                    <a:pt x="1554" y="704"/>
                    <a:pt x="1554" y="704"/>
                    <a:pt x="1554" y="704"/>
                  </a:cubicBezTo>
                  <a:cubicBezTo>
                    <a:pt x="1559" y="704"/>
                    <a:pt x="1559" y="704"/>
                    <a:pt x="1559" y="704"/>
                  </a:cubicBezTo>
                  <a:cubicBezTo>
                    <a:pt x="1559" y="711"/>
                    <a:pt x="1559" y="711"/>
                    <a:pt x="1559" y="711"/>
                  </a:cubicBezTo>
                  <a:cubicBezTo>
                    <a:pt x="1571" y="720"/>
                    <a:pt x="1571" y="720"/>
                    <a:pt x="1571" y="720"/>
                  </a:cubicBezTo>
                  <a:cubicBezTo>
                    <a:pt x="1576" y="726"/>
                    <a:pt x="1576" y="726"/>
                    <a:pt x="1576" y="726"/>
                  </a:cubicBezTo>
                  <a:cubicBezTo>
                    <a:pt x="1581" y="725"/>
                    <a:pt x="1581" y="725"/>
                    <a:pt x="1581" y="725"/>
                  </a:cubicBezTo>
                  <a:cubicBezTo>
                    <a:pt x="1583" y="726"/>
                    <a:pt x="1583" y="726"/>
                    <a:pt x="1583" y="726"/>
                  </a:cubicBezTo>
                  <a:cubicBezTo>
                    <a:pt x="1584" y="725"/>
                    <a:pt x="1584" y="725"/>
                    <a:pt x="1584" y="725"/>
                  </a:cubicBezTo>
                  <a:cubicBezTo>
                    <a:pt x="1587" y="726"/>
                    <a:pt x="1587" y="726"/>
                    <a:pt x="1587" y="726"/>
                  </a:cubicBezTo>
                  <a:cubicBezTo>
                    <a:pt x="1593" y="728"/>
                    <a:pt x="1593" y="728"/>
                    <a:pt x="1593" y="728"/>
                  </a:cubicBezTo>
                  <a:cubicBezTo>
                    <a:pt x="1599" y="724"/>
                    <a:pt x="1599" y="724"/>
                    <a:pt x="1599" y="724"/>
                  </a:cubicBezTo>
                  <a:cubicBezTo>
                    <a:pt x="1598" y="707"/>
                    <a:pt x="1598" y="707"/>
                    <a:pt x="1598" y="707"/>
                  </a:cubicBezTo>
                  <a:cubicBezTo>
                    <a:pt x="1603" y="704"/>
                    <a:pt x="1603" y="704"/>
                    <a:pt x="1603" y="704"/>
                  </a:cubicBezTo>
                  <a:cubicBezTo>
                    <a:pt x="1599" y="708"/>
                    <a:pt x="1599" y="708"/>
                    <a:pt x="1599" y="708"/>
                  </a:cubicBezTo>
                  <a:cubicBezTo>
                    <a:pt x="1599" y="713"/>
                    <a:pt x="1599" y="713"/>
                    <a:pt x="1599" y="713"/>
                  </a:cubicBezTo>
                  <a:cubicBezTo>
                    <a:pt x="1602" y="719"/>
                    <a:pt x="1602" y="719"/>
                    <a:pt x="1602" y="719"/>
                  </a:cubicBezTo>
                  <a:cubicBezTo>
                    <a:pt x="1602" y="725"/>
                    <a:pt x="1602" y="725"/>
                    <a:pt x="1602" y="725"/>
                  </a:cubicBezTo>
                  <a:cubicBezTo>
                    <a:pt x="1603" y="731"/>
                    <a:pt x="1603" y="731"/>
                    <a:pt x="1603" y="731"/>
                  </a:cubicBezTo>
                  <a:cubicBezTo>
                    <a:pt x="1608" y="737"/>
                    <a:pt x="1608" y="737"/>
                    <a:pt x="1608" y="737"/>
                  </a:cubicBezTo>
                  <a:cubicBezTo>
                    <a:pt x="1614" y="738"/>
                    <a:pt x="1614" y="738"/>
                    <a:pt x="1614" y="738"/>
                  </a:cubicBezTo>
                  <a:cubicBezTo>
                    <a:pt x="1615" y="732"/>
                    <a:pt x="1615" y="732"/>
                    <a:pt x="1615" y="732"/>
                  </a:cubicBezTo>
                  <a:cubicBezTo>
                    <a:pt x="1617" y="726"/>
                    <a:pt x="1617" y="726"/>
                    <a:pt x="1617" y="726"/>
                  </a:cubicBezTo>
                  <a:cubicBezTo>
                    <a:pt x="1617" y="738"/>
                    <a:pt x="1617" y="738"/>
                    <a:pt x="1617" y="738"/>
                  </a:cubicBezTo>
                  <a:cubicBezTo>
                    <a:pt x="1620" y="744"/>
                    <a:pt x="1620" y="744"/>
                    <a:pt x="1620" y="744"/>
                  </a:cubicBezTo>
                  <a:cubicBezTo>
                    <a:pt x="1626" y="744"/>
                    <a:pt x="1626" y="744"/>
                    <a:pt x="1626" y="744"/>
                  </a:cubicBezTo>
                  <a:cubicBezTo>
                    <a:pt x="1627" y="738"/>
                    <a:pt x="1627" y="738"/>
                    <a:pt x="1627" y="738"/>
                  </a:cubicBezTo>
                  <a:cubicBezTo>
                    <a:pt x="1639" y="737"/>
                    <a:pt x="1639" y="737"/>
                    <a:pt x="1639" y="737"/>
                  </a:cubicBezTo>
                  <a:cubicBezTo>
                    <a:pt x="1627" y="739"/>
                    <a:pt x="1627" y="739"/>
                    <a:pt x="1627" y="739"/>
                  </a:cubicBezTo>
                  <a:cubicBezTo>
                    <a:pt x="1629" y="745"/>
                    <a:pt x="1629" y="745"/>
                    <a:pt x="1629" y="745"/>
                  </a:cubicBezTo>
                  <a:cubicBezTo>
                    <a:pt x="1635" y="749"/>
                    <a:pt x="1635" y="749"/>
                    <a:pt x="1635" y="749"/>
                  </a:cubicBezTo>
                  <a:cubicBezTo>
                    <a:pt x="1641" y="752"/>
                    <a:pt x="1641" y="752"/>
                    <a:pt x="1641" y="752"/>
                  </a:cubicBezTo>
                  <a:cubicBezTo>
                    <a:pt x="1647" y="752"/>
                    <a:pt x="1647" y="752"/>
                    <a:pt x="1647" y="752"/>
                  </a:cubicBezTo>
                  <a:cubicBezTo>
                    <a:pt x="1653" y="757"/>
                    <a:pt x="1653" y="757"/>
                    <a:pt x="1653" y="757"/>
                  </a:cubicBezTo>
                  <a:cubicBezTo>
                    <a:pt x="1641" y="754"/>
                    <a:pt x="1641" y="754"/>
                    <a:pt x="1641" y="754"/>
                  </a:cubicBezTo>
                  <a:cubicBezTo>
                    <a:pt x="1630" y="754"/>
                    <a:pt x="1630" y="754"/>
                    <a:pt x="1630" y="754"/>
                  </a:cubicBezTo>
                  <a:cubicBezTo>
                    <a:pt x="1633" y="760"/>
                    <a:pt x="1633" y="760"/>
                    <a:pt x="1633" y="760"/>
                  </a:cubicBezTo>
                  <a:cubicBezTo>
                    <a:pt x="1639" y="761"/>
                    <a:pt x="1639" y="761"/>
                    <a:pt x="1639" y="761"/>
                  </a:cubicBezTo>
                  <a:cubicBezTo>
                    <a:pt x="1641" y="767"/>
                    <a:pt x="1641" y="767"/>
                    <a:pt x="1641" y="767"/>
                  </a:cubicBezTo>
                  <a:cubicBezTo>
                    <a:pt x="1647" y="767"/>
                    <a:pt x="1647" y="767"/>
                    <a:pt x="1647" y="767"/>
                  </a:cubicBezTo>
                  <a:cubicBezTo>
                    <a:pt x="1646" y="773"/>
                    <a:pt x="1646" y="773"/>
                    <a:pt x="1646" y="773"/>
                  </a:cubicBezTo>
                  <a:cubicBezTo>
                    <a:pt x="1658" y="770"/>
                    <a:pt x="1658" y="770"/>
                    <a:pt x="1658" y="770"/>
                  </a:cubicBezTo>
                  <a:cubicBezTo>
                    <a:pt x="1652" y="775"/>
                    <a:pt x="1652" y="775"/>
                    <a:pt x="1652" y="775"/>
                  </a:cubicBezTo>
                  <a:cubicBezTo>
                    <a:pt x="1646" y="779"/>
                    <a:pt x="1646" y="779"/>
                    <a:pt x="1646" y="779"/>
                  </a:cubicBezTo>
                  <a:cubicBezTo>
                    <a:pt x="1647" y="786"/>
                    <a:pt x="1647" y="786"/>
                    <a:pt x="1647" y="786"/>
                  </a:cubicBezTo>
                  <a:cubicBezTo>
                    <a:pt x="1652" y="786"/>
                    <a:pt x="1652" y="786"/>
                    <a:pt x="1652" y="786"/>
                  </a:cubicBezTo>
                  <a:cubicBezTo>
                    <a:pt x="1658" y="782"/>
                    <a:pt x="1658" y="782"/>
                    <a:pt x="1658" y="782"/>
                  </a:cubicBezTo>
                  <a:cubicBezTo>
                    <a:pt x="1665" y="785"/>
                    <a:pt x="1665" y="785"/>
                    <a:pt x="1665" y="785"/>
                  </a:cubicBezTo>
                  <a:cubicBezTo>
                    <a:pt x="1670" y="786"/>
                    <a:pt x="1670" y="786"/>
                    <a:pt x="1670" y="786"/>
                  </a:cubicBezTo>
                  <a:cubicBezTo>
                    <a:pt x="1675" y="781"/>
                    <a:pt x="1675" y="781"/>
                    <a:pt x="1675" y="781"/>
                  </a:cubicBezTo>
                  <a:cubicBezTo>
                    <a:pt x="1678" y="786"/>
                    <a:pt x="1678" y="786"/>
                    <a:pt x="1678" y="786"/>
                  </a:cubicBezTo>
                  <a:cubicBezTo>
                    <a:pt x="1678" y="792"/>
                    <a:pt x="1678" y="792"/>
                    <a:pt x="1678" y="792"/>
                  </a:cubicBezTo>
                  <a:cubicBezTo>
                    <a:pt x="1684" y="796"/>
                    <a:pt x="1684" y="796"/>
                    <a:pt x="1684" y="796"/>
                  </a:cubicBezTo>
                  <a:cubicBezTo>
                    <a:pt x="1691" y="797"/>
                    <a:pt x="1691" y="797"/>
                    <a:pt x="1691" y="797"/>
                  </a:cubicBezTo>
                  <a:cubicBezTo>
                    <a:pt x="1696" y="794"/>
                    <a:pt x="1696" y="794"/>
                    <a:pt x="1696" y="794"/>
                  </a:cubicBezTo>
                  <a:cubicBezTo>
                    <a:pt x="1694" y="800"/>
                    <a:pt x="1694" y="800"/>
                    <a:pt x="1694" y="800"/>
                  </a:cubicBezTo>
                  <a:cubicBezTo>
                    <a:pt x="1698" y="806"/>
                    <a:pt x="1698" y="806"/>
                    <a:pt x="1698" y="806"/>
                  </a:cubicBezTo>
                  <a:cubicBezTo>
                    <a:pt x="1704" y="801"/>
                    <a:pt x="1704" y="801"/>
                    <a:pt x="1704" y="801"/>
                  </a:cubicBezTo>
                  <a:cubicBezTo>
                    <a:pt x="1706" y="809"/>
                    <a:pt x="1706" y="809"/>
                    <a:pt x="1706" y="809"/>
                  </a:cubicBezTo>
                  <a:cubicBezTo>
                    <a:pt x="1712" y="811"/>
                    <a:pt x="1712" y="811"/>
                    <a:pt x="1712" y="811"/>
                  </a:cubicBezTo>
                  <a:cubicBezTo>
                    <a:pt x="1718" y="815"/>
                    <a:pt x="1718" y="815"/>
                    <a:pt x="1718" y="815"/>
                  </a:cubicBezTo>
                  <a:cubicBezTo>
                    <a:pt x="1724" y="815"/>
                    <a:pt x="1724" y="815"/>
                    <a:pt x="1724" y="815"/>
                  </a:cubicBezTo>
                  <a:cubicBezTo>
                    <a:pt x="1730" y="820"/>
                    <a:pt x="1730" y="820"/>
                    <a:pt x="1730" y="820"/>
                  </a:cubicBezTo>
                  <a:cubicBezTo>
                    <a:pt x="1736" y="819"/>
                    <a:pt x="1736" y="819"/>
                    <a:pt x="1736" y="819"/>
                  </a:cubicBezTo>
                  <a:cubicBezTo>
                    <a:pt x="1740" y="819"/>
                    <a:pt x="1740" y="819"/>
                    <a:pt x="1740" y="819"/>
                  </a:cubicBezTo>
                  <a:cubicBezTo>
                    <a:pt x="1734" y="822"/>
                    <a:pt x="1734" y="822"/>
                    <a:pt x="1734" y="822"/>
                  </a:cubicBezTo>
                  <a:cubicBezTo>
                    <a:pt x="1730" y="827"/>
                    <a:pt x="1730" y="827"/>
                    <a:pt x="1730" y="827"/>
                  </a:cubicBezTo>
                  <a:cubicBezTo>
                    <a:pt x="1733" y="833"/>
                    <a:pt x="1733" y="833"/>
                    <a:pt x="1733" y="833"/>
                  </a:cubicBezTo>
                  <a:cubicBezTo>
                    <a:pt x="1735" y="845"/>
                    <a:pt x="1735" y="845"/>
                    <a:pt x="1735" y="845"/>
                  </a:cubicBezTo>
                  <a:cubicBezTo>
                    <a:pt x="1734" y="850"/>
                    <a:pt x="1734" y="850"/>
                    <a:pt x="1734" y="850"/>
                  </a:cubicBezTo>
                  <a:cubicBezTo>
                    <a:pt x="1730" y="857"/>
                    <a:pt x="1730" y="857"/>
                    <a:pt x="1730" y="857"/>
                  </a:cubicBezTo>
                  <a:cubicBezTo>
                    <a:pt x="1736" y="863"/>
                    <a:pt x="1736" y="863"/>
                    <a:pt x="1736" y="863"/>
                  </a:cubicBezTo>
                  <a:cubicBezTo>
                    <a:pt x="1742" y="866"/>
                    <a:pt x="1742" y="866"/>
                    <a:pt x="1742" y="866"/>
                  </a:cubicBezTo>
                  <a:cubicBezTo>
                    <a:pt x="1748" y="863"/>
                    <a:pt x="1748" y="863"/>
                    <a:pt x="1748" y="863"/>
                  </a:cubicBezTo>
                  <a:cubicBezTo>
                    <a:pt x="1742" y="857"/>
                    <a:pt x="1742" y="857"/>
                    <a:pt x="1742" y="857"/>
                  </a:cubicBezTo>
                  <a:cubicBezTo>
                    <a:pt x="1748" y="859"/>
                    <a:pt x="1748" y="859"/>
                    <a:pt x="1748" y="859"/>
                  </a:cubicBezTo>
                  <a:cubicBezTo>
                    <a:pt x="1747" y="848"/>
                    <a:pt x="1747" y="848"/>
                    <a:pt x="1747" y="848"/>
                  </a:cubicBezTo>
                  <a:cubicBezTo>
                    <a:pt x="1742" y="841"/>
                    <a:pt x="1742" y="841"/>
                    <a:pt x="1742" y="841"/>
                  </a:cubicBezTo>
                  <a:cubicBezTo>
                    <a:pt x="1751" y="830"/>
                    <a:pt x="1751" y="830"/>
                    <a:pt x="1751" y="830"/>
                  </a:cubicBezTo>
                  <a:cubicBezTo>
                    <a:pt x="1757" y="827"/>
                    <a:pt x="1757" y="827"/>
                    <a:pt x="1757" y="827"/>
                  </a:cubicBezTo>
                  <a:cubicBezTo>
                    <a:pt x="1763" y="816"/>
                    <a:pt x="1763" y="816"/>
                    <a:pt x="1763" y="816"/>
                  </a:cubicBezTo>
                  <a:cubicBezTo>
                    <a:pt x="1762" y="822"/>
                    <a:pt x="1762" y="822"/>
                    <a:pt x="1762" y="822"/>
                  </a:cubicBezTo>
                  <a:cubicBezTo>
                    <a:pt x="1765" y="827"/>
                    <a:pt x="1765" y="827"/>
                    <a:pt x="1765" y="827"/>
                  </a:cubicBezTo>
                  <a:cubicBezTo>
                    <a:pt x="1777" y="835"/>
                    <a:pt x="1777" y="835"/>
                    <a:pt x="1777" y="835"/>
                  </a:cubicBezTo>
                  <a:cubicBezTo>
                    <a:pt x="1782" y="841"/>
                    <a:pt x="1782" y="841"/>
                    <a:pt x="1782" y="841"/>
                  </a:cubicBezTo>
                  <a:cubicBezTo>
                    <a:pt x="1787" y="853"/>
                    <a:pt x="1787" y="853"/>
                    <a:pt x="1787" y="853"/>
                  </a:cubicBezTo>
                  <a:cubicBezTo>
                    <a:pt x="1791" y="859"/>
                    <a:pt x="1791" y="859"/>
                    <a:pt x="1791" y="859"/>
                  </a:cubicBezTo>
                  <a:cubicBezTo>
                    <a:pt x="1796" y="861"/>
                    <a:pt x="1796" y="861"/>
                    <a:pt x="1796" y="861"/>
                  </a:cubicBezTo>
                  <a:cubicBezTo>
                    <a:pt x="1791" y="863"/>
                    <a:pt x="1791" y="863"/>
                    <a:pt x="1791" y="863"/>
                  </a:cubicBezTo>
                  <a:cubicBezTo>
                    <a:pt x="1789" y="870"/>
                    <a:pt x="1789" y="870"/>
                    <a:pt x="1789" y="870"/>
                  </a:cubicBezTo>
                  <a:cubicBezTo>
                    <a:pt x="1790" y="875"/>
                    <a:pt x="1790" y="875"/>
                    <a:pt x="1790" y="875"/>
                  </a:cubicBezTo>
                  <a:cubicBezTo>
                    <a:pt x="1796" y="876"/>
                    <a:pt x="1796" y="876"/>
                    <a:pt x="1796" y="876"/>
                  </a:cubicBezTo>
                  <a:cubicBezTo>
                    <a:pt x="1802" y="873"/>
                    <a:pt x="1802" y="873"/>
                    <a:pt x="1802" y="873"/>
                  </a:cubicBezTo>
                  <a:cubicBezTo>
                    <a:pt x="1803" y="867"/>
                    <a:pt x="1803" y="867"/>
                    <a:pt x="1803" y="867"/>
                  </a:cubicBezTo>
                  <a:cubicBezTo>
                    <a:pt x="1806" y="855"/>
                    <a:pt x="1806" y="855"/>
                    <a:pt x="1806" y="855"/>
                  </a:cubicBezTo>
                  <a:cubicBezTo>
                    <a:pt x="1804" y="867"/>
                    <a:pt x="1804" y="867"/>
                    <a:pt x="1804" y="867"/>
                  </a:cubicBezTo>
                  <a:cubicBezTo>
                    <a:pt x="1804" y="873"/>
                    <a:pt x="1804" y="873"/>
                    <a:pt x="1804" y="873"/>
                  </a:cubicBezTo>
                  <a:cubicBezTo>
                    <a:pt x="1798" y="875"/>
                    <a:pt x="1798" y="875"/>
                    <a:pt x="1798" y="875"/>
                  </a:cubicBezTo>
                  <a:cubicBezTo>
                    <a:pt x="1796" y="881"/>
                    <a:pt x="1796" y="881"/>
                    <a:pt x="1796" y="881"/>
                  </a:cubicBezTo>
                  <a:cubicBezTo>
                    <a:pt x="1804" y="893"/>
                    <a:pt x="1804" y="893"/>
                    <a:pt x="1804" y="893"/>
                  </a:cubicBezTo>
                  <a:cubicBezTo>
                    <a:pt x="1810" y="892"/>
                    <a:pt x="1810" y="892"/>
                    <a:pt x="1810" y="892"/>
                  </a:cubicBezTo>
                  <a:cubicBezTo>
                    <a:pt x="1806" y="881"/>
                    <a:pt x="1806" y="881"/>
                    <a:pt x="1806" y="881"/>
                  </a:cubicBezTo>
                  <a:cubicBezTo>
                    <a:pt x="1814" y="892"/>
                    <a:pt x="1814" y="892"/>
                    <a:pt x="1814" y="892"/>
                  </a:cubicBezTo>
                  <a:cubicBezTo>
                    <a:pt x="1815" y="890"/>
                    <a:pt x="1815" y="890"/>
                    <a:pt x="1815" y="890"/>
                  </a:cubicBezTo>
                  <a:cubicBezTo>
                    <a:pt x="1819" y="885"/>
                    <a:pt x="1819" y="885"/>
                    <a:pt x="1819" y="885"/>
                  </a:cubicBezTo>
                  <a:cubicBezTo>
                    <a:pt x="1821" y="878"/>
                    <a:pt x="1821" y="878"/>
                    <a:pt x="1821" y="878"/>
                  </a:cubicBezTo>
                  <a:cubicBezTo>
                    <a:pt x="1822" y="872"/>
                    <a:pt x="1822" y="872"/>
                    <a:pt x="1822" y="872"/>
                  </a:cubicBezTo>
                  <a:cubicBezTo>
                    <a:pt x="1822" y="855"/>
                    <a:pt x="1822" y="855"/>
                    <a:pt x="1822" y="855"/>
                  </a:cubicBezTo>
                  <a:cubicBezTo>
                    <a:pt x="1824" y="849"/>
                    <a:pt x="1824" y="849"/>
                    <a:pt x="1824" y="849"/>
                  </a:cubicBezTo>
                  <a:cubicBezTo>
                    <a:pt x="1810" y="834"/>
                    <a:pt x="1810" y="834"/>
                    <a:pt x="1810" y="834"/>
                  </a:cubicBezTo>
                  <a:cubicBezTo>
                    <a:pt x="1808" y="828"/>
                    <a:pt x="1808" y="828"/>
                    <a:pt x="1808" y="828"/>
                  </a:cubicBezTo>
                  <a:cubicBezTo>
                    <a:pt x="1803" y="822"/>
                    <a:pt x="1803" y="822"/>
                    <a:pt x="1803" y="822"/>
                  </a:cubicBezTo>
                  <a:cubicBezTo>
                    <a:pt x="1804" y="816"/>
                    <a:pt x="1804" y="816"/>
                    <a:pt x="1804" y="816"/>
                  </a:cubicBezTo>
                  <a:cubicBezTo>
                    <a:pt x="1804" y="810"/>
                    <a:pt x="1804" y="810"/>
                    <a:pt x="1804" y="810"/>
                  </a:cubicBezTo>
                  <a:cubicBezTo>
                    <a:pt x="1801" y="804"/>
                    <a:pt x="1801" y="804"/>
                    <a:pt x="1801" y="804"/>
                  </a:cubicBezTo>
                  <a:cubicBezTo>
                    <a:pt x="1795" y="798"/>
                    <a:pt x="1795" y="798"/>
                    <a:pt x="1795" y="798"/>
                  </a:cubicBezTo>
                  <a:cubicBezTo>
                    <a:pt x="1789" y="802"/>
                    <a:pt x="1789" y="802"/>
                    <a:pt x="1789" y="802"/>
                  </a:cubicBezTo>
                  <a:cubicBezTo>
                    <a:pt x="1783" y="802"/>
                    <a:pt x="1783" y="802"/>
                    <a:pt x="1783" y="802"/>
                  </a:cubicBezTo>
                  <a:cubicBezTo>
                    <a:pt x="1777" y="797"/>
                    <a:pt x="1777" y="797"/>
                    <a:pt x="1777" y="797"/>
                  </a:cubicBezTo>
                  <a:cubicBezTo>
                    <a:pt x="1770" y="797"/>
                    <a:pt x="1770" y="797"/>
                    <a:pt x="1770" y="797"/>
                  </a:cubicBezTo>
                  <a:cubicBezTo>
                    <a:pt x="1764" y="794"/>
                    <a:pt x="1764" y="794"/>
                    <a:pt x="1764" y="794"/>
                  </a:cubicBezTo>
                  <a:cubicBezTo>
                    <a:pt x="1752" y="796"/>
                    <a:pt x="1752" y="796"/>
                    <a:pt x="1752" y="796"/>
                  </a:cubicBezTo>
                  <a:cubicBezTo>
                    <a:pt x="1746" y="794"/>
                    <a:pt x="1746" y="794"/>
                    <a:pt x="1746" y="794"/>
                  </a:cubicBezTo>
                  <a:cubicBezTo>
                    <a:pt x="1734" y="793"/>
                    <a:pt x="1734" y="793"/>
                    <a:pt x="1734" y="793"/>
                  </a:cubicBezTo>
                  <a:cubicBezTo>
                    <a:pt x="1728" y="793"/>
                    <a:pt x="1728" y="793"/>
                    <a:pt x="1728" y="793"/>
                  </a:cubicBezTo>
                  <a:cubicBezTo>
                    <a:pt x="1722" y="796"/>
                    <a:pt x="1722" y="796"/>
                    <a:pt x="1722" y="796"/>
                  </a:cubicBezTo>
                  <a:cubicBezTo>
                    <a:pt x="1720" y="793"/>
                    <a:pt x="1720" y="793"/>
                    <a:pt x="1720" y="793"/>
                  </a:cubicBezTo>
                  <a:cubicBezTo>
                    <a:pt x="1715" y="787"/>
                    <a:pt x="1715" y="787"/>
                    <a:pt x="1715" y="787"/>
                  </a:cubicBezTo>
                  <a:cubicBezTo>
                    <a:pt x="1709" y="784"/>
                    <a:pt x="1709" y="784"/>
                    <a:pt x="1709" y="784"/>
                  </a:cubicBezTo>
                  <a:cubicBezTo>
                    <a:pt x="1703" y="777"/>
                    <a:pt x="1703" y="777"/>
                    <a:pt x="1703" y="777"/>
                  </a:cubicBezTo>
                  <a:cubicBezTo>
                    <a:pt x="1697" y="772"/>
                    <a:pt x="1697" y="772"/>
                    <a:pt x="1697" y="772"/>
                  </a:cubicBezTo>
                  <a:cubicBezTo>
                    <a:pt x="1691" y="773"/>
                    <a:pt x="1691" y="773"/>
                    <a:pt x="1691" y="773"/>
                  </a:cubicBezTo>
                  <a:cubicBezTo>
                    <a:pt x="1691" y="767"/>
                    <a:pt x="1691" y="767"/>
                    <a:pt x="1691" y="767"/>
                  </a:cubicBezTo>
                  <a:cubicBezTo>
                    <a:pt x="1687" y="761"/>
                    <a:pt x="1687" y="761"/>
                    <a:pt x="1687" y="761"/>
                  </a:cubicBezTo>
                  <a:cubicBezTo>
                    <a:pt x="1681" y="756"/>
                    <a:pt x="1681" y="756"/>
                    <a:pt x="1681" y="756"/>
                  </a:cubicBezTo>
                  <a:cubicBezTo>
                    <a:pt x="1669" y="748"/>
                    <a:pt x="1669" y="748"/>
                    <a:pt x="1669" y="748"/>
                  </a:cubicBezTo>
                  <a:cubicBezTo>
                    <a:pt x="1651" y="733"/>
                    <a:pt x="1651" y="733"/>
                    <a:pt x="1651" y="733"/>
                  </a:cubicBezTo>
                  <a:cubicBezTo>
                    <a:pt x="1640" y="725"/>
                    <a:pt x="1640" y="725"/>
                    <a:pt x="1640" y="725"/>
                  </a:cubicBezTo>
                  <a:cubicBezTo>
                    <a:pt x="1635" y="719"/>
                    <a:pt x="1635" y="719"/>
                    <a:pt x="1635" y="719"/>
                  </a:cubicBezTo>
                  <a:cubicBezTo>
                    <a:pt x="1622" y="712"/>
                    <a:pt x="1622" y="712"/>
                    <a:pt x="1622" y="712"/>
                  </a:cubicBezTo>
                  <a:cubicBezTo>
                    <a:pt x="1618" y="706"/>
                    <a:pt x="1618" y="706"/>
                    <a:pt x="1618" y="706"/>
                  </a:cubicBezTo>
                  <a:cubicBezTo>
                    <a:pt x="1619" y="705"/>
                    <a:pt x="1619" y="705"/>
                    <a:pt x="1619" y="705"/>
                  </a:cubicBezTo>
                  <a:cubicBezTo>
                    <a:pt x="1606" y="698"/>
                    <a:pt x="1606" y="698"/>
                    <a:pt x="1606" y="698"/>
                  </a:cubicBezTo>
                  <a:cubicBezTo>
                    <a:pt x="1599" y="693"/>
                    <a:pt x="1599" y="693"/>
                    <a:pt x="1599" y="693"/>
                  </a:cubicBezTo>
                  <a:cubicBezTo>
                    <a:pt x="1593" y="690"/>
                    <a:pt x="1593" y="690"/>
                    <a:pt x="1593" y="690"/>
                  </a:cubicBezTo>
                  <a:cubicBezTo>
                    <a:pt x="1581" y="689"/>
                    <a:pt x="1581" y="689"/>
                    <a:pt x="1581" y="689"/>
                  </a:cubicBezTo>
                  <a:cubicBezTo>
                    <a:pt x="1576" y="686"/>
                    <a:pt x="1576" y="686"/>
                    <a:pt x="1576" y="686"/>
                  </a:cubicBezTo>
                  <a:cubicBezTo>
                    <a:pt x="1565" y="674"/>
                    <a:pt x="1565" y="674"/>
                    <a:pt x="1565" y="674"/>
                  </a:cubicBezTo>
                  <a:cubicBezTo>
                    <a:pt x="1558" y="674"/>
                    <a:pt x="1558" y="674"/>
                    <a:pt x="1558" y="674"/>
                  </a:cubicBezTo>
                  <a:cubicBezTo>
                    <a:pt x="1552" y="670"/>
                    <a:pt x="1552" y="670"/>
                    <a:pt x="1552" y="670"/>
                  </a:cubicBezTo>
                  <a:cubicBezTo>
                    <a:pt x="1545" y="671"/>
                    <a:pt x="1545" y="671"/>
                    <a:pt x="1545" y="671"/>
                  </a:cubicBezTo>
                  <a:cubicBezTo>
                    <a:pt x="1537" y="658"/>
                    <a:pt x="1537" y="658"/>
                    <a:pt x="1537" y="658"/>
                  </a:cubicBezTo>
                  <a:cubicBezTo>
                    <a:pt x="1534" y="652"/>
                    <a:pt x="1534" y="652"/>
                    <a:pt x="1534" y="652"/>
                  </a:cubicBezTo>
                  <a:cubicBezTo>
                    <a:pt x="1531" y="651"/>
                    <a:pt x="1531" y="651"/>
                    <a:pt x="1531" y="651"/>
                  </a:cubicBezTo>
                  <a:cubicBezTo>
                    <a:pt x="1525" y="647"/>
                    <a:pt x="1525" y="647"/>
                    <a:pt x="1525" y="647"/>
                  </a:cubicBezTo>
                  <a:cubicBezTo>
                    <a:pt x="1519" y="646"/>
                    <a:pt x="1519" y="646"/>
                    <a:pt x="1519" y="646"/>
                  </a:cubicBezTo>
                  <a:cubicBezTo>
                    <a:pt x="1512" y="646"/>
                    <a:pt x="1512" y="646"/>
                    <a:pt x="1512" y="646"/>
                  </a:cubicBezTo>
                  <a:cubicBezTo>
                    <a:pt x="1507" y="653"/>
                    <a:pt x="1507" y="653"/>
                    <a:pt x="1507" y="653"/>
                  </a:cubicBezTo>
                  <a:cubicBezTo>
                    <a:pt x="1502" y="659"/>
                    <a:pt x="1502" y="659"/>
                    <a:pt x="1502" y="659"/>
                  </a:cubicBezTo>
                  <a:cubicBezTo>
                    <a:pt x="1495" y="663"/>
                    <a:pt x="1495" y="663"/>
                    <a:pt x="1495" y="663"/>
                  </a:cubicBezTo>
                  <a:cubicBezTo>
                    <a:pt x="1497" y="669"/>
                    <a:pt x="1497" y="669"/>
                    <a:pt x="1497" y="669"/>
                  </a:cubicBezTo>
                  <a:cubicBezTo>
                    <a:pt x="1493" y="683"/>
                    <a:pt x="1493" y="683"/>
                    <a:pt x="1493" y="683"/>
                  </a:cubicBezTo>
                  <a:cubicBezTo>
                    <a:pt x="1496" y="689"/>
                    <a:pt x="1496" y="689"/>
                    <a:pt x="1496" y="689"/>
                  </a:cubicBezTo>
                  <a:cubicBezTo>
                    <a:pt x="1495" y="695"/>
                    <a:pt x="1495" y="695"/>
                    <a:pt x="1495" y="695"/>
                  </a:cubicBezTo>
                  <a:cubicBezTo>
                    <a:pt x="1489" y="700"/>
                    <a:pt x="1489" y="700"/>
                    <a:pt x="1489" y="700"/>
                  </a:cubicBezTo>
                  <a:cubicBezTo>
                    <a:pt x="1480" y="712"/>
                    <a:pt x="1480" y="712"/>
                    <a:pt x="1480" y="712"/>
                  </a:cubicBezTo>
                  <a:cubicBezTo>
                    <a:pt x="1475" y="719"/>
                    <a:pt x="1475" y="719"/>
                    <a:pt x="1475" y="719"/>
                  </a:cubicBezTo>
                  <a:cubicBezTo>
                    <a:pt x="1473" y="724"/>
                    <a:pt x="1473" y="724"/>
                    <a:pt x="1473" y="724"/>
                  </a:cubicBezTo>
                  <a:cubicBezTo>
                    <a:pt x="1460" y="706"/>
                    <a:pt x="1460" y="706"/>
                    <a:pt x="1460" y="706"/>
                  </a:cubicBezTo>
                  <a:cubicBezTo>
                    <a:pt x="1416" y="683"/>
                    <a:pt x="1416" y="683"/>
                    <a:pt x="1416" y="683"/>
                  </a:cubicBezTo>
                  <a:cubicBezTo>
                    <a:pt x="1411" y="678"/>
                    <a:pt x="1411" y="678"/>
                    <a:pt x="1411" y="678"/>
                  </a:cubicBezTo>
                  <a:cubicBezTo>
                    <a:pt x="1404" y="674"/>
                    <a:pt x="1404" y="674"/>
                    <a:pt x="1404" y="674"/>
                  </a:cubicBezTo>
                  <a:cubicBezTo>
                    <a:pt x="1395" y="672"/>
                    <a:pt x="1395" y="672"/>
                    <a:pt x="1395" y="672"/>
                  </a:cubicBezTo>
                  <a:cubicBezTo>
                    <a:pt x="1389" y="668"/>
                    <a:pt x="1389" y="668"/>
                    <a:pt x="1389" y="668"/>
                  </a:cubicBezTo>
                  <a:cubicBezTo>
                    <a:pt x="1389" y="662"/>
                    <a:pt x="1389" y="662"/>
                    <a:pt x="1389" y="662"/>
                  </a:cubicBezTo>
                  <a:cubicBezTo>
                    <a:pt x="1388" y="654"/>
                    <a:pt x="1388" y="654"/>
                    <a:pt x="1388" y="654"/>
                  </a:cubicBezTo>
                  <a:cubicBezTo>
                    <a:pt x="1382" y="651"/>
                    <a:pt x="1382" y="651"/>
                    <a:pt x="1382" y="651"/>
                  </a:cubicBezTo>
                  <a:cubicBezTo>
                    <a:pt x="1369" y="656"/>
                    <a:pt x="1369" y="656"/>
                    <a:pt x="1369" y="656"/>
                  </a:cubicBezTo>
                  <a:cubicBezTo>
                    <a:pt x="1362" y="668"/>
                    <a:pt x="1362" y="668"/>
                    <a:pt x="1362" y="668"/>
                  </a:cubicBezTo>
                  <a:cubicBezTo>
                    <a:pt x="1360" y="669"/>
                    <a:pt x="1360" y="669"/>
                    <a:pt x="1360" y="669"/>
                  </a:cubicBezTo>
                  <a:cubicBezTo>
                    <a:pt x="1348" y="667"/>
                    <a:pt x="1348" y="667"/>
                    <a:pt x="1348" y="667"/>
                  </a:cubicBezTo>
                  <a:cubicBezTo>
                    <a:pt x="1342" y="672"/>
                    <a:pt x="1342" y="672"/>
                    <a:pt x="1342" y="672"/>
                  </a:cubicBezTo>
                  <a:cubicBezTo>
                    <a:pt x="1329" y="672"/>
                    <a:pt x="1329" y="672"/>
                    <a:pt x="1329" y="672"/>
                  </a:cubicBezTo>
                  <a:cubicBezTo>
                    <a:pt x="1324" y="665"/>
                    <a:pt x="1324" y="665"/>
                    <a:pt x="1324" y="665"/>
                  </a:cubicBezTo>
                  <a:cubicBezTo>
                    <a:pt x="1159" y="105"/>
                    <a:pt x="1159" y="105"/>
                    <a:pt x="1159" y="105"/>
                  </a:cubicBezTo>
                  <a:cubicBezTo>
                    <a:pt x="1145" y="58"/>
                    <a:pt x="1145" y="58"/>
                    <a:pt x="1145" y="58"/>
                  </a:cubicBezTo>
                  <a:cubicBezTo>
                    <a:pt x="1144" y="55"/>
                    <a:pt x="1144" y="55"/>
                    <a:pt x="1144" y="55"/>
                  </a:cubicBezTo>
                  <a:cubicBezTo>
                    <a:pt x="1136" y="56"/>
                    <a:pt x="1136" y="56"/>
                    <a:pt x="1136" y="56"/>
                  </a:cubicBezTo>
                  <a:cubicBezTo>
                    <a:pt x="1133" y="57"/>
                    <a:pt x="1133" y="57"/>
                    <a:pt x="1133" y="57"/>
                  </a:cubicBezTo>
                  <a:cubicBezTo>
                    <a:pt x="1126" y="52"/>
                    <a:pt x="1126" y="52"/>
                    <a:pt x="1126" y="52"/>
                  </a:cubicBezTo>
                  <a:cubicBezTo>
                    <a:pt x="1120" y="51"/>
                    <a:pt x="1120" y="51"/>
                    <a:pt x="1120" y="51"/>
                  </a:cubicBezTo>
                  <a:cubicBezTo>
                    <a:pt x="1119" y="52"/>
                    <a:pt x="1119" y="52"/>
                    <a:pt x="1119" y="52"/>
                  </a:cubicBezTo>
                  <a:cubicBezTo>
                    <a:pt x="1107" y="47"/>
                    <a:pt x="1107" y="47"/>
                    <a:pt x="1107" y="47"/>
                  </a:cubicBezTo>
                  <a:cubicBezTo>
                    <a:pt x="1101" y="43"/>
                    <a:pt x="1101" y="43"/>
                    <a:pt x="1101" y="43"/>
                  </a:cubicBezTo>
                  <a:cubicBezTo>
                    <a:pt x="1096" y="41"/>
                    <a:pt x="1096" y="41"/>
                    <a:pt x="1096" y="41"/>
                  </a:cubicBezTo>
                  <a:cubicBezTo>
                    <a:pt x="1090" y="40"/>
                    <a:pt x="1090" y="40"/>
                    <a:pt x="1090" y="40"/>
                  </a:cubicBezTo>
                  <a:cubicBezTo>
                    <a:pt x="1085" y="44"/>
                    <a:pt x="1085" y="44"/>
                    <a:pt x="1085" y="44"/>
                  </a:cubicBezTo>
                  <a:cubicBezTo>
                    <a:pt x="1078" y="42"/>
                    <a:pt x="1078" y="42"/>
                    <a:pt x="1078" y="42"/>
                  </a:cubicBezTo>
                  <a:cubicBezTo>
                    <a:pt x="1072" y="43"/>
                    <a:pt x="1072" y="43"/>
                    <a:pt x="1072" y="43"/>
                  </a:cubicBezTo>
                  <a:cubicBezTo>
                    <a:pt x="1067" y="46"/>
                    <a:pt x="1067" y="46"/>
                    <a:pt x="1067" y="46"/>
                  </a:cubicBezTo>
                  <a:cubicBezTo>
                    <a:pt x="1067" y="51"/>
                    <a:pt x="1067" y="51"/>
                    <a:pt x="1067" y="51"/>
                  </a:cubicBezTo>
                  <a:cubicBezTo>
                    <a:pt x="1062" y="50"/>
                    <a:pt x="1062" y="50"/>
                    <a:pt x="1062" y="50"/>
                  </a:cubicBezTo>
                  <a:cubicBezTo>
                    <a:pt x="1053" y="57"/>
                    <a:pt x="1053" y="57"/>
                    <a:pt x="1053" y="57"/>
                  </a:cubicBezTo>
                  <a:cubicBezTo>
                    <a:pt x="1047" y="58"/>
                    <a:pt x="1047" y="58"/>
                    <a:pt x="1047" y="58"/>
                  </a:cubicBezTo>
                  <a:cubicBezTo>
                    <a:pt x="1038" y="58"/>
                    <a:pt x="1038" y="58"/>
                    <a:pt x="1038" y="58"/>
                  </a:cubicBezTo>
                  <a:cubicBezTo>
                    <a:pt x="1037" y="57"/>
                    <a:pt x="1037" y="57"/>
                    <a:pt x="1037" y="57"/>
                  </a:cubicBezTo>
                  <a:cubicBezTo>
                    <a:pt x="1031" y="55"/>
                    <a:pt x="1031" y="55"/>
                    <a:pt x="1031" y="55"/>
                  </a:cubicBezTo>
                  <a:cubicBezTo>
                    <a:pt x="1025" y="51"/>
                    <a:pt x="1025" y="51"/>
                    <a:pt x="1025" y="51"/>
                  </a:cubicBezTo>
                  <a:cubicBezTo>
                    <a:pt x="1019" y="52"/>
                    <a:pt x="1019" y="52"/>
                    <a:pt x="1019" y="52"/>
                  </a:cubicBezTo>
                  <a:cubicBezTo>
                    <a:pt x="1013" y="51"/>
                    <a:pt x="1013" y="51"/>
                    <a:pt x="1013" y="51"/>
                  </a:cubicBezTo>
                  <a:cubicBezTo>
                    <a:pt x="1007" y="52"/>
                    <a:pt x="1007" y="52"/>
                    <a:pt x="1007" y="52"/>
                  </a:cubicBezTo>
                  <a:cubicBezTo>
                    <a:pt x="1001" y="53"/>
                    <a:pt x="1001" y="53"/>
                    <a:pt x="1001" y="53"/>
                  </a:cubicBezTo>
                  <a:cubicBezTo>
                    <a:pt x="995" y="56"/>
                    <a:pt x="995" y="56"/>
                    <a:pt x="995" y="56"/>
                  </a:cubicBezTo>
                  <a:cubicBezTo>
                    <a:pt x="983" y="55"/>
                    <a:pt x="983" y="55"/>
                    <a:pt x="983" y="55"/>
                  </a:cubicBezTo>
                  <a:cubicBezTo>
                    <a:pt x="978" y="53"/>
                    <a:pt x="978" y="53"/>
                    <a:pt x="978" y="53"/>
                  </a:cubicBezTo>
                  <a:cubicBezTo>
                    <a:pt x="975" y="50"/>
                    <a:pt x="975" y="50"/>
                    <a:pt x="975" y="50"/>
                  </a:cubicBezTo>
                  <a:cubicBezTo>
                    <a:pt x="970" y="50"/>
                    <a:pt x="970" y="50"/>
                    <a:pt x="970" y="50"/>
                  </a:cubicBezTo>
                  <a:cubicBezTo>
                    <a:pt x="967" y="48"/>
                    <a:pt x="967" y="48"/>
                    <a:pt x="967" y="48"/>
                  </a:cubicBezTo>
                  <a:cubicBezTo>
                    <a:pt x="961" y="52"/>
                    <a:pt x="961" y="52"/>
                    <a:pt x="961" y="52"/>
                  </a:cubicBezTo>
                  <a:cubicBezTo>
                    <a:pt x="956" y="47"/>
                    <a:pt x="956" y="47"/>
                    <a:pt x="956" y="47"/>
                  </a:cubicBezTo>
                  <a:cubicBezTo>
                    <a:pt x="948" y="44"/>
                    <a:pt x="948" y="44"/>
                    <a:pt x="948" y="44"/>
                  </a:cubicBezTo>
                  <a:cubicBezTo>
                    <a:pt x="943" y="43"/>
                    <a:pt x="943" y="43"/>
                    <a:pt x="943" y="43"/>
                  </a:cubicBezTo>
                  <a:cubicBezTo>
                    <a:pt x="938" y="44"/>
                    <a:pt x="938" y="44"/>
                    <a:pt x="938" y="44"/>
                  </a:cubicBezTo>
                  <a:cubicBezTo>
                    <a:pt x="932" y="43"/>
                    <a:pt x="932" y="43"/>
                    <a:pt x="932" y="43"/>
                  </a:cubicBezTo>
                  <a:cubicBezTo>
                    <a:pt x="926" y="44"/>
                    <a:pt x="926" y="44"/>
                    <a:pt x="926" y="44"/>
                  </a:cubicBezTo>
                  <a:cubicBezTo>
                    <a:pt x="922" y="50"/>
                    <a:pt x="922" y="50"/>
                    <a:pt x="922" y="50"/>
                  </a:cubicBezTo>
                  <a:cubicBezTo>
                    <a:pt x="915" y="51"/>
                    <a:pt x="915" y="51"/>
                    <a:pt x="915" y="51"/>
                  </a:cubicBezTo>
                  <a:cubicBezTo>
                    <a:pt x="913" y="49"/>
                    <a:pt x="913" y="49"/>
                    <a:pt x="913" y="49"/>
                  </a:cubicBezTo>
                  <a:cubicBezTo>
                    <a:pt x="907" y="50"/>
                    <a:pt x="907" y="50"/>
                    <a:pt x="907" y="50"/>
                  </a:cubicBezTo>
                  <a:cubicBezTo>
                    <a:pt x="902" y="51"/>
                    <a:pt x="902" y="51"/>
                    <a:pt x="902" y="51"/>
                  </a:cubicBezTo>
                  <a:cubicBezTo>
                    <a:pt x="898" y="54"/>
                    <a:pt x="898" y="54"/>
                    <a:pt x="898" y="54"/>
                  </a:cubicBezTo>
                  <a:cubicBezTo>
                    <a:pt x="897" y="58"/>
                    <a:pt x="897" y="58"/>
                    <a:pt x="897" y="58"/>
                  </a:cubicBezTo>
                  <a:cubicBezTo>
                    <a:pt x="891" y="55"/>
                    <a:pt x="891" y="55"/>
                    <a:pt x="891" y="55"/>
                  </a:cubicBezTo>
                  <a:cubicBezTo>
                    <a:pt x="879" y="53"/>
                    <a:pt x="879" y="53"/>
                    <a:pt x="879" y="53"/>
                  </a:cubicBezTo>
                  <a:cubicBezTo>
                    <a:pt x="882" y="47"/>
                    <a:pt x="882" y="47"/>
                    <a:pt x="882" y="47"/>
                  </a:cubicBezTo>
                  <a:cubicBezTo>
                    <a:pt x="876" y="47"/>
                    <a:pt x="876" y="47"/>
                    <a:pt x="876" y="47"/>
                  </a:cubicBezTo>
                  <a:cubicBezTo>
                    <a:pt x="870" y="49"/>
                    <a:pt x="870" y="49"/>
                    <a:pt x="870" y="49"/>
                  </a:cubicBezTo>
                  <a:cubicBezTo>
                    <a:pt x="864" y="47"/>
                    <a:pt x="864" y="47"/>
                    <a:pt x="864" y="47"/>
                  </a:cubicBezTo>
                  <a:cubicBezTo>
                    <a:pt x="871" y="46"/>
                    <a:pt x="871" y="46"/>
                    <a:pt x="871" y="46"/>
                  </a:cubicBezTo>
                  <a:cubicBezTo>
                    <a:pt x="864" y="40"/>
                    <a:pt x="864" y="40"/>
                    <a:pt x="864" y="40"/>
                  </a:cubicBezTo>
                  <a:cubicBezTo>
                    <a:pt x="868" y="34"/>
                    <a:pt x="868" y="34"/>
                    <a:pt x="868" y="34"/>
                  </a:cubicBezTo>
                  <a:cubicBezTo>
                    <a:pt x="866" y="28"/>
                    <a:pt x="866" y="28"/>
                    <a:pt x="866" y="28"/>
                  </a:cubicBezTo>
                  <a:cubicBezTo>
                    <a:pt x="860" y="30"/>
                    <a:pt x="860" y="30"/>
                    <a:pt x="860" y="30"/>
                  </a:cubicBezTo>
                  <a:cubicBezTo>
                    <a:pt x="854" y="29"/>
                    <a:pt x="854" y="29"/>
                    <a:pt x="854" y="29"/>
                  </a:cubicBezTo>
                  <a:cubicBezTo>
                    <a:pt x="848" y="26"/>
                    <a:pt x="848" y="26"/>
                    <a:pt x="848" y="26"/>
                  </a:cubicBezTo>
                  <a:cubicBezTo>
                    <a:pt x="842" y="29"/>
                    <a:pt x="842" y="29"/>
                    <a:pt x="842" y="29"/>
                  </a:cubicBezTo>
                  <a:cubicBezTo>
                    <a:pt x="836" y="29"/>
                    <a:pt x="836" y="29"/>
                    <a:pt x="836" y="29"/>
                  </a:cubicBezTo>
                  <a:cubicBezTo>
                    <a:pt x="824" y="37"/>
                    <a:pt x="824" y="37"/>
                    <a:pt x="824" y="37"/>
                  </a:cubicBezTo>
                  <a:cubicBezTo>
                    <a:pt x="818" y="35"/>
                    <a:pt x="818" y="35"/>
                    <a:pt x="818" y="35"/>
                  </a:cubicBezTo>
                  <a:cubicBezTo>
                    <a:pt x="812" y="31"/>
                    <a:pt x="812" y="31"/>
                    <a:pt x="812" y="31"/>
                  </a:cubicBezTo>
                  <a:cubicBezTo>
                    <a:pt x="815" y="25"/>
                    <a:pt x="815" y="25"/>
                    <a:pt x="815" y="25"/>
                  </a:cubicBezTo>
                  <a:cubicBezTo>
                    <a:pt x="811" y="20"/>
                    <a:pt x="811" y="20"/>
                    <a:pt x="811" y="20"/>
                  </a:cubicBezTo>
                  <a:cubicBezTo>
                    <a:pt x="805" y="18"/>
                    <a:pt x="805" y="18"/>
                    <a:pt x="805" y="18"/>
                  </a:cubicBezTo>
                  <a:cubicBezTo>
                    <a:pt x="805" y="24"/>
                    <a:pt x="805" y="24"/>
                    <a:pt x="805" y="24"/>
                  </a:cubicBezTo>
                  <a:cubicBezTo>
                    <a:pt x="799" y="19"/>
                    <a:pt x="799" y="19"/>
                    <a:pt x="799" y="19"/>
                  </a:cubicBezTo>
                  <a:cubicBezTo>
                    <a:pt x="797" y="25"/>
                    <a:pt x="797" y="25"/>
                    <a:pt x="797" y="25"/>
                  </a:cubicBezTo>
                  <a:cubicBezTo>
                    <a:pt x="790" y="37"/>
                    <a:pt x="790" y="37"/>
                    <a:pt x="790" y="37"/>
                  </a:cubicBezTo>
                  <a:cubicBezTo>
                    <a:pt x="784" y="37"/>
                    <a:pt x="784" y="37"/>
                    <a:pt x="784" y="37"/>
                  </a:cubicBezTo>
                  <a:cubicBezTo>
                    <a:pt x="780" y="32"/>
                    <a:pt x="780" y="32"/>
                    <a:pt x="780" y="32"/>
                  </a:cubicBezTo>
                  <a:cubicBezTo>
                    <a:pt x="781" y="29"/>
                    <a:pt x="781" y="29"/>
                    <a:pt x="781" y="29"/>
                  </a:cubicBezTo>
                  <a:cubicBezTo>
                    <a:pt x="787" y="27"/>
                    <a:pt x="787" y="27"/>
                    <a:pt x="787" y="27"/>
                  </a:cubicBezTo>
                  <a:cubicBezTo>
                    <a:pt x="791" y="21"/>
                    <a:pt x="791" y="21"/>
                    <a:pt x="791" y="21"/>
                  </a:cubicBezTo>
                  <a:cubicBezTo>
                    <a:pt x="792" y="15"/>
                    <a:pt x="792" y="15"/>
                    <a:pt x="792" y="15"/>
                  </a:cubicBezTo>
                  <a:cubicBezTo>
                    <a:pt x="786" y="12"/>
                    <a:pt x="786" y="12"/>
                    <a:pt x="786" y="12"/>
                  </a:cubicBezTo>
                  <a:cubicBezTo>
                    <a:pt x="780" y="14"/>
                    <a:pt x="780" y="14"/>
                    <a:pt x="780" y="14"/>
                  </a:cubicBezTo>
                  <a:cubicBezTo>
                    <a:pt x="776" y="9"/>
                    <a:pt x="776" y="9"/>
                    <a:pt x="776" y="9"/>
                  </a:cubicBezTo>
                  <a:cubicBezTo>
                    <a:pt x="769" y="6"/>
                    <a:pt x="769" y="6"/>
                    <a:pt x="769" y="6"/>
                  </a:cubicBezTo>
                  <a:cubicBezTo>
                    <a:pt x="772" y="0"/>
                    <a:pt x="772" y="0"/>
                    <a:pt x="772" y="0"/>
                  </a:cubicBezTo>
                  <a:cubicBezTo>
                    <a:pt x="766" y="4"/>
                    <a:pt x="766" y="4"/>
                    <a:pt x="766" y="4"/>
                  </a:cubicBezTo>
                  <a:cubicBezTo>
                    <a:pt x="758" y="16"/>
                    <a:pt x="758" y="16"/>
                    <a:pt x="758" y="16"/>
                  </a:cubicBezTo>
                  <a:cubicBezTo>
                    <a:pt x="756" y="22"/>
                    <a:pt x="756" y="22"/>
                    <a:pt x="756" y="22"/>
                  </a:cubicBezTo>
                  <a:cubicBezTo>
                    <a:pt x="751" y="28"/>
                    <a:pt x="751" y="28"/>
                    <a:pt x="751" y="28"/>
                  </a:cubicBezTo>
                  <a:cubicBezTo>
                    <a:pt x="739" y="39"/>
                    <a:pt x="739" y="39"/>
                    <a:pt x="739" y="39"/>
                  </a:cubicBezTo>
                  <a:cubicBezTo>
                    <a:pt x="721" y="43"/>
                    <a:pt x="721" y="43"/>
                    <a:pt x="721" y="43"/>
                  </a:cubicBezTo>
                  <a:cubicBezTo>
                    <a:pt x="716" y="43"/>
                    <a:pt x="716" y="43"/>
                    <a:pt x="716" y="43"/>
                  </a:cubicBezTo>
                  <a:cubicBezTo>
                    <a:pt x="710" y="49"/>
                    <a:pt x="710" y="49"/>
                    <a:pt x="710" y="49"/>
                  </a:cubicBezTo>
                  <a:cubicBezTo>
                    <a:pt x="707" y="43"/>
                    <a:pt x="707" y="43"/>
                    <a:pt x="707" y="43"/>
                  </a:cubicBezTo>
                  <a:cubicBezTo>
                    <a:pt x="710" y="37"/>
                    <a:pt x="710" y="37"/>
                    <a:pt x="710" y="37"/>
                  </a:cubicBezTo>
                  <a:cubicBezTo>
                    <a:pt x="704" y="40"/>
                    <a:pt x="704" y="40"/>
                    <a:pt x="704" y="40"/>
                  </a:cubicBezTo>
                  <a:cubicBezTo>
                    <a:pt x="693" y="51"/>
                    <a:pt x="693" y="51"/>
                    <a:pt x="693" y="51"/>
                  </a:cubicBezTo>
                  <a:cubicBezTo>
                    <a:pt x="693" y="54"/>
                    <a:pt x="693" y="54"/>
                    <a:pt x="693" y="54"/>
                  </a:cubicBezTo>
                  <a:cubicBezTo>
                    <a:pt x="696" y="59"/>
                    <a:pt x="696" y="59"/>
                    <a:pt x="696" y="59"/>
                  </a:cubicBezTo>
                  <a:cubicBezTo>
                    <a:pt x="702" y="62"/>
                    <a:pt x="702" y="62"/>
                    <a:pt x="702" y="62"/>
                  </a:cubicBezTo>
                  <a:cubicBezTo>
                    <a:pt x="708" y="61"/>
                    <a:pt x="708" y="61"/>
                    <a:pt x="708" y="61"/>
                  </a:cubicBezTo>
                  <a:cubicBezTo>
                    <a:pt x="696" y="66"/>
                    <a:pt x="696" y="66"/>
                    <a:pt x="696" y="66"/>
                  </a:cubicBezTo>
                  <a:cubicBezTo>
                    <a:pt x="695" y="78"/>
                    <a:pt x="695" y="78"/>
                    <a:pt x="695" y="78"/>
                  </a:cubicBezTo>
                  <a:cubicBezTo>
                    <a:pt x="693" y="72"/>
                    <a:pt x="693" y="72"/>
                    <a:pt x="693" y="72"/>
                  </a:cubicBezTo>
                  <a:cubicBezTo>
                    <a:pt x="690" y="73"/>
                    <a:pt x="690" y="73"/>
                    <a:pt x="690" y="73"/>
                  </a:cubicBezTo>
                  <a:cubicBezTo>
                    <a:pt x="693" y="68"/>
                    <a:pt x="693" y="68"/>
                    <a:pt x="693" y="68"/>
                  </a:cubicBezTo>
                  <a:cubicBezTo>
                    <a:pt x="693" y="57"/>
                    <a:pt x="693" y="57"/>
                    <a:pt x="693" y="57"/>
                  </a:cubicBezTo>
                  <a:cubicBezTo>
                    <a:pt x="691" y="57"/>
                    <a:pt x="691" y="57"/>
                    <a:pt x="691" y="57"/>
                  </a:cubicBezTo>
                  <a:cubicBezTo>
                    <a:pt x="686" y="59"/>
                    <a:pt x="686" y="59"/>
                    <a:pt x="686" y="59"/>
                  </a:cubicBezTo>
                  <a:cubicBezTo>
                    <a:pt x="674" y="72"/>
                    <a:pt x="674" y="72"/>
                    <a:pt x="674" y="72"/>
                  </a:cubicBezTo>
                  <a:cubicBezTo>
                    <a:pt x="664" y="78"/>
                    <a:pt x="664" y="78"/>
                    <a:pt x="664" y="78"/>
                  </a:cubicBezTo>
                  <a:cubicBezTo>
                    <a:pt x="662" y="78"/>
                    <a:pt x="662" y="78"/>
                    <a:pt x="662" y="78"/>
                  </a:cubicBezTo>
                  <a:cubicBezTo>
                    <a:pt x="656" y="80"/>
                    <a:pt x="656" y="80"/>
                    <a:pt x="656" y="80"/>
                  </a:cubicBezTo>
                  <a:cubicBezTo>
                    <a:pt x="650" y="83"/>
                    <a:pt x="650" y="83"/>
                    <a:pt x="650" y="83"/>
                  </a:cubicBezTo>
                  <a:cubicBezTo>
                    <a:pt x="645" y="83"/>
                    <a:pt x="645" y="83"/>
                    <a:pt x="645" y="83"/>
                  </a:cubicBezTo>
                  <a:cubicBezTo>
                    <a:pt x="650" y="81"/>
                    <a:pt x="650" y="81"/>
                    <a:pt x="650" y="81"/>
                  </a:cubicBezTo>
                  <a:cubicBezTo>
                    <a:pt x="651" y="77"/>
                    <a:pt x="651" y="77"/>
                    <a:pt x="651" y="77"/>
                  </a:cubicBezTo>
                  <a:cubicBezTo>
                    <a:pt x="645" y="77"/>
                    <a:pt x="645" y="77"/>
                    <a:pt x="645" y="77"/>
                  </a:cubicBezTo>
                  <a:cubicBezTo>
                    <a:pt x="633" y="96"/>
                    <a:pt x="633" y="96"/>
                    <a:pt x="633" y="96"/>
                  </a:cubicBezTo>
                  <a:cubicBezTo>
                    <a:pt x="633" y="97"/>
                    <a:pt x="633" y="97"/>
                    <a:pt x="633" y="97"/>
                  </a:cubicBezTo>
                  <a:cubicBezTo>
                    <a:pt x="623" y="109"/>
                    <a:pt x="623" y="109"/>
                    <a:pt x="623" y="109"/>
                  </a:cubicBezTo>
                  <a:cubicBezTo>
                    <a:pt x="619" y="119"/>
                    <a:pt x="619" y="119"/>
                    <a:pt x="619" y="119"/>
                  </a:cubicBezTo>
                  <a:cubicBezTo>
                    <a:pt x="619" y="120"/>
                    <a:pt x="619" y="120"/>
                    <a:pt x="619" y="120"/>
                  </a:cubicBezTo>
                  <a:cubicBezTo>
                    <a:pt x="616" y="132"/>
                    <a:pt x="616" y="132"/>
                    <a:pt x="616" y="132"/>
                  </a:cubicBezTo>
                  <a:cubicBezTo>
                    <a:pt x="610" y="144"/>
                    <a:pt x="610" y="144"/>
                    <a:pt x="610" y="144"/>
                  </a:cubicBezTo>
                  <a:cubicBezTo>
                    <a:pt x="602" y="155"/>
                    <a:pt x="602" y="155"/>
                    <a:pt x="602" y="155"/>
                  </a:cubicBezTo>
                  <a:cubicBezTo>
                    <a:pt x="596" y="161"/>
                    <a:pt x="596" y="161"/>
                    <a:pt x="596" y="161"/>
                  </a:cubicBezTo>
                  <a:cubicBezTo>
                    <a:pt x="590" y="164"/>
                    <a:pt x="590" y="164"/>
                    <a:pt x="590" y="164"/>
                  </a:cubicBezTo>
                  <a:cubicBezTo>
                    <a:pt x="584" y="166"/>
                    <a:pt x="584" y="166"/>
                    <a:pt x="584" y="166"/>
                  </a:cubicBezTo>
                  <a:cubicBezTo>
                    <a:pt x="555" y="169"/>
                    <a:pt x="555" y="169"/>
                    <a:pt x="555" y="169"/>
                  </a:cubicBezTo>
                  <a:cubicBezTo>
                    <a:pt x="543" y="166"/>
                    <a:pt x="543" y="166"/>
                    <a:pt x="543" y="166"/>
                  </a:cubicBezTo>
                  <a:cubicBezTo>
                    <a:pt x="538" y="170"/>
                    <a:pt x="538" y="170"/>
                    <a:pt x="538" y="170"/>
                  </a:cubicBezTo>
                  <a:cubicBezTo>
                    <a:pt x="535" y="188"/>
                    <a:pt x="535" y="188"/>
                    <a:pt x="535" y="188"/>
                  </a:cubicBezTo>
                  <a:cubicBezTo>
                    <a:pt x="532" y="194"/>
                    <a:pt x="532" y="194"/>
                    <a:pt x="532" y="194"/>
                  </a:cubicBezTo>
                  <a:cubicBezTo>
                    <a:pt x="527" y="199"/>
                    <a:pt x="527" y="199"/>
                    <a:pt x="527" y="199"/>
                  </a:cubicBezTo>
                  <a:cubicBezTo>
                    <a:pt x="524" y="199"/>
                    <a:pt x="524" y="199"/>
                    <a:pt x="524" y="199"/>
                  </a:cubicBezTo>
                  <a:cubicBezTo>
                    <a:pt x="522" y="201"/>
                    <a:pt x="522" y="201"/>
                    <a:pt x="522" y="201"/>
                  </a:cubicBezTo>
                  <a:cubicBezTo>
                    <a:pt x="528" y="203"/>
                    <a:pt x="528" y="203"/>
                    <a:pt x="528" y="203"/>
                  </a:cubicBezTo>
                  <a:cubicBezTo>
                    <a:pt x="533" y="207"/>
                    <a:pt x="533" y="207"/>
                    <a:pt x="533" y="207"/>
                  </a:cubicBezTo>
                  <a:cubicBezTo>
                    <a:pt x="543" y="219"/>
                    <a:pt x="543" y="219"/>
                    <a:pt x="543" y="219"/>
                  </a:cubicBezTo>
                  <a:cubicBezTo>
                    <a:pt x="549" y="221"/>
                    <a:pt x="549" y="221"/>
                    <a:pt x="549" y="221"/>
                  </a:cubicBezTo>
                  <a:cubicBezTo>
                    <a:pt x="554" y="225"/>
                    <a:pt x="554" y="225"/>
                    <a:pt x="554" y="225"/>
                  </a:cubicBezTo>
                  <a:cubicBezTo>
                    <a:pt x="570" y="243"/>
                    <a:pt x="570" y="243"/>
                    <a:pt x="570" y="243"/>
                  </a:cubicBezTo>
                  <a:cubicBezTo>
                    <a:pt x="573" y="245"/>
                    <a:pt x="573" y="245"/>
                    <a:pt x="573" y="245"/>
                  </a:cubicBezTo>
                  <a:cubicBezTo>
                    <a:pt x="578" y="251"/>
                    <a:pt x="578" y="251"/>
                    <a:pt x="578" y="251"/>
                  </a:cubicBezTo>
                  <a:cubicBezTo>
                    <a:pt x="584" y="257"/>
                    <a:pt x="584" y="257"/>
                    <a:pt x="584" y="257"/>
                  </a:cubicBezTo>
                  <a:cubicBezTo>
                    <a:pt x="587" y="262"/>
                    <a:pt x="587" y="262"/>
                    <a:pt x="587" y="262"/>
                  </a:cubicBezTo>
                  <a:cubicBezTo>
                    <a:pt x="591" y="274"/>
                    <a:pt x="591" y="274"/>
                    <a:pt x="591" y="274"/>
                  </a:cubicBezTo>
                  <a:cubicBezTo>
                    <a:pt x="591" y="286"/>
                    <a:pt x="591" y="286"/>
                    <a:pt x="591" y="286"/>
                  </a:cubicBezTo>
                  <a:cubicBezTo>
                    <a:pt x="596" y="292"/>
                    <a:pt x="596" y="292"/>
                    <a:pt x="596" y="292"/>
                  </a:cubicBezTo>
                  <a:cubicBezTo>
                    <a:pt x="608" y="296"/>
                    <a:pt x="608" y="296"/>
                    <a:pt x="608" y="296"/>
                  </a:cubicBezTo>
                  <a:cubicBezTo>
                    <a:pt x="620" y="298"/>
                    <a:pt x="620" y="298"/>
                    <a:pt x="620" y="298"/>
                  </a:cubicBezTo>
                  <a:cubicBezTo>
                    <a:pt x="626" y="296"/>
                    <a:pt x="626" y="296"/>
                    <a:pt x="626" y="296"/>
                  </a:cubicBezTo>
                  <a:cubicBezTo>
                    <a:pt x="627" y="290"/>
                    <a:pt x="627" y="290"/>
                    <a:pt x="627" y="290"/>
                  </a:cubicBezTo>
                  <a:cubicBezTo>
                    <a:pt x="631" y="296"/>
                    <a:pt x="631" y="296"/>
                    <a:pt x="631" y="296"/>
                  </a:cubicBezTo>
                  <a:cubicBezTo>
                    <a:pt x="632" y="300"/>
                    <a:pt x="632" y="300"/>
                    <a:pt x="632" y="300"/>
                  </a:cubicBezTo>
                  <a:cubicBezTo>
                    <a:pt x="638" y="298"/>
                    <a:pt x="638" y="298"/>
                    <a:pt x="638" y="298"/>
                  </a:cubicBezTo>
                  <a:cubicBezTo>
                    <a:pt x="644" y="298"/>
                    <a:pt x="644" y="298"/>
                    <a:pt x="644" y="298"/>
                  </a:cubicBezTo>
                  <a:cubicBezTo>
                    <a:pt x="646" y="304"/>
                    <a:pt x="646" y="304"/>
                    <a:pt x="646" y="304"/>
                  </a:cubicBezTo>
                  <a:cubicBezTo>
                    <a:pt x="642" y="314"/>
                    <a:pt x="642" y="314"/>
                    <a:pt x="642" y="314"/>
                  </a:cubicBezTo>
                  <a:cubicBezTo>
                    <a:pt x="642" y="322"/>
                    <a:pt x="642" y="322"/>
                    <a:pt x="642" y="322"/>
                  </a:cubicBezTo>
                  <a:cubicBezTo>
                    <a:pt x="649" y="331"/>
                    <a:pt x="649" y="331"/>
                    <a:pt x="649" y="331"/>
                  </a:cubicBezTo>
                  <a:cubicBezTo>
                    <a:pt x="656" y="334"/>
                    <a:pt x="656" y="334"/>
                    <a:pt x="656" y="334"/>
                  </a:cubicBezTo>
                  <a:cubicBezTo>
                    <a:pt x="661" y="325"/>
                    <a:pt x="661" y="325"/>
                    <a:pt x="661" y="325"/>
                  </a:cubicBezTo>
                  <a:cubicBezTo>
                    <a:pt x="667" y="324"/>
                    <a:pt x="667" y="324"/>
                    <a:pt x="667" y="324"/>
                  </a:cubicBezTo>
                  <a:cubicBezTo>
                    <a:pt x="673" y="329"/>
                    <a:pt x="673" y="329"/>
                    <a:pt x="673" y="329"/>
                  </a:cubicBezTo>
                  <a:cubicBezTo>
                    <a:pt x="679" y="327"/>
                    <a:pt x="679" y="327"/>
                    <a:pt x="679" y="327"/>
                  </a:cubicBezTo>
                  <a:cubicBezTo>
                    <a:pt x="685" y="331"/>
                    <a:pt x="685" y="331"/>
                    <a:pt x="685" y="331"/>
                  </a:cubicBezTo>
                  <a:cubicBezTo>
                    <a:pt x="686" y="337"/>
                    <a:pt x="686" y="337"/>
                    <a:pt x="686" y="337"/>
                  </a:cubicBezTo>
                  <a:cubicBezTo>
                    <a:pt x="686" y="343"/>
                    <a:pt x="686" y="343"/>
                    <a:pt x="686" y="343"/>
                  </a:cubicBezTo>
                  <a:cubicBezTo>
                    <a:pt x="673" y="344"/>
                    <a:pt x="673" y="344"/>
                    <a:pt x="673" y="344"/>
                  </a:cubicBezTo>
                  <a:cubicBezTo>
                    <a:pt x="667" y="342"/>
                    <a:pt x="667" y="342"/>
                    <a:pt x="667" y="342"/>
                  </a:cubicBezTo>
                  <a:cubicBezTo>
                    <a:pt x="661" y="336"/>
                    <a:pt x="661" y="336"/>
                    <a:pt x="661" y="336"/>
                  </a:cubicBezTo>
                  <a:cubicBezTo>
                    <a:pt x="655" y="337"/>
                    <a:pt x="655" y="337"/>
                    <a:pt x="655" y="337"/>
                  </a:cubicBezTo>
                  <a:cubicBezTo>
                    <a:pt x="649" y="339"/>
                    <a:pt x="649" y="339"/>
                    <a:pt x="649" y="339"/>
                  </a:cubicBezTo>
                  <a:cubicBezTo>
                    <a:pt x="643" y="335"/>
                    <a:pt x="643" y="335"/>
                    <a:pt x="643" y="335"/>
                  </a:cubicBezTo>
                  <a:cubicBezTo>
                    <a:pt x="639" y="329"/>
                    <a:pt x="639" y="329"/>
                    <a:pt x="639" y="329"/>
                  </a:cubicBezTo>
                  <a:cubicBezTo>
                    <a:pt x="636" y="323"/>
                    <a:pt x="636" y="323"/>
                    <a:pt x="636" y="323"/>
                  </a:cubicBezTo>
                  <a:cubicBezTo>
                    <a:pt x="638" y="317"/>
                    <a:pt x="638" y="317"/>
                    <a:pt x="638" y="317"/>
                  </a:cubicBezTo>
                  <a:cubicBezTo>
                    <a:pt x="634" y="312"/>
                    <a:pt x="634" y="312"/>
                    <a:pt x="634" y="312"/>
                  </a:cubicBezTo>
                  <a:cubicBezTo>
                    <a:pt x="627" y="306"/>
                    <a:pt x="627" y="306"/>
                    <a:pt x="627" y="306"/>
                  </a:cubicBezTo>
                  <a:cubicBezTo>
                    <a:pt x="621" y="307"/>
                    <a:pt x="621" y="307"/>
                    <a:pt x="621" y="307"/>
                  </a:cubicBezTo>
                  <a:cubicBezTo>
                    <a:pt x="623" y="313"/>
                    <a:pt x="623" y="313"/>
                    <a:pt x="623" y="313"/>
                  </a:cubicBezTo>
                  <a:cubicBezTo>
                    <a:pt x="635" y="325"/>
                    <a:pt x="635" y="325"/>
                    <a:pt x="635" y="325"/>
                  </a:cubicBezTo>
                  <a:cubicBezTo>
                    <a:pt x="639" y="331"/>
                    <a:pt x="639" y="331"/>
                    <a:pt x="639" y="331"/>
                  </a:cubicBezTo>
                  <a:cubicBezTo>
                    <a:pt x="641" y="336"/>
                    <a:pt x="641" y="336"/>
                    <a:pt x="641" y="336"/>
                  </a:cubicBezTo>
                  <a:cubicBezTo>
                    <a:pt x="640" y="348"/>
                    <a:pt x="640" y="348"/>
                    <a:pt x="640" y="348"/>
                  </a:cubicBezTo>
                  <a:cubicBezTo>
                    <a:pt x="645" y="342"/>
                    <a:pt x="645" y="342"/>
                    <a:pt x="645" y="342"/>
                  </a:cubicBezTo>
                  <a:cubicBezTo>
                    <a:pt x="650" y="342"/>
                    <a:pt x="650" y="342"/>
                    <a:pt x="650" y="342"/>
                  </a:cubicBezTo>
                  <a:cubicBezTo>
                    <a:pt x="662" y="348"/>
                    <a:pt x="662" y="348"/>
                    <a:pt x="662" y="348"/>
                  </a:cubicBezTo>
                  <a:cubicBezTo>
                    <a:pt x="665" y="354"/>
                    <a:pt x="665" y="354"/>
                    <a:pt x="665" y="354"/>
                  </a:cubicBezTo>
                  <a:cubicBezTo>
                    <a:pt x="661" y="360"/>
                    <a:pt x="661" y="360"/>
                    <a:pt x="661" y="360"/>
                  </a:cubicBezTo>
                  <a:cubicBezTo>
                    <a:pt x="660" y="354"/>
                    <a:pt x="660" y="354"/>
                    <a:pt x="660" y="354"/>
                  </a:cubicBezTo>
                  <a:cubicBezTo>
                    <a:pt x="654" y="351"/>
                    <a:pt x="654" y="351"/>
                    <a:pt x="654" y="351"/>
                  </a:cubicBezTo>
                  <a:cubicBezTo>
                    <a:pt x="649" y="353"/>
                    <a:pt x="649" y="353"/>
                    <a:pt x="649" y="353"/>
                  </a:cubicBezTo>
                  <a:cubicBezTo>
                    <a:pt x="647" y="358"/>
                    <a:pt x="647" y="358"/>
                    <a:pt x="647" y="358"/>
                  </a:cubicBezTo>
                  <a:cubicBezTo>
                    <a:pt x="643" y="365"/>
                    <a:pt x="643" y="365"/>
                    <a:pt x="643" y="365"/>
                  </a:cubicBezTo>
                  <a:cubicBezTo>
                    <a:pt x="644" y="365"/>
                    <a:pt x="644" y="365"/>
                    <a:pt x="644" y="365"/>
                  </a:cubicBezTo>
                  <a:cubicBezTo>
                    <a:pt x="639" y="370"/>
                    <a:pt x="639" y="370"/>
                    <a:pt x="639" y="370"/>
                  </a:cubicBezTo>
                  <a:cubicBezTo>
                    <a:pt x="635" y="365"/>
                    <a:pt x="635" y="365"/>
                    <a:pt x="635" y="365"/>
                  </a:cubicBezTo>
                  <a:cubicBezTo>
                    <a:pt x="629" y="366"/>
                    <a:pt x="629" y="366"/>
                    <a:pt x="629" y="366"/>
                  </a:cubicBezTo>
                  <a:cubicBezTo>
                    <a:pt x="623" y="365"/>
                    <a:pt x="623" y="365"/>
                    <a:pt x="623" y="365"/>
                  </a:cubicBezTo>
                  <a:cubicBezTo>
                    <a:pt x="617" y="368"/>
                    <a:pt x="617" y="368"/>
                    <a:pt x="617" y="368"/>
                  </a:cubicBezTo>
                  <a:cubicBezTo>
                    <a:pt x="615" y="361"/>
                    <a:pt x="615" y="361"/>
                    <a:pt x="615" y="361"/>
                  </a:cubicBezTo>
                  <a:cubicBezTo>
                    <a:pt x="603" y="364"/>
                    <a:pt x="603" y="364"/>
                    <a:pt x="603" y="364"/>
                  </a:cubicBezTo>
                  <a:cubicBezTo>
                    <a:pt x="598" y="362"/>
                    <a:pt x="598" y="362"/>
                    <a:pt x="598" y="362"/>
                  </a:cubicBezTo>
                  <a:cubicBezTo>
                    <a:pt x="591" y="363"/>
                    <a:pt x="591" y="363"/>
                    <a:pt x="591" y="363"/>
                  </a:cubicBezTo>
                  <a:cubicBezTo>
                    <a:pt x="586" y="359"/>
                    <a:pt x="586" y="359"/>
                    <a:pt x="586" y="359"/>
                  </a:cubicBezTo>
                  <a:cubicBezTo>
                    <a:pt x="583" y="353"/>
                    <a:pt x="583" y="353"/>
                    <a:pt x="583" y="353"/>
                  </a:cubicBezTo>
                  <a:cubicBezTo>
                    <a:pt x="577" y="353"/>
                    <a:pt x="577" y="353"/>
                    <a:pt x="577" y="353"/>
                  </a:cubicBezTo>
                  <a:cubicBezTo>
                    <a:pt x="584" y="351"/>
                    <a:pt x="584" y="351"/>
                    <a:pt x="584" y="351"/>
                  </a:cubicBezTo>
                  <a:cubicBezTo>
                    <a:pt x="586" y="339"/>
                    <a:pt x="586" y="339"/>
                    <a:pt x="586" y="339"/>
                  </a:cubicBezTo>
                  <a:cubicBezTo>
                    <a:pt x="590" y="333"/>
                    <a:pt x="590" y="333"/>
                    <a:pt x="590" y="333"/>
                  </a:cubicBezTo>
                  <a:cubicBezTo>
                    <a:pt x="587" y="327"/>
                    <a:pt x="587" y="327"/>
                    <a:pt x="587" y="327"/>
                  </a:cubicBezTo>
                  <a:cubicBezTo>
                    <a:pt x="592" y="328"/>
                    <a:pt x="592" y="328"/>
                    <a:pt x="592" y="328"/>
                  </a:cubicBezTo>
                  <a:cubicBezTo>
                    <a:pt x="587" y="325"/>
                    <a:pt x="587" y="325"/>
                    <a:pt x="587" y="325"/>
                  </a:cubicBezTo>
                  <a:cubicBezTo>
                    <a:pt x="575" y="325"/>
                    <a:pt x="575" y="325"/>
                    <a:pt x="575" y="325"/>
                  </a:cubicBezTo>
                  <a:cubicBezTo>
                    <a:pt x="569" y="327"/>
                    <a:pt x="569" y="327"/>
                    <a:pt x="569" y="327"/>
                  </a:cubicBezTo>
                  <a:cubicBezTo>
                    <a:pt x="563" y="329"/>
                    <a:pt x="563" y="329"/>
                    <a:pt x="563" y="329"/>
                  </a:cubicBezTo>
                  <a:cubicBezTo>
                    <a:pt x="557" y="334"/>
                    <a:pt x="557" y="334"/>
                    <a:pt x="557" y="334"/>
                  </a:cubicBezTo>
                  <a:cubicBezTo>
                    <a:pt x="555" y="336"/>
                    <a:pt x="555" y="336"/>
                    <a:pt x="555" y="336"/>
                  </a:cubicBezTo>
                  <a:cubicBezTo>
                    <a:pt x="543" y="336"/>
                    <a:pt x="543" y="336"/>
                    <a:pt x="543" y="336"/>
                  </a:cubicBezTo>
                  <a:cubicBezTo>
                    <a:pt x="538" y="339"/>
                    <a:pt x="538" y="339"/>
                    <a:pt x="538" y="339"/>
                  </a:cubicBezTo>
                  <a:cubicBezTo>
                    <a:pt x="532" y="343"/>
                    <a:pt x="532" y="343"/>
                    <a:pt x="532" y="343"/>
                  </a:cubicBezTo>
                  <a:cubicBezTo>
                    <a:pt x="535" y="350"/>
                    <a:pt x="535" y="350"/>
                    <a:pt x="535" y="350"/>
                  </a:cubicBezTo>
                  <a:cubicBezTo>
                    <a:pt x="536" y="355"/>
                    <a:pt x="536" y="355"/>
                    <a:pt x="536" y="355"/>
                  </a:cubicBezTo>
                  <a:cubicBezTo>
                    <a:pt x="530" y="355"/>
                    <a:pt x="530" y="355"/>
                    <a:pt x="530" y="355"/>
                  </a:cubicBezTo>
                  <a:cubicBezTo>
                    <a:pt x="518" y="350"/>
                    <a:pt x="518" y="350"/>
                    <a:pt x="518" y="350"/>
                  </a:cubicBezTo>
                  <a:cubicBezTo>
                    <a:pt x="500" y="361"/>
                    <a:pt x="500" y="361"/>
                    <a:pt x="500" y="361"/>
                  </a:cubicBezTo>
                  <a:cubicBezTo>
                    <a:pt x="498" y="366"/>
                    <a:pt x="498" y="366"/>
                    <a:pt x="498" y="366"/>
                  </a:cubicBezTo>
                  <a:cubicBezTo>
                    <a:pt x="492" y="369"/>
                    <a:pt x="492" y="369"/>
                    <a:pt x="492" y="369"/>
                  </a:cubicBezTo>
                  <a:cubicBezTo>
                    <a:pt x="486" y="367"/>
                    <a:pt x="486" y="367"/>
                    <a:pt x="486" y="367"/>
                  </a:cubicBezTo>
                  <a:cubicBezTo>
                    <a:pt x="480" y="372"/>
                    <a:pt x="480" y="372"/>
                    <a:pt x="480" y="372"/>
                  </a:cubicBezTo>
                  <a:cubicBezTo>
                    <a:pt x="478" y="377"/>
                    <a:pt x="478" y="377"/>
                    <a:pt x="478" y="377"/>
                  </a:cubicBezTo>
                  <a:cubicBezTo>
                    <a:pt x="472" y="379"/>
                    <a:pt x="472" y="379"/>
                    <a:pt x="472" y="379"/>
                  </a:cubicBezTo>
                  <a:cubicBezTo>
                    <a:pt x="466" y="378"/>
                    <a:pt x="466" y="378"/>
                    <a:pt x="466" y="378"/>
                  </a:cubicBezTo>
                  <a:close/>
                  <a:moveTo>
                    <a:pt x="738" y="1067"/>
                  </a:moveTo>
                  <a:cubicBezTo>
                    <a:pt x="737" y="1066"/>
                    <a:pt x="737" y="1066"/>
                    <a:pt x="737" y="1066"/>
                  </a:cubicBezTo>
                  <a:cubicBezTo>
                    <a:pt x="736" y="1073"/>
                    <a:pt x="736" y="1073"/>
                    <a:pt x="736" y="1073"/>
                  </a:cubicBezTo>
                  <a:cubicBezTo>
                    <a:pt x="738" y="1067"/>
                    <a:pt x="738" y="1067"/>
                    <a:pt x="738" y="1067"/>
                  </a:cubicBezTo>
                  <a:close/>
                  <a:moveTo>
                    <a:pt x="665" y="1101"/>
                  </a:moveTo>
                  <a:cubicBezTo>
                    <a:pt x="661" y="1102"/>
                    <a:pt x="661" y="1102"/>
                    <a:pt x="661" y="1102"/>
                  </a:cubicBezTo>
                  <a:cubicBezTo>
                    <a:pt x="659" y="1108"/>
                    <a:pt x="659" y="1108"/>
                    <a:pt x="659" y="1108"/>
                  </a:cubicBezTo>
                  <a:cubicBezTo>
                    <a:pt x="659" y="1114"/>
                    <a:pt x="659" y="1114"/>
                    <a:pt x="659" y="1114"/>
                  </a:cubicBezTo>
                  <a:cubicBezTo>
                    <a:pt x="661" y="1120"/>
                    <a:pt x="661" y="1120"/>
                    <a:pt x="661" y="1120"/>
                  </a:cubicBezTo>
                  <a:cubicBezTo>
                    <a:pt x="672" y="1114"/>
                    <a:pt x="672" y="1114"/>
                    <a:pt x="672" y="1114"/>
                  </a:cubicBezTo>
                  <a:cubicBezTo>
                    <a:pt x="669" y="1108"/>
                    <a:pt x="669" y="1108"/>
                    <a:pt x="669" y="1108"/>
                  </a:cubicBezTo>
                  <a:cubicBezTo>
                    <a:pt x="671" y="1101"/>
                    <a:pt x="671" y="1101"/>
                    <a:pt x="671" y="1101"/>
                  </a:cubicBezTo>
                  <a:cubicBezTo>
                    <a:pt x="665" y="1107"/>
                    <a:pt x="665" y="1107"/>
                    <a:pt x="665" y="1107"/>
                  </a:cubicBezTo>
                  <a:cubicBezTo>
                    <a:pt x="665" y="1101"/>
                    <a:pt x="665" y="1101"/>
                    <a:pt x="665" y="1101"/>
                  </a:cubicBezTo>
                  <a:close/>
                  <a:moveTo>
                    <a:pt x="653" y="876"/>
                  </a:moveTo>
                  <a:cubicBezTo>
                    <a:pt x="655" y="883"/>
                    <a:pt x="655" y="883"/>
                    <a:pt x="655" y="883"/>
                  </a:cubicBezTo>
                  <a:cubicBezTo>
                    <a:pt x="661" y="879"/>
                    <a:pt x="661" y="879"/>
                    <a:pt x="661" y="879"/>
                  </a:cubicBezTo>
                  <a:cubicBezTo>
                    <a:pt x="664" y="874"/>
                    <a:pt x="664" y="874"/>
                    <a:pt x="664" y="874"/>
                  </a:cubicBezTo>
                  <a:cubicBezTo>
                    <a:pt x="665" y="868"/>
                    <a:pt x="665" y="868"/>
                    <a:pt x="665" y="868"/>
                  </a:cubicBezTo>
                  <a:cubicBezTo>
                    <a:pt x="658" y="871"/>
                    <a:pt x="658" y="871"/>
                    <a:pt x="658" y="871"/>
                  </a:cubicBezTo>
                  <a:cubicBezTo>
                    <a:pt x="653" y="876"/>
                    <a:pt x="653" y="876"/>
                    <a:pt x="653" y="876"/>
                  </a:cubicBezTo>
                  <a:close/>
                  <a:moveTo>
                    <a:pt x="624" y="1117"/>
                  </a:moveTo>
                  <a:cubicBezTo>
                    <a:pt x="622" y="1117"/>
                    <a:pt x="622" y="1117"/>
                    <a:pt x="622" y="1117"/>
                  </a:cubicBezTo>
                  <a:cubicBezTo>
                    <a:pt x="624" y="1123"/>
                    <a:pt x="624" y="1123"/>
                    <a:pt x="624" y="1123"/>
                  </a:cubicBezTo>
                  <a:cubicBezTo>
                    <a:pt x="624" y="1117"/>
                    <a:pt x="624" y="1117"/>
                    <a:pt x="624" y="1117"/>
                  </a:cubicBezTo>
                  <a:close/>
                  <a:moveTo>
                    <a:pt x="605" y="1129"/>
                  </a:moveTo>
                  <a:cubicBezTo>
                    <a:pt x="599" y="1129"/>
                    <a:pt x="599" y="1129"/>
                    <a:pt x="599" y="1129"/>
                  </a:cubicBezTo>
                  <a:cubicBezTo>
                    <a:pt x="598" y="1136"/>
                    <a:pt x="598" y="1136"/>
                    <a:pt x="598" y="1136"/>
                  </a:cubicBezTo>
                  <a:cubicBezTo>
                    <a:pt x="603" y="1135"/>
                    <a:pt x="603" y="1135"/>
                    <a:pt x="603" y="1135"/>
                  </a:cubicBezTo>
                  <a:cubicBezTo>
                    <a:pt x="605" y="1129"/>
                    <a:pt x="605" y="1129"/>
                    <a:pt x="605" y="1129"/>
                  </a:cubicBezTo>
                  <a:close/>
                  <a:moveTo>
                    <a:pt x="583" y="1161"/>
                  </a:moveTo>
                  <a:cubicBezTo>
                    <a:pt x="580" y="1160"/>
                    <a:pt x="580" y="1160"/>
                    <a:pt x="580" y="1160"/>
                  </a:cubicBezTo>
                  <a:cubicBezTo>
                    <a:pt x="582" y="1167"/>
                    <a:pt x="582" y="1167"/>
                    <a:pt x="582" y="1167"/>
                  </a:cubicBezTo>
                  <a:cubicBezTo>
                    <a:pt x="588" y="1170"/>
                    <a:pt x="588" y="1170"/>
                    <a:pt x="588" y="1170"/>
                  </a:cubicBezTo>
                  <a:cubicBezTo>
                    <a:pt x="588" y="1163"/>
                    <a:pt x="588" y="1163"/>
                    <a:pt x="588" y="1163"/>
                  </a:cubicBezTo>
                  <a:cubicBezTo>
                    <a:pt x="583" y="1161"/>
                    <a:pt x="583" y="1161"/>
                    <a:pt x="583" y="1161"/>
                  </a:cubicBezTo>
                  <a:close/>
                  <a:moveTo>
                    <a:pt x="498" y="1148"/>
                  </a:moveTo>
                  <a:cubicBezTo>
                    <a:pt x="496" y="1154"/>
                    <a:pt x="496" y="1154"/>
                    <a:pt x="496" y="1154"/>
                  </a:cubicBezTo>
                  <a:cubicBezTo>
                    <a:pt x="498" y="1160"/>
                    <a:pt x="498" y="1160"/>
                    <a:pt x="498" y="1160"/>
                  </a:cubicBezTo>
                  <a:cubicBezTo>
                    <a:pt x="505" y="1163"/>
                    <a:pt x="505" y="1163"/>
                    <a:pt x="505" y="1163"/>
                  </a:cubicBezTo>
                  <a:cubicBezTo>
                    <a:pt x="510" y="1163"/>
                    <a:pt x="510" y="1163"/>
                    <a:pt x="510" y="1163"/>
                  </a:cubicBezTo>
                  <a:cubicBezTo>
                    <a:pt x="517" y="1161"/>
                    <a:pt x="517" y="1161"/>
                    <a:pt x="517" y="1161"/>
                  </a:cubicBezTo>
                  <a:cubicBezTo>
                    <a:pt x="520" y="1155"/>
                    <a:pt x="520" y="1155"/>
                    <a:pt x="520" y="1155"/>
                  </a:cubicBezTo>
                  <a:cubicBezTo>
                    <a:pt x="526" y="1151"/>
                    <a:pt x="526" y="1151"/>
                    <a:pt x="526" y="1151"/>
                  </a:cubicBezTo>
                  <a:cubicBezTo>
                    <a:pt x="532" y="1149"/>
                    <a:pt x="532" y="1149"/>
                    <a:pt x="532" y="1149"/>
                  </a:cubicBezTo>
                  <a:cubicBezTo>
                    <a:pt x="538" y="1149"/>
                    <a:pt x="538" y="1149"/>
                    <a:pt x="538" y="1149"/>
                  </a:cubicBezTo>
                  <a:cubicBezTo>
                    <a:pt x="550" y="1151"/>
                    <a:pt x="550" y="1151"/>
                    <a:pt x="550" y="1151"/>
                  </a:cubicBezTo>
                  <a:cubicBezTo>
                    <a:pt x="556" y="1148"/>
                    <a:pt x="556" y="1148"/>
                    <a:pt x="556" y="1148"/>
                  </a:cubicBezTo>
                  <a:cubicBezTo>
                    <a:pt x="558" y="1142"/>
                    <a:pt x="558" y="1142"/>
                    <a:pt x="558" y="1142"/>
                  </a:cubicBezTo>
                  <a:cubicBezTo>
                    <a:pt x="564" y="1147"/>
                    <a:pt x="564" y="1147"/>
                    <a:pt x="564" y="1147"/>
                  </a:cubicBezTo>
                  <a:cubicBezTo>
                    <a:pt x="569" y="1149"/>
                    <a:pt x="569" y="1149"/>
                    <a:pt x="569" y="1149"/>
                  </a:cubicBezTo>
                  <a:cubicBezTo>
                    <a:pt x="569" y="1143"/>
                    <a:pt x="569" y="1143"/>
                    <a:pt x="569" y="1143"/>
                  </a:cubicBezTo>
                  <a:cubicBezTo>
                    <a:pt x="563" y="1142"/>
                    <a:pt x="563" y="1142"/>
                    <a:pt x="563" y="1142"/>
                  </a:cubicBezTo>
                  <a:cubicBezTo>
                    <a:pt x="558" y="1136"/>
                    <a:pt x="558" y="1136"/>
                    <a:pt x="558" y="1136"/>
                  </a:cubicBezTo>
                  <a:cubicBezTo>
                    <a:pt x="557" y="1130"/>
                    <a:pt x="557" y="1130"/>
                    <a:pt x="557" y="1130"/>
                  </a:cubicBezTo>
                  <a:cubicBezTo>
                    <a:pt x="554" y="1124"/>
                    <a:pt x="554" y="1124"/>
                    <a:pt x="554" y="1124"/>
                  </a:cubicBezTo>
                  <a:cubicBezTo>
                    <a:pt x="548" y="1121"/>
                    <a:pt x="548" y="1121"/>
                    <a:pt x="548" y="1121"/>
                  </a:cubicBezTo>
                  <a:cubicBezTo>
                    <a:pt x="542" y="1121"/>
                    <a:pt x="542" y="1121"/>
                    <a:pt x="542" y="1121"/>
                  </a:cubicBezTo>
                  <a:cubicBezTo>
                    <a:pt x="531" y="1126"/>
                    <a:pt x="531" y="1126"/>
                    <a:pt x="531" y="1126"/>
                  </a:cubicBezTo>
                  <a:cubicBezTo>
                    <a:pt x="524" y="1130"/>
                    <a:pt x="524" y="1130"/>
                    <a:pt x="524" y="1130"/>
                  </a:cubicBezTo>
                  <a:cubicBezTo>
                    <a:pt x="518" y="1127"/>
                    <a:pt x="518" y="1127"/>
                    <a:pt x="518" y="1127"/>
                  </a:cubicBezTo>
                  <a:cubicBezTo>
                    <a:pt x="513" y="1131"/>
                    <a:pt x="513" y="1131"/>
                    <a:pt x="513" y="1131"/>
                  </a:cubicBezTo>
                  <a:cubicBezTo>
                    <a:pt x="507" y="1142"/>
                    <a:pt x="507" y="1142"/>
                    <a:pt x="507" y="1142"/>
                  </a:cubicBezTo>
                  <a:cubicBezTo>
                    <a:pt x="498" y="1148"/>
                    <a:pt x="498" y="1148"/>
                    <a:pt x="498" y="1148"/>
                  </a:cubicBezTo>
                  <a:close/>
                  <a:moveTo>
                    <a:pt x="479" y="1186"/>
                  </a:moveTo>
                  <a:cubicBezTo>
                    <a:pt x="479" y="1182"/>
                    <a:pt x="479" y="1182"/>
                    <a:pt x="479" y="1182"/>
                  </a:cubicBezTo>
                  <a:cubicBezTo>
                    <a:pt x="473" y="1183"/>
                    <a:pt x="473" y="1183"/>
                    <a:pt x="473" y="1183"/>
                  </a:cubicBezTo>
                  <a:cubicBezTo>
                    <a:pt x="479" y="1186"/>
                    <a:pt x="479" y="1186"/>
                    <a:pt x="479" y="1186"/>
                  </a:cubicBezTo>
                  <a:close/>
                  <a:moveTo>
                    <a:pt x="468" y="1180"/>
                  </a:moveTo>
                  <a:cubicBezTo>
                    <a:pt x="469" y="1179"/>
                    <a:pt x="469" y="1179"/>
                    <a:pt x="469" y="1179"/>
                  </a:cubicBezTo>
                  <a:cubicBezTo>
                    <a:pt x="473" y="1174"/>
                    <a:pt x="473" y="1174"/>
                    <a:pt x="473" y="1174"/>
                  </a:cubicBezTo>
                  <a:cubicBezTo>
                    <a:pt x="467" y="1168"/>
                    <a:pt x="467" y="1168"/>
                    <a:pt x="467" y="1168"/>
                  </a:cubicBezTo>
                  <a:cubicBezTo>
                    <a:pt x="466" y="1174"/>
                    <a:pt x="466" y="1174"/>
                    <a:pt x="466" y="1174"/>
                  </a:cubicBezTo>
                  <a:cubicBezTo>
                    <a:pt x="468" y="1180"/>
                    <a:pt x="468" y="1180"/>
                    <a:pt x="468" y="1180"/>
                  </a:cubicBezTo>
                  <a:close/>
                  <a:moveTo>
                    <a:pt x="455" y="1184"/>
                  </a:moveTo>
                  <a:cubicBezTo>
                    <a:pt x="464" y="1178"/>
                    <a:pt x="464" y="1178"/>
                    <a:pt x="464" y="1178"/>
                  </a:cubicBezTo>
                  <a:cubicBezTo>
                    <a:pt x="458" y="1175"/>
                    <a:pt x="458" y="1175"/>
                    <a:pt x="458" y="1175"/>
                  </a:cubicBezTo>
                  <a:cubicBezTo>
                    <a:pt x="452" y="1171"/>
                    <a:pt x="452" y="1171"/>
                    <a:pt x="452" y="1171"/>
                  </a:cubicBezTo>
                  <a:cubicBezTo>
                    <a:pt x="447" y="1177"/>
                    <a:pt x="447" y="1177"/>
                    <a:pt x="447" y="1177"/>
                  </a:cubicBezTo>
                  <a:cubicBezTo>
                    <a:pt x="449" y="1183"/>
                    <a:pt x="449" y="1183"/>
                    <a:pt x="449" y="1183"/>
                  </a:cubicBezTo>
                  <a:cubicBezTo>
                    <a:pt x="455" y="1184"/>
                    <a:pt x="455" y="1184"/>
                    <a:pt x="455" y="1184"/>
                  </a:cubicBezTo>
                  <a:close/>
                  <a:moveTo>
                    <a:pt x="454" y="771"/>
                  </a:moveTo>
                  <a:cubicBezTo>
                    <a:pt x="454" y="772"/>
                    <a:pt x="454" y="772"/>
                    <a:pt x="454" y="772"/>
                  </a:cubicBezTo>
                  <a:cubicBezTo>
                    <a:pt x="465" y="782"/>
                    <a:pt x="465" y="782"/>
                    <a:pt x="465" y="782"/>
                  </a:cubicBezTo>
                  <a:cubicBezTo>
                    <a:pt x="471" y="783"/>
                    <a:pt x="471" y="783"/>
                    <a:pt x="471" y="783"/>
                  </a:cubicBezTo>
                  <a:cubicBezTo>
                    <a:pt x="483" y="791"/>
                    <a:pt x="483" y="791"/>
                    <a:pt x="483" y="791"/>
                  </a:cubicBezTo>
                  <a:cubicBezTo>
                    <a:pt x="478" y="785"/>
                    <a:pt x="478" y="785"/>
                    <a:pt x="478" y="785"/>
                  </a:cubicBezTo>
                  <a:cubicBezTo>
                    <a:pt x="484" y="785"/>
                    <a:pt x="484" y="785"/>
                    <a:pt x="484" y="785"/>
                  </a:cubicBezTo>
                  <a:cubicBezTo>
                    <a:pt x="496" y="781"/>
                    <a:pt x="496" y="781"/>
                    <a:pt x="496" y="781"/>
                  </a:cubicBezTo>
                  <a:cubicBezTo>
                    <a:pt x="502" y="782"/>
                    <a:pt x="502" y="782"/>
                    <a:pt x="502" y="782"/>
                  </a:cubicBezTo>
                  <a:cubicBezTo>
                    <a:pt x="499" y="773"/>
                    <a:pt x="499" y="773"/>
                    <a:pt x="499" y="773"/>
                  </a:cubicBezTo>
                  <a:cubicBezTo>
                    <a:pt x="500" y="755"/>
                    <a:pt x="500" y="755"/>
                    <a:pt x="500" y="755"/>
                  </a:cubicBezTo>
                  <a:cubicBezTo>
                    <a:pt x="494" y="752"/>
                    <a:pt x="494" y="752"/>
                    <a:pt x="494" y="752"/>
                  </a:cubicBezTo>
                  <a:cubicBezTo>
                    <a:pt x="488" y="752"/>
                    <a:pt x="488" y="752"/>
                    <a:pt x="488" y="752"/>
                  </a:cubicBezTo>
                  <a:cubicBezTo>
                    <a:pt x="482" y="748"/>
                    <a:pt x="482" y="748"/>
                    <a:pt x="482" y="748"/>
                  </a:cubicBezTo>
                  <a:cubicBezTo>
                    <a:pt x="476" y="748"/>
                    <a:pt x="476" y="748"/>
                    <a:pt x="476" y="748"/>
                  </a:cubicBezTo>
                  <a:cubicBezTo>
                    <a:pt x="470" y="752"/>
                    <a:pt x="470" y="752"/>
                    <a:pt x="470" y="752"/>
                  </a:cubicBezTo>
                  <a:cubicBezTo>
                    <a:pt x="464" y="752"/>
                    <a:pt x="464" y="752"/>
                    <a:pt x="464" y="752"/>
                  </a:cubicBezTo>
                  <a:cubicBezTo>
                    <a:pt x="460" y="757"/>
                    <a:pt x="460" y="757"/>
                    <a:pt x="460" y="757"/>
                  </a:cubicBezTo>
                  <a:cubicBezTo>
                    <a:pt x="448" y="755"/>
                    <a:pt x="448" y="755"/>
                    <a:pt x="448" y="755"/>
                  </a:cubicBezTo>
                  <a:cubicBezTo>
                    <a:pt x="442" y="759"/>
                    <a:pt x="442" y="759"/>
                    <a:pt x="442" y="759"/>
                  </a:cubicBezTo>
                  <a:cubicBezTo>
                    <a:pt x="449" y="771"/>
                    <a:pt x="449" y="771"/>
                    <a:pt x="449" y="771"/>
                  </a:cubicBezTo>
                  <a:cubicBezTo>
                    <a:pt x="454" y="771"/>
                    <a:pt x="454" y="771"/>
                    <a:pt x="454" y="771"/>
                  </a:cubicBezTo>
                  <a:close/>
                  <a:moveTo>
                    <a:pt x="440" y="1205"/>
                  </a:moveTo>
                  <a:cubicBezTo>
                    <a:pt x="442" y="1202"/>
                    <a:pt x="442" y="1202"/>
                    <a:pt x="442" y="1202"/>
                  </a:cubicBezTo>
                  <a:cubicBezTo>
                    <a:pt x="443" y="1196"/>
                    <a:pt x="443" y="1196"/>
                    <a:pt x="443" y="1196"/>
                  </a:cubicBezTo>
                  <a:cubicBezTo>
                    <a:pt x="437" y="1199"/>
                    <a:pt x="437" y="1199"/>
                    <a:pt x="437" y="1199"/>
                  </a:cubicBezTo>
                  <a:cubicBezTo>
                    <a:pt x="440" y="1205"/>
                    <a:pt x="440" y="1205"/>
                    <a:pt x="440" y="1205"/>
                  </a:cubicBezTo>
                  <a:close/>
                  <a:moveTo>
                    <a:pt x="360" y="520"/>
                  </a:moveTo>
                  <a:cubicBezTo>
                    <a:pt x="356" y="519"/>
                    <a:pt x="356" y="519"/>
                    <a:pt x="356" y="519"/>
                  </a:cubicBezTo>
                  <a:cubicBezTo>
                    <a:pt x="362" y="518"/>
                    <a:pt x="362" y="518"/>
                    <a:pt x="362" y="518"/>
                  </a:cubicBezTo>
                  <a:cubicBezTo>
                    <a:pt x="374" y="528"/>
                    <a:pt x="374" y="528"/>
                    <a:pt x="374" y="528"/>
                  </a:cubicBezTo>
                  <a:cubicBezTo>
                    <a:pt x="379" y="534"/>
                    <a:pt x="379" y="534"/>
                    <a:pt x="379" y="534"/>
                  </a:cubicBezTo>
                  <a:cubicBezTo>
                    <a:pt x="379" y="540"/>
                    <a:pt x="379" y="540"/>
                    <a:pt x="379" y="540"/>
                  </a:cubicBezTo>
                  <a:cubicBezTo>
                    <a:pt x="385" y="543"/>
                    <a:pt x="385" y="543"/>
                    <a:pt x="385" y="543"/>
                  </a:cubicBezTo>
                  <a:cubicBezTo>
                    <a:pt x="391" y="552"/>
                    <a:pt x="391" y="552"/>
                    <a:pt x="391" y="552"/>
                  </a:cubicBezTo>
                  <a:cubicBezTo>
                    <a:pt x="390" y="546"/>
                    <a:pt x="390" y="546"/>
                    <a:pt x="390" y="546"/>
                  </a:cubicBezTo>
                  <a:cubicBezTo>
                    <a:pt x="393" y="552"/>
                    <a:pt x="393" y="552"/>
                    <a:pt x="393" y="552"/>
                  </a:cubicBezTo>
                  <a:cubicBezTo>
                    <a:pt x="391" y="557"/>
                    <a:pt x="391" y="557"/>
                    <a:pt x="391" y="557"/>
                  </a:cubicBezTo>
                  <a:cubicBezTo>
                    <a:pt x="396" y="555"/>
                    <a:pt x="396" y="555"/>
                    <a:pt x="396" y="555"/>
                  </a:cubicBezTo>
                  <a:cubicBezTo>
                    <a:pt x="400" y="549"/>
                    <a:pt x="400" y="549"/>
                    <a:pt x="400" y="549"/>
                  </a:cubicBezTo>
                  <a:cubicBezTo>
                    <a:pt x="406" y="545"/>
                    <a:pt x="406" y="545"/>
                    <a:pt x="406" y="545"/>
                  </a:cubicBezTo>
                  <a:cubicBezTo>
                    <a:pt x="413" y="545"/>
                    <a:pt x="413" y="545"/>
                    <a:pt x="413" y="545"/>
                  </a:cubicBezTo>
                  <a:cubicBezTo>
                    <a:pt x="418" y="548"/>
                    <a:pt x="418" y="548"/>
                    <a:pt x="418" y="548"/>
                  </a:cubicBezTo>
                  <a:cubicBezTo>
                    <a:pt x="425" y="544"/>
                    <a:pt x="425" y="544"/>
                    <a:pt x="425" y="544"/>
                  </a:cubicBezTo>
                  <a:cubicBezTo>
                    <a:pt x="425" y="538"/>
                    <a:pt x="425" y="538"/>
                    <a:pt x="425" y="538"/>
                  </a:cubicBezTo>
                  <a:cubicBezTo>
                    <a:pt x="419" y="535"/>
                    <a:pt x="419" y="535"/>
                    <a:pt x="419" y="535"/>
                  </a:cubicBezTo>
                  <a:cubicBezTo>
                    <a:pt x="413" y="537"/>
                    <a:pt x="413" y="537"/>
                    <a:pt x="413" y="537"/>
                  </a:cubicBezTo>
                  <a:cubicBezTo>
                    <a:pt x="400" y="527"/>
                    <a:pt x="400" y="527"/>
                    <a:pt x="400" y="527"/>
                  </a:cubicBezTo>
                  <a:cubicBezTo>
                    <a:pt x="388" y="520"/>
                    <a:pt x="388" y="520"/>
                    <a:pt x="388" y="520"/>
                  </a:cubicBezTo>
                  <a:cubicBezTo>
                    <a:pt x="388" y="516"/>
                    <a:pt x="388" y="516"/>
                    <a:pt x="388" y="516"/>
                  </a:cubicBezTo>
                  <a:cubicBezTo>
                    <a:pt x="385" y="510"/>
                    <a:pt x="385" y="510"/>
                    <a:pt x="385" y="510"/>
                  </a:cubicBezTo>
                  <a:cubicBezTo>
                    <a:pt x="380" y="505"/>
                    <a:pt x="380" y="505"/>
                    <a:pt x="380" y="505"/>
                  </a:cubicBezTo>
                  <a:cubicBezTo>
                    <a:pt x="368" y="506"/>
                    <a:pt x="368" y="506"/>
                    <a:pt x="368" y="506"/>
                  </a:cubicBezTo>
                  <a:cubicBezTo>
                    <a:pt x="362" y="510"/>
                    <a:pt x="362" y="510"/>
                    <a:pt x="362" y="510"/>
                  </a:cubicBezTo>
                  <a:cubicBezTo>
                    <a:pt x="357" y="507"/>
                    <a:pt x="357" y="507"/>
                    <a:pt x="357" y="507"/>
                  </a:cubicBezTo>
                  <a:cubicBezTo>
                    <a:pt x="350" y="505"/>
                    <a:pt x="350" y="505"/>
                    <a:pt x="350" y="505"/>
                  </a:cubicBezTo>
                  <a:cubicBezTo>
                    <a:pt x="339" y="497"/>
                    <a:pt x="339" y="497"/>
                    <a:pt x="339" y="497"/>
                  </a:cubicBezTo>
                  <a:cubicBezTo>
                    <a:pt x="333" y="509"/>
                    <a:pt x="333" y="509"/>
                    <a:pt x="333" y="509"/>
                  </a:cubicBezTo>
                  <a:cubicBezTo>
                    <a:pt x="333" y="514"/>
                    <a:pt x="333" y="514"/>
                    <a:pt x="333" y="514"/>
                  </a:cubicBezTo>
                  <a:cubicBezTo>
                    <a:pt x="337" y="521"/>
                    <a:pt x="337" y="521"/>
                    <a:pt x="337" y="521"/>
                  </a:cubicBezTo>
                  <a:cubicBezTo>
                    <a:pt x="343" y="525"/>
                    <a:pt x="343" y="525"/>
                    <a:pt x="343" y="525"/>
                  </a:cubicBezTo>
                  <a:cubicBezTo>
                    <a:pt x="354" y="519"/>
                    <a:pt x="354" y="519"/>
                    <a:pt x="354" y="519"/>
                  </a:cubicBezTo>
                  <a:cubicBezTo>
                    <a:pt x="360" y="520"/>
                    <a:pt x="360" y="520"/>
                    <a:pt x="360" y="520"/>
                  </a:cubicBezTo>
                  <a:cubicBezTo>
                    <a:pt x="366" y="524"/>
                    <a:pt x="366" y="524"/>
                    <a:pt x="366" y="524"/>
                  </a:cubicBezTo>
                  <a:cubicBezTo>
                    <a:pt x="374" y="530"/>
                    <a:pt x="374" y="530"/>
                    <a:pt x="374" y="530"/>
                  </a:cubicBezTo>
                  <a:cubicBezTo>
                    <a:pt x="368" y="525"/>
                    <a:pt x="368" y="525"/>
                    <a:pt x="368" y="525"/>
                  </a:cubicBezTo>
                  <a:cubicBezTo>
                    <a:pt x="366" y="524"/>
                    <a:pt x="366" y="524"/>
                    <a:pt x="366" y="524"/>
                  </a:cubicBezTo>
                  <a:cubicBezTo>
                    <a:pt x="362" y="521"/>
                    <a:pt x="362" y="521"/>
                    <a:pt x="362" y="521"/>
                  </a:cubicBezTo>
                  <a:cubicBezTo>
                    <a:pt x="360" y="520"/>
                    <a:pt x="360" y="520"/>
                    <a:pt x="360" y="520"/>
                  </a:cubicBezTo>
                  <a:close/>
                  <a:moveTo>
                    <a:pt x="378" y="1229"/>
                  </a:moveTo>
                  <a:cubicBezTo>
                    <a:pt x="393" y="1225"/>
                    <a:pt x="393" y="1225"/>
                    <a:pt x="393" y="1225"/>
                  </a:cubicBezTo>
                  <a:cubicBezTo>
                    <a:pt x="405" y="1220"/>
                    <a:pt x="405" y="1220"/>
                    <a:pt x="405" y="1220"/>
                  </a:cubicBezTo>
                  <a:cubicBezTo>
                    <a:pt x="411" y="1218"/>
                    <a:pt x="411" y="1218"/>
                    <a:pt x="411" y="1218"/>
                  </a:cubicBezTo>
                  <a:cubicBezTo>
                    <a:pt x="417" y="1218"/>
                    <a:pt x="417" y="1218"/>
                    <a:pt x="417" y="1218"/>
                  </a:cubicBezTo>
                  <a:cubicBezTo>
                    <a:pt x="416" y="1212"/>
                    <a:pt x="416" y="1212"/>
                    <a:pt x="416" y="1212"/>
                  </a:cubicBezTo>
                  <a:cubicBezTo>
                    <a:pt x="422" y="1216"/>
                    <a:pt x="422" y="1216"/>
                    <a:pt x="422" y="1216"/>
                  </a:cubicBezTo>
                  <a:cubicBezTo>
                    <a:pt x="425" y="1210"/>
                    <a:pt x="425" y="1210"/>
                    <a:pt x="425" y="1210"/>
                  </a:cubicBezTo>
                  <a:cubicBezTo>
                    <a:pt x="431" y="1207"/>
                    <a:pt x="431" y="1207"/>
                    <a:pt x="431" y="1207"/>
                  </a:cubicBezTo>
                  <a:cubicBezTo>
                    <a:pt x="437" y="1207"/>
                    <a:pt x="437" y="1207"/>
                    <a:pt x="437" y="1207"/>
                  </a:cubicBezTo>
                  <a:cubicBezTo>
                    <a:pt x="432" y="1201"/>
                    <a:pt x="432" y="1201"/>
                    <a:pt x="432" y="1201"/>
                  </a:cubicBezTo>
                  <a:cubicBezTo>
                    <a:pt x="427" y="1205"/>
                    <a:pt x="427" y="1205"/>
                    <a:pt x="427" y="1205"/>
                  </a:cubicBezTo>
                  <a:cubicBezTo>
                    <a:pt x="428" y="1199"/>
                    <a:pt x="428" y="1199"/>
                    <a:pt x="428" y="1199"/>
                  </a:cubicBezTo>
                  <a:cubicBezTo>
                    <a:pt x="433" y="1196"/>
                    <a:pt x="433" y="1196"/>
                    <a:pt x="433" y="1196"/>
                  </a:cubicBezTo>
                  <a:cubicBezTo>
                    <a:pt x="439" y="1190"/>
                    <a:pt x="439" y="1190"/>
                    <a:pt x="439" y="1190"/>
                  </a:cubicBezTo>
                  <a:cubicBezTo>
                    <a:pt x="435" y="1185"/>
                    <a:pt x="435" y="1185"/>
                    <a:pt x="435" y="1185"/>
                  </a:cubicBezTo>
                  <a:cubicBezTo>
                    <a:pt x="431" y="1190"/>
                    <a:pt x="431" y="1190"/>
                    <a:pt x="431" y="1190"/>
                  </a:cubicBezTo>
                  <a:cubicBezTo>
                    <a:pt x="425" y="1190"/>
                    <a:pt x="425" y="1190"/>
                    <a:pt x="425" y="1190"/>
                  </a:cubicBezTo>
                  <a:cubicBezTo>
                    <a:pt x="426" y="1184"/>
                    <a:pt x="426" y="1184"/>
                    <a:pt x="426" y="1184"/>
                  </a:cubicBezTo>
                  <a:cubicBezTo>
                    <a:pt x="420" y="1182"/>
                    <a:pt x="420" y="1182"/>
                    <a:pt x="420" y="1182"/>
                  </a:cubicBezTo>
                  <a:cubicBezTo>
                    <a:pt x="414" y="1184"/>
                    <a:pt x="414" y="1184"/>
                    <a:pt x="414" y="1184"/>
                  </a:cubicBezTo>
                  <a:cubicBezTo>
                    <a:pt x="408" y="1186"/>
                    <a:pt x="408" y="1186"/>
                    <a:pt x="408" y="1186"/>
                  </a:cubicBezTo>
                  <a:cubicBezTo>
                    <a:pt x="403" y="1192"/>
                    <a:pt x="403" y="1192"/>
                    <a:pt x="403" y="1192"/>
                  </a:cubicBezTo>
                  <a:cubicBezTo>
                    <a:pt x="407" y="1198"/>
                    <a:pt x="407" y="1198"/>
                    <a:pt x="407" y="1198"/>
                  </a:cubicBezTo>
                  <a:cubicBezTo>
                    <a:pt x="413" y="1199"/>
                    <a:pt x="413" y="1199"/>
                    <a:pt x="413" y="1199"/>
                  </a:cubicBezTo>
                  <a:cubicBezTo>
                    <a:pt x="418" y="1203"/>
                    <a:pt x="418" y="1203"/>
                    <a:pt x="418" y="1203"/>
                  </a:cubicBezTo>
                  <a:cubicBezTo>
                    <a:pt x="407" y="1202"/>
                    <a:pt x="407" y="1202"/>
                    <a:pt x="407" y="1202"/>
                  </a:cubicBezTo>
                  <a:cubicBezTo>
                    <a:pt x="407" y="1208"/>
                    <a:pt x="407" y="1208"/>
                    <a:pt x="407" y="1208"/>
                  </a:cubicBezTo>
                  <a:cubicBezTo>
                    <a:pt x="402" y="1212"/>
                    <a:pt x="402" y="1212"/>
                    <a:pt x="402" y="1212"/>
                  </a:cubicBezTo>
                  <a:cubicBezTo>
                    <a:pt x="407" y="1214"/>
                    <a:pt x="407" y="1214"/>
                    <a:pt x="407" y="1214"/>
                  </a:cubicBezTo>
                  <a:cubicBezTo>
                    <a:pt x="402" y="1215"/>
                    <a:pt x="402" y="1215"/>
                    <a:pt x="402" y="1215"/>
                  </a:cubicBezTo>
                  <a:cubicBezTo>
                    <a:pt x="389" y="1220"/>
                    <a:pt x="389" y="1220"/>
                    <a:pt x="389" y="1220"/>
                  </a:cubicBezTo>
                  <a:cubicBezTo>
                    <a:pt x="384" y="1221"/>
                    <a:pt x="384" y="1221"/>
                    <a:pt x="384" y="1221"/>
                  </a:cubicBezTo>
                  <a:cubicBezTo>
                    <a:pt x="378" y="1221"/>
                    <a:pt x="378" y="1221"/>
                    <a:pt x="378" y="1221"/>
                  </a:cubicBezTo>
                  <a:cubicBezTo>
                    <a:pt x="372" y="1226"/>
                    <a:pt x="372" y="1226"/>
                    <a:pt x="372" y="1226"/>
                  </a:cubicBezTo>
                  <a:cubicBezTo>
                    <a:pt x="378" y="1229"/>
                    <a:pt x="378" y="1229"/>
                    <a:pt x="378" y="1229"/>
                  </a:cubicBezTo>
                  <a:close/>
                  <a:moveTo>
                    <a:pt x="374" y="1212"/>
                  </a:moveTo>
                  <a:cubicBezTo>
                    <a:pt x="372" y="1219"/>
                    <a:pt x="372" y="1219"/>
                    <a:pt x="372" y="1219"/>
                  </a:cubicBezTo>
                  <a:cubicBezTo>
                    <a:pt x="359" y="1226"/>
                    <a:pt x="359" y="1226"/>
                    <a:pt x="359" y="1226"/>
                  </a:cubicBezTo>
                  <a:cubicBezTo>
                    <a:pt x="354" y="1227"/>
                    <a:pt x="354" y="1227"/>
                    <a:pt x="354" y="1227"/>
                  </a:cubicBezTo>
                  <a:cubicBezTo>
                    <a:pt x="349" y="1233"/>
                    <a:pt x="349" y="1233"/>
                    <a:pt x="349" y="1233"/>
                  </a:cubicBezTo>
                  <a:cubicBezTo>
                    <a:pt x="343" y="1239"/>
                    <a:pt x="343" y="1239"/>
                    <a:pt x="343" y="1239"/>
                  </a:cubicBezTo>
                  <a:cubicBezTo>
                    <a:pt x="337" y="1241"/>
                    <a:pt x="337" y="1241"/>
                    <a:pt x="337" y="1241"/>
                  </a:cubicBezTo>
                  <a:cubicBezTo>
                    <a:pt x="332" y="1245"/>
                    <a:pt x="332" y="1245"/>
                    <a:pt x="332" y="1245"/>
                  </a:cubicBezTo>
                  <a:cubicBezTo>
                    <a:pt x="320" y="1249"/>
                    <a:pt x="320" y="1249"/>
                    <a:pt x="320" y="1249"/>
                  </a:cubicBezTo>
                  <a:cubicBezTo>
                    <a:pt x="325" y="1244"/>
                    <a:pt x="325" y="1244"/>
                    <a:pt x="325" y="1244"/>
                  </a:cubicBezTo>
                  <a:cubicBezTo>
                    <a:pt x="330" y="1238"/>
                    <a:pt x="330" y="1238"/>
                    <a:pt x="330" y="1238"/>
                  </a:cubicBezTo>
                  <a:cubicBezTo>
                    <a:pt x="331" y="1232"/>
                    <a:pt x="331" y="1232"/>
                    <a:pt x="331" y="1232"/>
                  </a:cubicBezTo>
                  <a:cubicBezTo>
                    <a:pt x="336" y="1226"/>
                    <a:pt x="336" y="1226"/>
                    <a:pt x="336" y="1226"/>
                  </a:cubicBezTo>
                  <a:cubicBezTo>
                    <a:pt x="348" y="1226"/>
                    <a:pt x="348" y="1226"/>
                    <a:pt x="348" y="1226"/>
                  </a:cubicBezTo>
                  <a:cubicBezTo>
                    <a:pt x="348" y="1220"/>
                    <a:pt x="348" y="1220"/>
                    <a:pt x="348" y="1220"/>
                  </a:cubicBezTo>
                  <a:cubicBezTo>
                    <a:pt x="350" y="1214"/>
                    <a:pt x="350" y="1214"/>
                    <a:pt x="350" y="1214"/>
                  </a:cubicBezTo>
                  <a:cubicBezTo>
                    <a:pt x="355" y="1210"/>
                    <a:pt x="355" y="1210"/>
                    <a:pt x="355" y="1210"/>
                  </a:cubicBezTo>
                  <a:cubicBezTo>
                    <a:pt x="362" y="1207"/>
                    <a:pt x="362" y="1207"/>
                    <a:pt x="362" y="1207"/>
                  </a:cubicBezTo>
                  <a:cubicBezTo>
                    <a:pt x="368" y="1208"/>
                    <a:pt x="368" y="1208"/>
                    <a:pt x="368" y="1208"/>
                  </a:cubicBezTo>
                  <a:cubicBezTo>
                    <a:pt x="373" y="1211"/>
                    <a:pt x="373" y="1211"/>
                    <a:pt x="373" y="1211"/>
                  </a:cubicBezTo>
                  <a:cubicBezTo>
                    <a:pt x="374" y="1212"/>
                    <a:pt x="374" y="1212"/>
                    <a:pt x="374" y="1212"/>
                  </a:cubicBezTo>
                  <a:close/>
                  <a:moveTo>
                    <a:pt x="167" y="1267"/>
                  </a:moveTo>
                  <a:cubicBezTo>
                    <a:pt x="166" y="1261"/>
                    <a:pt x="166" y="1261"/>
                    <a:pt x="166" y="1261"/>
                  </a:cubicBezTo>
                  <a:cubicBezTo>
                    <a:pt x="172" y="1258"/>
                    <a:pt x="172" y="1258"/>
                    <a:pt x="172" y="1258"/>
                  </a:cubicBezTo>
                  <a:cubicBezTo>
                    <a:pt x="178" y="1262"/>
                    <a:pt x="178" y="1262"/>
                    <a:pt x="178" y="1262"/>
                  </a:cubicBezTo>
                  <a:cubicBezTo>
                    <a:pt x="172" y="1266"/>
                    <a:pt x="172" y="1266"/>
                    <a:pt x="172" y="1266"/>
                  </a:cubicBezTo>
                  <a:cubicBezTo>
                    <a:pt x="167" y="1267"/>
                    <a:pt x="167" y="1267"/>
                    <a:pt x="167" y="1267"/>
                  </a:cubicBezTo>
                  <a:close/>
                  <a:moveTo>
                    <a:pt x="124" y="1274"/>
                  </a:moveTo>
                  <a:cubicBezTo>
                    <a:pt x="118" y="1270"/>
                    <a:pt x="118" y="1270"/>
                    <a:pt x="118" y="1270"/>
                  </a:cubicBezTo>
                  <a:cubicBezTo>
                    <a:pt x="112" y="1270"/>
                    <a:pt x="112" y="1270"/>
                    <a:pt x="112" y="1270"/>
                  </a:cubicBezTo>
                  <a:cubicBezTo>
                    <a:pt x="106" y="1266"/>
                    <a:pt x="106" y="1266"/>
                    <a:pt x="106" y="1266"/>
                  </a:cubicBezTo>
                  <a:cubicBezTo>
                    <a:pt x="112" y="1266"/>
                    <a:pt x="112" y="1266"/>
                    <a:pt x="112" y="1266"/>
                  </a:cubicBezTo>
                  <a:cubicBezTo>
                    <a:pt x="118" y="1265"/>
                    <a:pt x="118" y="1265"/>
                    <a:pt x="118" y="1265"/>
                  </a:cubicBezTo>
                  <a:cubicBezTo>
                    <a:pt x="123" y="1265"/>
                    <a:pt x="123" y="1265"/>
                    <a:pt x="123" y="1265"/>
                  </a:cubicBezTo>
                  <a:cubicBezTo>
                    <a:pt x="129" y="1270"/>
                    <a:pt x="129" y="1270"/>
                    <a:pt x="129" y="1270"/>
                  </a:cubicBezTo>
                  <a:cubicBezTo>
                    <a:pt x="135" y="1270"/>
                    <a:pt x="135" y="1270"/>
                    <a:pt x="135" y="1270"/>
                  </a:cubicBezTo>
                  <a:cubicBezTo>
                    <a:pt x="147" y="1274"/>
                    <a:pt x="147" y="1274"/>
                    <a:pt x="147" y="1274"/>
                  </a:cubicBezTo>
                  <a:cubicBezTo>
                    <a:pt x="141" y="1274"/>
                    <a:pt x="141" y="1274"/>
                    <a:pt x="141" y="1274"/>
                  </a:cubicBezTo>
                  <a:cubicBezTo>
                    <a:pt x="136" y="1273"/>
                    <a:pt x="136" y="1273"/>
                    <a:pt x="136" y="1273"/>
                  </a:cubicBezTo>
                  <a:cubicBezTo>
                    <a:pt x="129" y="1274"/>
                    <a:pt x="129" y="1274"/>
                    <a:pt x="129" y="1274"/>
                  </a:cubicBezTo>
                  <a:cubicBezTo>
                    <a:pt x="124" y="1274"/>
                    <a:pt x="124" y="1274"/>
                    <a:pt x="124" y="1274"/>
                  </a:cubicBezTo>
                  <a:close/>
                  <a:moveTo>
                    <a:pt x="82" y="1257"/>
                  </a:moveTo>
                  <a:cubicBezTo>
                    <a:pt x="88" y="1256"/>
                    <a:pt x="88" y="1256"/>
                    <a:pt x="88" y="1256"/>
                  </a:cubicBezTo>
                  <a:cubicBezTo>
                    <a:pt x="94" y="1254"/>
                    <a:pt x="94" y="1254"/>
                    <a:pt x="94" y="1254"/>
                  </a:cubicBezTo>
                  <a:cubicBezTo>
                    <a:pt x="94" y="1248"/>
                    <a:pt x="94" y="1248"/>
                    <a:pt x="94" y="1248"/>
                  </a:cubicBezTo>
                  <a:cubicBezTo>
                    <a:pt x="100" y="1243"/>
                    <a:pt x="100" y="1243"/>
                    <a:pt x="100" y="1243"/>
                  </a:cubicBezTo>
                  <a:cubicBezTo>
                    <a:pt x="106" y="1246"/>
                    <a:pt x="106" y="1246"/>
                    <a:pt x="106" y="1246"/>
                  </a:cubicBezTo>
                  <a:cubicBezTo>
                    <a:pt x="107" y="1252"/>
                    <a:pt x="107" y="1252"/>
                    <a:pt x="107" y="1252"/>
                  </a:cubicBezTo>
                  <a:cubicBezTo>
                    <a:pt x="101" y="1255"/>
                    <a:pt x="101" y="1255"/>
                    <a:pt x="101" y="1255"/>
                  </a:cubicBezTo>
                  <a:cubicBezTo>
                    <a:pt x="101" y="1261"/>
                    <a:pt x="101" y="1261"/>
                    <a:pt x="101" y="1261"/>
                  </a:cubicBezTo>
                  <a:cubicBezTo>
                    <a:pt x="95" y="1263"/>
                    <a:pt x="95" y="1263"/>
                    <a:pt x="95" y="1263"/>
                  </a:cubicBezTo>
                  <a:cubicBezTo>
                    <a:pt x="89" y="1260"/>
                    <a:pt x="89" y="1260"/>
                    <a:pt x="89" y="1260"/>
                  </a:cubicBezTo>
                  <a:cubicBezTo>
                    <a:pt x="83" y="1261"/>
                    <a:pt x="83" y="1261"/>
                    <a:pt x="83" y="1261"/>
                  </a:cubicBezTo>
                  <a:cubicBezTo>
                    <a:pt x="77" y="1264"/>
                    <a:pt x="77" y="1264"/>
                    <a:pt x="77" y="1264"/>
                  </a:cubicBezTo>
                  <a:cubicBezTo>
                    <a:pt x="66" y="1260"/>
                    <a:pt x="66" y="1260"/>
                    <a:pt x="66" y="1260"/>
                  </a:cubicBezTo>
                  <a:cubicBezTo>
                    <a:pt x="59" y="1261"/>
                    <a:pt x="59" y="1261"/>
                    <a:pt x="59" y="1261"/>
                  </a:cubicBezTo>
                  <a:cubicBezTo>
                    <a:pt x="54" y="1259"/>
                    <a:pt x="54" y="1259"/>
                    <a:pt x="54" y="1259"/>
                  </a:cubicBezTo>
                  <a:cubicBezTo>
                    <a:pt x="66" y="1258"/>
                    <a:pt x="66" y="1258"/>
                    <a:pt x="66" y="1258"/>
                  </a:cubicBezTo>
                  <a:cubicBezTo>
                    <a:pt x="82" y="1257"/>
                    <a:pt x="82" y="1257"/>
                    <a:pt x="82" y="1257"/>
                  </a:cubicBezTo>
                  <a:close/>
                  <a:moveTo>
                    <a:pt x="17" y="1254"/>
                  </a:moveTo>
                  <a:cubicBezTo>
                    <a:pt x="13" y="1248"/>
                    <a:pt x="13" y="1248"/>
                    <a:pt x="13" y="1248"/>
                  </a:cubicBezTo>
                  <a:cubicBezTo>
                    <a:pt x="19" y="1244"/>
                    <a:pt x="19" y="1244"/>
                    <a:pt x="19" y="1244"/>
                  </a:cubicBezTo>
                  <a:cubicBezTo>
                    <a:pt x="21" y="1250"/>
                    <a:pt x="21" y="1250"/>
                    <a:pt x="21" y="1250"/>
                  </a:cubicBezTo>
                  <a:cubicBezTo>
                    <a:pt x="17" y="1254"/>
                    <a:pt x="17" y="1254"/>
                    <a:pt x="17" y="1254"/>
                  </a:cubicBezTo>
                  <a:close/>
                  <a:moveTo>
                    <a:pt x="11" y="1266"/>
                  </a:moveTo>
                  <a:cubicBezTo>
                    <a:pt x="10" y="1259"/>
                    <a:pt x="10" y="1259"/>
                    <a:pt x="10" y="1259"/>
                  </a:cubicBezTo>
                  <a:cubicBezTo>
                    <a:pt x="15" y="1262"/>
                    <a:pt x="15" y="1262"/>
                    <a:pt x="15" y="1262"/>
                  </a:cubicBezTo>
                  <a:cubicBezTo>
                    <a:pt x="11" y="1266"/>
                    <a:pt x="11" y="1266"/>
                    <a:pt x="11" y="1266"/>
                  </a:cubicBezTo>
                  <a:close/>
                  <a:moveTo>
                    <a:pt x="1" y="1267"/>
                  </a:moveTo>
                  <a:cubicBezTo>
                    <a:pt x="0" y="1260"/>
                    <a:pt x="0" y="1260"/>
                    <a:pt x="0" y="1260"/>
                  </a:cubicBezTo>
                  <a:cubicBezTo>
                    <a:pt x="6" y="1258"/>
                    <a:pt x="6" y="1258"/>
                    <a:pt x="6" y="1258"/>
                  </a:cubicBezTo>
                  <a:cubicBezTo>
                    <a:pt x="6" y="1264"/>
                    <a:pt x="6" y="1264"/>
                    <a:pt x="6" y="1264"/>
                  </a:cubicBezTo>
                  <a:cubicBezTo>
                    <a:pt x="1" y="1267"/>
                    <a:pt x="1" y="1267"/>
                    <a:pt x="1" y="1267"/>
                  </a:cubicBezTo>
                  <a:close/>
                  <a:moveTo>
                    <a:pt x="802" y="846"/>
                  </a:moveTo>
                  <a:cubicBezTo>
                    <a:pt x="805" y="840"/>
                    <a:pt x="805" y="840"/>
                    <a:pt x="805" y="840"/>
                  </a:cubicBezTo>
                  <a:cubicBezTo>
                    <a:pt x="802" y="845"/>
                    <a:pt x="802" y="845"/>
                    <a:pt x="802" y="845"/>
                  </a:cubicBezTo>
                  <a:cubicBezTo>
                    <a:pt x="802" y="846"/>
                    <a:pt x="802" y="846"/>
                    <a:pt x="802" y="846"/>
                  </a:cubicBezTo>
                  <a:close/>
                  <a:moveTo>
                    <a:pt x="624" y="1117"/>
                  </a:moveTo>
                  <a:cubicBezTo>
                    <a:pt x="622" y="1117"/>
                    <a:pt x="622" y="1117"/>
                    <a:pt x="622" y="1117"/>
                  </a:cubicBezTo>
                  <a:cubicBezTo>
                    <a:pt x="624" y="1123"/>
                    <a:pt x="624" y="1123"/>
                    <a:pt x="624" y="1123"/>
                  </a:cubicBezTo>
                  <a:cubicBezTo>
                    <a:pt x="624" y="1117"/>
                    <a:pt x="624" y="1117"/>
                    <a:pt x="624" y="1117"/>
                  </a:cubicBezTo>
                  <a:close/>
                  <a:moveTo>
                    <a:pt x="440" y="1205"/>
                  </a:moveTo>
                  <a:cubicBezTo>
                    <a:pt x="442" y="1202"/>
                    <a:pt x="442" y="1202"/>
                    <a:pt x="442" y="1202"/>
                  </a:cubicBezTo>
                  <a:cubicBezTo>
                    <a:pt x="443" y="1196"/>
                    <a:pt x="443" y="1196"/>
                    <a:pt x="443" y="1196"/>
                  </a:cubicBezTo>
                  <a:cubicBezTo>
                    <a:pt x="437" y="1199"/>
                    <a:pt x="437" y="1199"/>
                    <a:pt x="437" y="1199"/>
                  </a:cubicBezTo>
                  <a:cubicBezTo>
                    <a:pt x="440" y="1205"/>
                    <a:pt x="440" y="1205"/>
                    <a:pt x="440" y="1205"/>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0">
              <a:extLst>
                <a:ext uri="{FF2B5EF4-FFF2-40B4-BE49-F238E27FC236}">
                  <a16:creationId xmlns:a16="http://schemas.microsoft.com/office/drawing/2014/main" id="{3AD0597D-5128-48C0-973A-22CC230C5DD5}"/>
                </a:ext>
              </a:extLst>
            </p:cNvPr>
            <p:cNvSpPr>
              <a:spLocks/>
            </p:cNvSpPr>
            <p:nvPr/>
          </p:nvSpPr>
          <p:spPr bwMode="auto">
            <a:xfrm>
              <a:off x="8214280" y="2643761"/>
              <a:ext cx="350722" cy="193049"/>
            </a:xfrm>
            <a:custGeom>
              <a:avLst/>
              <a:gdLst>
                <a:gd name="T0" fmla="*/ 300 w 316"/>
                <a:gd name="T1" fmla="*/ 83 h 174"/>
                <a:gd name="T2" fmla="*/ 283 w 316"/>
                <a:gd name="T3" fmla="*/ 75 h 174"/>
                <a:gd name="T4" fmla="*/ 273 w 316"/>
                <a:gd name="T5" fmla="*/ 79 h 174"/>
                <a:gd name="T6" fmla="*/ 284 w 316"/>
                <a:gd name="T7" fmla="*/ 90 h 174"/>
                <a:gd name="T8" fmla="*/ 288 w 316"/>
                <a:gd name="T9" fmla="*/ 98 h 174"/>
                <a:gd name="T10" fmla="*/ 294 w 316"/>
                <a:gd name="T11" fmla="*/ 98 h 174"/>
                <a:gd name="T12" fmla="*/ 296 w 316"/>
                <a:gd name="T13" fmla="*/ 110 h 174"/>
                <a:gd name="T14" fmla="*/ 279 w 316"/>
                <a:gd name="T15" fmla="*/ 120 h 174"/>
                <a:gd name="T16" fmla="*/ 275 w 316"/>
                <a:gd name="T17" fmla="*/ 119 h 174"/>
                <a:gd name="T18" fmla="*/ 268 w 316"/>
                <a:gd name="T19" fmla="*/ 119 h 174"/>
                <a:gd name="T20" fmla="*/ 263 w 316"/>
                <a:gd name="T21" fmla="*/ 112 h 174"/>
                <a:gd name="T22" fmla="*/ 252 w 316"/>
                <a:gd name="T23" fmla="*/ 101 h 174"/>
                <a:gd name="T24" fmla="*/ 249 w 316"/>
                <a:gd name="T25" fmla="*/ 101 h 174"/>
                <a:gd name="T26" fmla="*/ 243 w 316"/>
                <a:gd name="T27" fmla="*/ 96 h 174"/>
                <a:gd name="T28" fmla="*/ 248 w 316"/>
                <a:gd name="T29" fmla="*/ 99 h 174"/>
                <a:gd name="T30" fmla="*/ 246 w 316"/>
                <a:gd name="T31" fmla="*/ 88 h 174"/>
                <a:gd name="T32" fmla="*/ 229 w 316"/>
                <a:gd name="T33" fmla="*/ 72 h 174"/>
                <a:gd name="T34" fmla="*/ 215 w 316"/>
                <a:gd name="T35" fmla="*/ 73 h 174"/>
                <a:gd name="T36" fmla="*/ 206 w 316"/>
                <a:gd name="T37" fmla="*/ 71 h 174"/>
                <a:gd name="T38" fmla="*/ 206 w 316"/>
                <a:gd name="T39" fmla="*/ 69 h 174"/>
                <a:gd name="T40" fmla="*/ 208 w 316"/>
                <a:gd name="T41" fmla="*/ 60 h 174"/>
                <a:gd name="T42" fmla="*/ 209 w 316"/>
                <a:gd name="T43" fmla="*/ 56 h 174"/>
                <a:gd name="T44" fmla="*/ 212 w 316"/>
                <a:gd name="T45" fmla="*/ 48 h 174"/>
                <a:gd name="T46" fmla="*/ 215 w 316"/>
                <a:gd name="T47" fmla="*/ 42 h 174"/>
                <a:gd name="T48" fmla="*/ 229 w 316"/>
                <a:gd name="T49" fmla="*/ 32 h 174"/>
                <a:gd name="T50" fmla="*/ 226 w 316"/>
                <a:gd name="T51" fmla="*/ 19 h 174"/>
                <a:gd name="T52" fmla="*/ 219 w 316"/>
                <a:gd name="T53" fmla="*/ 24 h 174"/>
                <a:gd name="T54" fmla="*/ 210 w 316"/>
                <a:gd name="T55" fmla="*/ 20 h 174"/>
                <a:gd name="T56" fmla="*/ 209 w 316"/>
                <a:gd name="T57" fmla="*/ 12 h 174"/>
                <a:gd name="T58" fmla="*/ 204 w 316"/>
                <a:gd name="T59" fmla="*/ 9 h 174"/>
                <a:gd name="T60" fmla="*/ 204 w 316"/>
                <a:gd name="T61" fmla="*/ 1 h 174"/>
                <a:gd name="T62" fmla="*/ 198 w 316"/>
                <a:gd name="T63" fmla="*/ 0 h 174"/>
                <a:gd name="T64" fmla="*/ 194 w 316"/>
                <a:gd name="T65" fmla="*/ 1 h 174"/>
                <a:gd name="T66" fmla="*/ 183 w 316"/>
                <a:gd name="T67" fmla="*/ 11 h 174"/>
                <a:gd name="T68" fmla="*/ 179 w 316"/>
                <a:gd name="T69" fmla="*/ 14 h 174"/>
                <a:gd name="T70" fmla="*/ 165 w 316"/>
                <a:gd name="T71" fmla="*/ 32 h 174"/>
                <a:gd name="T72" fmla="*/ 4 w 316"/>
                <a:gd name="T73" fmla="*/ 68 h 174"/>
                <a:gd name="T74" fmla="*/ 1 w 316"/>
                <a:gd name="T75" fmla="*/ 79 h 174"/>
                <a:gd name="T76" fmla="*/ 1 w 316"/>
                <a:gd name="T77" fmla="*/ 152 h 174"/>
                <a:gd name="T78" fmla="*/ 6 w 316"/>
                <a:gd name="T79" fmla="*/ 158 h 174"/>
                <a:gd name="T80" fmla="*/ 100 w 316"/>
                <a:gd name="T81" fmla="*/ 137 h 174"/>
                <a:gd name="T82" fmla="*/ 176 w 316"/>
                <a:gd name="T83" fmla="*/ 121 h 174"/>
                <a:gd name="T84" fmla="*/ 182 w 316"/>
                <a:gd name="T85" fmla="*/ 122 h 174"/>
                <a:gd name="T86" fmla="*/ 185 w 316"/>
                <a:gd name="T87" fmla="*/ 129 h 174"/>
                <a:gd name="T88" fmla="*/ 189 w 316"/>
                <a:gd name="T89" fmla="*/ 131 h 174"/>
                <a:gd name="T90" fmla="*/ 189 w 316"/>
                <a:gd name="T91" fmla="*/ 137 h 174"/>
                <a:gd name="T92" fmla="*/ 204 w 316"/>
                <a:gd name="T93" fmla="*/ 147 h 174"/>
                <a:gd name="T94" fmla="*/ 206 w 316"/>
                <a:gd name="T95" fmla="*/ 146 h 174"/>
                <a:gd name="T96" fmla="*/ 209 w 316"/>
                <a:gd name="T97" fmla="*/ 164 h 174"/>
                <a:gd name="T98" fmla="*/ 216 w 316"/>
                <a:gd name="T99" fmla="*/ 174 h 174"/>
                <a:gd name="T100" fmla="*/ 225 w 316"/>
                <a:gd name="T101" fmla="*/ 160 h 174"/>
                <a:gd name="T102" fmla="*/ 233 w 316"/>
                <a:gd name="T103" fmla="*/ 161 h 174"/>
                <a:gd name="T104" fmla="*/ 238 w 316"/>
                <a:gd name="T105" fmla="*/ 148 h 174"/>
                <a:gd name="T106" fmla="*/ 245 w 316"/>
                <a:gd name="T107" fmla="*/ 142 h 174"/>
                <a:gd name="T108" fmla="*/ 248 w 316"/>
                <a:gd name="T109" fmla="*/ 135 h 174"/>
                <a:gd name="T110" fmla="*/ 252 w 316"/>
                <a:gd name="T111" fmla="*/ 132 h 174"/>
                <a:gd name="T112" fmla="*/ 251 w 316"/>
                <a:gd name="T113" fmla="*/ 139 h 174"/>
                <a:gd name="T114" fmla="*/ 265 w 316"/>
                <a:gd name="T115" fmla="*/ 151 h 174"/>
                <a:gd name="T116" fmla="*/ 275 w 316"/>
                <a:gd name="T117" fmla="*/ 144 h 174"/>
                <a:gd name="T118" fmla="*/ 276 w 316"/>
                <a:gd name="T119" fmla="*/ 137 h 174"/>
                <a:gd name="T120" fmla="*/ 295 w 316"/>
                <a:gd name="T121" fmla="*/ 130 h 174"/>
                <a:gd name="T122" fmla="*/ 304 w 316"/>
                <a:gd name="T123" fmla="*/ 125 h 174"/>
                <a:gd name="T124" fmla="*/ 315 w 316"/>
                <a:gd name="T125" fmla="*/ 11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 h="174">
                  <a:moveTo>
                    <a:pt x="311" y="98"/>
                  </a:moveTo>
                  <a:cubicBezTo>
                    <a:pt x="309" y="94"/>
                    <a:pt x="304" y="87"/>
                    <a:pt x="300" y="83"/>
                  </a:cubicBezTo>
                  <a:cubicBezTo>
                    <a:pt x="298" y="82"/>
                    <a:pt x="294" y="78"/>
                    <a:pt x="292" y="77"/>
                  </a:cubicBezTo>
                  <a:cubicBezTo>
                    <a:pt x="290" y="76"/>
                    <a:pt x="286" y="75"/>
                    <a:pt x="283" y="75"/>
                  </a:cubicBezTo>
                  <a:cubicBezTo>
                    <a:pt x="282" y="75"/>
                    <a:pt x="281" y="75"/>
                    <a:pt x="280" y="75"/>
                  </a:cubicBezTo>
                  <a:cubicBezTo>
                    <a:pt x="278" y="75"/>
                    <a:pt x="273" y="75"/>
                    <a:pt x="273" y="79"/>
                  </a:cubicBezTo>
                  <a:cubicBezTo>
                    <a:pt x="273" y="82"/>
                    <a:pt x="275" y="84"/>
                    <a:pt x="277" y="85"/>
                  </a:cubicBezTo>
                  <a:cubicBezTo>
                    <a:pt x="280" y="86"/>
                    <a:pt x="283" y="88"/>
                    <a:pt x="284" y="90"/>
                  </a:cubicBezTo>
                  <a:cubicBezTo>
                    <a:pt x="284" y="90"/>
                    <a:pt x="285" y="91"/>
                    <a:pt x="285" y="92"/>
                  </a:cubicBezTo>
                  <a:cubicBezTo>
                    <a:pt x="285" y="95"/>
                    <a:pt x="286" y="97"/>
                    <a:pt x="288" y="98"/>
                  </a:cubicBezTo>
                  <a:cubicBezTo>
                    <a:pt x="289" y="99"/>
                    <a:pt x="291" y="99"/>
                    <a:pt x="293" y="98"/>
                  </a:cubicBezTo>
                  <a:cubicBezTo>
                    <a:pt x="293" y="98"/>
                    <a:pt x="294" y="98"/>
                    <a:pt x="294" y="98"/>
                  </a:cubicBezTo>
                  <a:cubicBezTo>
                    <a:pt x="295" y="99"/>
                    <a:pt x="296" y="103"/>
                    <a:pt x="297" y="107"/>
                  </a:cubicBezTo>
                  <a:cubicBezTo>
                    <a:pt x="296" y="110"/>
                    <a:pt x="296" y="110"/>
                    <a:pt x="296" y="110"/>
                  </a:cubicBezTo>
                  <a:cubicBezTo>
                    <a:pt x="291" y="115"/>
                    <a:pt x="285" y="121"/>
                    <a:pt x="282" y="121"/>
                  </a:cubicBezTo>
                  <a:cubicBezTo>
                    <a:pt x="282" y="121"/>
                    <a:pt x="280" y="120"/>
                    <a:pt x="279" y="120"/>
                  </a:cubicBezTo>
                  <a:cubicBezTo>
                    <a:pt x="278" y="119"/>
                    <a:pt x="277" y="119"/>
                    <a:pt x="276" y="119"/>
                  </a:cubicBezTo>
                  <a:cubicBezTo>
                    <a:pt x="276" y="119"/>
                    <a:pt x="275" y="119"/>
                    <a:pt x="275" y="119"/>
                  </a:cubicBezTo>
                  <a:cubicBezTo>
                    <a:pt x="274" y="119"/>
                    <a:pt x="273" y="119"/>
                    <a:pt x="271" y="119"/>
                  </a:cubicBezTo>
                  <a:cubicBezTo>
                    <a:pt x="270" y="119"/>
                    <a:pt x="269" y="119"/>
                    <a:pt x="268" y="119"/>
                  </a:cubicBezTo>
                  <a:cubicBezTo>
                    <a:pt x="267" y="119"/>
                    <a:pt x="266" y="118"/>
                    <a:pt x="265" y="118"/>
                  </a:cubicBezTo>
                  <a:cubicBezTo>
                    <a:pt x="264" y="117"/>
                    <a:pt x="264" y="114"/>
                    <a:pt x="263" y="112"/>
                  </a:cubicBezTo>
                  <a:cubicBezTo>
                    <a:pt x="261" y="108"/>
                    <a:pt x="260" y="104"/>
                    <a:pt x="257" y="103"/>
                  </a:cubicBezTo>
                  <a:cubicBezTo>
                    <a:pt x="256" y="101"/>
                    <a:pt x="254" y="101"/>
                    <a:pt x="252" y="101"/>
                  </a:cubicBezTo>
                  <a:cubicBezTo>
                    <a:pt x="251" y="101"/>
                    <a:pt x="250" y="101"/>
                    <a:pt x="249" y="101"/>
                  </a:cubicBezTo>
                  <a:cubicBezTo>
                    <a:pt x="249" y="101"/>
                    <a:pt x="249" y="101"/>
                    <a:pt x="249" y="101"/>
                  </a:cubicBezTo>
                  <a:cubicBezTo>
                    <a:pt x="248" y="100"/>
                    <a:pt x="244" y="99"/>
                    <a:pt x="244" y="98"/>
                  </a:cubicBezTo>
                  <a:cubicBezTo>
                    <a:pt x="243" y="98"/>
                    <a:pt x="243" y="97"/>
                    <a:pt x="243" y="96"/>
                  </a:cubicBezTo>
                  <a:cubicBezTo>
                    <a:pt x="243" y="96"/>
                    <a:pt x="243" y="96"/>
                    <a:pt x="244" y="96"/>
                  </a:cubicBezTo>
                  <a:cubicBezTo>
                    <a:pt x="245" y="98"/>
                    <a:pt x="246" y="99"/>
                    <a:pt x="248" y="99"/>
                  </a:cubicBezTo>
                  <a:cubicBezTo>
                    <a:pt x="249" y="99"/>
                    <a:pt x="250" y="98"/>
                    <a:pt x="251" y="97"/>
                  </a:cubicBezTo>
                  <a:cubicBezTo>
                    <a:pt x="253" y="94"/>
                    <a:pt x="249" y="91"/>
                    <a:pt x="246" y="88"/>
                  </a:cubicBezTo>
                  <a:cubicBezTo>
                    <a:pt x="245" y="88"/>
                    <a:pt x="244" y="87"/>
                    <a:pt x="244" y="86"/>
                  </a:cubicBezTo>
                  <a:cubicBezTo>
                    <a:pt x="240" y="81"/>
                    <a:pt x="233" y="74"/>
                    <a:pt x="229" y="72"/>
                  </a:cubicBezTo>
                  <a:cubicBezTo>
                    <a:pt x="227" y="71"/>
                    <a:pt x="222" y="70"/>
                    <a:pt x="219" y="70"/>
                  </a:cubicBezTo>
                  <a:cubicBezTo>
                    <a:pt x="218" y="71"/>
                    <a:pt x="216" y="72"/>
                    <a:pt x="215" y="73"/>
                  </a:cubicBezTo>
                  <a:cubicBezTo>
                    <a:pt x="214" y="74"/>
                    <a:pt x="212" y="75"/>
                    <a:pt x="212" y="75"/>
                  </a:cubicBezTo>
                  <a:cubicBezTo>
                    <a:pt x="211" y="75"/>
                    <a:pt x="208" y="73"/>
                    <a:pt x="206" y="71"/>
                  </a:cubicBezTo>
                  <a:cubicBezTo>
                    <a:pt x="205" y="70"/>
                    <a:pt x="204" y="69"/>
                    <a:pt x="204" y="68"/>
                  </a:cubicBezTo>
                  <a:cubicBezTo>
                    <a:pt x="204" y="68"/>
                    <a:pt x="205" y="69"/>
                    <a:pt x="206" y="69"/>
                  </a:cubicBezTo>
                  <a:cubicBezTo>
                    <a:pt x="208" y="69"/>
                    <a:pt x="209" y="68"/>
                    <a:pt x="210" y="67"/>
                  </a:cubicBezTo>
                  <a:cubicBezTo>
                    <a:pt x="211" y="65"/>
                    <a:pt x="209" y="62"/>
                    <a:pt x="208" y="60"/>
                  </a:cubicBezTo>
                  <a:cubicBezTo>
                    <a:pt x="207" y="60"/>
                    <a:pt x="207" y="59"/>
                    <a:pt x="206" y="59"/>
                  </a:cubicBezTo>
                  <a:cubicBezTo>
                    <a:pt x="207" y="58"/>
                    <a:pt x="208" y="57"/>
                    <a:pt x="209" y="56"/>
                  </a:cubicBezTo>
                  <a:cubicBezTo>
                    <a:pt x="211" y="55"/>
                    <a:pt x="213" y="53"/>
                    <a:pt x="213" y="51"/>
                  </a:cubicBezTo>
                  <a:cubicBezTo>
                    <a:pt x="213" y="49"/>
                    <a:pt x="212" y="48"/>
                    <a:pt x="212" y="48"/>
                  </a:cubicBezTo>
                  <a:cubicBezTo>
                    <a:pt x="212" y="47"/>
                    <a:pt x="212" y="47"/>
                    <a:pt x="211" y="47"/>
                  </a:cubicBezTo>
                  <a:cubicBezTo>
                    <a:pt x="212" y="46"/>
                    <a:pt x="213" y="44"/>
                    <a:pt x="215" y="42"/>
                  </a:cubicBezTo>
                  <a:cubicBezTo>
                    <a:pt x="216" y="41"/>
                    <a:pt x="218" y="39"/>
                    <a:pt x="221" y="38"/>
                  </a:cubicBezTo>
                  <a:cubicBezTo>
                    <a:pt x="224" y="36"/>
                    <a:pt x="228" y="34"/>
                    <a:pt x="229" y="32"/>
                  </a:cubicBezTo>
                  <a:cubicBezTo>
                    <a:pt x="230" y="30"/>
                    <a:pt x="233" y="24"/>
                    <a:pt x="230" y="21"/>
                  </a:cubicBezTo>
                  <a:cubicBezTo>
                    <a:pt x="229" y="20"/>
                    <a:pt x="228" y="19"/>
                    <a:pt x="226" y="19"/>
                  </a:cubicBezTo>
                  <a:cubicBezTo>
                    <a:pt x="224" y="19"/>
                    <a:pt x="220" y="20"/>
                    <a:pt x="219" y="23"/>
                  </a:cubicBezTo>
                  <a:cubicBezTo>
                    <a:pt x="219" y="24"/>
                    <a:pt x="219" y="24"/>
                    <a:pt x="219" y="24"/>
                  </a:cubicBezTo>
                  <a:cubicBezTo>
                    <a:pt x="218" y="24"/>
                    <a:pt x="216" y="24"/>
                    <a:pt x="216" y="24"/>
                  </a:cubicBezTo>
                  <a:cubicBezTo>
                    <a:pt x="215" y="24"/>
                    <a:pt x="211" y="21"/>
                    <a:pt x="210" y="20"/>
                  </a:cubicBezTo>
                  <a:cubicBezTo>
                    <a:pt x="210" y="19"/>
                    <a:pt x="210" y="18"/>
                    <a:pt x="210" y="17"/>
                  </a:cubicBezTo>
                  <a:cubicBezTo>
                    <a:pt x="210" y="15"/>
                    <a:pt x="210" y="14"/>
                    <a:pt x="209" y="12"/>
                  </a:cubicBezTo>
                  <a:cubicBezTo>
                    <a:pt x="208" y="11"/>
                    <a:pt x="207" y="10"/>
                    <a:pt x="205" y="10"/>
                  </a:cubicBezTo>
                  <a:cubicBezTo>
                    <a:pt x="205" y="10"/>
                    <a:pt x="204" y="9"/>
                    <a:pt x="204" y="9"/>
                  </a:cubicBezTo>
                  <a:cubicBezTo>
                    <a:pt x="204" y="9"/>
                    <a:pt x="204" y="8"/>
                    <a:pt x="204" y="8"/>
                  </a:cubicBezTo>
                  <a:cubicBezTo>
                    <a:pt x="205" y="6"/>
                    <a:pt x="206" y="3"/>
                    <a:pt x="204" y="1"/>
                  </a:cubicBezTo>
                  <a:cubicBezTo>
                    <a:pt x="203" y="0"/>
                    <a:pt x="202" y="0"/>
                    <a:pt x="201" y="0"/>
                  </a:cubicBezTo>
                  <a:cubicBezTo>
                    <a:pt x="200" y="0"/>
                    <a:pt x="199" y="0"/>
                    <a:pt x="198" y="0"/>
                  </a:cubicBezTo>
                  <a:cubicBezTo>
                    <a:pt x="195" y="1"/>
                    <a:pt x="195" y="1"/>
                    <a:pt x="195" y="1"/>
                  </a:cubicBezTo>
                  <a:cubicBezTo>
                    <a:pt x="195" y="1"/>
                    <a:pt x="194" y="1"/>
                    <a:pt x="194" y="1"/>
                  </a:cubicBezTo>
                  <a:cubicBezTo>
                    <a:pt x="193" y="2"/>
                    <a:pt x="187" y="5"/>
                    <a:pt x="185" y="7"/>
                  </a:cubicBezTo>
                  <a:cubicBezTo>
                    <a:pt x="185" y="8"/>
                    <a:pt x="184" y="9"/>
                    <a:pt x="183" y="11"/>
                  </a:cubicBezTo>
                  <a:cubicBezTo>
                    <a:pt x="183" y="12"/>
                    <a:pt x="182" y="13"/>
                    <a:pt x="182" y="14"/>
                  </a:cubicBezTo>
                  <a:cubicBezTo>
                    <a:pt x="181" y="13"/>
                    <a:pt x="180" y="13"/>
                    <a:pt x="179" y="14"/>
                  </a:cubicBezTo>
                  <a:cubicBezTo>
                    <a:pt x="177" y="15"/>
                    <a:pt x="175" y="19"/>
                    <a:pt x="174" y="23"/>
                  </a:cubicBezTo>
                  <a:cubicBezTo>
                    <a:pt x="165" y="32"/>
                    <a:pt x="165" y="32"/>
                    <a:pt x="165" y="32"/>
                  </a:cubicBezTo>
                  <a:cubicBezTo>
                    <a:pt x="70" y="55"/>
                    <a:pt x="70" y="55"/>
                    <a:pt x="70" y="55"/>
                  </a:cubicBezTo>
                  <a:cubicBezTo>
                    <a:pt x="4" y="68"/>
                    <a:pt x="4" y="68"/>
                    <a:pt x="4" y="68"/>
                  </a:cubicBezTo>
                  <a:cubicBezTo>
                    <a:pt x="3" y="68"/>
                    <a:pt x="3" y="69"/>
                    <a:pt x="2" y="70"/>
                  </a:cubicBezTo>
                  <a:cubicBezTo>
                    <a:pt x="1" y="79"/>
                    <a:pt x="1" y="79"/>
                    <a:pt x="1" y="79"/>
                  </a:cubicBezTo>
                  <a:cubicBezTo>
                    <a:pt x="0" y="151"/>
                    <a:pt x="0" y="151"/>
                    <a:pt x="0" y="151"/>
                  </a:cubicBezTo>
                  <a:cubicBezTo>
                    <a:pt x="0" y="151"/>
                    <a:pt x="0" y="152"/>
                    <a:pt x="1" y="152"/>
                  </a:cubicBezTo>
                  <a:cubicBezTo>
                    <a:pt x="4" y="156"/>
                    <a:pt x="4" y="156"/>
                    <a:pt x="4" y="156"/>
                  </a:cubicBezTo>
                  <a:cubicBezTo>
                    <a:pt x="4" y="157"/>
                    <a:pt x="5" y="158"/>
                    <a:pt x="6" y="158"/>
                  </a:cubicBezTo>
                  <a:cubicBezTo>
                    <a:pt x="56" y="147"/>
                    <a:pt x="56" y="147"/>
                    <a:pt x="56" y="147"/>
                  </a:cubicBezTo>
                  <a:cubicBezTo>
                    <a:pt x="71" y="145"/>
                    <a:pt x="86" y="141"/>
                    <a:pt x="100" y="137"/>
                  </a:cubicBezTo>
                  <a:cubicBezTo>
                    <a:pt x="115" y="132"/>
                    <a:pt x="131" y="128"/>
                    <a:pt x="148" y="126"/>
                  </a:cubicBezTo>
                  <a:cubicBezTo>
                    <a:pt x="149" y="126"/>
                    <a:pt x="169" y="120"/>
                    <a:pt x="176" y="121"/>
                  </a:cubicBezTo>
                  <a:cubicBezTo>
                    <a:pt x="177" y="121"/>
                    <a:pt x="177" y="121"/>
                    <a:pt x="178" y="121"/>
                  </a:cubicBezTo>
                  <a:cubicBezTo>
                    <a:pt x="179" y="121"/>
                    <a:pt x="181" y="121"/>
                    <a:pt x="182" y="122"/>
                  </a:cubicBezTo>
                  <a:cubicBezTo>
                    <a:pt x="182" y="122"/>
                    <a:pt x="182" y="124"/>
                    <a:pt x="183" y="125"/>
                  </a:cubicBezTo>
                  <a:cubicBezTo>
                    <a:pt x="183" y="126"/>
                    <a:pt x="184" y="128"/>
                    <a:pt x="185" y="129"/>
                  </a:cubicBezTo>
                  <a:cubicBezTo>
                    <a:pt x="186" y="130"/>
                    <a:pt x="187" y="131"/>
                    <a:pt x="188" y="131"/>
                  </a:cubicBezTo>
                  <a:cubicBezTo>
                    <a:pt x="188" y="131"/>
                    <a:pt x="189" y="131"/>
                    <a:pt x="189" y="131"/>
                  </a:cubicBezTo>
                  <a:cubicBezTo>
                    <a:pt x="189" y="132"/>
                    <a:pt x="189" y="132"/>
                    <a:pt x="189" y="133"/>
                  </a:cubicBezTo>
                  <a:cubicBezTo>
                    <a:pt x="189" y="134"/>
                    <a:pt x="189" y="136"/>
                    <a:pt x="189" y="137"/>
                  </a:cubicBezTo>
                  <a:cubicBezTo>
                    <a:pt x="190" y="139"/>
                    <a:pt x="195" y="142"/>
                    <a:pt x="196" y="143"/>
                  </a:cubicBezTo>
                  <a:cubicBezTo>
                    <a:pt x="197" y="145"/>
                    <a:pt x="201" y="147"/>
                    <a:pt x="204" y="147"/>
                  </a:cubicBezTo>
                  <a:cubicBezTo>
                    <a:pt x="204" y="147"/>
                    <a:pt x="204" y="147"/>
                    <a:pt x="204" y="147"/>
                  </a:cubicBezTo>
                  <a:cubicBezTo>
                    <a:pt x="205" y="147"/>
                    <a:pt x="205" y="147"/>
                    <a:pt x="206" y="146"/>
                  </a:cubicBezTo>
                  <a:cubicBezTo>
                    <a:pt x="206" y="146"/>
                    <a:pt x="206" y="147"/>
                    <a:pt x="206" y="148"/>
                  </a:cubicBezTo>
                  <a:cubicBezTo>
                    <a:pt x="205" y="152"/>
                    <a:pt x="209" y="163"/>
                    <a:pt x="209" y="164"/>
                  </a:cubicBezTo>
                  <a:cubicBezTo>
                    <a:pt x="211" y="171"/>
                    <a:pt x="213" y="174"/>
                    <a:pt x="215" y="174"/>
                  </a:cubicBezTo>
                  <a:cubicBezTo>
                    <a:pt x="215" y="174"/>
                    <a:pt x="215" y="174"/>
                    <a:pt x="216" y="174"/>
                  </a:cubicBezTo>
                  <a:cubicBezTo>
                    <a:pt x="216" y="174"/>
                    <a:pt x="219" y="174"/>
                    <a:pt x="221" y="167"/>
                  </a:cubicBezTo>
                  <a:cubicBezTo>
                    <a:pt x="223" y="164"/>
                    <a:pt x="224" y="161"/>
                    <a:pt x="225" y="160"/>
                  </a:cubicBezTo>
                  <a:cubicBezTo>
                    <a:pt x="225" y="160"/>
                    <a:pt x="226" y="161"/>
                    <a:pt x="227" y="161"/>
                  </a:cubicBezTo>
                  <a:cubicBezTo>
                    <a:pt x="229" y="161"/>
                    <a:pt x="231" y="162"/>
                    <a:pt x="233" y="161"/>
                  </a:cubicBezTo>
                  <a:cubicBezTo>
                    <a:pt x="235" y="159"/>
                    <a:pt x="236" y="156"/>
                    <a:pt x="236" y="152"/>
                  </a:cubicBezTo>
                  <a:cubicBezTo>
                    <a:pt x="237" y="151"/>
                    <a:pt x="237" y="149"/>
                    <a:pt x="238" y="148"/>
                  </a:cubicBezTo>
                  <a:cubicBezTo>
                    <a:pt x="238" y="147"/>
                    <a:pt x="240" y="146"/>
                    <a:pt x="241" y="146"/>
                  </a:cubicBezTo>
                  <a:cubicBezTo>
                    <a:pt x="242" y="144"/>
                    <a:pt x="244" y="143"/>
                    <a:pt x="245" y="142"/>
                  </a:cubicBezTo>
                  <a:cubicBezTo>
                    <a:pt x="246" y="141"/>
                    <a:pt x="246" y="140"/>
                    <a:pt x="247" y="138"/>
                  </a:cubicBezTo>
                  <a:cubicBezTo>
                    <a:pt x="247" y="137"/>
                    <a:pt x="248" y="136"/>
                    <a:pt x="248" y="135"/>
                  </a:cubicBezTo>
                  <a:cubicBezTo>
                    <a:pt x="250" y="133"/>
                    <a:pt x="251" y="132"/>
                    <a:pt x="252" y="132"/>
                  </a:cubicBezTo>
                  <a:cubicBezTo>
                    <a:pt x="252" y="132"/>
                    <a:pt x="252" y="132"/>
                    <a:pt x="252" y="132"/>
                  </a:cubicBezTo>
                  <a:cubicBezTo>
                    <a:pt x="251" y="134"/>
                    <a:pt x="251" y="135"/>
                    <a:pt x="251" y="136"/>
                  </a:cubicBezTo>
                  <a:cubicBezTo>
                    <a:pt x="251" y="137"/>
                    <a:pt x="251" y="138"/>
                    <a:pt x="251" y="139"/>
                  </a:cubicBezTo>
                  <a:cubicBezTo>
                    <a:pt x="252" y="144"/>
                    <a:pt x="252" y="151"/>
                    <a:pt x="256" y="153"/>
                  </a:cubicBezTo>
                  <a:cubicBezTo>
                    <a:pt x="258" y="154"/>
                    <a:pt x="262" y="153"/>
                    <a:pt x="265" y="151"/>
                  </a:cubicBezTo>
                  <a:cubicBezTo>
                    <a:pt x="266" y="150"/>
                    <a:pt x="266" y="150"/>
                    <a:pt x="266" y="150"/>
                  </a:cubicBezTo>
                  <a:cubicBezTo>
                    <a:pt x="269" y="149"/>
                    <a:pt x="273" y="146"/>
                    <a:pt x="275" y="144"/>
                  </a:cubicBezTo>
                  <a:cubicBezTo>
                    <a:pt x="275" y="143"/>
                    <a:pt x="276" y="141"/>
                    <a:pt x="276" y="139"/>
                  </a:cubicBezTo>
                  <a:cubicBezTo>
                    <a:pt x="276" y="139"/>
                    <a:pt x="276" y="138"/>
                    <a:pt x="276" y="137"/>
                  </a:cubicBezTo>
                  <a:cubicBezTo>
                    <a:pt x="277" y="137"/>
                    <a:pt x="279" y="137"/>
                    <a:pt x="281" y="137"/>
                  </a:cubicBezTo>
                  <a:cubicBezTo>
                    <a:pt x="286" y="137"/>
                    <a:pt x="291" y="133"/>
                    <a:pt x="295" y="130"/>
                  </a:cubicBezTo>
                  <a:cubicBezTo>
                    <a:pt x="297" y="128"/>
                    <a:pt x="299" y="127"/>
                    <a:pt x="301" y="126"/>
                  </a:cubicBezTo>
                  <a:cubicBezTo>
                    <a:pt x="302" y="126"/>
                    <a:pt x="303" y="126"/>
                    <a:pt x="304" y="125"/>
                  </a:cubicBezTo>
                  <a:cubicBezTo>
                    <a:pt x="306" y="125"/>
                    <a:pt x="309" y="124"/>
                    <a:pt x="310" y="123"/>
                  </a:cubicBezTo>
                  <a:cubicBezTo>
                    <a:pt x="312" y="121"/>
                    <a:pt x="315" y="116"/>
                    <a:pt x="315" y="114"/>
                  </a:cubicBezTo>
                  <a:cubicBezTo>
                    <a:pt x="316" y="110"/>
                    <a:pt x="314" y="105"/>
                    <a:pt x="311" y="98"/>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1">
              <a:extLst>
                <a:ext uri="{FF2B5EF4-FFF2-40B4-BE49-F238E27FC236}">
                  <a16:creationId xmlns:a16="http://schemas.microsoft.com/office/drawing/2014/main" id="{7A1EE9B2-BE22-43A4-A59C-739EE1C8BB30}"/>
                </a:ext>
              </a:extLst>
            </p:cNvPr>
            <p:cNvSpPr>
              <a:spLocks/>
            </p:cNvSpPr>
            <p:nvPr/>
          </p:nvSpPr>
          <p:spPr bwMode="auto">
            <a:xfrm>
              <a:off x="8374985" y="2769091"/>
              <a:ext cx="60644" cy="103094"/>
            </a:xfrm>
            <a:custGeom>
              <a:avLst/>
              <a:gdLst>
                <a:gd name="T0" fmla="*/ 49 w 55"/>
                <a:gd name="T1" fmla="*/ 34 h 93"/>
                <a:gd name="T2" fmla="*/ 53 w 55"/>
                <a:gd name="T3" fmla="*/ 32 h 93"/>
                <a:gd name="T4" fmla="*/ 55 w 55"/>
                <a:gd name="T5" fmla="*/ 28 h 93"/>
                <a:gd name="T6" fmla="*/ 51 w 55"/>
                <a:gd name="T7" fmla="*/ 23 h 93"/>
                <a:gd name="T8" fmla="*/ 49 w 55"/>
                <a:gd name="T9" fmla="*/ 22 h 93"/>
                <a:gd name="T10" fmla="*/ 49 w 55"/>
                <a:gd name="T11" fmla="*/ 20 h 93"/>
                <a:gd name="T12" fmla="*/ 48 w 55"/>
                <a:gd name="T13" fmla="*/ 15 h 93"/>
                <a:gd name="T14" fmla="*/ 45 w 55"/>
                <a:gd name="T15" fmla="*/ 13 h 93"/>
                <a:gd name="T16" fmla="*/ 43 w 55"/>
                <a:gd name="T17" fmla="*/ 13 h 93"/>
                <a:gd name="T18" fmla="*/ 43 w 55"/>
                <a:gd name="T19" fmla="*/ 10 h 93"/>
                <a:gd name="T20" fmla="*/ 41 w 55"/>
                <a:gd name="T21" fmla="*/ 6 h 93"/>
                <a:gd name="T22" fmla="*/ 33 w 55"/>
                <a:gd name="T23" fmla="*/ 0 h 93"/>
                <a:gd name="T24" fmla="*/ 31 w 55"/>
                <a:gd name="T25" fmla="*/ 0 h 93"/>
                <a:gd name="T26" fmla="*/ 5 w 55"/>
                <a:gd name="T27" fmla="*/ 8 h 93"/>
                <a:gd name="T28" fmla="*/ 5 w 55"/>
                <a:gd name="T29" fmla="*/ 8 h 93"/>
                <a:gd name="T30" fmla="*/ 1 w 55"/>
                <a:gd name="T31" fmla="*/ 10 h 93"/>
                <a:gd name="T32" fmla="*/ 1 w 55"/>
                <a:gd name="T33" fmla="*/ 15 h 93"/>
                <a:gd name="T34" fmla="*/ 17 w 55"/>
                <a:gd name="T35" fmla="*/ 71 h 93"/>
                <a:gd name="T36" fmla="*/ 18 w 55"/>
                <a:gd name="T37" fmla="*/ 78 h 93"/>
                <a:gd name="T38" fmla="*/ 17 w 55"/>
                <a:gd name="T39" fmla="*/ 80 h 93"/>
                <a:gd name="T40" fmla="*/ 16 w 55"/>
                <a:gd name="T41" fmla="*/ 84 h 93"/>
                <a:gd name="T42" fmla="*/ 17 w 55"/>
                <a:gd name="T43" fmla="*/ 87 h 93"/>
                <a:gd name="T44" fmla="*/ 18 w 55"/>
                <a:gd name="T45" fmla="*/ 91 h 93"/>
                <a:gd name="T46" fmla="*/ 19 w 55"/>
                <a:gd name="T47" fmla="*/ 93 h 93"/>
                <a:gd name="T48" fmla="*/ 20 w 55"/>
                <a:gd name="T49" fmla="*/ 93 h 93"/>
                <a:gd name="T50" fmla="*/ 21 w 55"/>
                <a:gd name="T51" fmla="*/ 93 h 93"/>
                <a:gd name="T52" fmla="*/ 28 w 55"/>
                <a:gd name="T53" fmla="*/ 89 h 93"/>
                <a:gd name="T54" fmla="*/ 51 w 55"/>
                <a:gd name="T55" fmla="*/ 74 h 93"/>
                <a:gd name="T56" fmla="*/ 53 w 55"/>
                <a:gd name="T57" fmla="*/ 64 h 93"/>
                <a:gd name="T58" fmla="*/ 51 w 55"/>
                <a:gd name="T59" fmla="*/ 58 h 93"/>
                <a:gd name="T60" fmla="*/ 50 w 55"/>
                <a:gd name="T61" fmla="*/ 54 h 93"/>
                <a:gd name="T62" fmla="*/ 50 w 55"/>
                <a:gd name="T63" fmla="*/ 51 h 93"/>
                <a:gd name="T64" fmla="*/ 49 w 55"/>
                <a:gd name="T65" fmla="*/ 46 h 93"/>
                <a:gd name="T66" fmla="*/ 42 w 55"/>
                <a:gd name="T67" fmla="*/ 42 h 93"/>
                <a:gd name="T68" fmla="*/ 39 w 55"/>
                <a:gd name="T69" fmla="*/ 41 h 93"/>
                <a:gd name="T70" fmla="*/ 40 w 55"/>
                <a:gd name="T71" fmla="*/ 39 h 93"/>
                <a:gd name="T72" fmla="*/ 42 w 55"/>
                <a:gd name="T73" fmla="*/ 35 h 93"/>
                <a:gd name="T74" fmla="*/ 40 w 55"/>
                <a:gd name="T75" fmla="*/ 31 h 93"/>
                <a:gd name="T76" fmla="*/ 43 w 55"/>
                <a:gd name="T77" fmla="*/ 32 h 93"/>
                <a:gd name="T78" fmla="*/ 49 w 55"/>
                <a:gd name="T79" fmla="*/ 3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5" h="93">
                  <a:moveTo>
                    <a:pt x="49" y="34"/>
                  </a:moveTo>
                  <a:cubicBezTo>
                    <a:pt x="51" y="34"/>
                    <a:pt x="53" y="33"/>
                    <a:pt x="53" y="32"/>
                  </a:cubicBezTo>
                  <a:cubicBezTo>
                    <a:pt x="54" y="31"/>
                    <a:pt x="55" y="30"/>
                    <a:pt x="55" y="28"/>
                  </a:cubicBezTo>
                  <a:cubicBezTo>
                    <a:pt x="55" y="26"/>
                    <a:pt x="53" y="24"/>
                    <a:pt x="51" y="23"/>
                  </a:cubicBezTo>
                  <a:cubicBezTo>
                    <a:pt x="50" y="23"/>
                    <a:pt x="49" y="22"/>
                    <a:pt x="49" y="22"/>
                  </a:cubicBezTo>
                  <a:cubicBezTo>
                    <a:pt x="49" y="21"/>
                    <a:pt x="49" y="20"/>
                    <a:pt x="49" y="20"/>
                  </a:cubicBezTo>
                  <a:cubicBezTo>
                    <a:pt x="49" y="18"/>
                    <a:pt x="49" y="17"/>
                    <a:pt x="48" y="15"/>
                  </a:cubicBezTo>
                  <a:cubicBezTo>
                    <a:pt x="47" y="14"/>
                    <a:pt x="46" y="14"/>
                    <a:pt x="45" y="13"/>
                  </a:cubicBezTo>
                  <a:cubicBezTo>
                    <a:pt x="44" y="13"/>
                    <a:pt x="44" y="13"/>
                    <a:pt x="43" y="13"/>
                  </a:cubicBezTo>
                  <a:cubicBezTo>
                    <a:pt x="43" y="13"/>
                    <a:pt x="43" y="11"/>
                    <a:pt x="43" y="10"/>
                  </a:cubicBezTo>
                  <a:cubicBezTo>
                    <a:pt x="42" y="9"/>
                    <a:pt x="42" y="7"/>
                    <a:pt x="41" y="6"/>
                  </a:cubicBezTo>
                  <a:cubicBezTo>
                    <a:pt x="39" y="4"/>
                    <a:pt x="34" y="1"/>
                    <a:pt x="33" y="0"/>
                  </a:cubicBezTo>
                  <a:cubicBezTo>
                    <a:pt x="32" y="0"/>
                    <a:pt x="31" y="0"/>
                    <a:pt x="31" y="0"/>
                  </a:cubicBezTo>
                  <a:cubicBezTo>
                    <a:pt x="5" y="8"/>
                    <a:pt x="5" y="8"/>
                    <a:pt x="5" y="8"/>
                  </a:cubicBezTo>
                  <a:cubicBezTo>
                    <a:pt x="5" y="8"/>
                    <a:pt x="5" y="8"/>
                    <a:pt x="5" y="8"/>
                  </a:cubicBezTo>
                  <a:cubicBezTo>
                    <a:pt x="2" y="8"/>
                    <a:pt x="1" y="9"/>
                    <a:pt x="1" y="10"/>
                  </a:cubicBezTo>
                  <a:cubicBezTo>
                    <a:pt x="0" y="12"/>
                    <a:pt x="1" y="14"/>
                    <a:pt x="1" y="15"/>
                  </a:cubicBezTo>
                  <a:cubicBezTo>
                    <a:pt x="17" y="71"/>
                    <a:pt x="17" y="71"/>
                    <a:pt x="17" y="71"/>
                  </a:cubicBezTo>
                  <a:cubicBezTo>
                    <a:pt x="18" y="74"/>
                    <a:pt x="18" y="77"/>
                    <a:pt x="18" y="78"/>
                  </a:cubicBezTo>
                  <a:cubicBezTo>
                    <a:pt x="18" y="78"/>
                    <a:pt x="18" y="79"/>
                    <a:pt x="17" y="80"/>
                  </a:cubicBezTo>
                  <a:cubicBezTo>
                    <a:pt x="17" y="81"/>
                    <a:pt x="16" y="82"/>
                    <a:pt x="16" y="84"/>
                  </a:cubicBezTo>
                  <a:cubicBezTo>
                    <a:pt x="16" y="85"/>
                    <a:pt x="16" y="86"/>
                    <a:pt x="17" y="87"/>
                  </a:cubicBezTo>
                  <a:cubicBezTo>
                    <a:pt x="18" y="91"/>
                    <a:pt x="18" y="91"/>
                    <a:pt x="18" y="91"/>
                  </a:cubicBezTo>
                  <a:cubicBezTo>
                    <a:pt x="18" y="92"/>
                    <a:pt x="18" y="92"/>
                    <a:pt x="19" y="93"/>
                  </a:cubicBezTo>
                  <a:cubicBezTo>
                    <a:pt x="19" y="93"/>
                    <a:pt x="20" y="93"/>
                    <a:pt x="20" y="93"/>
                  </a:cubicBezTo>
                  <a:cubicBezTo>
                    <a:pt x="20" y="93"/>
                    <a:pt x="21" y="93"/>
                    <a:pt x="21" y="93"/>
                  </a:cubicBezTo>
                  <a:cubicBezTo>
                    <a:pt x="28" y="89"/>
                    <a:pt x="28" y="89"/>
                    <a:pt x="28" y="89"/>
                  </a:cubicBezTo>
                  <a:cubicBezTo>
                    <a:pt x="30" y="88"/>
                    <a:pt x="47" y="80"/>
                    <a:pt x="51" y="74"/>
                  </a:cubicBezTo>
                  <a:cubicBezTo>
                    <a:pt x="53" y="71"/>
                    <a:pt x="53" y="66"/>
                    <a:pt x="53" y="64"/>
                  </a:cubicBezTo>
                  <a:cubicBezTo>
                    <a:pt x="53" y="62"/>
                    <a:pt x="52" y="60"/>
                    <a:pt x="51" y="58"/>
                  </a:cubicBezTo>
                  <a:cubicBezTo>
                    <a:pt x="51" y="56"/>
                    <a:pt x="50" y="55"/>
                    <a:pt x="50" y="54"/>
                  </a:cubicBezTo>
                  <a:cubicBezTo>
                    <a:pt x="50" y="53"/>
                    <a:pt x="50" y="52"/>
                    <a:pt x="50" y="51"/>
                  </a:cubicBezTo>
                  <a:cubicBezTo>
                    <a:pt x="50" y="49"/>
                    <a:pt x="49" y="48"/>
                    <a:pt x="49" y="46"/>
                  </a:cubicBezTo>
                  <a:cubicBezTo>
                    <a:pt x="48" y="44"/>
                    <a:pt x="46" y="43"/>
                    <a:pt x="42" y="42"/>
                  </a:cubicBezTo>
                  <a:cubicBezTo>
                    <a:pt x="41" y="42"/>
                    <a:pt x="40" y="42"/>
                    <a:pt x="39" y="41"/>
                  </a:cubicBezTo>
                  <a:cubicBezTo>
                    <a:pt x="39" y="41"/>
                    <a:pt x="40" y="40"/>
                    <a:pt x="40" y="39"/>
                  </a:cubicBezTo>
                  <a:cubicBezTo>
                    <a:pt x="41" y="38"/>
                    <a:pt x="42" y="37"/>
                    <a:pt x="42" y="35"/>
                  </a:cubicBezTo>
                  <a:cubicBezTo>
                    <a:pt x="42" y="34"/>
                    <a:pt x="41" y="32"/>
                    <a:pt x="40" y="31"/>
                  </a:cubicBezTo>
                  <a:cubicBezTo>
                    <a:pt x="41" y="31"/>
                    <a:pt x="42" y="31"/>
                    <a:pt x="43" y="32"/>
                  </a:cubicBezTo>
                  <a:cubicBezTo>
                    <a:pt x="45" y="33"/>
                    <a:pt x="47" y="34"/>
                    <a:pt x="49" y="34"/>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2">
              <a:extLst>
                <a:ext uri="{FF2B5EF4-FFF2-40B4-BE49-F238E27FC236}">
                  <a16:creationId xmlns:a16="http://schemas.microsoft.com/office/drawing/2014/main" id="{FF38FF2A-79CD-4EF6-8897-806F41B525D7}"/>
                </a:ext>
              </a:extLst>
            </p:cNvPr>
            <p:cNvSpPr>
              <a:spLocks/>
            </p:cNvSpPr>
            <p:nvPr/>
          </p:nvSpPr>
          <p:spPr bwMode="auto">
            <a:xfrm>
              <a:off x="4615083" y="2610407"/>
              <a:ext cx="723680" cy="597339"/>
            </a:xfrm>
            <a:custGeom>
              <a:avLst/>
              <a:gdLst>
                <a:gd name="T0" fmla="*/ 649 w 651"/>
                <a:gd name="T1" fmla="*/ 63 h 537"/>
                <a:gd name="T2" fmla="*/ 538 w 651"/>
                <a:gd name="T3" fmla="*/ 54 h 537"/>
                <a:gd name="T4" fmla="*/ 375 w 651"/>
                <a:gd name="T5" fmla="*/ 38 h 537"/>
                <a:gd name="T6" fmla="*/ 229 w 651"/>
                <a:gd name="T7" fmla="*/ 21 h 537"/>
                <a:gd name="T8" fmla="*/ 78 w 651"/>
                <a:gd name="T9" fmla="*/ 0 h 537"/>
                <a:gd name="T10" fmla="*/ 76 w 651"/>
                <a:gd name="T11" fmla="*/ 1 h 537"/>
                <a:gd name="T12" fmla="*/ 69 w 651"/>
                <a:gd name="T13" fmla="*/ 6 h 537"/>
                <a:gd name="T14" fmla="*/ 68 w 651"/>
                <a:gd name="T15" fmla="*/ 7 h 537"/>
                <a:gd name="T16" fmla="*/ 60 w 651"/>
                <a:gd name="T17" fmla="*/ 59 h 537"/>
                <a:gd name="T18" fmla="*/ 18 w 651"/>
                <a:gd name="T19" fmla="*/ 350 h 537"/>
                <a:gd name="T20" fmla="*/ 0 w 651"/>
                <a:gd name="T21" fmla="*/ 467 h 537"/>
                <a:gd name="T22" fmla="*/ 1 w 651"/>
                <a:gd name="T23" fmla="*/ 469 h 537"/>
                <a:gd name="T24" fmla="*/ 3 w 651"/>
                <a:gd name="T25" fmla="*/ 470 h 537"/>
                <a:gd name="T26" fmla="*/ 177 w 651"/>
                <a:gd name="T27" fmla="*/ 493 h 537"/>
                <a:gd name="T28" fmla="*/ 261 w 651"/>
                <a:gd name="T29" fmla="*/ 503 h 537"/>
                <a:gd name="T30" fmla="*/ 403 w 651"/>
                <a:gd name="T31" fmla="*/ 519 h 537"/>
                <a:gd name="T32" fmla="*/ 479 w 651"/>
                <a:gd name="T33" fmla="*/ 526 h 537"/>
                <a:gd name="T34" fmla="*/ 616 w 651"/>
                <a:gd name="T35" fmla="*/ 537 h 537"/>
                <a:gd name="T36" fmla="*/ 616 w 651"/>
                <a:gd name="T37" fmla="*/ 537 h 537"/>
                <a:gd name="T38" fmla="*/ 618 w 651"/>
                <a:gd name="T39" fmla="*/ 536 h 537"/>
                <a:gd name="T40" fmla="*/ 618 w 651"/>
                <a:gd name="T41" fmla="*/ 534 h 537"/>
                <a:gd name="T42" fmla="*/ 634 w 651"/>
                <a:gd name="T43" fmla="*/ 299 h 537"/>
                <a:gd name="T44" fmla="*/ 651 w 651"/>
                <a:gd name="T45" fmla="*/ 66 h 537"/>
                <a:gd name="T46" fmla="*/ 649 w 651"/>
                <a:gd name="T47" fmla="*/ 63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1" h="537">
                  <a:moveTo>
                    <a:pt x="649" y="63"/>
                  </a:moveTo>
                  <a:cubicBezTo>
                    <a:pt x="538" y="54"/>
                    <a:pt x="538" y="54"/>
                    <a:pt x="538" y="54"/>
                  </a:cubicBezTo>
                  <a:cubicBezTo>
                    <a:pt x="375" y="38"/>
                    <a:pt x="375" y="38"/>
                    <a:pt x="375" y="38"/>
                  </a:cubicBezTo>
                  <a:cubicBezTo>
                    <a:pt x="229" y="21"/>
                    <a:pt x="229" y="21"/>
                    <a:pt x="229" y="21"/>
                  </a:cubicBezTo>
                  <a:cubicBezTo>
                    <a:pt x="78" y="0"/>
                    <a:pt x="78" y="0"/>
                    <a:pt x="78" y="0"/>
                  </a:cubicBezTo>
                  <a:cubicBezTo>
                    <a:pt x="78" y="0"/>
                    <a:pt x="77" y="0"/>
                    <a:pt x="76" y="1"/>
                  </a:cubicBezTo>
                  <a:cubicBezTo>
                    <a:pt x="69" y="6"/>
                    <a:pt x="69" y="6"/>
                    <a:pt x="69" y="6"/>
                  </a:cubicBezTo>
                  <a:cubicBezTo>
                    <a:pt x="69" y="6"/>
                    <a:pt x="68" y="7"/>
                    <a:pt x="68" y="7"/>
                  </a:cubicBezTo>
                  <a:cubicBezTo>
                    <a:pt x="60" y="59"/>
                    <a:pt x="60" y="59"/>
                    <a:pt x="60" y="59"/>
                  </a:cubicBezTo>
                  <a:cubicBezTo>
                    <a:pt x="18" y="350"/>
                    <a:pt x="18" y="350"/>
                    <a:pt x="18" y="350"/>
                  </a:cubicBezTo>
                  <a:cubicBezTo>
                    <a:pt x="0" y="467"/>
                    <a:pt x="0" y="467"/>
                    <a:pt x="0" y="467"/>
                  </a:cubicBezTo>
                  <a:cubicBezTo>
                    <a:pt x="0" y="467"/>
                    <a:pt x="0" y="468"/>
                    <a:pt x="1" y="469"/>
                  </a:cubicBezTo>
                  <a:cubicBezTo>
                    <a:pt x="1" y="469"/>
                    <a:pt x="2" y="469"/>
                    <a:pt x="3" y="470"/>
                  </a:cubicBezTo>
                  <a:cubicBezTo>
                    <a:pt x="177" y="493"/>
                    <a:pt x="177" y="493"/>
                    <a:pt x="177" y="493"/>
                  </a:cubicBezTo>
                  <a:cubicBezTo>
                    <a:pt x="261" y="503"/>
                    <a:pt x="261" y="503"/>
                    <a:pt x="261" y="503"/>
                  </a:cubicBezTo>
                  <a:cubicBezTo>
                    <a:pt x="403" y="519"/>
                    <a:pt x="403" y="519"/>
                    <a:pt x="403" y="519"/>
                  </a:cubicBezTo>
                  <a:cubicBezTo>
                    <a:pt x="479" y="526"/>
                    <a:pt x="479" y="526"/>
                    <a:pt x="479" y="526"/>
                  </a:cubicBezTo>
                  <a:cubicBezTo>
                    <a:pt x="616" y="537"/>
                    <a:pt x="616" y="537"/>
                    <a:pt x="616" y="537"/>
                  </a:cubicBezTo>
                  <a:cubicBezTo>
                    <a:pt x="616" y="537"/>
                    <a:pt x="616" y="537"/>
                    <a:pt x="616" y="537"/>
                  </a:cubicBezTo>
                  <a:cubicBezTo>
                    <a:pt x="617" y="537"/>
                    <a:pt x="617" y="536"/>
                    <a:pt x="618" y="536"/>
                  </a:cubicBezTo>
                  <a:cubicBezTo>
                    <a:pt x="618" y="536"/>
                    <a:pt x="618" y="535"/>
                    <a:pt x="618" y="534"/>
                  </a:cubicBezTo>
                  <a:cubicBezTo>
                    <a:pt x="634" y="299"/>
                    <a:pt x="634" y="299"/>
                    <a:pt x="634" y="299"/>
                  </a:cubicBezTo>
                  <a:cubicBezTo>
                    <a:pt x="651" y="66"/>
                    <a:pt x="651" y="66"/>
                    <a:pt x="651" y="66"/>
                  </a:cubicBezTo>
                  <a:cubicBezTo>
                    <a:pt x="651" y="64"/>
                    <a:pt x="650" y="63"/>
                    <a:pt x="649" y="63"/>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3">
              <a:extLst>
                <a:ext uri="{FF2B5EF4-FFF2-40B4-BE49-F238E27FC236}">
                  <a16:creationId xmlns:a16="http://schemas.microsoft.com/office/drawing/2014/main" id="{46B64EF4-DAEE-47AC-AC8D-5201A13EA96A}"/>
                </a:ext>
              </a:extLst>
            </p:cNvPr>
            <p:cNvSpPr>
              <a:spLocks/>
            </p:cNvSpPr>
            <p:nvPr/>
          </p:nvSpPr>
          <p:spPr bwMode="auto">
            <a:xfrm>
              <a:off x="4744456" y="3153167"/>
              <a:ext cx="750970" cy="590264"/>
            </a:xfrm>
            <a:custGeom>
              <a:avLst/>
              <a:gdLst>
                <a:gd name="T0" fmla="*/ 675 w 676"/>
                <a:gd name="T1" fmla="*/ 58 h 531"/>
                <a:gd name="T2" fmla="*/ 667 w 676"/>
                <a:gd name="T3" fmla="*/ 54 h 531"/>
                <a:gd name="T4" fmla="*/ 666 w 676"/>
                <a:gd name="T5" fmla="*/ 54 h 531"/>
                <a:gd name="T6" fmla="*/ 145 w 676"/>
                <a:gd name="T7" fmla="*/ 10 h 531"/>
                <a:gd name="T8" fmla="*/ 62 w 676"/>
                <a:gd name="T9" fmla="*/ 0 h 531"/>
                <a:gd name="T10" fmla="*/ 59 w 676"/>
                <a:gd name="T11" fmla="*/ 3 h 531"/>
                <a:gd name="T12" fmla="*/ 0 w 676"/>
                <a:gd name="T13" fmla="*/ 467 h 531"/>
                <a:gd name="T14" fmla="*/ 0 w 676"/>
                <a:gd name="T15" fmla="*/ 471 h 531"/>
                <a:gd name="T16" fmla="*/ 0 w 676"/>
                <a:gd name="T17" fmla="*/ 472 h 531"/>
                <a:gd name="T18" fmla="*/ 2 w 676"/>
                <a:gd name="T19" fmla="*/ 473 h 531"/>
                <a:gd name="T20" fmla="*/ 155 w 676"/>
                <a:gd name="T21" fmla="*/ 491 h 531"/>
                <a:gd name="T22" fmla="*/ 291 w 676"/>
                <a:gd name="T23" fmla="*/ 505 h 531"/>
                <a:gd name="T24" fmla="*/ 456 w 676"/>
                <a:gd name="T25" fmla="*/ 519 h 531"/>
                <a:gd name="T26" fmla="*/ 651 w 676"/>
                <a:gd name="T27" fmla="*/ 531 h 531"/>
                <a:gd name="T28" fmla="*/ 651 w 676"/>
                <a:gd name="T29" fmla="*/ 531 h 531"/>
                <a:gd name="T30" fmla="*/ 652 w 676"/>
                <a:gd name="T31" fmla="*/ 530 h 531"/>
                <a:gd name="T32" fmla="*/ 653 w 676"/>
                <a:gd name="T33" fmla="*/ 529 h 531"/>
                <a:gd name="T34" fmla="*/ 670 w 676"/>
                <a:gd name="T35" fmla="*/ 175 h 531"/>
                <a:gd name="T36" fmla="*/ 676 w 676"/>
                <a:gd name="T37" fmla="*/ 61 h 531"/>
                <a:gd name="T38" fmla="*/ 675 w 676"/>
                <a:gd name="T39" fmla="*/ 58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6" h="531">
                  <a:moveTo>
                    <a:pt x="675" y="58"/>
                  </a:moveTo>
                  <a:cubicBezTo>
                    <a:pt x="667" y="54"/>
                    <a:pt x="667" y="54"/>
                    <a:pt x="667" y="54"/>
                  </a:cubicBezTo>
                  <a:cubicBezTo>
                    <a:pt x="667" y="54"/>
                    <a:pt x="666" y="54"/>
                    <a:pt x="666" y="54"/>
                  </a:cubicBezTo>
                  <a:cubicBezTo>
                    <a:pt x="507" y="46"/>
                    <a:pt x="337" y="32"/>
                    <a:pt x="145" y="10"/>
                  </a:cubicBezTo>
                  <a:cubicBezTo>
                    <a:pt x="62" y="0"/>
                    <a:pt x="62" y="0"/>
                    <a:pt x="62" y="0"/>
                  </a:cubicBezTo>
                  <a:cubicBezTo>
                    <a:pt x="60" y="0"/>
                    <a:pt x="59" y="1"/>
                    <a:pt x="59" y="3"/>
                  </a:cubicBezTo>
                  <a:cubicBezTo>
                    <a:pt x="0" y="467"/>
                    <a:pt x="0" y="467"/>
                    <a:pt x="0" y="467"/>
                  </a:cubicBezTo>
                  <a:cubicBezTo>
                    <a:pt x="0" y="471"/>
                    <a:pt x="0" y="471"/>
                    <a:pt x="0" y="471"/>
                  </a:cubicBezTo>
                  <a:cubicBezTo>
                    <a:pt x="0" y="471"/>
                    <a:pt x="0" y="472"/>
                    <a:pt x="0" y="472"/>
                  </a:cubicBezTo>
                  <a:cubicBezTo>
                    <a:pt x="1" y="473"/>
                    <a:pt x="1" y="473"/>
                    <a:pt x="2" y="473"/>
                  </a:cubicBezTo>
                  <a:cubicBezTo>
                    <a:pt x="155" y="491"/>
                    <a:pt x="155" y="491"/>
                    <a:pt x="155" y="491"/>
                  </a:cubicBezTo>
                  <a:cubicBezTo>
                    <a:pt x="291" y="505"/>
                    <a:pt x="291" y="505"/>
                    <a:pt x="291" y="505"/>
                  </a:cubicBezTo>
                  <a:cubicBezTo>
                    <a:pt x="456" y="519"/>
                    <a:pt x="456" y="519"/>
                    <a:pt x="456" y="519"/>
                  </a:cubicBezTo>
                  <a:cubicBezTo>
                    <a:pt x="651" y="531"/>
                    <a:pt x="651" y="531"/>
                    <a:pt x="651" y="531"/>
                  </a:cubicBezTo>
                  <a:cubicBezTo>
                    <a:pt x="651" y="531"/>
                    <a:pt x="651" y="531"/>
                    <a:pt x="651" y="531"/>
                  </a:cubicBezTo>
                  <a:cubicBezTo>
                    <a:pt x="651" y="531"/>
                    <a:pt x="652" y="531"/>
                    <a:pt x="652" y="530"/>
                  </a:cubicBezTo>
                  <a:cubicBezTo>
                    <a:pt x="653" y="530"/>
                    <a:pt x="653" y="529"/>
                    <a:pt x="653" y="529"/>
                  </a:cubicBezTo>
                  <a:cubicBezTo>
                    <a:pt x="670" y="175"/>
                    <a:pt x="670" y="175"/>
                    <a:pt x="670" y="175"/>
                  </a:cubicBezTo>
                  <a:cubicBezTo>
                    <a:pt x="676" y="61"/>
                    <a:pt x="676" y="61"/>
                    <a:pt x="676" y="61"/>
                  </a:cubicBezTo>
                  <a:cubicBezTo>
                    <a:pt x="676" y="60"/>
                    <a:pt x="676" y="59"/>
                    <a:pt x="675" y="58"/>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4">
              <a:extLst>
                <a:ext uri="{FF2B5EF4-FFF2-40B4-BE49-F238E27FC236}">
                  <a16:creationId xmlns:a16="http://schemas.microsoft.com/office/drawing/2014/main" id="{F6D29F56-8926-40A3-95B8-259082C4393F}"/>
                </a:ext>
              </a:extLst>
            </p:cNvPr>
            <p:cNvSpPr>
              <a:spLocks/>
            </p:cNvSpPr>
            <p:nvPr/>
          </p:nvSpPr>
          <p:spPr bwMode="auto">
            <a:xfrm>
              <a:off x="4924365" y="3800032"/>
              <a:ext cx="1445339" cy="1407942"/>
            </a:xfrm>
            <a:custGeom>
              <a:avLst/>
              <a:gdLst>
                <a:gd name="T0" fmla="*/ 975 w 1300"/>
                <a:gd name="T1" fmla="*/ 978 h 1266"/>
                <a:gd name="T2" fmla="*/ 1013 w 1300"/>
                <a:gd name="T3" fmla="*/ 965 h 1266"/>
                <a:gd name="T4" fmla="*/ 988 w 1300"/>
                <a:gd name="T5" fmla="*/ 933 h 1266"/>
                <a:gd name="T6" fmla="*/ 1012 w 1300"/>
                <a:gd name="T7" fmla="*/ 928 h 1266"/>
                <a:gd name="T8" fmla="*/ 1035 w 1300"/>
                <a:gd name="T9" fmla="*/ 956 h 1266"/>
                <a:gd name="T10" fmla="*/ 1065 w 1300"/>
                <a:gd name="T11" fmla="*/ 940 h 1266"/>
                <a:gd name="T12" fmla="*/ 1125 w 1300"/>
                <a:gd name="T13" fmla="*/ 906 h 1266"/>
                <a:gd name="T14" fmla="*/ 1170 w 1300"/>
                <a:gd name="T15" fmla="*/ 850 h 1266"/>
                <a:gd name="T16" fmla="*/ 1155 w 1300"/>
                <a:gd name="T17" fmla="*/ 813 h 1266"/>
                <a:gd name="T18" fmla="*/ 1179 w 1300"/>
                <a:gd name="T19" fmla="*/ 830 h 1266"/>
                <a:gd name="T20" fmla="*/ 1250 w 1300"/>
                <a:gd name="T21" fmla="*/ 816 h 1266"/>
                <a:gd name="T22" fmla="*/ 1284 w 1300"/>
                <a:gd name="T23" fmla="*/ 724 h 1266"/>
                <a:gd name="T24" fmla="*/ 1296 w 1300"/>
                <a:gd name="T25" fmla="*/ 671 h 1266"/>
                <a:gd name="T26" fmla="*/ 1295 w 1300"/>
                <a:gd name="T27" fmla="*/ 635 h 1266"/>
                <a:gd name="T28" fmla="*/ 1267 w 1300"/>
                <a:gd name="T29" fmla="*/ 589 h 1266"/>
                <a:gd name="T30" fmla="*/ 1239 w 1300"/>
                <a:gd name="T31" fmla="*/ 361 h 1266"/>
                <a:gd name="T32" fmla="*/ 1175 w 1300"/>
                <a:gd name="T33" fmla="*/ 346 h 1266"/>
                <a:gd name="T34" fmla="*/ 1117 w 1300"/>
                <a:gd name="T35" fmla="*/ 324 h 1266"/>
                <a:gd name="T36" fmla="*/ 1070 w 1300"/>
                <a:gd name="T37" fmla="*/ 329 h 1266"/>
                <a:gd name="T38" fmla="*/ 1023 w 1300"/>
                <a:gd name="T39" fmla="*/ 340 h 1266"/>
                <a:gd name="T40" fmla="*/ 985 w 1300"/>
                <a:gd name="T41" fmla="*/ 325 h 1266"/>
                <a:gd name="T42" fmla="*/ 954 w 1300"/>
                <a:gd name="T43" fmla="*/ 324 h 1266"/>
                <a:gd name="T44" fmla="*/ 936 w 1300"/>
                <a:gd name="T45" fmla="*/ 327 h 1266"/>
                <a:gd name="T46" fmla="*/ 896 w 1300"/>
                <a:gd name="T47" fmla="*/ 317 h 1266"/>
                <a:gd name="T48" fmla="*/ 860 w 1300"/>
                <a:gd name="T49" fmla="*/ 312 h 1266"/>
                <a:gd name="T50" fmla="*/ 818 w 1300"/>
                <a:gd name="T51" fmla="*/ 301 h 1266"/>
                <a:gd name="T52" fmla="*/ 771 w 1300"/>
                <a:gd name="T53" fmla="*/ 289 h 1266"/>
                <a:gd name="T54" fmla="*/ 742 w 1300"/>
                <a:gd name="T55" fmla="*/ 270 h 1266"/>
                <a:gd name="T56" fmla="*/ 709 w 1300"/>
                <a:gd name="T57" fmla="*/ 260 h 1266"/>
                <a:gd name="T58" fmla="*/ 667 w 1300"/>
                <a:gd name="T59" fmla="*/ 226 h 1266"/>
                <a:gd name="T60" fmla="*/ 394 w 1300"/>
                <a:gd name="T61" fmla="*/ 0 h 1266"/>
                <a:gd name="T62" fmla="*/ 348 w 1300"/>
                <a:gd name="T63" fmla="*/ 528 h 1266"/>
                <a:gd name="T64" fmla="*/ 0 w 1300"/>
                <a:gd name="T65" fmla="*/ 503 h 1266"/>
                <a:gd name="T66" fmla="*/ 31 w 1300"/>
                <a:gd name="T67" fmla="*/ 544 h 1266"/>
                <a:gd name="T68" fmla="*/ 83 w 1300"/>
                <a:gd name="T69" fmla="*/ 606 h 1266"/>
                <a:gd name="T70" fmla="*/ 144 w 1300"/>
                <a:gd name="T71" fmla="*/ 666 h 1266"/>
                <a:gd name="T72" fmla="*/ 167 w 1300"/>
                <a:gd name="T73" fmla="*/ 705 h 1266"/>
                <a:gd name="T74" fmla="*/ 192 w 1300"/>
                <a:gd name="T75" fmla="*/ 795 h 1266"/>
                <a:gd name="T76" fmla="*/ 246 w 1300"/>
                <a:gd name="T77" fmla="*/ 839 h 1266"/>
                <a:gd name="T78" fmla="*/ 307 w 1300"/>
                <a:gd name="T79" fmla="*/ 874 h 1266"/>
                <a:gd name="T80" fmla="*/ 342 w 1300"/>
                <a:gd name="T81" fmla="*/ 860 h 1266"/>
                <a:gd name="T82" fmla="*/ 376 w 1300"/>
                <a:gd name="T83" fmla="*/ 799 h 1266"/>
                <a:gd name="T84" fmla="*/ 414 w 1300"/>
                <a:gd name="T85" fmla="*/ 783 h 1266"/>
                <a:gd name="T86" fmla="*/ 464 w 1300"/>
                <a:gd name="T87" fmla="*/ 792 h 1266"/>
                <a:gd name="T88" fmla="*/ 515 w 1300"/>
                <a:gd name="T89" fmla="*/ 815 h 1266"/>
                <a:gd name="T90" fmla="*/ 543 w 1300"/>
                <a:gd name="T91" fmla="*/ 843 h 1266"/>
                <a:gd name="T92" fmla="*/ 595 w 1300"/>
                <a:gd name="T93" fmla="*/ 925 h 1266"/>
                <a:gd name="T94" fmla="*/ 611 w 1300"/>
                <a:gd name="T95" fmla="*/ 966 h 1266"/>
                <a:gd name="T96" fmla="*/ 649 w 1300"/>
                <a:gd name="T97" fmla="*/ 1014 h 1266"/>
                <a:gd name="T98" fmla="*/ 692 w 1300"/>
                <a:gd name="T99" fmla="*/ 1062 h 1266"/>
                <a:gd name="T100" fmla="*/ 698 w 1300"/>
                <a:gd name="T101" fmla="*/ 1106 h 1266"/>
                <a:gd name="T102" fmla="*/ 722 w 1300"/>
                <a:gd name="T103" fmla="*/ 1166 h 1266"/>
                <a:gd name="T104" fmla="*/ 758 w 1300"/>
                <a:gd name="T105" fmla="*/ 1204 h 1266"/>
                <a:gd name="T106" fmla="*/ 794 w 1300"/>
                <a:gd name="T107" fmla="*/ 1220 h 1266"/>
                <a:gd name="T108" fmla="*/ 877 w 1300"/>
                <a:gd name="T109" fmla="*/ 1243 h 1266"/>
                <a:gd name="T110" fmla="*/ 934 w 1300"/>
                <a:gd name="T111" fmla="*/ 1252 h 1266"/>
                <a:gd name="T112" fmla="*/ 907 w 1300"/>
                <a:gd name="T113" fmla="*/ 1192 h 1266"/>
                <a:gd name="T114" fmla="*/ 894 w 1300"/>
                <a:gd name="T115" fmla="*/ 1137 h 1266"/>
                <a:gd name="T116" fmla="*/ 908 w 1300"/>
                <a:gd name="T117" fmla="*/ 1100 h 1266"/>
                <a:gd name="T118" fmla="*/ 918 w 1300"/>
                <a:gd name="T119" fmla="*/ 1046 h 1266"/>
                <a:gd name="T120" fmla="*/ 949 w 1300"/>
                <a:gd name="T121" fmla="*/ 1017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0" h="1266">
                  <a:moveTo>
                    <a:pt x="950" y="994"/>
                  </a:moveTo>
                  <a:cubicBezTo>
                    <a:pt x="952" y="992"/>
                    <a:pt x="959" y="982"/>
                    <a:pt x="961" y="992"/>
                  </a:cubicBezTo>
                  <a:cubicBezTo>
                    <a:pt x="961" y="994"/>
                    <a:pt x="957" y="998"/>
                    <a:pt x="959" y="1000"/>
                  </a:cubicBezTo>
                  <a:cubicBezTo>
                    <a:pt x="960" y="1001"/>
                    <a:pt x="965" y="997"/>
                    <a:pt x="966" y="996"/>
                  </a:cubicBezTo>
                  <a:cubicBezTo>
                    <a:pt x="969" y="994"/>
                    <a:pt x="974" y="989"/>
                    <a:pt x="975" y="986"/>
                  </a:cubicBezTo>
                  <a:cubicBezTo>
                    <a:pt x="975" y="984"/>
                    <a:pt x="975" y="980"/>
                    <a:pt x="975" y="978"/>
                  </a:cubicBezTo>
                  <a:cubicBezTo>
                    <a:pt x="974" y="976"/>
                    <a:pt x="971" y="973"/>
                    <a:pt x="971" y="971"/>
                  </a:cubicBezTo>
                  <a:cubicBezTo>
                    <a:pt x="971" y="969"/>
                    <a:pt x="975" y="965"/>
                    <a:pt x="975" y="963"/>
                  </a:cubicBezTo>
                  <a:cubicBezTo>
                    <a:pt x="975" y="962"/>
                    <a:pt x="973" y="960"/>
                    <a:pt x="973" y="960"/>
                  </a:cubicBezTo>
                  <a:cubicBezTo>
                    <a:pt x="977" y="958"/>
                    <a:pt x="980" y="972"/>
                    <a:pt x="983" y="974"/>
                  </a:cubicBezTo>
                  <a:cubicBezTo>
                    <a:pt x="985" y="976"/>
                    <a:pt x="989" y="977"/>
                    <a:pt x="991" y="977"/>
                  </a:cubicBezTo>
                  <a:cubicBezTo>
                    <a:pt x="997" y="977"/>
                    <a:pt x="1009" y="970"/>
                    <a:pt x="1013" y="965"/>
                  </a:cubicBezTo>
                  <a:cubicBezTo>
                    <a:pt x="1014" y="964"/>
                    <a:pt x="1015" y="963"/>
                    <a:pt x="1014" y="962"/>
                  </a:cubicBezTo>
                  <a:cubicBezTo>
                    <a:pt x="1014" y="960"/>
                    <a:pt x="1009" y="958"/>
                    <a:pt x="1007" y="958"/>
                  </a:cubicBezTo>
                  <a:cubicBezTo>
                    <a:pt x="1005" y="957"/>
                    <a:pt x="1001" y="962"/>
                    <a:pt x="999" y="960"/>
                  </a:cubicBezTo>
                  <a:cubicBezTo>
                    <a:pt x="998" y="958"/>
                    <a:pt x="1004" y="955"/>
                    <a:pt x="1004" y="953"/>
                  </a:cubicBezTo>
                  <a:cubicBezTo>
                    <a:pt x="1003" y="951"/>
                    <a:pt x="998" y="949"/>
                    <a:pt x="996" y="948"/>
                  </a:cubicBezTo>
                  <a:cubicBezTo>
                    <a:pt x="994" y="944"/>
                    <a:pt x="986" y="936"/>
                    <a:pt x="988" y="933"/>
                  </a:cubicBezTo>
                  <a:cubicBezTo>
                    <a:pt x="990" y="931"/>
                    <a:pt x="995" y="931"/>
                    <a:pt x="996" y="932"/>
                  </a:cubicBezTo>
                  <a:cubicBezTo>
                    <a:pt x="997" y="933"/>
                    <a:pt x="997" y="936"/>
                    <a:pt x="998" y="937"/>
                  </a:cubicBezTo>
                  <a:cubicBezTo>
                    <a:pt x="1000" y="940"/>
                    <a:pt x="1006" y="946"/>
                    <a:pt x="1009" y="946"/>
                  </a:cubicBezTo>
                  <a:cubicBezTo>
                    <a:pt x="1011" y="947"/>
                    <a:pt x="1016" y="945"/>
                    <a:pt x="1017" y="943"/>
                  </a:cubicBezTo>
                  <a:cubicBezTo>
                    <a:pt x="1018" y="940"/>
                    <a:pt x="1009" y="933"/>
                    <a:pt x="1010" y="929"/>
                  </a:cubicBezTo>
                  <a:cubicBezTo>
                    <a:pt x="1010" y="929"/>
                    <a:pt x="1011" y="928"/>
                    <a:pt x="1012" y="928"/>
                  </a:cubicBezTo>
                  <a:cubicBezTo>
                    <a:pt x="1014" y="929"/>
                    <a:pt x="1014" y="935"/>
                    <a:pt x="1016" y="936"/>
                  </a:cubicBezTo>
                  <a:cubicBezTo>
                    <a:pt x="1017" y="938"/>
                    <a:pt x="1021" y="940"/>
                    <a:pt x="1023" y="940"/>
                  </a:cubicBezTo>
                  <a:cubicBezTo>
                    <a:pt x="1025" y="940"/>
                    <a:pt x="1029" y="934"/>
                    <a:pt x="1031" y="935"/>
                  </a:cubicBezTo>
                  <a:cubicBezTo>
                    <a:pt x="1033" y="935"/>
                    <a:pt x="1032" y="941"/>
                    <a:pt x="1034" y="942"/>
                  </a:cubicBezTo>
                  <a:cubicBezTo>
                    <a:pt x="1035" y="943"/>
                    <a:pt x="1039" y="941"/>
                    <a:pt x="1041" y="941"/>
                  </a:cubicBezTo>
                  <a:cubicBezTo>
                    <a:pt x="1048" y="943"/>
                    <a:pt x="1035" y="956"/>
                    <a:pt x="1035" y="956"/>
                  </a:cubicBezTo>
                  <a:cubicBezTo>
                    <a:pt x="1034" y="956"/>
                    <a:pt x="1033" y="957"/>
                    <a:pt x="1034" y="958"/>
                  </a:cubicBezTo>
                  <a:cubicBezTo>
                    <a:pt x="1039" y="962"/>
                    <a:pt x="1051" y="959"/>
                    <a:pt x="1056" y="955"/>
                  </a:cubicBezTo>
                  <a:cubicBezTo>
                    <a:pt x="1060" y="953"/>
                    <a:pt x="1068" y="952"/>
                    <a:pt x="1071" y="950"/>
                  </a:cubicBezTo>
                  <a:cubicBezTo>
                    <a:pt x="1074" y="949"/>
                    <a:pt x="1081" y="936"/>
                    <a:pt x="1080" y="934"/>
                  </a:cubicBezTo>
                  <a:cubicBezTo>
                    <a:pt x="1079" y="932"/>
                    <a:pt x="1074" y="935"/>
                    <a:pt x="1072" y="935"/>
                  </a:cubicBezTo>
                  <a:cubicBezTo>
                    <a:pt x="1070" y="936"/>
                    <a:pt x="1067" y="941"/>
                    <a:pt x="1065" y="940"/>
                  </a:cubicBezTo>
                  <a:cubicBezTo>
                    <a:pt x="1063" y="940"/>
                    <a:pt x="1063" y="935"/>
                    <a:pt x="1063" y="933"/>
                  </a:cubicBezTo>
                  <a:cubicBezTo>
                    <a:pt x="1065" y="930"/>
                    <a:pt x="1075" y="929"/>
                    <a:pt x="1079" y="928"/>
                  </a:cubicBezTo>
                  <a:cubicBezTo>
                    <a:pt x="1082" y="927"/>
                    <a:pt x="1090" y="928"/>
                    <a:pt x="1093" y="927"/>
                  </a:cubicBezTo>
                  <a:cubicBezTo>
                    <a:pt x="1097" y="925"/>
                    <a:pt x="1104" y="919"/>
                    <a:pt x="1107" y="917"/>
                  </a:cubicBezTo>
                  <a:cubicBezTo>
                    <a:pt x="1110" y="915"/>
                    <a:pt x="1118" y="912"/>
                    <a:pt x="1118" y="912"/>
                  </a:cubicBezTo>
                  <a:cubicBezTo>
                    <a:pt x="1125" y="906"/>
                    <a:pt x="1125" y="906"/>
                    <a:pt x="1125" y="906"/>
                  </a:cubicBezTo>
                  <a:cubicBezTo>
                    <a:pt x="1125" y="906"/>
                    <a:pt x="1138" y="897"/>
                    <a:pt x="1140" y="892"/>
                  </a:cubicBezTo>
                  <a:cubicBezTo>
                    <a:pt x="1141" y="889"/>
                    <a:pt x="1140" y="882"/>
                    <a:pt x="1141" y="879"/>
                  </a:cubicBezTo>
                  <a:cubicBezTo>
                    <a:pt x="1143" y="876"/>
                    <a:pt x="1151" y="873"/>
                    <a:pt x="1154" y="870"/>
                  </a:cubicBezTo>
                  <a:cubicBezTo>
                    <a:pt x="1155" y="869"/>
                    <a:pt x="1157" y="865"/>
                    <a:pt x="1159" y="863"/>
                  </a:cubicBezTo>
                  <a:cubicBezTo>
                    <a:pt x="1160" y="862"/>
                    <a:pt x="1165" y="861"/>
                    <a:pt x="1166" y="860"/>
                  </a:cubicBezTo>
                  <a:cubicBezTo>
                    <a:pt x="1168" y="858"/>
                    <a:pt x="1171" y="853"/>
                    <a:pt x="1170" y="850"/>
                  </a:cubicBezTo>
                  <a:cubicBezTo>
                    <a:pt x="1169" y="848"/>
                    <a:pt x="1163" y="849"/>
                    <a:pt x="1162" y="847"/>
                  </a:cubicBezTo>
                  <a:cubicBezTo>
                    <a:pt x="1160" y="845"/>
                    <a:pt x="1163" y="839"/>
                    <a:pt x="1162" y="837"/>
                  </a:cubicBezTo>
                  <a:cubicBezTo>
                    <a:pt x="1161" y="835"/>
                    <a:pt x="1155" y="833"/>
                    <a:pt x="1154" y="831"/>
                  </a:cubicBezTo>
                  <a:cubicBezTo>
                    <a:pt x="1154" y="829"/>
                    <a:pt x="1155" y="825"/>
                    <a:pt x="1155" y="824"/>
                  </a:cubicBezTo>
                  <a:cubicBezTo>
                    <a:pt x="1155" y="821"/>
                    <a:pt x="1151" y="818"/>
                    <a:pt x="1151" y="816"/>
                  </a:cubicBezTo>
                  <a:cubicBezTo>
                    <a:pt x="1152" y="815"/>
                    <a:pt x="1154" y="813"/>
                    <a:pt x="1155" y="813"/>
                  </a:cubicBezTo>
                  <a:cubicBezTo>
                    <a:pt x="1158" y="813"/>
                    <a:pt x="1163" y="820"/>
                    <a:pt x="1166" y="819"/>
                  </a:cubicBezTo>
                  <a:cubicBezTo>
                    <a:pt x="1168" y="819"/>
                    <a:pt x="1169" y="813"/>
                    <a:pt x="1170" y="811"/>
                  </a:cubicBezTo>
                  <a:cubicBezTo>
                    <a:pt x="1172" y="810"/>
                    <a:pt x="1175" y="806"/>
                    <a:pt x="1177" y="806"/>
                  </a:cubicBezTo>
                  <a:cubicBezTo>
                    <a:pt x="1179" y="805"/>
                    <a:pt x="1183" y="806"/>
                    <a:pt x="1185" y="807"/>
                  </a:cubicBezTo>
                  <a:cubicBezTo>
                    <a:pt x="1187" y="809"/>
                    <a:pt x="1185" y="812"/>
                    <a:pt x="1185" y="815"/>
                  </a:cubicBezTo>
                  <a:cubicBezTo>
                    <a:pt x="1184" y="819"/>
                    <a:pt x="1176" y="827"/>
                    <a:pt x="1179" y="830"/>
                  </a:cubicBezTo>
                  <a:cubicBezTo>
                    <a:pt x="1182" y="833"/>
                    <a:pt x="1191" y="829"/>
                    <a:pt x="1195" y="826"/>
                  </a:cubicBezTo>
                  <a:cubicBezTo>
                    <a:pt x="1207" y="817"/>
                    <a:pt x="1201" y="832"/>
                    <a:pt x="1200" y="834"/>
                  </a:cubicBezTo>
                  <a:cubicBezTo>
                    <a:pt x="1196" y="837"/>
                    <a:pt x="1187" y="841"/>
                    <a:pt x="1183" y="845"/>
                  </a:cubicBezTo>
                  <a:cubicBezTo>
                    <a:pt x="1182" y="847"/>
                    <a:pt x="1178" y="851"/>
                    <a:pt x="1179" y="853"/>
                  </a:cubicBezTo>
                  <a:cubicBezTo>
                    <a:pt x="1179" y="854"/>
                    <a:pt x="1181" y="853"/>
                    <a:pt x="1181" y="853"/>
                  </a:cubicBezTo>
                  <a:cubicBezTo>
                    <a:pt x="1205" y="843"/>
                    <a:pt x="1225" y="823"/>
                    <a:pt x="1250" y="816"/>
                  </a:cubicBezTo>
                  <a:cubicBezTo>
                    <a:pt x="1255" y="814"/>
                    <a:pt x="1262" y="819"/>
                    <a:pt x="1265" y="814"/>
                  </a:cubicBezTo>
                  <a:cubicBezTo>
                    <a:pt x="1267" y="809"/>
                    <a:pt x="1261" y="802"/>
                    <a:pt x="1261" y="798"/>
                  </a:cubicBezTo>
                  <a:cubicBezTo>
                    <a:pt x="1261" y="793"/>
                    <a:pt x="1267" y="786"/>
                    <a:pt x="1270" y="783"/>
                  </a:cubicBezTo>
                  <a:cubicBezTo>
                    <a:pt x="1285" y="766"/>
                    <a:pt x="1290" y="767"/>
                    <a:pt x="1283" y="741"/>
                  </a:cubicBezTo>
                  <a:cubicBezTo>
                    <a:pt x="1283" y="741"/>
                    <a:pt x="1279" y="735"/>
                    <a:pt x="1279" y="732"/>
                  </a:cubicBezTo>
                  <a:cubicBezTo>
                    <a:pt x="1279" y="730"/>
                    <a:pt x="1284" y="726"/>
                    <a:pt x="1284" y="724"/>
                  </a:cubicBezTo>
                  <a:cubicBezTo>
                    <a:pt x="1285" y="721"/>
                    <a:pt x="1281" y="713"/>
                    <a:pt x="1282" y="710"/>
                  </a:cubicBezTo>
                  <a:cubicBezTo>
                    <a:pt x="1282" y="708"/>
                    <a:pt x="1284" y="704"/>
                    <a:pt x="1286" y="702"/>
                  </a:cubicBezTo>
                  <a:cubicBezTo>
                    <a:pt x="1287" y="700"/>
                    <a:pt x="1290" y="697"/>
                    <a:pt x="1291" y="695"/>
                  </a:cubicBezTo>
                  <a:cubicBezTo>
                    <a:pt x="1292" y="693"/>
                    <a:pt x="1292" y="688"/>
                    <a:pt x="1293" y="687"/>
                  </a:cubicBezTo>
                  <a:cubicBezTo>
                    <a:pt x="1294" y="685"/>
                    <a:pt x="1297" y="681"/>
                    <a:pt x="1297" y="679"/>
                  </a:cubicBezTo>
                  <a:cubicBezTo>
                    <a:pt x="1298" y="677"/>
                    <a:pt x="1296" y="673"/>
                    <a:pt x="1296" y="671"/>
                  </a:cubicBezTo>
                  <a:cubicBezTo>
                    <a:pt x="1296" y="670"/>
                    <a:pt x="1299" y="666"/>
                    <a:pt x="1299" y="664"/>
                  </a:cubicBezTo>
                  <a:cubicBezTo>
                    <a:pt x="1299" y="662"/>
                    <a:pt x="1296" y="659"/>
                    <a:pt x="1296" y="657"/>
                  </a:cubicBezTo>
                  <a:cubicBezTo>
                    <a:pt x="1296" y="655"/>
                    <a:pt x="1299" y="653"/>
                    <a:pt x="1299" y="651"/>
                  </a:cubicBezTo>
                  <a:cubicBezTo>
                    <a:pt x="1300" y="649"/>
                    <a:pt x="1297" y="645"/>
                    <a:pt x="1297" y="643"/>
                  </a:cubicBezTo>
                  <a:cubicBezTo>
                    <a:pt x="1297" y="642"/>
                    <a:pt x="1299" y="638"/>
                    <a:pt x="1298" y="636"/>
                  </a:cubicBezTo>
                  <a:cubicBezTo>
                    <a:pt x="1297" y="635"/>
                    <a:pt x="1295" y="635"/>
                    <a:pt x="1295" y="635"/>
                  </a:cubicBezTo>
                  <a:cubicBezTo>
                    <a:pt x="1295" y="635"/>
                    <a:pt x="1284" y="625"/>
                    <a:pt x="1283" y="620"/>
                  </a:cubicBezTo>
                  <a:cubicBezTo>
                    <a:pt x="1282" y="618"/>
                    <a:pt x="1283" y="614"/>
                    <a:pt x="1283" y="612"/>
                  </a:cubicBezTo>
                  <a:cubicBezTo>
                    <a:pt x="1282" y="610"/>
                    <a:pt x="1281" y="607"/>
                    <a:pt x="1279" y="605"/>
                  </a:cubicBezTo>
                  <a:cubicBezTo>
                    <a:pt x="1279" y="605"/>
                    <a:pt x="1277" y="604"/>
                    <a:pt x="1276" y="604"/>
                  </a:cubicBezTo>
                  <a:cubicBezTo>
                    <a:pt x="1275" y="602"/>
                    <a:pt x="1274" y="598"/>
                    <a:pt x="1273" y="596"/>
                  </a:cubicBezTo>
                  <a:cubicBezTo>
                    <a:pt x="1271" y="594"/>
                    <a:pt x="1267" y="591"/>
                    <a:pt x="1267" y="589"/>
                  </a:cubicBezTo>
                  <a:cubicBezTo>
                    <a:pt x="1266" y="586"/>
                    <a:pt x="1269" y="580"/>
                    <a:pt x="1268" y="577"/>
                  </a:cubicBezTo>
                  <a:cubicBezTo>
                    <a:pt x="1268" y="573"/>
                    <a:pt x="1263" y="562"/>
                    <a:pt x="1263" y="562"/>
                  </a:cubicBezTo>
                  <a:cubicBezTo>
                    <a:pt x="1257" y="555"/>
                    <a:pt x="1257" y="555"/>
                    <a:pt x="1257" y="555"/>
                  </a:cubicBezTo>
                  <a:cubicBezTo>
                    <a:pt x="1244" y="543"/>
                    <a:pt x="1244" y="543"/>
                    <a:pt x="1244" y="543"/>
                  </a:cubicBezTo>
                  <a:cubicBezTo>
                    <a:pt x="1241" y="424"/>
                    <a:pt x="1241" y="424"/>
                    <a:pt x="1241" y="424"/>
                  </a:cubicBezTo>
                  <a:cubicBezTo>
                    <a:pt x="1239" y="361"/>
                    <a:pt x="1239" y="361"/>
                    <a:pt x="1239" y="361"/>
                  </a:cubicBezTo>
                  <a:cubicBezTo>
                    <a:pt x="1239" y="361"/>
                    <a:pt x="1221" y="355"/>
                    <a:pt x="1215" y="356"/>
                  </a:cubicBezTo>
                  <a:cubicBezTo>
                    <a:pt x="1213" y="357"/>
                    <a:pt x="1209" y="361"/>
                    <a:pt x="1207" y="361"/>
                  </a:cubicBezTo>
                  <a:cubicBezTo>
                    <a:pt x="1205" y="361"/>
                    <a:pt x="1201" y="357"/>
                    <a:pt x="1200" y="356"/>
                  </a:cubicBezTo>
                  <a:cubicBezTo>
                    <a:pt x="1199" y="355"/>
                    <a:pt x="1199" y="353"/>
                    <a:pt x="1199" y="353"/>
                  </a:cubicBezTo>
                  <a:cubicBezTo>
                    <a:pt x="1199" y="352"/>
                    <a:pt x="1197" y="351"/>
                    <a:pt x="1196" y="351"/>
                  </a:cubicBezTo>
                  <a:cubicBezTo>
                    <a:pt x="1191" y="348"/>
                    <a:pt x="1180" y="348"/>
                    <a:pt x="1175" y="346"/>
                  </a:cubicBezTo>
                  <a:cubicBezTo>
                    <a:pt x="1173" y="345"/>
                    <a:pt x="1169" y="342"/>
                    <a:pt x="1167" y="341"/>
                  </a:cubicBezTo>
                  <a:cubicBezTo>
                    <a:pt x="1166" y="340"/>
                    <a:pt x="1162" y="340"/>
                    <a:pt x="1160" y="339"/>
                  </a:cubicBezTo>
                  <a:cubicBezTo>
                    <a:pt x="1156" y="337"/>
                    <a:pt x="1149" y="330"/>
                    <a:pt x="1146" y="327"/>
                  </a:cubicBezTo>
                  <a:cubicBezTo>
                    <a:pt x="1142" y="324"/>
                    <a:pt x="1133" y="318"/>
                    <a:pt x="1128" y="317"/>
                  </a:cubicBezTo>
                  <a:cubicBezTo>
                    <a:pt x="1127" y="316"/>
                    <a:pt x="1123" y="316"/>
                    <a:pt x="1121" y="317"/>
                  </a:cubicBezTo>
                  <a:cubicBezTo>
                    <a:pt x="1119" y="318"/>
                    <a:pt x="1118" y="322"/>
                    <a:pt x="1117" y="324"/>
                  </a:cubicBezTo>
                  <a:cubicBezTo>
                    <a:pt x="1116" y="325"/>
                    <a:pt x="1113" y="326"/>
                    <a:pt x="1112" y="327"/>
                  </a:cubicBezTo>
                  <a:cubicBezTo>
                    <a:pt x="1110" y="327"/>
                    <a:pt x="1106" y="327"/>
                    <a:pt x="1104" y="327"/>
                  </a:cubicBezTo>
                  <a:cubicBezTo>
                    <a:pt x="1103" y="327"/>
                    <a:pt x="1100" y="326"/>
                    <a:pt x="1099" y="325"/>
                  </a:cubicBezTo>
                  <a:cubicBezTo>
                    <a:pt x="1096" y="324"/>
                    <a:pt x="1094" y="319"/>
                    <a:pt x="1091" y="318"/>
                  </a:cubicBezTo>
                  <a:cubicBezTo>
                    <a:pt x="1087" y="317"/>
                    <a:pt x="1080" y="322"/>
                    <a:pt x="1076" y="324"/>
                  </a:cubicBezTo>
                  <a:cubicBezTo>
                    <a:pt x="1075" y="325"/>
                    <a:pt x="1072" y="328"/>
                    <a:pt x="1070" y="329"/>
                  </a:cubicBezTo>
                  <a:cubicBezTo>
                    <a:pt x="1068" y="330"/>
                    <a:pt x="1064" y="329"/>
                    <a:pt x="1062" y="329"/>
                  </a:cubicBezTo>
                  <a:cubicBezTo>
                    <a:pt x="1060" y="328"/>
                    <a:pt x="1057" y="324"/>
                    <a:pt x="1055" y="324"/>
                  </a:cubicBezTo>
                  <a:cubicBezTo>
                    <a:pt x="1053" y="324"/>
                    <a:pt x="1050" y="329"/>
                    <a:pt x="1048" y="330"/>
                  </a:cubicBezTo>
                  <a:cubicBezTo>
                    <a:pt x="1046" y="330"/>
                    <a:pt x="1041" y="329"/>
                    <a:pt x="1040" y="330"/>
                  </a:cubicBezTo>
                  <a:cubicBezTo>
                    <a:pt x="1037" y="332"/>
                    <a:pt x="1034" y="338"/>
                    <a:pt x="1031" y="340"/>
                  </a:cubicBezTo>
                  <a:cubicBezTo>
                    <a:pt x="1029" y="340"/>
                    <a:pt x="1025" y="339"/>
                    <a:pt x="1023" y="340"/>
                  </a:cubicBezTo>
                  <a:cubicBezTo>
                    <a:pt x="1021" y="341"/>
                    <a:pt x="1021" y="347"/>
                    <a:pt x="1019" y="347"/>
                  </a:cubicBezTo>
                  <a:cubicBezTo>
                    <a:pt x="1017" y="347"/>
                    <a:pt x="1014" y="342"/>
                    <a:pt x="1012" y="340"/>
                  </a:cubicBezTo>
                  <a:cubicBezTo>
                    <a:pt x="1010" y="339"/>
                    <a:pt x="1006" y="338"/>
                    <a:pt x="1004" y="338"/>
                  </a:cubicBezTo>
                  <a:cubicBezTo>
                    <a:pt x="1002" y="337"/>
                    <a:pt x="999" y="335"/>
                    <a:pt x="997" y="333"/>
                  </a:cubicBezTo>
                  <a:cubicBezTo>
                    <a:pt x="995" y="332"/>
                    <a:pt x="994" y="327"/>
                    <a:pt x="992" y="325"/>
                  </a:cubicBezTo>
                  <a:cubicBezTo>
                    <a:pt x="991" y="324"/>
                    <a:pt x="987" y="324"/>
                    <a:pt x="985" y="325"/>
                  </a:cubicBezTo>
                  <a:cubicBezTo>
                    <a:pt x="983" y="325"/>
                    <a:pt x="980" y="330"/>
                    <a:pt x="978" y="330"/>
                  </a:cubicBezTo>
                  <a:cubicBezTo>
                    <a:pt x="976" y="331"/>
                    <a:pt x="972" y="329"/>
                    <a:pt x="970" y="327"/>
                  </a:cubicBezTo>
                  <a:cubicBezTo>
                    <a:pt x="968" y="326"/>
                    <a:pt x="966" y="322"/>
                    <a:pt x="964" y="320"/>
                  </a:cubicBezTo>
                  <a:cubicBezTo>
                    <a:pt x="962" y="319"/>
                    <a:pt x="959" y="317"/>
                    <a:pt x="957" y="317"/>
                  </a:cubicBezTo>
                  <a:cubicBezTo>
                    <a:pt x="956" y="317"/>
                    <a:pt x="955" y="318"/>
                    <a:pt x="955" y="319"/>
                  </a:cubicBezTo>
                  <a:cubicBezTo>
                    <a:pt x="954" y="320"/>
                    <a:pt x="955" y="323"/>
                    <a:pt x="954" y="324"/>
                  </a:cubicBezTo>
                  <a:cubicBezTo>
                    <a:pt x="953" y="326"/>
                    <a:pt x="947" y="327"/>
                    <a:pt x="946" y="329"/>
                  </a:cubicBezTo>
                  <a:cubicBezTo>
                    <a:pt x="944" y="332"/>
                    <a:pt x="946" y="341"/>
                    <a:pt x="943" y="343"/>
                  </a:cubicBezTo>
                  <a:cubicBezTo>
                    <a:pt x="942" y="344"/>
                    <a:pt x="939" y="344"/>
                    <a:pt x="938" y="344"/>
                  </a:cubicBezTo>
                  <a:cubicBezTo>
                    <a:pt x="937" y="344"/>
                    <a:pt x="936" y="343"/>
                    <a:pt x="936" y="343"/>
                  </a:cubicBezTo>
                  <a:cubicBezTo>
                    <a:pt x="935" y="341"/>
                    <a:pt x="933" y="337"/>
                    <a:pt x="933" y="335"/>
                  </a:cubicBezTo>
                  <a:cubicBezTo>
                    <a:pt x="933" y="333"/>
                    <a:pt x="937" y="329"/>
                    <a:pt x="936" y="327"/>
                  </a:cubicBezTo>
                  <a:cubicBezTo>
                    <a:pt x="935" y="326"/>
                    <a:pt x="930" y="326"/>
                    <a:pt x="929" y="327"/>
                  </a:cubicBezTo>
                  <a:cubicBezTo>
                    <a:pt x="925" y="327"/>
                    <a:pt x="920" y="332"/>
                    <a:pt x="916" y="332"/>
                  </a:cubicBezTo>
                  <a:cubicBezTo>
                    <a:pt x="915" y="333"/>
                    <a:pt x="911" y="332"/>
                    <a:pt x="909" y="331"/>
                  </a:cubicBezTo>
                  <a:cubicBezTo>
                    <a:pt x="908" y="330"/>
                    <a:pt x="908" y="325"/>
                    <a:pt x="906" y="324"/>
                  </a:cubicBezTo>
                  <a:cubicBezTo>
                    <a:pt x="905" y="323"/>
                    <a:pt x="901" y="325"/>
                    <a:pt x="899" y="324"/>
                  </a:cubicBezTo>
                  <a:cubicBezTo>
                    <a:pt x="897" y="323"/>
                    <a:pt x="898" y="318"/>
                    <a:pt x="896" y="317"/>
                  </a:cubicBezTo>
                  <a:cubicBezTo>
                    <a:pt x="895" y="315"/>
                    <a:pt x="890" y="313"/>
                    <a:pt x="888" y="314"/>
                  </a:cubicBezTo>
                  <a:cubicBezTo>
                    <a:pt x="884" y="315"/>
                    <a:pt x="880" y="323"/>
                    <a:pt x="877" y="325"/>
                  </a:cubicBezTo>
                  <a:cubicBezTo>
                    <a:pt x="875" y="326"/>
                    <a:pt x="871" y="328"/>
                    <a:pt x="869" y="328"/>
                  </a:cubicBezTo>
                  <a:cubicBezTo>
                    <a:pt x="868" y="328"/>
                    <a:pt x="863" y="328"/>
                    <a:pt x="862" y="327"/>
                  </a:cubicBezTo>
                  <a:cubicBezTo>
                    <a:pt x="861" y="325"/>
                    <a:pt x="862" y="319"/>
                    <a:pt x="862" y="317"/>
                  </a:cubicBezTo>
                  <a:cubicBezTo>
                    <a:pt x="861" y="315"/>
                    <a:pt x="861" y="313"/>
                    <a:pt x="860" y="312"/>
                  </a:cubicBezTo>
                  <a:cubicBezTo>
                    <a:pt x="859" y="311"/>
                    <a:pt x="854" y="312"/>
                    <a:pt x="852" y="311"/>
                  </a:cubicBezTo>
                  <a:cubicBezTo>
                    <a:pt x="850" y="310"/>
                    <a:pt x="848" y="306"/>
                    <a:pt x="848" y="304"/>
                  </a:cubicBezTo>
                  <a:cubicBezTo>
                    <a:pt x="847" y="302"/>
                    <a:pt x="850" y="297"/>
                    <a:pt x="849" y="296"/>
                  </a:cubicBezTo>
                  <a:cubicBezTo>
                    <a:pt x="847" y="294"/>
                    <a:pt x="843" y="296"/>
                    <a:pt x="841" y="296"/>
                  </a:cubicBezTo>
                  <a:cubicBezTo>
                    <a:pt x="837" y="296"/>
                    <a:pt x="829" y="294"/>
                    <a:pt x="825" y="295"/>
                  </a:cubicBezTo>
                  <a:cubicBezTo>
                    <a:pt x="823" y="296"/>
                    <a:pt x="820" y="300"/>
                    <a:pt x="818" y="301"/>
                  </a:cubicBezTo>
                  <a:cubicBezTo>
                    <a:pt x="816" y="302"/>
                    <a:pt x="812" y="303"/>
                    <a:pt x="810" y="303"/>
                  </a:cubicBezTo>
                  <a:cubicBezTo>
                    <a:pt x="808" y="302"/>
                    <a:pt x="806" y="299"/>
                    <a:pt x="805" y="298"/>
                  </a:cubicBezTo>
                  <a:cubicBezTo>
                    <a:pt x="804" y="297"/>
                    <a:pt x="802" y="294"/>
                    <a:pt x="801" y="293"/>
                  </a:cubicBezTo>
                  <a:cubicBezTo>
                    <a:pt x="799" y="292"/>
                    <a:pt x="795" y="293"/>
                    <a:pt x="793" y="293"/>
                  </a:cubicBezTo>
                  <a:cubicBezTo>
                    <a:pt x="791" y="293"/>
                    <a:pt x="788" y="294"/>
                    <a:pt x="786" y="294"/>
                  </a:cubicBezTo>
                  <a:cubicBezTo>
                    <a:pt x="782" y="294"/>
                    <a:pt x="774" y="291"/>
                    <a:pt x="771" y="289"/>
                  </a:cubicBezTo>
                  <a:cubicBezTo>
                    <a:pt x="769" y="288"/>
                    <a:pt x="765" y="284"/>
                    <a:pt x="763" y="284"/>
                  </a:cubicBezTo>
                  <a:cubicBezTo>
                    <a:pt x="761" y="284"/>
                    <a:pt x="757" y="286"/>
                    <a:pt x="756" y="286"/>
                  </a:cubicBezTo>
                  <a:cubicBezTo>
                    <a:pt x="755" y="286"/>
                    <a:pt x="753" y="285"/>
                    <a:pt x="752" y="285"/>
                  </a:cubicBezTo>
                  <a:cubicBezTo>
                    <a:pt x="750" y="285"/>
                    <a:pt x="746" y="286"/>
                    <a:pt x="744" y="285"/>
                  </a:cubicBezTo>
                  <a:cubicBezTo>
                    <a:pt x="742" y="284"/>
                    <a:pt x="742" y="279"/>
                    <a:pt x="742" y="277"/>
                  </a:cubicBezTo>
                  <a:cubicBezTo>
                    <a:pt x="742" y="275"/>
                    <a:pt x="742" y="271"/>
                    <a:pt x="742" y="270"/>
                  </a:cubicBezTo>
                  <a:cubicBezTo>
                    <a:pt x="741" y="268"/>
                    <a:pt x="738" y="264"/>
                    <a:pt x="737" y="263"/>
                  </a:cubicBezTo>
                  <a:cubicBezTo>
                    <a:pt x="735" y="261"/>
                    <a:pt x="731" y="260"/>
                    <a:pt x="730" y="259"/>
                  </a:cubicBezTo>
                  <a:cubicBezTo>
                    <a:pt x="729" y="258"/>
                    <a:pt x="729" y="255"/>
                    <a:pt x="727" y="255"/>
                  </a:cubicBezTo>
                  <a:cubicBezTo>
                    <a:pt x="725" y="255"/>
                    <a:pt x="726" y="261"/>
                    <a:pt x="724" y="263"/>
                  </a:cubicBezTo>
                  <a:cubicBezTo>
                    <a:pt x="722" y="264"/>
                    <a:pt x="718" y="263"/>
                    <a:pt x="717" y="263"/>
                  </a:cubicBezTo>
                  <a:cubicBezTo>
                    <a:pt x="714" y="263"/>
                    <a:pt x="711" y="260"/>
                    <a:pt x="709" y="260"/>
                  </a:cubicBezTo>
                  <a:cubicBezTo>
                    <a:pt x="706" y="260"/>
                    <a:pt x="703" y="264"/>
                    <a:pt x="701" y="264"/>
                  </a:cubicBezTo>
                  <a:cubicBezTo>
                    <a:pt x="699" y="264"/>
                    <a:pt x="694" y="260"/>
                    <a:pt x="694" y="260"/>
                  </a:cubicBezTo>
                  <a:cubicBezTo>
                    <a:pt x="681" y="246"/>
                    <a:pt x="681" y="246"/>
                    <a:pt x="681" y="246"/>
                  </a:cubicBezTo>
                  <a:cubicBezTo>
                    <a:pt x="673" y="240"/>
                    <a:pt x="673" y="240"/>
                    <a:pt x="673" y="240"/>
                  </a:cubicBezTo>
                  <a:cubicBezTo>
                    <a:pt x="666" y="239"/>
                    <a:pt x="666" y="239"/>
                    <a:pt x="666" y="239"/>
                  </a:cubicBezTo>
                  <a:cubicBezTo>
                    <a:pt x="667" y="226"/>
                    <a:pt x="667" y="226"/>
                    <a:pt x="667" y="226"/>
                  </a:cubicBezTo>
                  <a:cubicBezTo>
                    <a:pt x="673" y="17"/>
                    <a:pt x="673" y="17"/>
                    <a:pt x="673" y="17"/>
                  </a:cubicBezTo>
                  <a:cubicBezTo>
                    <a:pt x="665" y="13"/>
                    <a:pt x="665" y="13"/>
                    <a:pt x="665" y="13"/>
                  </a:cubicBezTo>
                  <a:cubicBezTo>
                    <a:pt x="657" y="12"/>
                    <a:pt x="657" y="12"/>
                    <a:pt x="657" y="12"/>
                  </a:cubicBezTo>
                  <a:cubicBezTo>
                    <a:pt x="618" y="12"/>
                    <a:pt x="618" y="12"/>
                    <a:pt x="618" y="12"/>
                  </a:cubicBezTo>
                  <a:cubicBezTo>
                    <a:pt x="522" y="7"/>
                    <a:pt x="522" y="7"/>
                    <a:pt x="522" y="7"/>
                  </a:cubicBezTo>
                  <a:cubicBezTo>
                    <a:pt x="394" y="0"/>
                    <a:pt x="394" y="0"/>
                    <a:pt x="394" y="0"/>
                  </a:cubicBezTo>
                  <a:cubicBezTo>
                    <a:pt x="390" y="1"/>
                    <a:pt x="390" y="1"/>
                    <a:pt x="390" y="1"/>
                  </a:cubicBezTo>
                  <a:cubicBezTo>
                    <a:pt x="389" y="9"/>
                    <a:pt x="389" y="9"/>
                    <a:pt x="389" y="9"/>
                  </a:cubicBezTo>
                  <a:cubicBezTo>
                    <a:pt x="372" y="292"/>
                    <a:pt x="372" y="292"/>
                    <a:pt x="372" y="292"/>
                  </a:cubicBezTo>
                  <a:cubicBezTo>
                    <a:pt x="362" y="399"/>
                    <a:pt x="362" y="399"/>
                    <a:pt x="362" y="399"/>
                  </a:cubicBezTo>
                  <a:cubicBezTo>
                    <a:pt x="355" y="521"/>
                    <a:pt x="355" y="521"/>
                    <a:pt x="355" y="521"/>
                  </a:cubicBezTo>
                  <a:cubicBezTo>
                    <a:pt x="348" y="528"/>
                    <a:pt x="348" y="528"/>
                    <a:pt x="348" y="528"/>
                  </a:cubicBezTo>
                  <a:cubicBezTo>
                    <a:pt x="344" y="528"/>
                    <a:pt x="344" y="528"/>
                    <a:pt x="344" y="528"/>
                  </a:cubicBezTo>
                  <a:cubicBezTo>
                    <a:pt x="258" y="522"/>
                    <a:pt x="258" y="522"/>
                    <a:pt x="258" y="522"/>
                  </a:cubicBezTo>
                  <a:cubicBezTo>
                    <a:pt x="172" y="515"/>
                    <a:pt x="172" y="515"/>
                    <a:pt x="172" y="515"/>
                  </a:cubicBezTo>
                  <a:cubicBezTo>
                    <a:pt x="75" y="507"/>
                    <a:pt x="75" y="507"/>
                    <a:pt x="75" y="507"/>
                  </a:cubicBezTo>
                  <a:cubicBezTo>
                    <a:pt x="0" y="499"/>
                    <a:pt x="0" y="499"/>
                    <a:pt x="0" y="499"/>
                  </a:cubicBezTo>
                  <a:cubicBezTo>
                    <a:pt x="0" y="503"/>
                    <a:pt x="0" y="503"/>
                    <a:pt x="0" y="503"/>
                  </a:cubicBezTo>
                  <a:cubicBezTo>
                    <a:pt x="5" y="517"/>
                    <a:pt x="5" y="517"/>
                    <a:pt x="5" y="517"/>
                  </a:cubicBezTo>
                  <a:cubicBezTo>
                    <a:pt x="9" y="523"/>
                    <a:pt x="9" y="523"/>
                    <a:pt x="9" y="523"/>
                  </a:cubicBezTo>
                  <a:cubicBezTo>
                    <a:pt x="9" y="523"/>
                    <a:pt x="13" y="527"/>
                    <a:pt x="16" y="530"/>
                  </a:cubicBezTo>
                  <a:cubicBezTo>
                    <a:pt x="16" y="530"/>
                    <a:pt x="19" y="530"/>
                    <a:pt x="20" y="531"/>
                  </a:cubicBezTo>
                  <a:cubicBezTo>
                    <a:pt x="22" y="532"/>
                    <a:pt x="26" y="535"/>
                    <a:pt x="27" y="537"/>
                  </a:cubicBezTo>
                  <a:cubicBezTo>
                    <a:pt x="28" y="538"/>
                    <a:pt x="31" y="542"/>
                    <a:pt x="31" y="544"/>
                  </a:cubicBezTo>
                  <a:cubicBezTo>
                    <a:pt x="32" y="546"/>
                    <a:pt x="33" y="551"/>
                    <a:pt x="33" y="551"/>
                  </a:cubicBezTo>
                  <a:cubicBezTo>
                    <a:pt x="33" y="551"/>
                    <a:pt x="37" y="562"/>
                    <a:pt x="39" y="565"/>
                  </a:cubicBezTo>
                  <a:cubicBezTo>
                    <a:pt x="41" y="567"/>
                    <a:pt x="45" y="570"/>
                    <a:pt x="47" y="571"/>
                  </a:cubicBezTo>
                  <a:cubicBezTo>
                    <a:pt x="50" y="573"/>
                    <a:pt x="58" y="577"/>
                    <a:pt x="61" y="579"/>
                  </a:cubicBezTo>
                  <a:cubicBezTo>
                    <a:pt x="63" y="581"/>
                    <a:pt x="67" y="584"/>
                    <a:pt x="68" y="586"/>
                  </a:cubicBezTo>
                  <a:cubicBezTo>
                    <a:pt x="72" y="591"/>
                    <a:pt x="79" y="601"/>
                    <a:pt x="83" y="606"/>
                  </a:cubicBezTo>
                  <a:cubicBezTo>
                    <a:pt x="86" y="610"/>
                    <a:pt x="94" y="616"/>
                    <a:pt x="97" y="620"/>
                  </a:cubicBezTo>
                  <a:cubicBezTo>
                    <a:pt x="98" y="622"/>
                    <a:pt x="99" y="626"/>
                    <a:pt x="101" y="628"/>
                  </a:cubicBezTo>
                  <a:cubicBezTo>
                    <a:pt x="103" y="632"/>
                    <a:pt x="110" y="640"/>
                    <a:pt x="114" y="643"/>
                  </a:cubicBezTo>
                  <a:cubicBezTo>
                    <a:pt x="115" y="645"/>
                    <a:pt x="119" y="648"/>
                    <a:pt x="122" y="649"/>
                  </a:cubicBezTo>
                  <a:cubicBezTo>
                    <a:pt x="123" y="650"/>
                    <a:pt x="127" y="651"/>
                    <a:pt x="129" y="652"/>
                  </a:cubicBezTo>
                  <a:cubicBezTo>
                    <a:pt x="133" y="655"/>
                    <a:pt x="140" y="663"/>
                    <a:pt x="144" y="666"/>
                  </a:cubicBezTo>
                  <a:cubicBezTo>
                    <a:pt x="146" y="667"/>
                    <a:pt x="150" y="668"/>
                    <a:pt x="151" y="669"/>
                  </a:cubicBezTo>
                  <a:cubicBezTo>
                    <a:pt x="152" y="671"/>
                    <a:pt x="152" y="675"/>
                    <a:pt x="153" y="676"/>
                  </a:cubicBezTo>
                  <a:cubicBezTo>
                    <a:pt x="154" y="678"/>
                    <a:pt x="157" y="679"/>
                    <a:pt x="158" y="680"/>
                  </a:cubicBezTo>
                  <a:cubicBezTo>
                    <a:pt x="160" y="682"/>
                    <a:pt x="161" y="685"/>
                    <a:pt x="161" y="687"/>
                  </a:cubicBezTo>
                  <a:cubicBezTo>
                    <a:pt x="162" y="691"/>
                    <a:pt x="161" y="699"/>
                    <a:pt x="163" y="702"/>
                  </a:cubicBezTo>
                  <a:cubicBezTo>
                    <a:pt x="164" y="703"/>
                    <a:pt x="166" y="704"/>
                    <a:pt x="167" y="705"/>
                  </a:cubicBezTo>
                  <a:cubicBezTo>
                    <a:pt x="169" y="709"/>
                    <a:pt x="172" y="717"/>
                    <a:pt x="173" y="720"/>
                  </a:cubicBezTo>
                  <a:cubicBezTo>
                    <a:pt x="174" y="722"/>
                    <a:pt x="177" y="726"/>
                    <a:pt x="178" y="728"/>
                  </a:cubicBezTo>
                  <a:cubicBezTo>
                    <a:pt x="178" y="729"/>
                    <a:pt x="178" y="733"/>
                    <a:pt x="178" y="735"/>
                  </a:cubicBezTo>
                  <a:cubicBezTo>
                    <a:pt x="178" y="737"/>
                    <a:pt x="176" y="741"/>
                    <a:pt x="176" y="743"/>
                  </a:cubicBezTo>
                  <a:cubicBezTo>
                    <a:pt x="175" y="746"/>
                    <a:pt x="176" y="754"/>
                    <a:pt x="176" y="757"/>
                  </a:cubicBezTo>
                  <a:cubicBezTo>
                    <a:pt x="179" y="767"/>
                    <a:pt x="192" y="795"/>
                    <a:pt x="192" y="795"/>
                  </a:cubicBezTo>
                  <a:cubicBezTo>
                    <a:pt x="192" y="795"/>
                    <a:pt x="199" y="803"/>
                    <a:pt x="202" y="805"/>
                  </a:cubicBezTo>
                  <a:cubicBezTo>
                    <a:pt x="204" y="806"/>
                    <a:pt x="208" y="807"/>
                    <a:pt x="210" y="808"/>
                  </a:cubicBezTo>
                  <a:cubicBezTo>
                    <a:pt x="211" y="809"/>
                    <a:pt x="215" y="811"/>
                    <a:pt x="217" y="813"/>
                  </a:cubicBezTo>
                  <a:cubicBezTo>
                    <a:pt x="218" y="814"/>
                    <a:pt x="220" y="818"/>
                    <a:pt x="222" y="820"/>
                  </a:cubicBezTo>
                  <a:cubicBezTo>
                    <a:pt x="226" y="824"/>
                    <a:pt x="234" y="833"/>
                    <a:pt x="239" y="836"/>
                  </a:cubicBezTo>
                  <a:cubicBezTo>
                    <a:pt x="241" y="837"/>
                    <a:pt x="244" y="838"/>
                    <a:pt x="246" y="839"/>
                  </a:cubicBezTo>
                  <a:cubicBezTo>
                    <a:pt x="250" y="840"/>
                    <a:pt x="258" y="840"/>
                    <a:pt x="261" y="842"/>
                  </a:cubicBezTo>
                  <a:cubicBezTo>
                    <a:pt x="263" y="844"/>
                    <a:pt x="264" y="849"/>
                    <a:pt x="265" y="850"/>
                  </a:cubicBezTo>
                  <a:cubicBezTo>
                    <a:pt x="269" y="854"/>
                    <a:pt x="281" y="856"/>
                    <a:pt x="285" y="860"/>
                  </a:cubicBezTo>
                  <a:cubicBezTo>
                    <a:pt x="287" y="861"/>
                    <a:pt x="291" y="866"/>
                    <a:pt x="293" y="868"/>
                  </a:cubicBezTo>
                  <a:cubicBezTo>
                    <a:pt x="294" y="869"/>
                    <a:pt x="298" y="873"/>
                    <a:pt x="300" y="873"/>
                  </a:cubicBezTo>
                  <a:cubicBezTo>
                    <a:pt x="301" y="874"/>
                    <a:pt x="306" y="873"/>
                    <a:pt x="307" y="874"/>
                  </a:cubicBezTo>
                  <a:cubicBezTo>
                    <a:pt x="307" y="875"/>
                    <a:pt x="307" y="876"/>
                    <a:pt x="308" y="877"/>
                  </a:cubicBezTo>
                  <a:cubicBezTo>
                    <a:pt x="309" y="878"/>
                    <a:pt x="315" y="878"/>
                    <a:pt x="315" y="878"/>
                  </a:cubicBezTo>
                  <a:cubicBezTo>
                    <a:pt x="315" y="878"/>
                    <a:pt x="325" y="880"/>
                    <a:pt x="327" y="878"/>
                  </a:cubicBezTo>
                  <a:cubicBezTo>
                    <a:pt x="329" y="877"/>
                    <a:pt x="328" y="873"/>
                    <a:pt x="329" y="872"/>
                  </a:cubicBezTo>
                  <a:cubicBezTo>
                    <a:pt x="331" y="870"/>
                    <a:pt x="336" y="869"/>
                    <a:pt x="337" y="867"/>
                  </a:cubicBezTo>
                  <a:cubicBezTo>
                    <a:pt x="339" y="865"/>
                    <a:pt x="340" y="861"/>
                    <a:pt x="342" y="860"/>
                  </a:cubicBezTo>
                  <a:cubicBezTo>
                    <a:pt x="343" y="858"/>
                    <a:pt x="347" y="858"/>
                    <a:pt x="349" y="857"/>
                  </a:cubicBezTo>
                  <a:cubicBezTo>
                    <a:pt x="350" y="855"/>
                    <a:pt x="351" y="851"/>
                    <a:pt x="352" y="850"/>
                  </a:cubicBezTo>
                  <a:cubicBezTo>
                    <a:pt x="352" y="848"/>
                    <a:pt x="352" y="843"/>
                    <a:pt x="353" y="842"/>
                  </a:cubicBezTo>
                  <a:cubicBezTo>
                    <a:pt x="354" y="841"/>
                    <a:pt x="357" y="840"/>
                    <a:pt x="357" y="839"/>
                  </a:cubicBezTo>
                  <a:cubicBezTo>
                    <a:pt x="363" y="832"/>
                    <a:pt x="366" y="816"/>
                    <a:pt x="370" y="808"/>
                  </a:cubicBezTo>
                  <a:cubicBezTo>
                    <a:pt x="371" y="806"/>
                    <a:pt x="374" y="801"/>
                    <a:pt x="376" y="799"/>
                  </a:cubicBezTo>
                  <a:cubicBezTo>
                    <a:pt x="377" y="798"/>
                    <a:pt x="379" y="796"/>
                    <a:pt x="380" y="796"/>
                  </a:cubicBezTo>
                  <a:cubicBezTo>
                    <a:pt x="381" y="795"/>
                    <a:pt x="385" y="795"/>
                    <a:pt x="387" y="795"/>
                  </a:cubicBezTo>
                  <a:cubicBezTo>
                    <a:pt x="389" y="794"/>
                    <a:pt x="393" y="792"/>
                    <a:pt x="395" y="791"/>
                  </a:cubicBezTo>
                  <a:cubicBezTo>
                    <a:pt x="397" y="791"/>
                    <a:pt x="400" y="792"/>
                    <a:pt x="402" y="792"/>
                  </a:cubicBezTo>
                  <a:cubicBezTo>
                    <a:pt x="404" y="792"/>
                    <a:pt x="408" y="791"/>
                    <a:pt x="409" y="790"/>
                  </a:cubicBezTo>
                  <a:cubicBezTo>
                    <a:pt x="411" y="788"/>
                    <a:pt x="412" y="784"/>
                    <a:pt x="414" y="783"/>
                  </a:cubicBezTo>
                  <a:cubicBezTo>
                    <a:pt x="415" y="782"/>
                    <a:pt x="419" y="782"/>
                    <a:pt x="421" y="783"/>
                  </a:cubicBezTo>
                  <a:cubicBezTo>
                    <a:pt x="424" y="783"/>
                    <a:pt x="430" y="788"/>
                    <a:pt x="434" y="790"/>
                  </a:cubicBezTo>
                  <a:cubicBezTo>
                    <a:pt x="436" y="790"/>
                    <a:pt x="439" y="792"/>
                    <a:pt x="441" y="792"/>
                  </a:cubicBezTo>
                  <a:cubicBezTo>
                    <a:pt x="443" y="792"/>
                    <a:pt x="447" y="790"/>
                    <a:pt x="449" y="790"/>
                  </a:cubicBezTo>
                  <a:cubicBezTo>
                    <a:pt x="451" y="790"/>
                    <a:pt x="454" y="792"/>
                    <a:pt x="456" y="792"/>
                  </a:cubicBezTo>
                  <a:cubicBezTo>
                    <a:pt x="458" y="792"/>
                    <a:pt x="462" y="792"/>
                    <a:pt x="464" y="792"/>
                  </a:cubicBezTo>
                  <a:cubicBezTo>
                    <a:pt x="469" y="793"/>
                    <a:pt x="479" y="798"/>
                    <a:pt x="484" y="798"/>
                  </a:cubicBezTo>
                  <a:cubicBezTo>
                    <a:pt x="487" y="797"/>
                    <a:pt x="490" y="793"/>
                    <a:pt x="492" y="793"/>
                  </a:cubicBezTo>
                  <a:cubicBezTo>
                    <a:pt x="494" y="792"/>
                    <a:pt x="498" y="795"/>
                    <a:pt x="499" y="796"/>
                  </a:cubicBezTo>
                  <a:cubicBezTo>
                    <a:pt x="501" y="797"/>
                    <a:pt x="505" y="799"/>
                    <a:pt x="507" y="801"/>
                  </a:cubicBezTo>
                  <a:cubicBezTo>
                    <a:pt x="508" y="803"/>
                    <a:pt x="509" y="807"/>
                    <a:pt x="510" y="808"/>
                  </a:cubicBezTo>
                  <a:cubicBezTo>
                    <a:pt x="511" y="810"/>
                    <a:pt x="514" y="813"/>
                    <a:pt x="515" y="815"/>
                  </a:cubicBezTo>
                  <a:cubicBezTo>
                    <a:pt x="516" y="816"/>
                    <a:pt x="516" y="820"/>
                    <a:pt x="517" y="821"/>
                  </a:cubicBezTo>
                  <a:cubicBezTo>
                    <a:pt x="518" y="822"/>
                    <a:pt x="522" y="819"/>
                    <a:pt x="524" y="819"/>
                  </a:cubicBezTo>
                  <a:cubicBezTo>
                    <a:pt x="526" y="820"/>
                    <a:pt x="527" y="826"/>
                    <a:pt x="527" y="826"/>
                  </a:cubicBezTo>
                  <a:cubicBezTo>
                    <a:pt x="535" y="833"/>
                    <a:pt x="535" y="833"/>
                    <a:pt x="535" y="833"/>
                  </a:cubicBezTo>
                  <a:cubicBezTo>
                    <a:pt x="535" y="833"/>
                    <a:pt x="541" y="835"/>
                    <a:pt x="542" y="837"/>
                  </a:cubicBezTo>
                  <a:cubicBezTo>
                    <a:pt x="543" y="838"/>
                    <a:pt x="542" y="842"/>
                    <a:pt x="543" y="843"/>
                  </a:cubicBezTo>
                  <a:cubicBezTo>
                    <a:pt x="546" y="849"/>
                    <a:pt x="560" y="855"/>
                    <a:pt x="564" y="860"/>
                  </a:cubicBezTo>
                  <a:cubicBezTo>
                    <a:pt x="568" y="863"/>
                    <a:pt x="571" y="871"/>
                    <a:pt x="573" y="875"/>
                  </a:cubicBezTo>
                  <a:cubicBezTo>
                    <a:pt x="574" y="877"/>
                    <a:pt x="578" y="880"/>
                    <a:pt x="579" y="882"/>
                  </a:cubicBezTo>
                  <a:cubicBezTo>
                    <a:pt x="581" y="887"/>
                    <a:pt x="581" y="897"/>
                    <a:pt x="583" y="902"/>
                  </a:cubicBezTo>
                  <a:cubicBezTo>
                    <a:pt x="585" y="906"/>
                    <a:pt x="590" y="913"/>
                    <a:pt x="592" y="917"/>
                  </a:cubicBezTo>
                  <a:cubicBezTo>
                    <a:pt x="593" y="919"/>
                    <a:pt x="594" y="923"/>
                    <a:pt x="595" y="925"/>
                  </a:cubicBezTo>
                  <a:cubicBezTo>
                    <a:pt x="595" y="925"/>
                    <a:pt x="594" y="927"/>
                    <a:pt x="595" y="927"/>
                  </a:cubicBezTo>
                  <a:cubicBezTo>
                    <a:pt x="595" y="929"/>
                    <a:pt x="599" y="932"/>
                    <a:pt x="600" y="934"/>
                  </a:cubicBezTo>
                  <a:cubicBezTo>
                    <a:pt x="601" y="936"/>
                    <a:pt x="602" y="939"/>
                    <a:pt x="603" y="941"/>
                  </a:cubicBezTo>
                  <a:cubicBezTo>
                    <a:pt x="605" y="943"/>
                    <a:pt x="610" y="947"/>
                    <a:pt x="610" y="949"/>
                  </a:cubicBezTo>
                  <a:cubicBezTo>
                    <a:pt x="610" y="950"/>
                    <a:pt x="608" y="951"/>
                    <a:pt x="608" y="951"/>
                  </a:cubicBezTo>
                  <a:cubicBezTo>
                    <a:pt x="607" y="955"/>
                    <a:pt x="610" y="963"/>
                    <a:pt x="611" y="966"/>
                  </a:cubicBezTo>
                  <a:cubicBezTo>
                    <a:pt x="613" y="970"/>
                    <a:pt x="616" y="978"/>
                    <a:pt x="618" y="982"/>
                  </a:cubicBezTo>
                  <a:cubicBezTo>
                    <a:pt x="620" y="984"/>
                    <a:pt x="624" y="987"/>
                    <a:pt x="626" y="988"/>
                  </a:cubicBezTo>
                  <a:cubicBezTo>
                    <a:pt x="628" y="989"/>
                    <a:pt x="632" y="990"/>
                    <a:pt x="634" y="991"/>
                  </a:cubicBezTo>
                  <a:cubicBezTo>
                    <a:pt x="636" y="993"/>
                    <a:pt x="639" y="999"/>
                    <a:pt x="640" y="1002"/>
                  </a:cubicBezTo>
                  <a:cubicBezTo>
                    <a:pt x="641" y="1003"/>
                    <a:pt x="641" y="1007"/>
                    <a:pt x="642" y="1009"/>
                  </a:cubicBezTo>
                  <a:cubicBezTo>
                    <a:pt x="643" y="1011"/>
                    <a:pt x="647" y="1013"/>
                    <a:pt x="649" y="1014"/>
                  </a:cubicBezTo>
                  <a:cubicBezTo>
                    <a:pt x="650" y="1016"/>
                    <a:pt x="654" y="1020"/>
                    <a:pt x="655" y="1022"/>
                  </a:cubicBezTo>
                  <a:cubicBezTo>
                    <a:pt x="655" y="1024"/>
                    <a:pt x="655" y="1027"/>
                    <a:pt x="656" y="1029"/>
                  </a:cubicBezTo>
                  <a:cubicBezTo>
                    <a:pt x="658" y="1035"/>
                    <a:pt x="665" y="1046"/>
                    <a:pt x="670" y="1049"/>
                  </a:cubicBezTo>
                  <a:cubicBezTo>
                    <a:pt x="673" y="1051"/>
                    <a:pt x="680" y="1051"/>
                    <a:pt x="683" y="1053"/>
                  </a:cubicBezTo>
                  <a:cubicBezTo>
                    <a:pt x="685" y="1054"/>
                    <a:pt x="688" y="1057"/>
                    <a:pt x="690" y="1059"/>
                  </a:cubicBezTo>
                  <a:cubicBezTo>
                    <a:pt x="691" y="1060"/>
                    <a:pt x="692" y="1061"/>
                    <a:pt x="692" y="1062"/>
                  </a:cubicBezTo>
                  <a:cubicBezTo>
                    <a:pt x="692" y="1064"/>
                    <a:pt x="691" y="1068"/>
                    <a:pt x="691" y="1070"/>
                  </a:cubicBezTo>
                  <a:cubicBezTo>
                    <a:pt x="692" y="1071"/>
                    <a:pt x="694" y="1075"/>
                    <a:pt x="694" y="1077"/>
                  </a:cubicBezTo>
                  <a:cubicBezTo>
                    <a:pt x="695" y="1079"/>
                    <a:pt x="694" y="1083"/>
                    <a:pt x="694" y="1085"/>
                  </a:cubicBezTo>
                  <a:cubicBezTo>
                    <a:pt x="693" y="1087"/>
                    <a:pt x="689" y="1091"/>
                    <a:pt x="690" y="1093"/>
                  </a:cubicBezTo>
                  <a:cubicBezTo>
                    <a:pt x="691" y="1095"/>
                    <a:pt x="697" y="1096"/>
                    <a:pt x="698" y="1098"/>
                  </a:cubicBezTo>
                  <a:cubicBezTo>
                    <a:pt x="699" y="1100"/>
                    <a:pt x="698" y="1104"/>
                    <a:pt x="698" y="1106"/>
                  </a:cubicBezTo>
                  <a:cubicBezTo>
                    <a:pt x="698" y="1108"/>
                    <a:pt x="696" y="1112"/>
                    <a:pt x="696" y="1114"/>
                  </a:cubicBezTo>
                  <a:cubicBezTo>
                    <a:pt x="696" y="1115"/>
                    <a:pt x="696" y="1119"/>
                    <a:pt x="697" y="1121"/>
                  </a:cubicBezTo>
                  <a:cubicBezTo>
                    <a:pt x="698" y="1123"/>
                    <a:pt x="702" y="1126"/>
                    <a:pt x="703" y="1128"/>
                  </a:cubicBezTo>
                  <a:cubicBezTo>
                    <a:pt x="705" y="1131"/>
                    <a:pt x="711" y="1142"/>
                    <a:pt x="711" y="1142"/>
                  </a:cubicBezTo>
                  <a:cubicBezTo>
                    <a:pt x="717" y="1150"/>
                    <a:pt x="717" y="1150"/>
                    <a:pt x="717" y="1150"/>
                  </a:cubicBezTo>
                  <a:cubicBezTo>
                    <a:pt x="722" y="1166"/>
                    <a:pt x="722" y="1166"/>
                    <a:pt x="722" y="1166"/>
                  </a:cubicBezTo>
                  <a:cubicBezTo>
                    <a:pt x="722" y="1166"/>
                    <a:pt x="723" y="1179"/>
                    <a:pt x="725" y="1182"/>
                  </a:cubicBezTo>
                  <a:cubicBezTo>
                    <a:pt x="726" y="1184"/>
                    <a:pt x="732" y="1187"/>
                    <a:pt x="732" y="1189"/>
                  </a:cubicBezTo>
                  <a:cubicBezTo>
                    <a:pt x="733" y="1191"/>
                    <a:pt x="730" y="1195"/>
                    <a:pt x="731" y="1196"/>
                  </a:cubicBezTo>
                  <a:cubicBezTo>
                    <a:pt x="732" y="1198"/>
                    <a:pt x="734" y="1198"/>
                    <a:pt x="735" y="1199"/>
                  </a:cubicBezTo>
                  <a:cubicBezTo>
                    <a:pt x="739" y="1200"/>
                    <a:pt x="747" y="1199"/>
                    <a:pt x="750" y="1200"/>
                  </a:cubicBezTo>
                  <a:cubicBezTo>
                    <a:pt x="752" y="1201"/>
                    <a:pt x="756" y="1203"/>
                    <a:pt x="758" y="1204"/>
                  </a:cubicBezTo>
                  <a:cubicBezTo>
                    <a:pt x="759" y="1204"/>
                    <a:pt x="761" y="1203"/>
                    <a:pt x="762" y="1203"/>
                  </a:cubicBezTo>
                  <a:cubicBezTo>
                    <a:pt x="764" y="1203"/>
                    <a:pt x="768" y="1206"/>
                    <a:pt x="769" y="1208"/>
                  </a:cubicBezTo>
                  <a:cubicBezTo>
                    <a:pt x="771" y="1210"/>
                    <a:pt x="773" y="1214"/>
                    <a:pt x="774" y="1215"/>
                  </a:cubicBezTo>
                  <a:cubicBezTo>
                    <a:pt x="775" y="1216"/>
                    <a:pt x="777" y="1218"/>
                    <a:pt x="779" y="1218"/>
                  </a:cubicBezTo>
                  <a:cubicBezTo>
                    <a:pt x="781" y="1219"/>
                    <a:pt x="785" y="1216"/>
                    <a:pt x="787" y="1217"/>
                  </a:cubicBezTo>
                  <a:cubicBezTo>
                    <a:pt x="789" y="1217"/>
                    <a:pt x="792" y="1220"/>
                    <a:pt x="794" y="1220"/>
                  </a:cubicBezTo>
                  <a:cubicBezTo>
                    <a:pt x="796" y="1221"/>
                    <a:pt x="800" y="1220"/>
                    <a:pt x="802" y="1221"/>
                  </a:cubicBezTo>
                  <a:cubicBezTo>
                    <a:pt x="806" y="1223"/>
                    <a:pt x="812" y="1232"/>
                    <a:pt x="816" y="1235"/>
                  </a:cubicBezTo>
                  <a:cubicBezTo>
                    <a:pt x="818" y="1236"/>
                    <a:pt x="821" y="1237"/>
                    <a:pt x="823" y="1238"/>
                  </a:cubicBezTo>
                  <a:cubicBezTo>
                    <a:pt x="830" y="1240"/>
                    <a:pt x="845" y="1240"/>
                    <a:pt x="853" y="1240"/>
                  </a:cubicBezTo>
                  <a:cubicBezTo>
                    <a:pt x="857" y="1241"/>
                    <a:pt x="866" y="1239"/>
                    <a:pt x="870" y="1240"/>
                  </a:cubicBezTo>
                  <a:cubicBezTo>
                    <a:pt x="872" y="1240"/>
                    <a:pt x="877" y="1243"/>
                    <a:pt x="877" y="1243"/>
                  </a:cubicBezTo>
                  <a:cubicBezTo>
                    <a:pt x="877" y="1243"/>
                    <a:pt x="883" y="1244"/>
                    <a:pt x="885" y="1245"/>
                  </a:cubicBezTo>
                  <a:cubicBezTo>
                    <a:pt x="885" y="1245"/>
                    <a:pt x="896" y="1255"/>
                    <a:pt x="900" y="1259"/>
                  </a:cubicBezTo>
                  <a:cubicBezTo>
                    <a:pt x="902" y="1261"/>
                    <a:pt x="906" y="1264"/>
                    <a:pt x="908" y="1265"/>
                  </a:cubicBezTo>
                  <a:cubicBezTo>
                    <a:pt x="910" y="1265"/>
                    <a:pt x="914" y="1266"/>
                    <a:pt x="916" y="1264"/>
                  </a:cubicBezTo>
                  <a:cubicBezTo>
                    <a:pt x="917" y="1263"/>
                    <a:pt x="915" y="1258"/>
                    <a:pt x="916" y="1257"/>
                  </a:cubicBezTo>
                  <a:cubicBezTo>
                    <a:pt x="919" y="1253"/>
                    <a:pt x="930" y="1253"/>
                    <a:pt x="934" y="1252"/>
                  </a:cubicBezTo>
                  <a:cubicBezTo>
                    <a:pt x="935" y="1252"/>
                    <a:pt x="937" y="1252"/>
                    <a:pt x="938" y="1251"/>
                  </a:cubicBezTo>
                  <a:cubicBezTo>
                    <a:pt x="939" y="1249"/>
                    <a:pt x="939" y="1243"/>
                    <a:pt x="937" y="1243"/>
                  </a:cubicBezTo>
                  <a:cubicBezTo>
                    <a:pt x="937" y="1243"/>
                    <a:pt x="920" y="1247"/>
                    <a:pt x="926" y="1240"/>
                  </a:cubicBezTo>
                  <a:cubicBezTo>
                    <a:pt x="928" y="1238"/>
                    <a:pt x="922" y="1234"/>
                    <a:pt x="921" y="1233"/>
                  </a:cubicBezTo>
                  <a:cubicBezTo>
                    <a:pt x="920" y="1229"/>
                    <a:pt x="920" y="1221"/>
                    <a:pt x="919" y="1217"/>
                  </a:cubicBezTo>
                  <a:cubicBezTo>
                    <a:pt x="917" y="1211"/>
                    <a:pt x="908" y="1199"/>
                    <a:pt x="907" y="1192"/>
                  </a:cubicBezTo>
                  <a:cubicBezTo>
                    <a:pt x="907" y="1190"/>
                    <a:pt x="908" y="1186"/>
                    <a:pt x="908" y="1184"/>
                  </a:cubicBezTo>
                  <a:cubicBezTo>
                    <a:pt x="907" y="1178"/>
                    <a:pt x="905" y="1164"/>
                    <a:pt x="902" y="1158"/>
                  </a:cubicBezTo>
                  <a:cubicBezTo>
                    <a:pt x="901" y="1156"/>
                    <a:pt x="896" y="1153"/>
                    <a:pt x="895" y="1151"/>
                  </a:cubicBezTo>
                  <a:cubicBezTo>
                    <a:pt x="894" y="1149"/>
                    <a:pt x="893" y="1145"/>
                    <a:pt x="895" y="1144"/>
                  </a:cubicBezTo>
                  <a:cubicBezTo>
                    <a:pt x="896" y="1143"/>
                    <a:pt x="901" y="1148"/>
                    <a:pt x="902" y="1147"/>
                  </a:cubicBezTo>
                  <a:cubicBezTo>
                    <a:pt x="904" y="1144"/>
                    <a:pt x="895" y="1140"/>
                    <a:pt x="894" y="1137"/>
                  </a:cubicBezTo>
                  <a:cubicBezTo>
                    <a:pt x="893" y="1136"/>
                    <a:pt x="893" y="1131"/>
                    <a:pt x="895" y="1130"/>
                  </a:cubicBezTo>
                  <a:cubicBezTo>
                    <a:pt x="896" y="1129"/>
                    <a:pt x="901" y="1131"/>
                    <a:pt x="902" y="1130"/>
                  </a:cubicBezTo>
                  <a:cubicBezTo>
                    <a:pt x="903" y="1129"/>
                    <a:pt x="902" y="1124"/>
                    <a:pt x="903" y="1122"/>
                  </a:cubicBezTo>
                  <a:cubicBezTo>
                    <a:pt x="903" y="1120"/>
                    <a:pt x="906" y="1117"/>
                    <a:pt x="906" y="1115"/>
                  </a:cubicBezTo>
                  <a:cubicBezTo>
                    <a:pt x="907" y="1113"/>
                    <a:pt x="906" y="1109"/>
                    <a:pt x="906" y="1107"/>
                  </a:cubicBezTo>
                  <a:cubicBezTo>
                    <a:pt x="907" y="1105"/>
                    <a:pt x="910" y="1101"/>
                    <a:pt x="908" y="1100"/>
                  </a:cubicBezTo>
                  <a:cubicBezTo>
                    <a:pt x="906" y="1097"/>
                    <a:pt x="898" y="1103"/>
                    <a:pt x="894" y="1103"/>
                  </a:cubicBezTo>
                  <a:cubicBezTo>
                    <a:pt x="873" y="1108"/>
                    <a:pt x="892" y="1094"/>
                    <a:pt x="897" y="1088"/>
                  </a:cubicBezTo>
                  <a:cubicBezTo>
                    <a:pt x="902" y="1083"/>
                    <a:pt x="908" y="1086"/>
                    <a:pt x="908" y="1086"/>
                  </a:cubicBezTo>
                  <a:cubicBezTo>
                    <a:pt x="916" y="1079"/>
                    <a:pt x="924" y="1066"/>
                    <a:pt x="924" y="1056"/>
                  </a:cubicBezTo>
                  <a:cubicBezTo>
                    <a:pt x="924" y="1054"/>
                    <a:pt x="923" y="1050"/>
                    <a:pt x="921" y="1049"/>
                  </a:cubicBezTo>
                  <a:cubicBezTo>
                    <a:pt x="921" y="1048"/>
                    <a:pt x="919" y="1047"/>
                    <a:pt x="918" y="1046"/>
                  </a:cubicBezTo>
                  <a:cubicBezTo>
                    <a:pt x="916" y="1045"/>
                    <a:pt x="914" y="1041"/>
                    <a:pt x="912" y="1039"/>
                  </a:cubicBezTo>
                  <a:cubicBezTo>
                    <a:pt x="909" y="1037"/>
                    <a:pt x="896" y="1039"/>
                    <a:pt x="900" y="1033"/>
                  </a:cubicBezTo>
                  <a:cubicBezTo>
                    <a:pt x="902" y="1031"/>
                    <a:pt x="906" y="1031"/>
                    <a:pt x="908" y="1031"/>
                  </a:cubicBezTo>
                  <a:cubicBezTo>
                    <a:pt x="912" y="1030"/>
                    <a:pt x="921" y="1028"/>
                    <a:pt x="924" y="1029"/>
                  </a:cubicBezTo>
                  <a:cubicBezTo>
                    <a:pt x="927" y="1030"/>
                    <a:pt x="932" y="1038"/>
                    <a:pt x="935" y="1037"/>
                  </a:cubicBezTo>
                  <a:cubicBezTo>
                    <a:pt x="941" y="1037"/>
                    <a:pt x="946" y="1023"/>
                    <a:pt x="949" y="1017"/>
                  </a:cubicBezTo>
                  <a:cubicBezTo>
                    <a:pt x="955" y="1007"/>
                    <a:pt x="943" y="1007"/>
                    <a:pt x="943" y="1007"/>
                  </a:cubicBezTo>
                  <a:cubicBezTo>
                    <a:pt x="942" y="1008"/>
                    <a:pt x="941" y="1014"/>
                    <a:pt x="939" y="1014"/>
                  </a:cubicBezTo>
                  <a:cubicBezTo>
                    <a:pt x="939" y="1014"/>
                    <a:pt x="930" y="1018"/>
                    <a:pt x="934" y="1006"/>
                  </a:cubicBezTo>
                  <a:cubicBezTo>
                    <a:pt x="938" y="995"/>
                    <a:pt x="942" y="1001"/>
                    <a:pt x="950" y="994"/>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5">
              <a:extLst>
                <a:ext uri="{FF2B5EF4-FFF2-40B4-BE49-F238E27FC236}">
                  <a16:creationId xmlns:a16="http://schemas.microsoft.com/office/drawing/2014/main" id="{93E2112E-0D24-443C-91E0-38B2E0D1CD40}"/>
                </a:ext>
              </a:extLst>
            </p:cNvPr>
            <p:cNvSpPr>
              <a:spLocks/>
            </p:cNvSpPr>
            <p:nvPr/>
          </p:nvSpPr>
          <p:spPr bwMode="auto">
            <a:xfrm>
              <a:off x="4651469" y="3672680"/>
              <a:ext cx="717616" cy="751980"/>
            </a:xfrm>
            <a:custGeom>
              <a:avLst/>
              <a:gdLst>
                <a:gd name="T0" fmla="*/ 644 w 646"/>
                <a:gd name="T1" fmla="*/ 52 h 676"/>
                <a:gd name="T2" fmla="*/ 540 w 646"/>
                <a:gd name="T3" fmla="*/ 46 h 676"/>
                <a:gd name="T4" fmla="*/ 376 w 646"/>
                <a:gd name="T5" fmla="*/ 32 h 676"/>
                <a:gd name="T6" fmla="*/ 239 w 646"/>
                <a:gd name="T7" fmla="*/ 18 h 676"/>
                <a:gd name="T8" fmla="*/ 87 w 646"/>
                <a:gd name="T9" fmla="*/ 0 h 676"/>
                <a:gd name="T10" fmla="*/ 84 w 646"/>
                <a:gd name="T11" fmla="*/ 3 h 676"/>
                <a:gd name="T12" fmla="*/ 1 w 646"/>
                <a:gd name="T13" fmla="*/ 660 h 676"/>
                <a:gd name="T14" fmla="*/ 0 w 646"/>
                <a:gd name="T15" fmla="*/ 664 h 676"/>
                <a:gd name="T16" fmla="*/ 1 w 646"/>
                <a:gd name="T17" fmla="*/ 666 h 676"/>
                <a:gd name="T18" fmla="*/ 2 w 646"/>
                <a:gd name="T19" fmla="*/ 667 h 676"/>
                <a:gd name="T20" fmla="*/ 79 w 646"/>
                <a:gd name="T21" fmla="*/ 676 h 676"/>
                <a:gd name="T22" fmla="*/ 79 w 646"/>
                <a:gd name="T23" fmla="*/ 676 h 676"/>
                <a:gd name="T24" fmla="*/ 80 w 646"/>
                <a:gd name="T25" fmla="*/ 676 h 676"/>
                <a:gd name="T26" fmla="*/ 87 w 646"/>
                <a:gd name="T27" fmla="*/ 673 h 676"/>
                <a:gd name="T28" fmla="*/ 89 w 646"/>
                <a:gd name="T29" fmla="*/ 671 h 676"/>
                <a:gd name="T30" fmla="*/ 93 w 646"/>
                <a:gd name="T31" fmla="*/ 633 h 676"/>
                <a:gd name="T32" fmla="*/ 96 w 646"/>
                <a:gd name="T33" fmla="*/ 625 h 676"/>
                <a:gd name="T34" fmla="*/ 254 w 646"/>
                <a:gd name="T35" fmla="*/ 642 h 676"/>
                <a:gd name="T36" fmla="*/ 255 w 646"/>
                <a:gd name="T37" fmla="*/ 642 h 676"/>
                <a:gd name="T38" fmla="*/ 258 w 646"/>
                <a:gd name="T39" fmla="*/ 640 h 676"/>
                <a:gd name="T40" fmla="*/ 258 w 646"/>
                <a:gd name="T41" fmla="*/ 637 h 676"/>
                <a:gd name="T42" fmla="*/ 257 w 646"/>
                <a:gd name="T43" fmla="*/ 635 h 676"/>
                <a:gd name="T44" fmla="*/ 253 w 646"/>
                <a:gd name="T45" fmla="*/ 630 h 676"/>
                <a:gd name="T46" fmla="*/ 249 w 646"/>
                <a:gd name="T47" fmla="*/ 616 h 676"/>
                <a:gd name="T48" fmla="*/ 249 w 646"/>
                <a:gd name="T49" fmla="*/ 616 h 676"/>
                <a:gd name="T50" fmla="*/ 321 w 646"/>
                <a:gd name="T51" fmla="*/ 623 h 676"/>
                <a:gd name="T52" fmla="*/ 504 w 646"/>
                <a:gd name="T53" fmla="*/ 639 h 676"/>
                <a:gd name="T54" fmla="*/ 590 w 646"/>
                <a:gd name="T55" fmla="*/ 644 h 676"/>
                <a:gd name="T56" fmla="*/ 594 w 646"/>
                <a:gd name="T57" fmla="*/ 644 h 676"/>
                <a:gd name="T58" fmla="*/ 596 w 646"/>
                <a:gd name="T59" fmla="*/ 644 h 676"/>
                <a:gd name="T60" fmla="*/ 602 w 646"/>
                <a:gd name="T61" fmla="*/ 636 h 676"/>
                <a:gd name="T62" fmla="*/ 603 w 646"/>
                <a:gd name="T63" fmla="*/ 635 h 676"/>
                <a:gd name="T64" fmla="*/ 611 w 646"/>
                <a:gd name="T65" fmla="*/ 513 h 676"/>
                <a:gd name="T66" fmla="*/ 620 w 646"/>
                <a:gd name="T67" fmla="*/ 406 h 676"/>
                <a:gd name="T68" fmla="*/ 638 w 646"/>
                <a:gd name="T69" fmla="*/ 124 h 676"/>
                <a:gd name="T70" fmla="*/ 638 w 646"/>
                <a:gd name="T71" fmla="*/ 117 h 676"/>
                <a:gd name="T72" fmla="*/ 641 w 646"/>
                <a:gd name="T73" fmla="*/ 116 h 676"/>
                <a:gd name="T74" fmla="*/ 643 w 646"/>
                <a:gd name="T75" fmla="*/ 114 h 676"/>
                <a:gd name="T76" fmla="*/ 646 w 646"/>
                <a:gd name="T77" fmla="*/ 55 h 676"/>
                <a:gd name="T78" fmla="*/ 644 w 646"/>
                <a:gd name="T79" fmla="*/ 5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46" h="676">
                  <a:moveTo>
                    <a:pt x="644" y="52"/>
                  </a:moveTo>
                  <a:cubicBezTo>
                    <a:pt x="540" y="46"/>
                    <a:pt x="540" y="46"/>
                    <a:pt x="540" y="46"/>
                  </a:cubicBezTo>
                  <a:cubicBezTo>
                    <a:pt x="376" y="32"/>
                    <a:pt x="376" y="32"/>
                    <a:pt x="376" y="32"/>
                  </a:cubicBezTo>
                  <a:cubicBezTo>
                    <a:pt x="239" y="18"/>
                    <a:pt x="239" y="18"/>
                    <a:pt x="239" y="18"/>
                  </a:cubicBezTo>
                  <a:cubicBezTo>
                    <a:pt x="87" y="0"/>
                    <a:pt x="87" y="0"/>
                    <a:pt x="87" y="0"/>
                  </a:cubicBezTo>
                  <a:cubicBezTo>
                    <a:pt x="85" y="0"/>
                    <a:pt x="84" y="1"/>
                    <a:pt x="84" y="3"/>
                  </a:cubicBezTo>
                  <a:cubicBezTo>
                    <a:pt x="1" y="660"/>
                    <a:pt x="1" y="660"/>
                    <a:pt x="1" y="660"/>
                  </a:cubicBezTo>
                  <a:cubicBezTo>
                    <a:pt x="0" y="664"/>
                    <a:pt x="0" y="664"/>
                    <a:pt x="0" y="664"/>
                  </a:cubicBezTo>
                  <a:cubicBezTo>
                    <a:pt x="0" y="664"/>
                    <a:pt x="0" y="665"/>
                    <a:pt x="1" y="666"/>
                  </a:cubicBezTo>
                  <a:cubicBezTo>
                    <a:pt x="1" y="666"/>
                    <a:pt x="2" y="667"/>
                    <a:pt x="2" y="667"/>
                  </a:cubicBezTo>
                  <a:cubicBezTo>
                    <a:pt x="79" y="676"/>
                    <a:pt x="79" y="676"/>
                    <a:pt x="79" y="676"/>
                  </a:cubicBezTo>
                  <a:cubicBezTo>
                    <a:pt x="79" y="676"/>
                    <a:pt x="79" y="676"/>
                    <a:pt x="79" y="676"/>
                  </a:cubicBezTo>
                  <a:cubicBezTo>
                    <a:pt x="79" y="676"/>
                    <a:pt x="80" y="676"/>
                    <a:pt x="80" y="676"/>
                  </a:cubicBezTo>
                  <a:cubicBezTo>
                    <a:pt x="87" y="673"/>
                    <a:pt x="87" y="673"/>
                    <a:pt x="87" y="673"/>
                  </a:cubicBezTo>
                  <a:cubicBezTo>
                    <a:pt x="88" y="673"/>
                    <a:pt x="89" y="672"/>
                    <a:pt x="89" y="671"/>
                  </a:cubicBezTo>
                  <a:cubicBezTo>
                    <a:pt x="93" y="633"/>
                    <a:pt x="93" y="633"/>
                    <a:pt x="93" y="633"/>
                  </a:cubicBezTo>
                  <a:cubicBezTo>
                    <a:pt x="96" y="625"/>
                    <a:pt x="96" y="625"/>
                    <a:pt x="96" y="625"/>
                  </a:cubicBezTo>
                  <a:cubicBezTo>
                    <a:pt x="254" y="642"/>
                    <a:pt x="254" y="642"/>
                    <a:pt x="254" y="642"/>
                  </a:cubicBezTo>
                  <a:cubicBezTo>
                    <a:pt x="255" y="642"/>
                    <a:pt x="255" y="642"/>
                    <a:pt x="255" y="642"/>
                  </a:cubicBezTo>
                  <a:cubicBezTo>
                    <a:pt x="256" y="642"/>
                    <a:pt x="258" y="641"/>
                    <a:pt x="258" y="640"/>
                  </a:cubicBezTo>
                  <a:cubicBezTo>
                    <a:pt x="258" y="637"/>
                    <a:pt x="258" y="637"/>
                    <a:pt x="258" y="637"/>
                  </a:cubicBezTo>
                  <a:cubicBezTo>
                    <a:pt x="258" y="636"/>
                    <a:pt x="257" y="636"/>
                    <a:pt x="257" y="635"/>
                  </a:cubicBezTo>
                  <a:cubicBezTo>
                    <a:pt x="253" y="630"/>
                    <a:pt x="253" y="630"/>
                    <a:pt x="253" y="630"/>
                  </a:cubicBezTo>
                  <a:cubicBezTo>
                    <a:pt x="249" y="616"/>
                    <a:pt x="249" y="616"/>
                    <a:pt x="249" y="616"/>
                  </a:cubicBezTo>
                  <a:cubicBezTo>
                    <a:pt x="249" y="616"/>
                    <a:pt x="249" y="616"/>
                    <a:pt x="249" y="616"/>
                  </a:cubicBezTo>
                  <a:cubicBezTo>
                    <a:pt x="321" y="623"/>
                    <a:pt x="321" y="623"/>
                    <a:pt x="321" y="623"/>
                  </a:cubicBezTo>
                  <a:cubicBezTo>
                    <a:pt x="504" y="639"/>
                    <a:pt x="504" y="639"/>
                    <a:pt x="504" y="639"/>
                  </a:cubicBezTo>
                  <a:cubicBezTo>
                    <a:pt x="590" y="644"/>
                    <a:pt x="590" y="644"/>
                    <a:pt x="590" y="644"/>
                  </a:cubicBezTo>
                  <a:cubicBezTo>
                    <a:pt x="594" y="644"/>
                    <a:pt x="594" y="644"/>
                    <a:pt x="594" y="644"/>
                  </a:cubicBezTo>
                  <a:cubicBezTo>
                    <a:pt x="595" y="644"/>
                    <a:pt x="595" y="644"/>
                    <a:pt x="596" y="644"/>
                  </a:cubicBezTo>
                  <a:cubicBezTo>
                    <a:pt x="602" y="636"/>
                    <a:pt x="602" y="636"/>
                    <a:pt x="602" y="636"/>
                  </a:cubicBezTo>
                  <a:cubicBezTo>
                    <a:pt x="603" y="636"/>
                    <a:pt x="603" y="635"/>
                    <a:pt x="603" y="635"/>
                  </a:cubicBezTo>
                  <a:cubicBezTo>
                    <a:pt x="611" y="513"/>
                    <a:pt x="611" y="513"/>
                    <a:pt x="611" y="513"/>
                  </a:cubicBezTo>
                  <a:cubicBezTo>
                    <a:pt x="620" y="406"/>
                    <a:pt x="620" y="406"/>
                    <a:pt x="620" y="406"/>
                  </a:cubicBezTo>
                  <a:cubicBezTo>
                    <a:pt x="638" y="124"/>
                    <a:pt x="638" y="124"/>
                    <a:pt x="638" y="124"/>
                  </a:cubicBezTo>
                  <a:cubicBezTo>
                    <a:pt x="638" y="117"/>
                    <a:pt x="638" y="117"/>
                    <a:pt x="638" y="117"/>
                  </a:cubicBezTo>
                  <a:cubicBezTo>
                    <a:pt x="641" y="116"/>
                    <a:pt x="641" y="116"/>
                    <a:pt x="641" y="116"/>
                  </a:cubicBezTo>
                  <a:cubicBezTo>
                    <a:pt x="642" y="116"/>
                    <a:pt x="643" y="115"/>
                    <a:pt x="643" y="114"/>
                  </a:cubicBezTo>
                  <a:cubicBezTo>
                    <a:pt x="646" y="55"/>
                    <a:pt x="646" y="55"/>
                    <a:pt x="646" y="55"/>
                  </a:cubicBezTo>
                  <a:cubicBezTo>
                    <a:pt x="646" y="54"/>
                    <a:pt x="645" y="52"/>
                    <a:pt x="644" y="5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6">
              <a:extLst>
                <a:ext uri="{FF2B5EF4-FFF2-40B4-BE49-F238E27FC236}">
                  <a16:creationId xmlns:a16="http://schemas.microsoft.com/office/drawing/2014/main" id="{A7488632-9A39-448D-92DE-B322935695A3}"/>
                </a:ext>
              </a:extLst>
            </p:cNvPr>
            <p:cNvSpPr>
              <a:spLocks/>
            </p:cNvSpPr>
            <p:nvPr/>
          </p:nvSpPr>
          <p:spPr bwMode="auto">
            <a:xfrm>
              <a:off x="5297323" y="2938893"/>
              <a:ext cx="855075" cy="424505"/>
            </a:xfrm>
            <a:custGeom>
              <a:avLst/>
              <a:gdLst>
                <a:gd name="T0" fmla="*/ 761 w 770"/>
                <a:gd name="T1" fmla="*/ 370 h 381"/>
                <a:gd name="T2" fmla="*/ 762 w 770"/>
                <a:gd name="T3" fmla="*/ 363 h 381"/>
                <a:gd name="T4" fmla="*/ 756 w 770"/>
                <a:gd name="T5" fmla="*/ 355 h 381"/>
                <a:gd name="T6" fmla="*/ 754 w 770"/>
                <a:gd name="T7" fmla="*/ 347 h 381"/>
                <a:gd name="T8" fmla="*/ 747 w 770"/>
                <a:gd name="T9" fmla="*/ 342 h 381"/>
                <a:gd name="T10" fmla="*/ 738 w 770"/>
                <a:gd name="T11" fmla="*/ 328 h 381"/>
                <a:gd name="T12" fmla="*/ 732 w 770"/>
                <a:gd name="T13" fmla="*/ 317 h 381"/>
                <a:gd name="T14" fmla="*/ 729 w 770"/>
                <a:gd name="T15" fmla="*/ 310 h 381"/>
                <a:gd name="T16" fmla="*/ 727 w 770"/>
                <a:gd name="T17" fmla="*/ 298 h 381"/>
                <a:gd name="T18" fmla="*/ 720 w 770"/>
                <a:gd name="T19" fmla="*/ 294 h 381"/>
                <a:gd name="T20" fmla="*/ 724 w 770"/>
                <a:gd name="T21" fmla="*/ 272 h 381"/>
                <a:gd name="T22" fmla="*/ 719 w 770"/>
                <a:gd name="T23" fmla="*/ 256 h 381"/>
                <a:gd name="T24" fmla="*/ 720 w 770"/>
                <a:gd name="T25" fmla="*/ 245 h 381"/>
                <a:gd name="T26" fmla="*/ 717 w 770"/>
                <a:gd name="T27" fmla="*/ 233 h 381"/>
                <a:gd name="T28" fmla="*/ 716 w 770"/>
                <a:gd name="T29" fmla="*/ 228 h 381"/>
                <a:gd name="T30" fmla="*/ 715 w 770"/>
                <a:gd name="T31" fmla="*/ 217 h 381"/>
                <a:gd name="T32" fmla="*/ 714 w 770"/>
                <a:gd name="T33" fmla="*/ 212 h 381"/>
                <a:gd name="T34" fmla="*/ 709 w 770"/>
                <a:gd name="T35" fmla="*/ 202 h 381"/>
                <a:gd name="T36" fmla="*/ 707 w 770"/>
                <a:gd name="T37" fmla="*/ 200 h 381"/>
                <a:gd name="T38" fmla="*/ 701 w 770"/>
                <a:gd name="T39" fmla="*/ 193 h 381"/>
                <a:gd name="T40" fmla="*/ 700 w 770"/>
                <a:gd name="T41" fmla="*/ 188 h 381"/>
                <a:gd name="T42" fmla="*/ 699 w 770"/>
                <a:gd name="T43" fmla="*/ 178 h 381"/>
                <a:gd name="T44" fmla="*/ 701 w 770"/>
                <a:gd name="T45" fmla="*/ 170 h 381"/>
                <a:gd name="T46" fmla="*/ 696 w 770"/>
                <a:gd name="T47" fmla="*/ 158 h 381"/>
                <a:gd name="T48" fmla="*/ 694 w 770"/>
                <a:gd name="T49" fmla="*/ 152 h 381"/>
                <a:gd name="T50" fmla="*/ 688 w 770"/>
                <a:gd name="T51" fmla="*/ 140 h 381"/>
                <a:gd name="T52" fmla="*/ 684 w 770"/>
                <a:gd name="T53" fmla="*/ 131 h 381"/>
                <a:gd name="T54" fmla="*/ 680 w 770"/>
                <a:gd name="T55" fmla="*/ 122 h 381"/>
                <a:gd name="T56" fmla="*/ 677 w 770"/>
                <a:gd name="T57" fmla="*/ 116 h 381"/>
                <a:gd name="T58" fmla="*/ 675 w 770"/>
                <a:gd name="T59" fmla="*/ 104 h 381"/>
                <a:gd name="T60" fmla="*/ 671 w 770"/>
                <a:gd name="T61" fmla="*/ 97 h 381"/>
                <a:gd name="T62" fmla="*/ 673 w 770"/>
                <a:gd name="T63" fmla="*/ 93 h 381"/>
                <a:gd name="T64" fmla="*/ 663 w 770"/>
                <a:gd name="T65" fmla="*/ 80 h 381"/>
                <a:gd name="T66" fmla="*/ 650 w 770"/>
                <a:gd name="T67" fmla="*/ 72 h 381"/>
                <a:gd name="T68" fmla="*/ 646 w 770"/>
                <a:gd name="T69" fmla="*/ 64 h 381"/>
                <a:gd name="T70" fmla="*/ 630 w 770"/>
                <a:gd name="T71" fmla="*/ 53 h 381"/>
                <a:gd name="T72" fmla="*/ 624 w 770"/>
                <a:gd name="T73" fmla="*/ 54 h 381"/>
                <a:gd name="T74" fmla="*/ 614 w 770"/>
                <a:gd name="T75" fmla="*/ 48 h 381"/>
                <a:gd name="T76" fmla="*/ 607 w 770"/>
                <a:gd name="T77" fmla="*/ 48 h 381"/>
                <a:gd name="T78" fmla="*/ 594 w 770"/>
                <a:gd name="T79" fmla="*/ 37 h 381"/>
                <a:gd name="T80" fmla="*/ 561 w 770"/>
                <a:gd name="T81" fmla="*/ 40 h 381"/>
                <a:gd name="T82" fmla="*/ 544 w 770"/>
                <a:gd name="T83" fmla="*/ 38 h 381"/>
                <a:gd name="T84" fmla="*/ 538 w 770"/>
                <a:gd name="T85" fmla="*/ 46 h 381"/>
                <a:gd name="T86" fmla="*/ 502 w 770"/>
                <a:gd name="T87" fmla="*/ 32 h 381"/>
                <a:gd name="T88" fmla="*/ 491 w 770"/>
                <a:gd name="T89" fmla="*/ 21 h 381"/>
                <a:gd name="T90" fmla="*/ 254 w 770"/>
                <a:gd name="T91" fmla="*/ 15 h 381"/>
                <a:gd name="T92" fmla="*/ 19 w 770"/>
                <a:gd name="T93" fmla="*/ 1 h 381"/>
                <a:gd name="T94" fmla="*/ 16 w 770"/>
                <a:gd name="T95" fmla="*/ 3 h 381"/>
                <a:gd name="T96" fmla="*/ 3 w 770"/>
                <a:gd name="T97" fmla="*/ 241 h 381"/>
                <a:gd name="T98" fmla="*/ 168 w 770"/>
                <a:gd name="T99" fmla="*/ 251 h 381"/>
                <a:gd name="T100" fmla="*/ 168 w 770"/>
                <a:gd name="T101" fmla="*/ 366 h 381"/>
                <a:gd name="T102" fmla="*/ 284 w 770"/>
                <a:gd name="T103" fmla="*/ 375 h 381"/>
                <a:gd name="T104" fmla="*/ 618 w 770"/>
                <a:gd name="T105" fmla="*/ 381 h 381"/>
                <a:gd name="T106" fmla="*/ 767 w 770"/>
                <a:gd name="T107" fmla="*/ 380 h 381"/>
                <a:gd name="T108" fmla="*/ 769 w 770"/>
                <a:gd name="T109" fmla="*/ 375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0" h="381">
                  <a:moveTo>
                    <a:pt x="769" y="375"/>
                  </a:moveTo>
                  <a:cubicBezTo>
                    <a:pt x="765" y="373"/>
                    <a:pt x="762" y="371"/>
                    <a:pt x="761" y="370"/>
                  </a:cubicBezTo>
                  <a:cubicBezTo>
                    <a:pt x="761" y="370"/>
                    <a:pt x="761" y="368"/>
                    <a:pt x="762" y="368"/>
                  </a:cubicBezTo>
                  <a:cubicBezTo>
                    <a:pt x="762" y="366"/>
                    <a:pt x="762" y="364"/>
                    <a:pt x="762" y="363"/>
                  </a:cubicBezTo>
                  <a:cubicBezTo>
                    <a:pt x="761" y="361"/>
                    <a:pt x="760" y="359"/>
                    <a:pt x="758" y="358"/>
                  </a:cubicBezTo>
                  <a:cubicBezTo>
                    <a:pt x="757" y="357"/>
                    <a:pt x="756" y="356"/>
                    <a:pt x="756" y="355"/>
                  </a:cubicBezTo>
                  <a:cubicBezTo>
                    <a:pt x="756" y="355"/>
                    <a:pt x="756" y="354"/>
                    <a:pt x="756" y="353"/>
                  </a:cubicBezTo>
                  <a:cubicBezTo>
                    <a:pt x="755" y="351"/>
                    <a:pt x="755" y="349"/>
                    <a:pt x="754" y="347"/>
                  </a:cubicBezTo>
                  <a:cubicBezTo>
                    <a:pt x="753" y="345"/>
                    <a:pt x="751" y="344"/>
                    <a:pt x="749" y="343"/>
                  </a:cubicBezTo>
                  <a:cubicBezTo>
                    <a:pt x="748" y="343"/>
                    <a:pt x="747" y="342"/>
                    <a:pt x="747" y="342"/>
                  </a:cubicBezTo>
                  <a:cubicBezTo>
                    <a:pt x="745" y="340"/>
                    <a:pt x="742" y="337"/>
                    <a:pt x="741" y="335"/>
                  </a:cubicBezTo>
                  <a:cubicBezTo>
                    <a:pt x="740" y="334"/>
                    <a:pt x="739" y="331"/>
                    <a:pt x="738" y="328"/>
                  </a:cubicBezTo>
                  <a:cubicBezTo>
                    <a:pt x="738" y="325"/>
                    <a:pt x="737" y="322"/>
                    <a:pt x="736" y="321"/>
                  </a:cubicBezTo>
                  <a:cubicBezTo>
                    <a:pt x="735" y="319"/>
                    <a:pt x="734" y="318"/>
                    <a:pt x="732" y="317"/>
                  </a:cubicBezTo>
                  <a:cubicBezTo>
                    <a:pt x="731" y="316"/>
                    <a:pt x="730" y="314"/>
                    <a:pt x="729" y="314"/>
                  </a:cubicBezTo>
                  <a:cubicBezTo>
                    <a:pt x="729" y="313"/>
                    <a:pt x="729" y="311"/>
                    <a:pt x="729" y="310"/>
                  </a:cubicBezTo>
                  <a:cubicBezTo>
                    <a:pt x="730" y="309"/>
                    <a:pt x="730" y="307"/>
                    <a:pt x="730" y="306"/>
                  </a:cubicBezTo>
                  <a:cubicBezTo>
                    <a:pt x="729" y="305"/>
                    <a:pt x="729" y="300"/>
                    <a:pt x="727" y="298"/>
                  </a:cubicBezTo>
                  <a:cubicBezTo>
                    <a:pt x="726" y="297"/>
                    <a:pt x="724" y="296"/>
                    <a:pt x="723" y="295"/>
                  </a:cubicBezTo>
                  <a:cubicBezTo>
                    <a:pt x="722" y="295"/>
                    <a:pt x="720" y="294"/>
                    <a:pt x="720" y="294"/>
                  </a:cubicBezTo>
                  <a:cubicBezTo>
                    <a:pt x="719" y="291"/>
                    <a:pt x="721" y="286"/>
                    <a:pt x="722" y="282"/>
                  </a:cubicBezTo>
                  <a:cubicBezTo>
                    <a:pt x="723" y="278"/>
                    <a:pt x="724" y="275"/>
                    <a:pt x="724" y="272"/>
                  </a:cubicBezTo>
                  <a:cubicBezTo>
                    <a:pt x="724" y="269"/>
                    <a:pt x="722" y="266"/>
                    <a:pt x="721" y="263"/>
                  </a:cubicBezTo>
                  <a:cubicBezTo>
                    <a:pt x="721" y="260"/>
                    <a:pt x="720" y="257"/>
                    <a:pt x="719" y="256"/>
                  </a:cubicBezTo>
                  <a:cubicBezTo>
                    <a:pt x="719" y="254"/>
                    <a:pt x="719" y="249"/>
                    <a:pt x="719" y="247"/>
                  </a:cubicBezTo>
                  <a:cubicBezTo>
                    <a:pt x="719" y="246"/>
                    <a:pt x="720" y="245"/>
                    <a:pt x="720" y="245"/>
                  </a:cubicBezTo>
                  <a:cubicBezTo>
                    <a:pt x="721" y="242"/>
                    <a:pt x="721" y="240"/>
                    <a:pt x="721" y="238"/>
                  </a:cubicBezTo>
                  <a:cubicBezTo>
                    <a:pt x="720" y="236"/>
                    <a:pt x="719" y="235"/>
                    <a:pt x="717" y="233"/>
                  </a:cubicBezTo>
                  <a:cubicBezTo>
                    <a:pt x="717" y="233"/>
                    <a:pt x="715" y="232"/>
                    <a:pt x="715" y="231"/>
                  </a:cubicBezTo>
                  <a:cubicBezTo>
                    <a:pt x="715" y="231"/>
                    <a:pt x="716" y="229"/>
                    <a:pt x="716" y="228"/>
                  </a:cubicBezTo>
                  <a:cubicBezTo>
                    <a:pt x="717" y="226"/>
                    <a:pt x="718" y="224"/>
                    <a:pt x="717" y="222"/>
                  </a:cubicBezTo>
                  <a:cubicBezTo>
                    <a:pt x="717" y="220"/>
                    <a:pt x="716" y="219"/>
                    <a:pt x="715" y="217"/>
                  </a:cubicBezTo>
                  <a:cubicBezTo>
                    <a:pt x="714" y="216"/>
                    <a:pt x="713" y="215"/>
                    <a:pt x="713" y="215"/>
                  </a:cubicBezTo>
                  <a:cubicBezTo>
                    <a:pt x="713" y="214"/>
                    <a:pt x="713" y="213"/>
                    <a:pt x="714" y="212"/>
                  </a:cubicBezTo>
                  <a:cubicBezTo>
                    <a:pt x="714" y="210"/>
                    <a:pt x="715" y="207"/>
                    <a:pt x="714" y="205"/>
                  </a:cubicBezTo>
                  <a:cubicBezTo>
                    <a:pt x="713" y="203"/>
                    <a:pt x="711" y="203"/>
                    <a:pt x="709" y="202"/>
                  </a:cubicBezTo>
                  <a:cubicBezTo>
                    <a:pt x="708" y="202"/>
                    <a:pt x="707" y="202"/>
                    <a:pt x="707" y="202"/>
                  </a:cubicBezTo>
                  <a:cubicBezTo>
                    <a:pt x="707" y="202"/>
                    <a:pt x="707" y="200"/>
                    <a:pt x="707" y="200"/>
                  </a:cubicBezTo>
                  <a:cubicBezTo>
                    <a:pt x="708" y="198"/>
                    <a:pt x="708" y="195"/>
                    <a:pt x="706" y="194"/>
                  </a:cubicBezTo>
                  <a:cubicBezTo>
                    <a:pt x="705" y="193"/>
                    <a:pt x="703" y="193"/>
                    <a:pt x="701" y="193"/>
                  </a:cubicBezTo>
                  <a:cubicBezTo>
                    <a:pt x="701" y="193"/>
                    <a:pt x="701" y="193"/>
                    <a:pt x="701" y="193"/>
                  </a:cubicBezTo>
                  <a:cubicBezTo>
                    <a:pt x="701" y="191"/>
                    <a:pt x="700" y="190"/>
                    <a:pt x="700" y="188"/>
                  </a:cubicBezTo>
                  <a:cubicBezTo>
                    <a:pt x="700" y="187"/>
                    <a:pt x="699" y="186"/>
                    <a:pt x="699" y="185"/>
                  </a:cubicBezTo>
                  <a:cubicBezTo>
                    <a:pt x="699" y="183"/>
                    <a:pt x="699" y="180"/>
                    <a:pt x="699" y="178"/>
                  </a:cubicBezTo>
                  <a:cubicBezTo>
                    <a:pt x="699" y="177"/>
                    <a:pt x="700" y="176"/>
                    <a:pt x="700" y="175"/>
                  </a:cubicBezTo>
                  <a:cubicBezTo>
                    <a:pt x="700" y="173"/>
                    <a:pt x="701" y="172"/>
                    <a:pt x="701" y="170"/>
                  </a:cubicBezTo>
                  <a:cubicBezTo>
                    <a:pt x="701" y="168"/>
                    <a:pt x="700" y="164"/>
                    <a:pt x="699" y="162"/>
                  </a:cubicBezTo>
                  <a:cubicBezTo>
                    <a:pt x="699" y="161"/>
                    <a:pt x="698" y="159"/>
                    <a:pt x="696" y="158"/>
                  </a:cubicBezTo>
                  <a:cubicBezTo>
                    <a:pt x="696" y="157"/>
                    <a:pt x="694" y="155"/>
                    <a:pt x="694" y="155"/>
                  </a:cubicBezTo>
                  <a:cubicBezTo>
                    <a:pt x="694" y="154"/>
                    <a:pt x="694" y="153"/>
                    <a:pt x="694" y="152"/>
                  </a:cubicBezTo>
                  <a:cubicBezTo>
                    <a:pt x="694" y="150"/>
                    <a:pt x="695" y="149"/>
                    <a:pt x="694" y="147"/>
                  </a:cubicBezTo>
                  <a:cubicBezTo>
                    <a:pt x="693" y="145"/>
                    <a:pt x="691" y="142"/>
                    <a:pt x="688" y="140"/>
                  </a:cubicBezTo>
                  <a:cubicBezTo>
                    <a:pt x="687" y="138"/>
                    <a:pt x="684" y="135"/>
                    <a:pt x="684" y="134"/>
                  </a:cubicBezTo>
                  <a:cubicBezTo>
                    <a:pt x="684" y="134"/>
                    <a:pt x="684" y="132"/>
                    <a:pt x="684" y="131"/>
                  </a:cubicBezTo>
                  <a:cubicBezTo>
                    <a:pt x="684" y="130"/>
                    <a:pt x="684" y="128"/>
                    <a:pt x="683" y="127"/>
                  </a:cubicBezTo>
                  <a:cubicBezTo>
                    <a:pt x="683" y="125"/>
                    <a:pt x="681" y="124"/>
                    <a:pt x="680" y="122"/>
                  </a:cubicBezTo>
                  <a:cubicBezTo>
                    <a:pt x="679" y="121"/>
                    <a:pt x="677" y="120"/>
                    <a:pt x="677" y="119"/>
                  </a:cubicBezTo>
                  <a:cubicBezTo>
                    <a:pt x="677" y="119"/>
                    <a:pt x="677" y="117"/>
                    <a:pt x="677" y="116"/>
                  </a:cubicBezTo>
                  <a:cubicBezTo>
                    <a:pt x="677" y="115"/>
                    <a:pt x="678" y="114"/>
                    <a:pt x="678" y="112"/>
                  </a:cubicBezTo>
                  <a:cubicBezTo>
                    <a:pt x="677" y="110"/>
                    <a:pt x="676" y="106"/>
                    <a:pt x="675" y="104"/>
                  </a:cubicBezTo>
                  <a:cubicBezTo>
                    <a:pt x="675" y="104"/>
                    <a:pt x="674" y="102"/>
                    <a:pt x="673" y="101"/>
                  </a:cubicBezTo>
                  <a:cubicBezTo>
                    <a:pt x="672" y="100"/>
                    <a:pt x="671" y="98"/>
                    <a:pt x="671" y="97"/>
                  </a:cubicBezTo>
                  <a:cubicBezTo>
                    <a:pt x="671" y="97"/>
                    <a:pt x="672" y="95"/>
                    <a:pt x="672" y="93"/>
                  </a:cubicBezTo>
                  <a:cubicBezTo>
                    <a:pt x="672" y="93"/>
                    <a:pt x="673" y="93"/>
                    <a:pt x="673" y="93"/>
                  </a:cubicBezTo>
                  <a:cubicBezTo>
                    <a:pt x="673" y="89"/>
                    <a:pt x="673" y="84"/>
                    <a:pt x="671" y="82"/>
                  </a:cubicBezTo>
                  <a:cubicBezTo>
                    <a:pt x="670" y="80"/>
                    <a:pt x="666" y="80"/>
                    <a:pt x="663" y="80"/>
                  </a:cubicBezTo>
                  <a:cubicBezTo>
                    <a:pt x="660" y="79"/>
                    <a:pt x="657" y="78"/>
                    <a:pt x="656" y="78"/>
                  </a:cubicBezTo>
                  <a:cubicBezTo>
                    <a:pt x="654" y="77"/>
                    <a:pt x="651" y="74"/>
                    <a:pt x="650" y="72"/>
                  </a:cubicBezTo>
                  <a:cubicBezTo>
                    <a:pt x="649" y="72"/>
                    <a:pt x="649" y="71"/>
                    <a:pt x="649" y="70"/>
                  </a:cubicBezTo>
                  <a:cubicBezTo>
                    <a:pt x="648" y="67"/>
                    <a:pt x="647" y="65"/>
                    <a:pt x="646" y="64"/>
                  </a:cubicBezTo>
                  <a:cubicBezTo>
                    <a:pt x="644" y="62"/>
                    <a:pt x="640" y="61"/>
                    <a:pt x="638" y="61"/>
                  </a:cubicBezTo>
                  <a:cubicBezTo>
                    <a:pt x="636" y="58"/>
                    <a:pt x="632" y="54"/>
                    <a:pt x="630" y="53"/>
                  </a:cubicBezTo>
                  <a:cubicBezTo>
                    <a:pt x="628" y="53"/>
                    <a:pt x="627" y="53"/>
                    <a:pt x="625" y="54"/>
                  </a:cubicBezTo>
                  <a:cubicBezTo>
                    <a:pt x="624" y="54"/>
                    <a:pt x="624" y="54"/>
                    <a:pt x="624" y="54"/>
                  </a:cubicBezTo>
                  <a:cubicBezTo>
                    <a:pt x="624" y="54"/>
                    <a:pt x="623" y="53"/>
                    <a:pt x="623" y="53"/>
                  </a:cubicBezTo>
                  <a:cubicBezTo>
                    <a:pt x="621" y="50"/>
                    <a:pt x="616" y="49"/>
                    <a:pt x="614" y="48"/>
                  </a:cubicBezTo>
                  <a:cubicBezTo>
                    <a:pt x="613" y="48"/>
                    <a:pt x="611" y="48"/>
                    <a:pt x="610" y="48"/>
                  </a:cubicBezTo>
                  <a:cubicBezTo>
                    <a:pt x="609" y="48"/>
                    <a:pt x="607" y="48"/>
                    <a:pt x="607" y="48"/>
                  </a:cubicBezTo>
                  <a:cubicBezTo>
                    <a:pt x="606" y="47"/>
                    <a:pt x="604" y="45"/>
                    <a:pt x="602" y="43"/>
                  </a:cubicBezTo>
                  <a:cubicBezTo>
                    <a:pt x="600" y="40"/>
                    <a:pt x="597" y="38"/>
                    <a:pt x="594" y="37"/>
                  </a:cubicBezTo>
                  <a:cubicBezTo>
                    <a:pt x="593" y="36"/>
                    <a:pt x="591" y="36"/>
                    <a:pt x="588" y="36"/>
                  </a:cubicBezTo>
                  <a:cubicBezTo>
                    <a:pt x="579" y="36"/>
                    <a:pt x="564" y="39"/>
                    <a:pt x="561" y="40"/>
                  </a:cubicBezTo>
                  <a:cubicBezTo>
                    <a:pt x="558" y="39"/>
                    <a:pt x="552" y="38"/>
                    <a:pt x="548" y="38"/>
                  </a:cubicBezTo>
                  <a:cubicBezTo>
                    <a:pt x="546" y="38"/>
                    <a:pt x="545" y="38"/>
                    <a:pt x="544" y="38"/>
                  </a:cubicBezTo>
                  <a:cubicBezTo>
                    <a:pt x="542" y="39"/>
                    <a:pt x="541" y="41"/>
                    <a:pt x="540" y="43"/>
                  </a:cubicBezTo>
                  <a:cubicBezTo>
                    <a:pt x="539" y="44"/>
                    <a:pt x="538" y="45"/>
                    <a:pt x="538" y="46"/>
                  </a:cubicBezTo>
                  <a:cubicBezTo>
                    <a:pt x="537" y="47"/>
                    <a:pt x="533" y="48"/>
                    <a:pt x="532" y="48"/>
                  </a:cubicBezTo>
                  <a:cubicBezTo>
                    <a:pt x="525" y="48"/>
                    <a:pt x="507" y="36"/>
                    <a:pt x="502" y="32"/>
                  </a:cubicBezTo>
                  <a:cubicBezTo>
                    <a:pt x="492" y="22"/>
                    <a:pt x="492" y="22"/>
                    <a:pt x="492" y="22"/>
                  </a:cubicBezTo>
                  <a:cubicBezTo>
                    <a:pt x="492" y="22"/>
                    <a:pt x="491" y="21"/>
                    <a:pt x="491" y="21"/>
                  </a:cubicBezTo>
                  <a:cubicBezTo>
                    <a:pt x="396" y="20"/>
                    <a:pt x="396" y="20"/>
                    <a:pt x="396" y="20"/>
                  </a:cubicBezTo>
                  <a:cubicBezTo>
                    <a:pt x="254" y="15"/>
                    <a:pt x="254" y="15"/>
                    <a:pt x="254" y="15"/>
                  </a:cubicBezTo>
                  <a:cubicBezTo>
                    <a:pt x="107" y="7"/>
                    <a:pt x="107" y="7"/>
                    <a:pt x="107" y="7"/>
                  </a:cubicBezTo>
                  <a:cubicBezTo>
                    <a:pt x="19" y="1"/>
                    <a:pt x="19" y="1"/>
                    <a:pt x="19" y="1"/>
                  </a:cubicBezTo>
                  <a:cubicBezTo>
                    <a:pt x="18" y="0"/>
                    <a:pt x="18" y="1"/>
                    <a:pt x="17" y="1"/>
                  </a:cubicBezTo>
                  <a:cubicBezTo>
                    <a:pt x="17" y="2"/>
                    <a:pt x="16" y="2"/>
                    <a:pt x="16" y="3"/>
                  </a:cubicBezTo>
                  <a:cubicBezTo>
                    <a:pt x="0" y="238"/>
                    <a:pt x="0" y="238"/>
                    <a:pt x="0" y="238"/>
                  </a:cubicBezTo>
                  <a:cubicBezTo>
                    <a:pt x="0" y="239"/>
                    <a:pt x="1" y="241"/>
                    <a:pt x="3" y="241"/>
                  </a:cubicBezTo>
                  <a:cubicBezTo>
                    <a:pt x="83" y="246"/>
                    <a:pt x="83" y="246"/>
                    <a:pt x="83" y="246"/>
                  </a:cubicBezTo>
                  <a:cubicBezTo>
                    <a:pt x="168" y="251"/>
                    <a:pt x="168" y="251"/>
                    <a:pt x="168" y="251"/>
                  </a:cubicBezTo>
                  <a:cubicBezTo>
                    <a:pt x="174" y="254"/>
                    <a:pt x="174" y="254"/>
                    <a:pt x="174" y="254"/>
                  </a:cubicBezTo>
                  <a:cubicBezTo>
                    <a:pt x="168" y="366"/>
                    <a:pt x="168" y="366"/>
                    <a:pt x="168" y="366"/>
                  </a:cubicBezTo>
                  <a:cubicBezTo>
                    <a:pt x="168" y="368"/>
                    <a:pt x="169" y="369"/>
                    <a:pt x="171" y="369"/>
                  </a:cubicBezTo>
                  <a:cubicBezTo>
                    <a:pt x="284" y="375"/>
                    <a:pt x="284" y="375"/>
                    <a:pt x="284" y="375"/>
                  </a:cubicBezTo>
                  <a:cubicBezTo>
                    <a:pt x="503" y="381"/>
                    <a:pt x="503" y="381"/>
                    <a:pt x="503" y="381"/>
                  </a:cubicBezTo>
                  <a:cubicBezTo>
                    <a:pt x="618" y="381"/>
                    <a:pt x="618" y="381"/>
                    <a:pt x="618" y="381"/>
                  </a:cubicBezTo>
                  <a:cubicBezTo>
                    <a:pt x="618" y="381"/>
                    <a:pt x="618" y="381"/>
                    <a:pt x="618" y="381"/>
                  </a:cubicBezTo>
                  <a:cubicBezTo>
                    <a:pt x="767" y="380"/>
                    <a:pt x="767" y="380"/>
                    <a:pt x="767" y="380"/>
                  </a:cubicBezTo>
                  <a:cubicBezTo>
                    <a:pt x="769" y="380"/>
                    <a:pt x="770" y="379"/>
                    <a:pt x="770" y="378"/>
                  </a:cubicBezTo>
                  <a:cubicBezTo>
                    <a:pt x="770" y="377"/>
                    <a:pt x="770" y="376"/>
                    <a:pt x="769" y="375"/>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7">
              <a:extLst>
                <a:ext uri="{FF2B5EF4-FFF2-40B4-BE49-F238E27FC236}">
                  <a16:creationId xmlns:a16="http://schemas.microsoft.com/office/drawing/2014/main" id="{89B43B27-8285-4ECE-9D9A-D42C10323B62}"/>
                </a:ext>
              </a:extLst>
            </p:cNvPr>
            <p:cNvSpPr>
              <a:spLocks/>
            </p:cNvSpPr>
            <p:nvPr/>
          </p:nvSpPr>
          <p:spPr bwMode="auto">
            <a:xfrm>
              <a:off x="5465104" y="3344194"/>
              <a:ext cx="767141" cy="412376"/>
            </a:xfrm>
            <a:custGeom>
              <a:avLst/>
              <a:gdLst>
                <a:gd name="T0" fmla="*/ 684 w 690"/>
                <a:gd name="T1" fmla="*/ 116 h 371"/>
                <a:gd name="T2" fmla="*/ 683 w 690"/>
                <a:gd name="T3" fmla="*/ 114 h 371"/>
                <a:gd name="T4" fmla="*/ 675 w 690"/>
                <a:gd name="T5" fmla="*/ 108 h 371"/>
                <a:gd name="T6" fmla="*/ 671 w 690"/>
                <a:gd name="T7" fmla="*/ 107 h 371"/>
                <a:gd name="T8" fmla="*/ 668 w 690"/>
                <a:gd name="T9" fmla="*/ 106 h 371"/>
                <a:gd name="T10" fmla="*/ 658 w 690"/>
                <a:gd name="T11" fmla="*/ 93 h 371"/>
                <a:gd name="T12" fmla="*/ 658 w 690"/>
                <a:gd name="T13" fmla="*/ 90 h 371"/>
                <a:gd name="T14" fmla="*/ 658 w 690"/>
                <a:gd name="T15" fmla="*/ 84 h 371"/>
                <a:gd name="T16" fmla="*/ 651 w 690"/>
                <a:gd name="T17" fmla="*/ 80 h 371"/>
                <a:gd name="T18" fmla="*/ 648 w 690"/>
                <a:gd name="T19" fmla="*/ 78 h 371"/>
                <a:gd name="T20" fmla="*/ 642 w 690"/>
                <a:gd name="T21" fmla="*/ 69 h 371"/>
                <a:gd name="T22" fmla="*/ 639 w 690"/>
                <a:gd name="T23" fmla="*/ 63 h 371"/>
                <a:gd name="T24" fmla="*/ 647 w 690"/>
                <a:gd name="T25" fmla="*/ 52 h 371"/>
                <a:gd name="T26" fmla="*/ 649 w 690"/>
                <a:gd name="T27" fmla="*/ 49 h 371"/>
                <a:gd name="T28" fmla="*/ 649 w 690"/>
                <a:gd name="T29" fmla="*/ 46 h 371"/>
                <a:gd name="T30" fmla="*/ 651 w 690"/>
                <a:gd name="T31" fmla="*/ 46 h 371"/>
                <a:gd name="T32" fmla="*/ 657 w 690"/>
                <a:gd name="T33" fmla="*/ 46 h 371"/>
                <a:gd name="T34" fmla="*/ 659 w 690"/>
                <a:gd name="T35" fmla="*/ 42 h 371"/>
                <a:gd name="T36" fmla="*/ 658 w 690"/>
                <a:gd name="T37" fmla="*/ 33 h 371"/>
                <a:gd name="T38" fmla="*/ 652 w 690"/>
                <a:gd name="T39" fmla="*/ 24 h 371"/>
                <a:gd name="T40" fmla="*/ 644 w 690"/>
                <a:gd name="T41" fmla="*/ 22 h 371"/>
                <a:gd name="T42" fmla="*/ 639 w 690"/>
                <a:gd name="T43" fmla="*/ 25 h 371"/>
                <a:gd name="T44" fmla="*/ 637 w 690"/>
                <a:gd name="T45" fmla="*/ 27 h 371"/>
                <a:gd name="T46" fmla="*/ 618 w 690"/>
                <a:gd name="T47" fmla="*/ 12 h 371"/>
                <a:gd name="T48" fmla="*/ 616 w 690"/>
                <a:gd name="T49" fmla="*/ 11 h 371"/>
                <a:gd name="T50" fmla="*/ 616 w 690"/>
                <a:gd name="T51" fmla="*/ 11 h 371"/>
                <a:gd name="T52" fmla="*/ 467 w 690"/>
                <a:gd name="T53" fmla="*/ 12 h 371"/>
                <a:gd name="T54" fmla="*/ 353 w 690"/>
                <a:gd name="T55" fmla="*/ 12 h 371"/>
                <a:gd name="T56" fmla="*/ 133 w 690"/>
                <a:gd name="T57" fmla="*/ 6 h 371"/>
                <a:gd name="T58" fmla="*/ 20 w 690"/>
                <a:gd name="T59" fmla="*/ 0 h 371"/>
                <a:gd name="T60" fmla="*/ 18 w 690"/>
                <a:gd name="T61" fmla="*/ 1 h 371"/>
                <a:gd name="T62" fmla="*/ 17 w 690"/>
                <a:gd name="T63" fmla="*/ 2 h 371"/>
                <a:gd name="T64" fmla="*/ 0 w 690"/>
                <a:gd name="T65" fmla="*/ 353 h 371"/>
                <a:gd name="T66" fmla="*/ 0 w 690"/>
                <a:gd name="T67" fmla="*/ 356 h 371"/>
                <a:gd name="T68" fmla="*/ 1 w 690"/>
                <a:gd name="T69" fmla="*/ 358 h 371"/>
                <a:gd name="T70" fmla="*/ 3 w 690"/>
                <a:gd name="T71" fmla="*/ 359 h 371"/>
                <a:gd name="T72" fmla="*/ 150 w 690"/>
                <a:gd name="T73" fmla="*/ 366 h 371"/>
                <a:gd name="T74" fmla="*/ 360 w 690"/>
                <a:gd name="T75" fmla="*/ 371 h 371"/>
                <a:gd name="T76" fmla="*/ 572 w 690"/>
                <a:gd name="T77" fmla="*/ 371 h 371"/>
                <a:gd name="T78" fmla="*/ 572 w 690"/>
                <a:gd name="T79" fmla="*/ 371 h 371"/>
                <a:gd name="T80" fmla="*/ 687 w 690"/>
                <a:gd name="T81" fmla="*/ 369 h 371"/>
                <a:gd name="T82" fmla="*/ 689 w 690"/>
                <a:gd name="T83" fmla="*/ 368 h 371"/>
                <a:gd name="T84" fmla="*/ 690 w 690"/>
                <a:gd name="T85" fmla="*/ 366 h 371"/>
                <a:gd name="T86" fmla="*/ 684 w 690"/>
                <a:gd name="T87" fmla="*/ 116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0" h="371">
                  <a:moveTo>
                    <a:pt x="684" y="116"/>
                  </a:moveTo>
                  <a:cubicBezTo>
                    <a:pt x="684" y="115"/>
                    <a:pt x="683" y="114"/>
                    <a:pt x="683" y="114"/>
                  </a:cubicBezTo>
                  <a:cubicBezTo>
                    <a:pt x="682" y="113"/>
                    <a:pt x="677" y="109"/>
                    <a:pt x="675" y="108"/>
                  </a:cubicBezTo>
                  <a:cubicBezTo>
                    <a:pt x="674" y="107"/>
                    <a:pt x="672" y="107"/>
                    <a:pt x="671" y="107"/>
                  </a:cubicBezTo>
                  <a:cubicBezTo>
                    <a:pt x="670" y="106"/>
                    <a:pt x="669" y="106"/>
                    <a:pt x="668" y="106"/>
                  </a:cubicBezTo>
                  <a:cubicBezTo>
                    <a:pt x="665" y="103"/>
                    <a:pt x="659" y="96"/>
                    <a:pt x="658" y="93"/>
                  </a:cubicBezTo>
                  <a:cubicBezTo>
                    <a:pt x="658" y="92"/>
                    <a:pt x="658" y="91"/>
                    <a:pt x="658" y="90"/>
                  </a:cubicBezTo>
                  <a:cubicBezTo>
                    <a:pt x="658" y="88"/>
                    <a:pt x="658" y="86"/>
                    <a:pt x="658" y="84"/>
                  </a:cubicBezTo>
                  <a:cubicBezTo>
                    <a:pt x="656" y="82"/>
                    <a:pt x="654" y="81"/>
                    <a:pt x="651" y="80"/>
                  </a:cubicBezTo>
                  <a:cubicBezTo>
                    <a:pt x="650" y="79"/>
                    <a:pt x="649" y="78"/>
                    <a:pt x="648" y="78"/>
                  </a:cubicBezTo>
                  <a:cubicBezTo>
                    <a:pt x="647" y="76"/>
                    <a:pt x="643" y="71"/>
                    <a:pt x="642" y="69"/>
                  </a:cubicBezTo>
                  <a:cubicBezTo>
                    <a:pt x="639" y="63"/>
                    <a:pt x="639" y="63"/>
                    <a:pt x="639" y="63"/>
                  </a:cubicBezTo>
                  <a:cubicBezTo>
                    <a:pt x="641" y="61"/>
                    <a:pt x="646" y="55"/>
                    <a:pt x="647" y="52"/>
                  </a:cubicBezTo>
                  <a:cubicBezTo>
                    <a:pt x="648" y="51"/>
                    <a:pt x="648" y="50"/>
                    <a:pt x="649" y="49"/>
                  </a:cubicBezTo>
                  <a:cubicBezTo>
                    <a:pt x="649" y="48"/>
                    <a:pt x="649" y="46"/>
                    <a:pt x="649" y="46"/>
                  </a:cubicBezTo>
                  <a:cubicBezTo>
                    <a:pt x="650" y="46"/>
                    <a:pt x="651" y="46"/>
                    <a:pt x="651" y="46"/>
                  </a:cubicBezTo>
                  <a:cubicBezTo>
                    <a:pt x="654" y="47"/>
                    <a:pt x="656" y="47"/>
                    <a:pt x="657" y="46"/>
                  </a:cubicBezTo>
                  <a:cubicBezTo>
                    <a:pt x="659" y="45"/>
                    <a:pt x="659" y="43"/>
                    <a:pt x="659" y="42"/>
                  </a:cubicBezTo>
                  <a:cubicBezTo>
                    <a:pt x="660" y="40"/>
                    <a:pt x="659" y="35"/>
                    <a:pt x="658" y="33"/>
                  </a:cubicBezTo>
                  <a:cubicBezTo>
                    <a:pt x="657" y="31"/>
                    <a:pt x="654" y="26"/>
                    <a:pt x="652" y="24"/>
                  </a:cubicBezTo>
                  <a:cubicBezTo>
                    <a:pt x="650" y="23"/>
                    <a:pt x="647" y="21"/>
                    <a:pt x="644" y="22"/>
                  </a:cubicBezTo>
                  <a:cubicBezTo>
                    <a:pt x="642" y="22"/>
                    <a:pt x="641" y="23"/>
                    <a:pt x="639" y="25"/>
                  </a:cubicBezTo>
                  <a:cubicBezTo>
                    <a:pt x="639" y="26"/>
                    <a:pt x="638" y="27"/>
                    <a:pt x="637" y="27"/>
                  </a:cubicBezTo>
                  <a:cubicBezTo>
                    <a:pt x="634" y="27"/>
                    <a:pt x="624" y="18"/>
                    <a:pt x="618" y="12"/>
                  </a:cubicBezTo>
                  <a:cubicBezTo>
                    <a:pt x="618" y="11"/>
                    <a:pt x="617" y="11"/>
                    <a:pt x="616" y="11"/>
                  </a:cubicBezTo>
                  <a:cubicBezTo>
                    <a:pt x="616" y="11"/>
                    <a:pt x="616" y="11"/>
                    <a:pt x="616" y="11"/>
                  </a:cubicBezTo>
                  <a:cubicBezTo>
                    <a:pt x="467" y="12"/>
                    <a:pt x="467" y="12"/>
                    <a:pt x="467" y="12"/>
                  </a:cubicBezTo>
                  <a:cubicBezTo>
                    <a:pt x="353" y="12"/>
                    <a:pt x="353" y="12"/>
                    <a:pt x="353" y="12"/>
                  </a:cubicBezTo>
                  <a:cubicBezTo>
                    <a:pt x="133" y="6"/>
                    <a:pt x="133" y="6"/>
                    <a:pt x="133" y="6"/>
                  </a:cubicBezTo>
                  <a:cubicBezTo>
                    <a:pt x="20" y="0"/>
                    <a:pt x="20" y="0"/>
                    <a:pt x="20" y="0"/>
                  </a:cubicBezTo>
                  <a:cubicBezTo>
                    <a:pt x="19" y="0"/>
                    <a:pt x="19" y="0"/>
                    <a:pt x="18" y="1"/>
                  </a:cubicBezTo>
                  <a:cubicBezTo>
                    <a:pt x="18" y="1"/>
                    <a:pt x="18" y="2"/>
                    <a:pt x="17" y="2"/>
                  </a:cubicBezTo>
                  <a:cubicBezTo>
                    <a:pt x="0" y="353"/>
                    <a:pt x="0" y="353"/>
                    <a:pt x="0" y="353"/>
                  </a:cubicBezTo>
                  <a:cubicBezTo>
                    <a:pt x="0" y="356"/>
                    <a:pt x="0" y="356"/>
                    <a:pt x="0" y="356"/>
                  </a:cubicBezTo>
                  <a:cubicBezTo>
                    <a:pt x="0" y="357"/>
                    <a:pt x="0" y="358"/>
                    <a:pt x="1" y="358"/>
                  </a:cubicBezTo>
                  <a:cubicBezTo>
                    <a:pt x="1" y="359"/>
                    <a:pt x="2" y="359"/>
                    <a:pt x="3" y="359"/>
                  </a:cubicBezTo>
                  <a:cubicBezTo>
                    <a:pt x="150" y="366"/>
                    <a:pt x="150" y="366"/>
                    <a:pt x="150" y="366"/>
                  </a:cubicBezTo>
                  <a:cubicBezTo>
                    <a:pt x="360" y="371"/>
                    <a:pt x="360" y="371"/>
                    <a:pt x="360" y="371"/>
                  </a:cubicBezTo>
                  <a:cubicBezTo>
                    <a:pt x="572" y="371"/>
                    <a:pt x="572" y="371"/>
                    <a:pt x="572" y="371"/>
                  </a:cubicBezTo>
                  <a:cubicBezTo>
                    <a:pt x="572" y="371"/>
                    <a:pt x="572" y="371"/>
                    <a:pt x="572" y="371"/>
                  </a:cubicBezTo>
                  <a:cubicBezTo>
                    <a:pt x="687" y="369"/>
                    <a:pt x="687" y="369"/>
                    <a:pt x="687" y="369"/>
                  </a:cubicBezTo>
                  <a:cubicBezTo>
                    <a:pt x="688" y="368"/>
                    <a:pt x="688" y="368"/>
                    <a:pt x="689" y="368"/>
                  </a:cubicBezTo>
                  <a:cubicBezTo>
                    <a:pt x="689" y="367"/>
                    <a:pt x="690" y="367"/>
                    <a:pt x="690" y="366"/>
                  </a:cubicBezTo>
                  <a:lnTo>
                    <a:pt x="684" y="116"/>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8">
              <a:extLst>
                <a:ext uri="{FF2B5EF4-FFF2-40B4-BE49-F238E27FC236}">
                  <a16:creationId xmlns:a16="http://schemas.microsoft.com/office/drawing/2014/main" id="{AC8EEEFF-2FF6-4E4A-B40A-AF2F519AB7C0}"/>
                </a:ext>
              </a:extLst>
            </p:cNvPr>
            <p:cNvSpPr>
              <a:spLocks/>
            </p:cNvSpPr>
            <p:nvPr/>
          </p:nvSpPr>
          <p:spPr bwMode="auto">
            <a:xfrm>
              <a:off x="5359988" y="3731303"/>
              <a:ext cx="897525" cy="460891"/>
            </a:xfrm>
            <a:custGeom>
              <a:avLst/>
              <a:gdLst>
                <a:gd name="T0" fmla="*/ 802 w 807"/>
                <a:gd name="T1" fmla="*/ 175 h 415"/>
                <a:gd name="T2" fmla="*/ 781 w 807"/>
                <a:gd name="T3" fmla="*/ 15 h 415"/>
                <a:gd name="T4" fmla="*/ 245 w 807"/>
                <a:gd name="T5" fmla="*/ 13 h 415"/>
                <a:gd name="T6" fmla="*/ 4 w 807"/>
                <a:gd name="T7" fmla="*/ 1 h 415"/>
                <a:gd name="T8" fmla="*/ 0 w 807"/>
                <a:gd name="T9" fmla="*/ 62 h 415"/>
                <a:gd name="T10" fmla="*/ 130 w 807"/>
                <a:gd name="T11" fmla="*/ 72 h 415"/>
                <a:gd name="T12" fmla="*/ 272 w 807"/>
                <a:gd name="T13" fmla="*/ 77 h 415"/>
                <a:gd name="T14" fmla="*/ 272 w 807"/>
                <a:gd name="T15" fmla="*/ 301 h 415"/>
                <a:gd name="T16" fmla="*/ 288 w 807"/>
                <a:gd name="T17" fmla="*/ 310 h 415"/>
                <a:gd name="T18" fmla="*/ 309 w 807"/>
                <a:gd name="T19" fmla="*/ 328 h 415"/>
                <a:gd name="T20" fmla="*/ 320 w 807"/>
                <a:gd name="T21" fmla="*/ 326 h 415"/>
                <a:gd name="T22" fmla="*/ 333 w 807"/>
                <a:gd name="T23" fmla="*/ 327 h 415"/>
                <a:gd name="T24" fmla="*/ 341 w 807"/>
                <a:gd name="T25" fmla="*/ 325 h 415"/>
                <a:gd name="T26" fmla="*/ 347 w 807"/>
                <a:gd name="T27" fmla="*/ 336 h 415"/>
                <a:gd name="T28" fmla="*/ 350 w 807"/>
                <a:gd name="T29" fmla="*/ 349 h 415"/>
                <a:gd name="T30" fmla="*/ 360 w 807"/>
                <a:gd name="T31" fmla="*/ 350 h 415"/>
                <a:gd name="T32" fmla="*/ 370 w 807"/>
                <a:gd name="T33" fmla="*/ 349 h 415"/>
                <a:gd name="T34" fmla="*/ 394 w 807"/>
                <a:gd name="T35" fmla="*/ 359 h 415"/>
                <a:gd name="T36" fmla="*/ 402 w 807"/>
                <a:gd name="T37" fmla="*/ 357 h 415"/>
                <a:gd name="T38" fmla="*/ 409 w 807"/>
                <a:gd name="T39" fmla="*/ 359 h 415"/>
                <a:gd name="T40" fmla="*/ 418 w 807"/>
                <a:gd name="T41" fmla="*/ 367 h 415"/>
                <a:gd name="T42" fmla="*/ 434 w 807"/>
                <a:gd name="T43" fmla="*/ 359 h 415"/>
                <a:gd name="T44" fmla="*/ 449 w 807"/>
                <a:gd name="T45" fmla="*/ 361 h 415"/>
                <a:gd name="T46" fmla="*/ 453 w 807"/>
                <a:gd name="T47" fmla="*/ 366 h 415"/>
                <a:gd name="T48" fmla="*/ 466 w 807"/>
                <a:gd name="T49" fmla="*/ 376 h 415"/>
                <a:gd name="T50" fmla="*/ 468 w 807"/>
                <a:gd name="T51" fmla="*/ 390 h 415"/>
                <a:gd name="T52" fmla="*/ 491 w 807"/>
                <a:gd name="T53" fmla="*/ 384 h 415"/>
                <a:gd name="T54" fmla="*/ 503 w 807"/>
                <a:gd name="T55" fmla="*/ 383 h 415"/>
                <a:gd name="T56" fmla="*/ 513 w 807"/>
                <a:gd name="T57" fmla="*/ 388 h 415"/>
                <a:gd name="T58" fmla="*/ 523 w 807"/>
                <a:gd name="T59" fmla="*/ 397 h 415"/>
                <a:gd name="T60" fmla="*/ 537 w 807"/>
                <a:gd name="T61" fmla="*/ 391 h 415"/>
                <a:gd name="T62" fmla="*/ 538 w 807"/>
                <a:gd name="T63" fmla="*/ 397 h 415"/>
                <a:gd name="T64" fmla="*/ 547 w 807"/>
                <a:gd name="T65" fmla="*/ 409 h 415"/>
                <a:gd name="T66" fmla="*/ 556 w 807"/>
                <a:gd name="T67" fmla="*/ 392 h 415"/>
                <a:gd name="T68" fmla="*/ 565 w 807"/>
                <a:gd name="T69" fmla="*/ 383 h 415"/>
                <a:gd name="T70" fmla="*/ 565 w 807"/>
                <a:gd name="T71" fmla="*/ 382 h 415"/>
                <a:gd name="T72" fmla="*/ 577 w 807"/>
                <a:gd name="T73" fmla="*/ 391 h 415"/>
                <a:gd name="T74" fmla="*/ 591 w 807"/>
                <a:gd name="T75" fmla="*/ 391 h 415"/>
                <a:gd name="T76" fmla="*/ 599 w 807"/>
                <a:gd name="T77" fmla="*/ 389 h 415"/>
                <a:gd name="T78" fmla="*/ 611 w 807"/>
                <a:gd name="T79" fmla="*/ 402 h 415"/>
                <a:gd name="T80" fmla="*/ 621 w 807"/>
                <a:gd name="T81" fmla="*/ 407 h 415"/>
                <a:gd name="T82" fmla="*/ 632 w 807"/>
                <a:gd name="T83" fmla="*/ 406 h 415"/>
                <a:gd name="T84" fmla="*/ 640 w 807"/>
                <a:gd name="T85" fmla="*/ 404 h 415"/>
                <a:gd name="T86" fmla="*/ 651 w 807"/>
                <a:gd name="T87" fmla="*/ 394 h 415"/>
                <a:gd name="T88" fmla="*/ 661 w 807"/>
                <a:gd name="T89" fmla="*/ 391 h 415"/>
                <a:gd name="T90" fmla="*/ 669 w 807"/>
                <a:gd name="T91" fmla="*/ 393 h 415"/>
                <a:gd name="T92" fmla="*/ 683 w 807"/>
                <a:gd name="T93" fmla="*/ 390 h 415"/>
                <a:gd name="T94" fmla="*/ 698 w 807"/>
                <a:gd name="T95" fmla="*/ 383 h 415"/>
                <a:gd name="T96" fmla="*/ 712 w 807"/>
                <a:gd name="T97" fmla="*/ 391 h 415"/>
                <a:gd name="T98" fmla="*/ 729 w 807"/>
                <a:gd name="T99" fmla="*/ 384 h 415"/>
                <a:gd name="T100" fmla="*/ 736 w 807"/>
                <a:gd name="T101" fmla="*/ 381 h 415"/>
                <a:gd name="T102" fmla="*/ 767 w 807"/>
                <a:gd name="T103" fmla="*/ 403 h 415"/>
                <a:gd name="T104" fmla="*/ 778 w 807"/>
                <a:gd name="T105" fmla="*/ 408 h 415"/>
                <a:gd name="T106" fmla="*/ 804 w 807"/>
                <a:gd name="T107" fmla="*/ 415 h 415"/>
                <a:gd name="T108" fmla="*/ 807 w 807"/>
                <a:gd name="T109" fmla="*/ 412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7" h="415">
                  <a:moveTo>
                    <a:pt x="807" y="412"/>
                  </a:moveTo>
                  <a:cubicBezTo>
                    <a:pt x="805" y="207"/>
                    <a:pt x="805" y="207"/>
                    <a:pt x="805" y="207"/>
                  </a:cubicBezTo>
                  <a:cubicBezTo>
                    <a:pt x="802" y="175"/>
                    <a:pt x="802" y="175"/>
                    <a:pt x="802" y="175"/>
                  </a:cubicBezTo>
                  <a:cubicBezTo>
                    <a:pt x="785" y="76"/>
                    <a:pt x="785" y="76"/>
                    <a:pt x="785" y="76"/>
                  </a:cubicBezTo>
                  <a:cubicBezTo>
                    <a:pt x="784" y="18"/>
                    <a:pt x="784" y="18"/>
                    <a:pt x="784" y="18"/>
                  </a:cubicBezTo>
                  <a:cubicBezTo>
                    <a:pt x="784" y="17"/>
                    <a:pt x="783" y="16"/>
                    <a:pt x="781" y="15"/>
                  </a:cubicBezTo>
                  <a:cubicBezTo>
                    <a:pt x="666" y="18"/>
                    <a:pt x="666" y="18"/>
                    <a:pt x="666" y="18"/>
                  </a:cubicBezTo>
                  <a:cubicBezTo>
                    <a:pt x="454" y="18"/>
                    <a:pt x="454" y="18"/>
                    <a:pt x="454" y="18"/>
                  </a:cubicBezTo>
                  <a:cubicBezTo>
                    <a:pt x="245" y="13"/>
                    <a:pt x="245" y="13"/>
                    <a:pt x="245" y="13"/>
                  </a:cubicBezTo>
                  <a:cubicBezTo>
                    <a:pt x="97" y="6"/>
                    <a:pt x="97" y="6"/>
                    <a:pt x="97" y="6"/>
                  </a:cubicBezTo>
                  <a:cubicBezTo>
                    <a:pt x="6" y="0"/>
                    <a:pt x="6" y="0"/>
                    <a:pt x="6" y="0"/>
                  </a:cubicBezTo>
                  <a:cubicBezTo>
                    <a:pt x="5" y="0"/>
                    <a:pt x="5" y="1"/>
                    <a:pt x="4" y="1"/>
                  </a:cubicBezTo>
                  <a:cubicBezTo>
                    <a:pt x="4" y="1"/>
                    <a:pt x="3" y="2"/>
                    <a:pt x="3" y="3"/>
                  </a:cubicBezTo>
                  <a:cubicBezTo>
                    <a:pt x="0" y="57"/>
                    <a:pt x="0" y="57"/>
                    <a:pt x="0" y="57"/>
                  </a:cubicBezTo>
                  <a:cubicBezTo>
                    <a:pt x="0" y="62"/>
                    <a:pt x="0" y="62"/>
                    <a:pt x="0" y="62"/>
                  </a:cubicBezTo>
                  <a:cubicBezTo>
                    <a:pt x="0" y="63"/>
                    <a:pt x="1" y="64"/>
                    <a:pt x="2" y="64"/>
                  </a:cubicBezTo>
                  <a:cubicBezTo>
                    <a:pt x="2" y="64"/>
                    <a:pt x="4" y="65"/>
                    <a:pt x="5" y="65"/>
                  </a:cubicBezTo>
                  <a:cubicBezTo>
                    <a:pt x="34" y="68"/>
                    <a:pt x="129" y="72"/>
                    <a:pt x="130" y="72"/>
                  </a:cubicBezTo>
                  <a:cubicBezTo>
                    <a:pt x="226" y="76"/>
                    <a:pt x="226" y="76"/>
                    <a:pt x="226" y="76"/>
                  </a:cubicBezTo>
                  <a:cubicBezTo>
                    <a:pt x="264" y="77"/>
                    <a:pt x="264" y="77"/>
                    <a:pt x="264" y="77"/>
                  </a:cubicBezTo>
                  <a:cubicBezTo>
                    <a:pt x="272" y="77"/>
                    <a:pt x="272" y="77"/>
                    <a:pt x="272" y="77"/>
                  </a:cubicBezTo>
                  <a:cubicBezTo>
                    <a:pt x="279" y="81"/>
                    <a:pt x="279" y="81"/>
                    <a:pt x="279" y="81"/>
                  </a:cubicBezTo>
                  <a:cubicBezTo>
                    <a:pt x="272" y="288"/>
                    <a:pt x="272" y="288"/>
                    <a:pt x="272" y="288"/>
                  </a:cubicBezTo>
                  <a:cubicBezTo>
                    <a:pt x="272" y="301"/>
                    <a:pt x="272" y="301"/>
                    <a:pt x="272" y="301"/>
                  </a:cubicBezTo>
                  <a:cubicBezTo>
                    <a:pt x="272" y="303"/>
                    <a:pt x="272" y="304"/>
                    <a:pt x="274" y="304"/>
                  </a:cubicBezTo>
                  <a:cubicBezTo>
                    <a:pt x="276" y="304"/>
                    <a:pt x="279" y="305"/>
                    <a:pt x="280" y="305"/>
                  </a:cubicBezTo>
                  <a:cubicBezTo>
                    <a:pt x="283" y="306"/>
                    <a:pt x="286" y="308"/>
                    <a:pt x="288" y="310"/>
                  </a:cubicBezTo>
                  <a:cubicBezTo>
                    <a:pt x="289" y="311"/>
                    <a:pt x="291" y="313"/>
                    <a:pt x="293" y="316"/>
                  </a:cubicBezTo>
                  <a:cubicBezTo>
                    <a:pt x="296" y="319"/>
                    <a:pt x="298" y="322"/>
                    <a:pt x="301" y="324"/>
                  </a:cubicBezTo>
                  <a:cubicBezTo>
                    <a:pt x="306" y="328"/>
                    <a:pt x="308" y="328"/>
                    <a:pt x="309" y="328"/>
                  </a:cubicBezTo>
                  <a:cubicBezTo>
                    <a:pt x="311" y="328"/>
                    <a:pt x="312" y="327"/>
                    <a:pt x="314" y="326"/>
                  </a:cubicBezTo>
                  <a:cubicBezTo>
                    <a:pt x="315" y="326"/>
                    <a:pt x="316" y="325"/>
                    <a:pt x="317" y="325"/>
                  </a:cubicBezTo>
                  <a:cubicBezTo>
                    <a:pt x="317" y="325"/>
                    <a:pt x="319" y="326"/>
                    <a:pt x="320" y="326"/>
                  </a:cubicBezTo>
                  <a:cubicBezTo>
                    <a:pt x="321" y="327"/>
                    <a:pt x="323" y="328"/>
                    <a:pt x="324" y="328"/>
                  </a:cubicBezTo>
                  <a:cubicBezTo>
                    <a:pt x="325" y="328"/>
                    <a:pt x="326" y="328"/>
                    <a:pt x="327" y="328"/>
                  </a:cubicBezTo>
                  <a:cubicBezTo>
                    <a:pt x="330" y="328"/>
                    <a:pt x="332" y="327"/>
                    <a:pt x="333" y="327"/>
                  </a:cubicBezTo>
                  <a:cubicBezTo>
                    <a:pt x="335" y="326"/>
                    <a:pt x="335" y="324"/>
                    <a:pt x="336" y="322"/>
                  </a:cubicBezTo>
                  <a:cubicBezTo>
                    <a:pt x="336" y="322"/>
                    <a:pt x="336" y="322"/>
                    <a:pt x="336" y="323"/>
                  </a:cubicBezTo>
                  <a:cubicBezTo>
                    <a:pt x="337" y="324"/>
                    <a:pt x="339" y="325"/>
                    <a:pt x="341" y="325"/>
                  </a:cubicBezTo>
                  <a:cubicBezTo>
                    <a:pt x="341" y="326"/>
                    <a:pt x="343" y="326"/>
                    <a:pt x="343" y="326"/>
                  </a:cubicBezTo>
                  <a:cubicBezTo>
                    <a:pt x="345" y="328"/>
                    <a:pt x="347" y="331"/>
                    <a:pt x="347" y="332"/>
                  </a:cubicBezTo>
                  <a:cubicBezTo>
                    <a:pt x="348" y="333"/>
                    <a:pt x="347" y="335"/>
                    <a:pt x="347" y="336"/>
                  </a:cubicBezTo>
                  <a:cubicBezTo>
                    <a:pt x="347" y="337"/>
                    <a:pt x="347" y="338"/>
                    <a:pt x="347" y="339"/>
                  </a:cubicBezTo>
                  <a:cubicBezTo>
                    <a:pt x="347" y="340"/>
                    <a:pt x="347" y="340"/>
                    <a:pt x="347" y="340"/>
                  </a:cubicBezTo>
                  <a:cubicBezTo>
                    <a:pt x="348" y="344"/>
                    <a:pt x="348" y="347"/>
                    <a:pt x="350" y="349"/>
                  </a:cubicBezTo>
                  <a:cubicBezTo>
                    <a:pt x="352" y="350"/>
                    <a:pt x="354" y="350"/>
                    <a:pt x="357" y="350"/>
                  </a:cubicBezTo>
                  <a:cubicBezTo>
                    <a:pt x="358" y="349"/>
                    <a:pt x="358" y="350"/>
                    <a:pt x="359" y="349"/>
                  </a:cubicBezTo>
                  <a:cubicBezTo>
                    <a:pt x="360" y="349"/>
                    <a:pt x="360" y="350"/>
                    <a:pt x="360" y="350"/>
                  </a:cubicBezTo>
                  <a:cubicBezTo>
                    <a:pt x="361" y="350"/>
                    <a:pt x="362" y="351"/>
                    <a:pt x="364" y="351"/>
                  </a:cubicBezTo>
                  <a:cubicBezTo>
                    <a:pt x="365" y="351"/>
                    <a:pt x="366" y="350"/>
                    <a:pt x="368" y="350"/>
                  </a:cubicBezTo>
                  <a:cubicBezTo>
                    <a:pt x="369" y="349"/>
                    <a:pt x="370" y="349"/>
                    <a:pt x="370" y="349"/>
                  </a:cubicBezTo>
                  <a:cubicBezTo>
                    <a:pt x="371" y="349"/>
                    <a:pt x="373" y="350"/>
                    <a:pt x="374" y="351"/>
                  </a:cubicBezTo>
                  <a:cubicBezTo>
                    <a:pt x="375" y="352"/>
                    <a:pt x="376" y="353"/>
                    <a:pt x="378" y="353"/>
                  </a:cubicBezTo>
                  <a:cubicBezTo>
                    <a:pt x="381" y="355"/>
                    <a:pt x="389" y="358"/>
                    <a:pt x="394" y="359"/>
                  </a:cubicBezTo>
                  <a:cubicBezTo>
                    <a:pt x="395" y="359"/>
                    <a:pt x="397" y="358"/>
                    <a:pt x="399" y="358"/>
                  </a:cubicBezTo>
                  <a:cubicBezTo>
                    <a:pt x="400" y="358"/>
                    <a:pt x="401" y="357"/>
                    <a:pt x="401" y="357"/>
                  </a:cubicBezTo>
                  <a:cubicBezTo>
                    <a:pt x="402" y="357"/>
                    <a:pt x="402" y="357"/>
                    <a:pt x="402" y="357"/>
                  </a:cubicBezTo>
                  <a:cubicBezTo>
                    <a:pt x="404" y="357"/>
                    <a:pt x="408" y="357"/>
                    <a:pt x="408" y="357"/>
                  </a:cubicBezTo>
                  <a:cubicBezTo>
                    <a:pt x="408" y="357"/>
                    <a:pt x="408" y="357"/>
                    <a:pt x="408" y="357"/>
                  </a:cubicBezTo>
                  <a:cubicBezTo>
                    <a:pt x="408" y="357"/>
                    <a:pt x="409" y="358"/>
                    <a:pt x="409" y="359"/>
                  </a:cubicBezTo>
                  <a:cubicBezTo>
                    <a:pt x="410" y="360"/>
                    <a:pt x="410" y="361"/>
                    <a:pt x="411" y="362"/>
                  </a:cubicBezTo>
                  <a:cubicBezTo>
                    <a:pt x="411" y="362"/>
                    <a:pt x="411" y="362"/>
                    <a:pt x="411" y="362"/>
                  </a:cubicBezTo>
                  <a:cubicBezTo>
                    <a:pt x="413" y="365"/>
                    <a:pt x="416" y="367"/>
                    <a:pt x="418" y="367"/>
                  </a:cubicBezTo>
                  <a:cubicBezTo>
                    <a:pt x="421" y="368"/>
                    <a:pt x="427" y="365"/>
                    <a:pt x="427" y="365"/>
                  </a:cubicBezTo>
                  <a:cubicBezTo>
                    <a:pt x="429" y="364"/>
                    <a:pt x="430" y="363"/>
                    <a:pt x="431" y="362"/>
                  </a:cubicBezTo>
                  <a:cubicBezTo>
                    <a:pt x="432" y="361"/>
                    <a:pt x="434" y="360"/>
                    <a:pt x="434" y="359"/>
                  </a:cubicBezTo>
                  <a:cubicBezTo>
                    <a:pt x="434" y="359"/>
                    <a:pt x="435" y="359"/>
                    <a:pt x="436" y="359"/>
                  </a:cubicBezTo>
                  <a:cubicBezTo>
                    <a:pt x="440" y="359"/>
                    <a:pt x="448" y="361"/>
                    <a:pt x="448" y="361"/>
                  </a:cubicBezTo>
                  <a:cubicBezTo>
                    <a:pt x="449" y="361"/>
                    <a:pt x="449" y="361"/>
                    <a:pt x="449" y="361"/>
                  </a:cubicBezTo>
                  <a:cubicBezTo>
                    <a:pt x="450" y="361"/>
                    <a:pt x="452" y="360"/>
                    <a:pt x="454" y="360"/>
                  </a:cubicBezTo>
                  <a:cubicBezTo>
                    <a:pt x="454" y="360"/>
                    <a:pt x="454" y="361"/>
                    <a:pt x="454" y="361"/>
                  </a:cubicBezTo>
                  <a:cubicBezTo>
                    <a:pt x="453" y="363"/>
                    <a:pt x="453" y="365"/>
                    <a:pt x="453" y="366"/>
                  </a:cubicBezTo>
                  <a:cubicBezTo>
                    <a:pt x="454" y="369"/>
                    <a:pt x="456" y="373"/>
                    <a:pt x="459" y="375"/>
                  </a:cubicBezTo>
                  <a:cubicBezTo>
                    <a:pt x="460" y="376"/>
                    <a:pt x="462" y="376"/>
                    <a:pt x="464" y="376"/>
                  </a:cubicBezTo>
                  <a:cubicBezTo>
                    <a:pt x="465" y="376"/>
                    <a:pt x="466" y="376"/>
                    <a:pt x="466" y="376"/>
                  </a:cubicBezTo>
                  <a:cubicBezTo>
                    <a:pt x="467" y="376"/>
                    <a:pt x="467" y="378"/>
                    <a:pt x="467" y="379"/>
                  </a:cubicBezTo>
                  <a:cubicBezTo>
                    <a:pt x="467" y="380"/>
                    <a:pt x="467" y="381"/>
                    <a:pt x="467" y="382"/>
                  </a:cubicBezTo>
                  <a:cubicBezTo>
                    <a:pt x="467" y="385"/>
                    <a:pt x="467" y="388"/>
                    <a:pt x="468" y="390"/>
                  </a:cubicBezTo>
                  <a:cubicBezTo>
                    <a:pt x="471" y="393"/>
                    <a:pt x="476" y="393"/>
                    <a:pt x="478" y="393"/>
                  </a:cubicBezTo>
                  <a:cubicBezTo>
                    <a:pt x="480" y="392"/>
                    <a:pt x="484" y="391"/>
                    <a:pt x="486" y="389"/>
                  </a:cubicBezTo>
                  <a:cubicBezTo>
                    <a:pt x="488" y="388"/>
                    <a:pt x="490" y="386"/>
                    <a:pt x="491" y="384"/>
                  </a:cubicBezTo>
                  <a:cubicBezTo>
                    <a:pt x="493" y="381"/>
                    <a:pt x="496" y="379"/>
                    <a:pt x="497" y="378"/>
                  </a:cubicBezTo>
                  <a:cubicBezTo>
                    <a:pt x="499" y="378"/>
                    <a:pt x="501" y="379"/>
                    <a:pt x="502" y="380"/>
                  </a:cubicBezTo>
                  <a:cubicBezTo>
                    <a:pt x="503" y="381"/>
                    <a:pt x="503" y="382"/>
                    <a:pt x="503" y="383"/>
                  </a:cubicBezTo>
                  <a:cubicBezTo>
                    <a:pt x="503" y="385"/>
                    <a:pt x="504" y="387"/>
                    <a:pt x="506" y="388"/>
                  </a:cubicBezTo>
                  <a:cubicBezTo>
                    <a:pt x="507" y="389"/>
                    <a:pt x="509" y="389"/>
                    <a:pt x="511" y="388"/>
                  </a:cubicBezTo>
                  <a:cubicBezTo>
                    <a:pt x="512" y="388"/>
                    <a:pt x="512" y="388"/>
                    <a:pt x="513" y="388"/>
                  </a:cubicBezTo>
                  <a:cubicBezTo>
                    <a:pt x="513" y="388"/>
                    <a:pt x="513" y="389"/>
                    <a:pt x="513" y="390"/>
                  </a:cubicBezTo>
                  <a:cubicBezTo>
                    <a:pt x="514" y="392"/>
                    <a:pt x="514" y="394"/>
                    <a:pt x="516" y="395"/>
                  </a:cubicBezTo>
                  <a:cubicBezTo>
                    <a:pt x="518" y="397"/>
                    <a:pt x="521" y="397"/>
                    <a:pt x="523" y="397"/>
                  </a:cubicBezTo>
                  <a:cubicBezTo>
                    <a:pt x="524" y="397"/>
                    <a:pt x="524" y="397"/>
                    <a:pt x="525" y="397"/>
                  </a:cubicBezTo>
                  <a:cubicBezTo>
                    <a:pt x="527" y="397"/>
                    <a:pt x="529" y="395"/>
                    <a:pt x="532" y="394"/>
                  </a:cubicBezTo>
                  <a:cubicBezTo>
                    <a:pt x="534" y="393"/>
                    <a:pt x="536" y="391"/>
                    <a:pt x="537" y="391"/>
                  </a:cubicBezTo>
                  <a:cubicBezTo>
                    <a:pt x="538" y="391"/>
                    <a:pt x="540" y="391"/>
                    <a:pt x="541" y="391"/>
                  </a:cubicBezTo>
                  <a:cubicBezTo>
                    <a:pt x="541" y="391"/>
                    <a:pt x="541" y="392"/>
                    <a:pt x="540" y="392"/>
                  </a:cubicBezTo>
                  <a:cubicBezTo>
                    <a:pt x="539" y="394"/>
                    <a:pt x="538" y="395"/>
                    <a:pt x="538" y="397"/>
                  </a:cubicBezTo>
                  <a:cubicBezTo>
                    <a:pt x="538" y="399"/>
                    <a:pt x="540" y="404"/>
                    <a:pt x="542" y="406"/>
                  </a:cubicBezTo>
                  <a:cubicBezTo>
                    <a:pt x="543" y="407"/>
                    <a:pt x="544" y="408"/>
                    <a:pt x="545" y="408"/>
                  </a:cubicBezTo>
                  <a:cubicBezTo>
                    <a:pt x="546" y="409"/>
                    <a:pt x="547" y="409"/>
                    <a:pt x="547" y="409"/>
                  </a:cubicBezTo>
                  <a:cubicBezTo>
                    <a:pt x="549" y="409"/>
                    <a:pt x="551" y="408"/>
                    <a:pt x="553" y="407"/>
                  </a:cubicBezTo>
                  <a:cubicBezTo>
                    <a:pt x="555" y="405"/>
                    <a:pt x="555" y="401"/>
                    <a:pt x="555" y="398"/>
                  </a:cubicBezTo>
                  <a:cubicBezTo>
                    <a:pt x="555" y="396"/>
                    <a:pt x="555" y="393"/>
                    <a:pt x="556" y="392"/>
                  </a:cubicBezTo>
                  <a:cubicBezTo>
                    <a:pt x="556" y="392"/>
                    <a:pt x="558" y="391"/>
                    <a:pt x="559" y="391"/>
                  </a:cubicBezTo>
                  <a:cubicBezTo>
                    <a:pt x="561" y="390"/>
                    <a:pt x="563" y="389"/>
                    <a:pt x="564" y="387"/>
                  </a:cubicBezTo>
                  <a:cubicBezTo>
                    <a:pt x="565" y="386"/>
                    <a:pt x="565" y="385"/>
                    <a:pt x="565" y="383"/>
                  </a:cubicBezTo>
                  <a:cubicBezTo>
                    <a:pt x="565" y="383"/>
                    <a:pt x="565" y="382"/>
                    <a:pt x="565" y="382"/>
                  </a:cubicBezTo>
                  <a:cubicBezTo>
                    <a:pt x="565" y="382"/>
                    <a:pt x="565" y="382"/>
                    <a:pt x="565" y="382"/>
                  </a:cubicBezTo>
                  <a:cubicBezTo>
                    <a:pt x="565" y="382"/>
                    <a:pt x="565" y="382"/>
                    <a:pt x="565" y="382"/>
                  </a:cubicBezTo>
                  <a:cubicBezTo>
                    <a:pt x="566" y="382"/>
                    <a:pt x="569" y="383"/>
                    <a:pt x="571" y="384"/>
                  </a:cubicBezTo>
                  <a:cubicBezTo>
                    <a:pt x="571" y="385"/>
                    <a:pt x="572" y="386"/>
                    <a:pt x="573" y="387"/>
                  </a:cubicBezTo>
                  <a:cubicBezTo>
                    <a:pt x="574" y="389"/>
                    <a:pt x="576" y="391"/>
                    <a:pt x="577" y="391"/>
                  </a:cubicBezTo>
                  <a:cubicBezTo>
                    <a:pt x="577" y="392"/>
                    <a:pt x="582" y="395"/>
                    <a:pt x="585" y="395"/>
                  </a:cubicBezTo>
                  <a:cubicBezTo>
                    <a:pt x="585" y="395"/>
                    <a:pt x="586" y="395"/>
                    <a:pt x="586" y="395"/>
                  </a:cubicBezTo>
                  <a:cubicBezTo>
                    <a:pt x="588" y="394"/>
                    <a:pt x="590" y="393"/>
                    <a:pt x="591" y="391"/>
                  </a:cubicBezTo>
                  <a:cubicBezTo>
                    <a:pt x="592" y="390"/>
                    <a:pt x="593" y="389"/>
                    <a:pt x="594" y="389"/>
                  </a:cubicBezTo>
                  <a:cubicBezTo>
                    <a:pt x="594" y="389"/>
                    <a:pt x="594" y="389"/>
                    <a:pt x="595" y="389"/>
                  </a:cubicBezTo>
                  <a:cubicBezTo>
                    <a:pt x="597" y="389"/>
                    <a:pt x="598" y="389"/>
                    <a:pt x="599" y="389"/>
                  </a:cubicBezTo>
                  <a:cubicBezTo>
                    <a:pt x="599" y="390"/>
                    <a:pt x="600" y="392"/>
                    <a:pt x="601" y="393"/>
                  </a:cubicBezTo>
                  <a:cubicBezTo>
                    <a:pt x="602" y="394"/>
                    <a:pt x="602" y="396"/>
                    <a:pt x="603" y="397"/>
                  </a:cubicBezTo>
                  <a:cubicBezTo>
                    <a:pt x="605" y="399"/>
                    <a:pt x="610" y="401"/>
                    <a:pt x="611" y="402"/>
                  </a:cubicBezTo>
                  <a:cubicBezTo>
                    <a:pt x="612" y="402"/>
                    <a:pt x="614" y="403"/>
                    <a:pt x="615" y="403"/>
                  </a:cubicBezTo>
                  <a:cubicBezTo>
                    <a:pt x="616" y="404"/>
                    <a:pt x="618" y="404"/>
                    <a:pt x="619" y="405"/>
                  </a:cubicBezTo>
                  <a:cubicBezTo>
                    <a:pt x="619" y="405"/>
                    <a:pt x="620" y="406"/>
                    <a:pt x="621" y="407"/>
                  </a:cubicBezTo>
                  <a:cubicBezTo>
                    <a:pt x="623" y="409"/>
                    <a:pt x="625" y="411"/>
                    <a:pt x="627" y="411"/>
                  </a:cubicBezTo>
                  <a:cubicBezTo>
                    <a:pt x="627" y="411"/>
                    <a:pt x="628" y="411"/>
                    <a:pt x="628" y="411"/>
                  </a:cubicBezTo>
                  <a:cubicBezTo>
                    <a:pt x="631" y="411"/>
                    <a:pt x="631" y="408"/>
                    <a:pt x="632" y="406"/>
                  </a:cubicBezTo>
                  <a:cubicBezTo>
                    <a:pt x="632" y="405"/>
                    <a:pt x="633" y="404"/>
                    <a:pt x="633" y="404"/>
                  </a:cubicBezTo>
                  <a:cubicBezTo>
                    <a:pt x="633" y="404"/>
                    <a:pt x="634" y="404"/>
                    <a:pt x="635" y="404"/>
                  </a:cubicBezTo>
                  <a:cubicBezTo>
                    <a:pt x="637" y="404"/>
                    <a:pt x="639" y="405"/>
                    <a:pt x="640" y="404"/>
                  </a:cubicBezTo>
                  <a:cubicBezTo>
                    <a:pt x="642" y="403"/>
                    <a:pt x="644" y="401"/>
                    <a:pt x="645" y="398"/>
                  </a:cubicBezTo>
                  <a:cubicBezTo>
                    <a:pt x="646" y="397"/>
                    <a:pt x="648" y="395"/>
                    <a:pt x="649" y="395"/>
                  </a:cubicBezTo>
                  <a:cubicBezTo>
                    <a:pt x="649" y="395"/>
                    <a:pt x="649" y="394"/>
                    <a:pt x="651" y="394"/>
                  </a:cubicBezTo>
                  <a:cubicBezTo>
                    <a:pt x="653" y="394"/>
                    <a:pt x="653" y="394"/>
                    <a:pt x="653" y="394"/>
                  </a:cubicBezTo>
                  <a:cubicBezTo>
                    <a:pt x="654" y="394"/>
                    <a:pt x="655" y="394"/>
                    <a:pt x="657" y="394"/>
                  </a:cubicBezTo>
                  <a:cubicBezTo>
                    <a:pt x="658" y="393"/>
                    <a:pt x="659" y="392"/>
                    <a:pt x="661" y="391"/>
                  </a:cubicBezTo>
                  <a:cubicBezTo>
                    <a:pt x="661" y="390"/>
                    <a:pt x="663" y="388"/>
                    <a:pt x="663" y="388"/>
                  </a:cubicBezTo>
                  <a:cubicBezTo>
                    <a:pt x="663" y="388"/>
                    <a:pt x="664" y="390"/>
                    <a:pt x="665" y="390"/>
                  </a:cubicBezTo>
                  <a:cubicBezTo>
                    <a:pt x="667" y="392"/>
                    <a:pt x="668" y="393"/>
                    <a:pt x="669" y="393"/>
                  </a:cubicBezTo>
                  <a:cubicBezTo>
                    <a:pt x="671" y="394"/>
                    <a:pt x="673" y="394"/>
                    <a:pt x="674" y="394"/>
                  </a:cubicBezTo>
                  <a:cubicBezTo>
                    <a:pt x="675" y="394"/>
                    <a:pt x="677" y="394"/>
                    <a:pt x="679" y="393"/>
                  </a:cubicBezTo>
                  <a:cubicBezTo>
                    <a:pt x="680" y="393"/>
                    <a:pt x="682" y="391"/>
                    <a:pt x="683" y="390"/>
                  </a:cubicBezTo>
                  <a:cubicBezTo>
                    <a:pt x="684" y="389"/>
                    <a:pt x="685" y="388"/>
                    <a:pt x="686" y="388"/>
                  </a:cubicBezTo>
                  <a:cubicBezTo>
                    <a:pt x="687" y="387"/>
                    <a:pt x="687" y="387"/>
                    <a:pt x="687" y="387"/>
                  </a:cubicBezTo>
                  <a:cubicBezTo>
                    <a:pt x="690" y="386"/>
                    <a:pt x="695" y="383"/>
                    <a:pt x="698" y="383"/>
                  </a:cubicBezTo>
                  <a:cubicBezTo>
                    <a:pt x="699" y="383"/>
                    <a:pt x="701" y="385"/>
                    <a:pt x="702" y="386"/>
                  </a:cubicBezTo>
                  <a:cubicBezTo>
                    <a:pt x="703" y="387"/>
                    <a:pt x="704" y="389"/>
                    <a:pt x="706" y="389"/>
                  </a:cubicBezTo>
                  <a:cubicBezTo>
                    <a:pt x="707" y="390"/>
                    <a:pt x="710" y="391"/>
                    <a:pt x="712" y="391"/>
                  </a:cubicBezTo>
                  <a:cubicBezTo>
                    <a:pt x="714" y="391"/>
                    <a:pt x="718" y="392"/>
                    <a:pt x="720" y="391"/>
                  </a:cubicBezTo>
                  <a:cubicBezTo>
                    <a:pt x="722" y="391"/>
                    <a:pt x="725" y="389"/>
                    <a:pt x="727" y="388"/>
                  </a:cubicBezTo>
                  <a:cubicBezTo>
                    <a:pt x="728" y="387"/>
                    <a:pt x="728" y="385"/>
                    <a:pt x="729" y="384"/>
                  </a:cubicBezTo>
                  <a:cubicBezTo>
                    <a:pt x="729" y="383"/>
                    <a:pt x="730" y="381"/>
                    <a:pt x="730" y="381"/>
                  </a:cubicBezTo>
                  <a:cubicBezTo>
                    <a:pt x="730" y="381"/>
                    <a:pt x="731" y="381"/>
                    <a:pt x="732" y="381"/>
                  </a:cubicBezTo>
                  <a:cubicBezTo>
                    <a:pt x="733" y="381"/>
                    <a:pt x="735" y="381"/>
                    <a:pt x="736" y="381"/>
                  </a:cubicBezTo>
                  <a:cubicBezTo>
                    <a:pt x="739" y="382"/>
                    <a:pt x="745" y="386"/>
                    <a:pt x="752" y="391"/>
                  </a:cubicBezTo>
                  <a:cubicBezTo>
                    <a:pt x="753" y="392"/>
                    <a:pt x="755" y="394"/>
                    <a:pt x="757" y="395"/>
                  </a:cubicBezTo>
                  <a:cubicBezTo>
                    <a:pt x="760" y="398"/>
                    <a:pt x="764" y="402"/>
                    <a:pt x="767" y="403"/>
                  </a:cubicBezTo>
                  <a:cubicBezTo>
                    <a:pt x="768" y="404"/>
                    <a:pt x="770" y="404"/>
                    <a:pt x="771" y="405"/>
                  </a:cubicBezTo>
                  <a:cubicBezTo>
                    <a:pt x="773" y="405"/>
                    <a:pt x="774" y="405"/>
                    <a:pt x="774" y="405"/>
                  </a:cubicBezTo>
                  <a:cubicBezTo>
                    <a:pt x="775" y="406"/>
                    <a:pt x="776" y="407"/>
                    <a:pt x="778" y="408"/>
                  </a:cubicBezTo>
                  <a:cubicBezTo>
                    <a:pt x="779" y="409"/>
                    <a:pt x="781" y="410"/>
                    <a:pt x="782" y="410"/>
                  </a:cubicBezTo>
                  <a:cubicBezTo>
                    <a:pt x="788" y="413"/>
                    <a:pt x="803" y="415"/>
                    <a:pt x="804" y="415"/>
                  </a:cubicBezTo>
                  <a:cubicBezTo>
                    <a:pt x="804" y="415"/>
                    <a:pt x="804" y="415"/>
                    <a:pt x="804" y="415"/>
                  </a:cubicBezTo>
                  <a:cubicBezTo>
                    <a:pt x="804" y="415"/>
                    <a:pt x="804" y="415"/>
                    <a:pt x="804" y="415"/>
                  </a:cubicBezTo>
                  <a:cubicBezTo>
                    <a:pt x="806" y="415"/>
                    <a:pt x="807" y="414"/>
                    <a:pt x="807" y="413"/>
                  </a:cubicBezTo>
                  <a:cubicBezTo>
                    <a:pt x="807" y="412"/>
                    <a:pt x="807" y="412"/>
                    <a:pt x="807" y="41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9">
              <a:extLst>
                <a:ext uri="{FF2B5EF4-FFF2-40B4-BE49-F238E27FC236}">
                  <a16:creationId xmlns:a16="http://schemas.microsoft.com/office/drawing/2014/main" id="{BEC2EA16-56ED-4450-8DAE-3DBEDF8E7DE6}"/>
                </a:ext>
              </a:extLst>
            </p:cNvPr>
            <p:cNvSpPr>
              <a:spLocks/>
            </p:cNvSpPr>
            <p:nvPr/>
          </p:nvSpPr>
          <p:spPr bwMode="auto">
            <a:xfrm>
              <a:off x="5960360" y="2136376"/>
              <a:ext cx="679208" cy="768152"/>
            </a:xfrm>
            <a:custGeom>
              <a:avLst/>
              <a:gdLst>
                <a:gd name="T0" fmla="*/ 585 w 611"/>
                <a:gd name="T1" fmla="*/ 139 h 691"/>
                <a:gd name="T2" fmla="*/ 567 w 611"/>
                <a:gd name="T3" fmla="*/ 128 h 691"/>
                <a:gd name="T4" fmla="*/ 543 w 611"/>
                <a:gd name="T5" fmla="*/ 131 h 691"/>
                <a:gd name="T6" fmla="*/ 520 w 611"/>
                <a:gd name="T7" fmla="*/ 133 h 691"/>
                <a:gd name="T8" fmla="*/ 514 w 611"/>
                <a:gd name="T9" fmla="*/ 131 h 691"/>
                <a:gd name="T10" fmla="*/ 509 w 611"/>
                <a:gd name="T11" fmla="*/ 124 h 691"/>
                <a:gd name="T12" fmla="*/ 475 w 611"/>
                <a:gd name="T13" fmla="*/ 135 h 691"/>
                <a:gd name="T14" fmla="*/ 439 w 611"/>
                <a:gd name="T15" fmla="*/ 130 h 691"/>
                <a:gd name="T16" fmla="*/ 414 w 611"/>
                <a:gd name="T17" fmla="*/ 113 h 691"/>
                <a:gd name="T18" fmla="*/ 390 w 611"/>
                <a:gd name="T19" fmla="*/ 120 h 691"/>
                <a:gd name="T20" fmla="*/ 381 w 611"/>
                <a:gd name="T21" fmla="*/ 114 h 691"/>
                <a:gd name="T22" fmla="*/ 366 w 611"/>
                <a:gd name="T23" fmla="*/ 102 h 691"/>
                <a:gd name="T24" fmla="*/ 335 w 611"/>
                <a:gd name="T25" fmla="*/ 81 h 691"/>
                <a:gd name="T26" fmla="*/ 310 w 611"/>
                <a:gd name="T27" fmla="*/ 82 h 691"/>
                <a:gd name="T28" fmla="*/ 304 w 611"/>
                <a:gd name="T29" fmla="*/ 85 h 691"/>
                <a:gd name="T30" fmla="*/ 279 w 611"/>
                <a:gd name="T31" fmla="*/ 97 h 691"/>
                <a:gd name="T32" fmla="*/ 256 w 611"/>
                <a:gd name="T33" fmla="*/ 82 h 691"/>
                <a:gd name="T34" fmla="*/ 234 w 611"/>
                <a:gd name="T35" fmla="*/ 80 h 691"/>
                <a:gd name="T36" fmla="*/ 208 w 611"/>
                <a:gd name="T37" fmla="*/ 74 h 691"/>
                <a:gd name="T38" fmla="*/ 199 w 611"/>
                <a:gd name="T39" fmla="*/ 44 h 691"/>
                <a:gd name="T40" fmla="*/ 185 w 611"/>
                <a:gd name="T41" fmla="*/ 4 h 691"/>
                <a:gd name="T42" fmla="*/ 161 w 611"/>
                <a:gd name="T43" fmla="*/ 2 h 691"/>
                <a:gd name="T44" fmla="*/ 4 w 611"/>
                <a:gd name="T45" fmla="*/ 45 h 691"/>
                <a:gd name="T46" fmla="*/ 0 w 611"/>
                <a:gd name="T47" fmla="*/ 51 h 691"/>
                <a:gd name="T48" fmla="*/ 8 w 611"/>
                <a:gd name="T49" fmla="*/ 80 h 691"/>
                <a:gd name="T50" fmla="*/ 8 w 611"/>
                <a:gd name="T51" fmla="*/ 108 h 691"/>
                <a:gd name="T52" fmla="*/ 8 w 611"/>
                <a:gd name="T53" fmla="*/ 125 h 691"/>
                <a:gd name="T54" fmla="*/ 9 w 611"/>
                <a:gd name="T55" fmla="*/ 149 h 691"/>
                <a:gd name="T56" fmla="*/ 16 w 611"/>
                <a:gd name="T57" fmla="*/ 177 h 691"/>
                <a:gd name="T58" fmla="*/ 30 w 611"/>
                <a:gd name="T59" fmla="*/ 223 h 691"/>
                <a:gd name="T60" fmla="*/ 31 w 611"/>
                <a:gd name="T61" fmla="*/ 238 h 691"/>
                <a:gd name="T62" fmla="*/ 33 w 611"/>
                <a:gd name="T63" fmla="*/ 269 h 691"/>
                <a:gd name="T64" fmla="*/ 37 w 611"/>
                <a:gd name="T65" fmla="*/ 288 h 691"/>
                <a:gd name="T66" fmla="*/ 38 w 611"/>
                <a:gd name="T67" fmla="*/ 327 h 691"/>
                <a:gd name="T68" fmla="*/ 42 w 611"/>
                <a:gd name="T69" fmla="*/ 346 h 691"/>
                <a:gd name="T70" fmla="*/ 47 w 611"/>
                <a:gd name="T71" fmla="*/ 424 h 691"/>
                <a:gd name="T72" fmla="*/ 34 w 611"/>
                <a:gd name="T73" fmla="*/ 449 h 691"/>
                <a:gd name="T74" fmla="*/ 53 w 611"/>
                <a:gd name="T75" fmla="*/ 469 h 691"/>
                <a:gd name="T76" fmla="*/ 66 w 611"/>
                <a:gd name="T77" fmla="*/ 690 h 691"/>
                <a:gd name="T78" fmla="*/ 300 w 611"/>
                <a:gd name="T79" fmla="*/ 686 h 691"/>
                <a:gd name="T80" fmla="*/ 512 w 611"/>
                <a:gd name="T81" fmla="*/ 673 h 691"/>
                <a:gd name="T82" fmla="*/ 507 w 611"/>
                <a:gd name="T83" fmla="*/ 640 h 691"/>
                <a:gd name="T84" fmla="*/ 468 w 611"/>
                <a:gd name="T85" fmla="*/ 606 h 691"/>
                <a:gd name="T86" fmla="*/ 432 w 611"/>
                <a:gd name="T87" fmla="*/ 569 h 691"/>
                <a:gd name="T88" fmla="*/ 410 w 611"/>
                <a:gd name="T89" fmla="*/ 553 h 691"/>
                <a:gd name="T90" fmla="*/ 386 w 611"/>
                <a:gd name="T91" fmla="*/ 545 h 691"/>
                <a:gd name="T92" fmla="*/ 372 w 611"/>
                <a:gd name="T93" fmla="*/ 530 h 691"/>
                <a:gd name="T94" fmla="*/ 372 w 611"/>
                <a:gd name="T95" fmla="*/ 497 h 691"/>
                <a:gd name="T96" fmla="*/ 374 w 611"/>
                <a:gd name="T97" fmla="*/ 475 h 691"/>
                <a:gd name="T98" fmla="*/ 367 w 611"/>
                <a:gd name="T99" fmla="*/ 437 h 691"/>
                <a:gd name="T100" fmla="*/ 360 w 611"/>
                <a:gd name="T101" fmla="*/ 424 h 691"/>
                <a:gd name="T102" fmla="*/ 370 w 611"/>
                <a:gd name="T103" fmla="*/ 407 h 691"/>
                <a:gd name="T104" fmla="*/ 400 w 611"/>
                <a:gd name="T105" fmla="*/ 386 h 691"/>
                <a:gd name="T106" fmla="*/ 409 w 611"/>
                <a:gd name="T107" fmla="*/ 310 h 691"/>
                <a:gd name="T108" fmla="*/ 443 w 611"/>
                <a:gd name="T109" fmla="*/ 274 h 691"/>
                <a:gd name="T110" fmla="*/ 482 w 611"/>
                <a:gd name="T111" fmla="*/ 232 h 691"/>
                <a:gd name="T112" fmla="*/ 554 w 611"/>
                <a:gd name="T113" fmla="*/ 174 h 691"/>
                <a:gd name="T114" fmla="*/ 598 w 611"/>
                <a:gd name="T115" fmla="*/ 150 h 691"/>
                <a:gd name="T116" fmla="*/ 602 w 611"/>
                <a:gd name="T117" fmla="*/ 135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1" h="691">
                  <a:moveTo>
                    <a:pt x="602" y="135"/>
                  </a:moveTo>
                  <a:cubicBezTo>
                    <a:pt x="599" y="135"/>
                    <a:pt x="594" y="136"/>
                    <a:pt x="591" y="137"/>
                  </a:cubicBezTo>
                  <a:cubicBezTo>
                    <a:pt x="589" y="137"/>
                    <a:pt x="589" y="137"/>
                    <a:pt x="589" y="137"/>
                  </a:cubicBezTo>
                  <a:cubicBezTo>
                    <a:pt x="588" y="137"/>
                    <a:pt x="586" y="138"/>
                    <a:pt x="585" y="139"/>
                  </a:cubicBezTo>
                  <a:cubicBezTo>
                    <a:pt x="584" y="139"/>
                    <a:pt x="582" y="140"/>
                    <a:pt x="581" y="140"/>
                  </a:cubicBezTo>
                  <a:cubicBezTo>
                    <a:pt x="580" y="140"/>
                    <a:pt x="577" y="139"/>
                    <a:pt x="576" y="138"/>
                  </a:cubicBezTo>
                  <a:cubicBezTo>
                    <a:pt x="576" y="137"/>
                    <a:pt x="576" y="136"/>
                    <a:pt x="576" y="136"/>
                  </a:cubicBezTo>
                  <a:cubicBezTo>
                    <a:pt x="575" y="134"/>
                    <a:pt x="571" y="129"/>
                    <a:pt x="567" y="128"/>
                  </a:cubicBezTo>
                  <a:cubicBezTo>
                    <a:pt x="564" y="127"/>
                    <a:pt x="557" y="128"/>
                    <a:pt x="553" y="129"/>
                  </a:cubicBezTo>
                  <a:cubicBezTo>
                    <a:pt x="551" y="129"/>
                    <a:pt x="551" y="129"/>
                    <a:pt x="551" y="129"/>
                  </a:cubicBezTo>
                  <a:cubicBezTo>
                    <a:pt x="550" y="129"/>
                    <a:pt x="548" y="130"/>
                    <a:pt x="547" y="130"/>
                  </a:cubicBezTo>
                  <a:cubicBezTo>
                    <a:pt x="546" y="131"/>
                    <a:pt x="544" y="131"/>
                    <a:pt x="543" y="131"/>
                  </a:cubicBezTo>
                  <a:cubicBezTo>
                    <a:pt x="541" y="131"/>
                    <a:pt x="539" y="131"/>
                    <a:pt x="536" y="131"/>
                  </a:cubicBezTo>
                  <a:cubicBezTo>
                    <a:pt x="533" y="130"/>
                    <a:pt x="530" y="130"/>
                    <a:pt x="528" y="130"/>
                  </a:cubicBezTo>
                  <a:cubicBezTo>
                    <a:pt x="527" y="131"/>
                    <a:pt x="525" y="131"/>
                    <a:pt x="523" y="132"/>
                  </a:cubicBezTo>
                  <a:cubicBezTo>
                    <a:pt x="522" y="132"/>
                    <a:pt x="521" y="132"/>
                    <a:pt x="520" y="133"/>
                  </a:cubicBezTo>
                  <a:cubicBezTo>
                    <a:pt x="519" y="133"/>
                    <a:pt x="519" y="133"/>
                    <a:pt x="519" y="133"/>
                  </a:cubicBezTo>
                  <a:cubicBezTo>
                    <a:pt x="518" y="133"/>
                    <a:pt x="517" y="133"/>
                    <a:pt x="515" y="133"/>
                  </a:cubicBezTo>
                  <a:cubicBezTo>
                    <a:pt x="515" y="133"/>
                    <a:pt x="515" y="133"/>
                    <a:pt x="515" y="133"/>
                  </a:cubicBezTo>
                  <a:cubicBezTo>
                    <a:pt x="514" y="133"/>
                    <a:pt x="514" y="132"/>
                    <a:pt x="514" y="131"/>
                  </a:cubicBezTo>
                  <a:cubicBezTo>
                    <a:pt x="514" y="129"/>
                    <a:pt x="514" y="127"/>
                    <a:pt x="513" y="126"/>
                  </a:cubicBezTo>
                  <a:cubicBezTo>
                    <a:pt x="512" y="125"/>
                    <a:pt x="511" y="125"/>
                    <a:pt x="510" y="125"/>
                  </a:cubicBezTo>
                  <a:cubicBezTo>
                    <a:pt x="509" y="124"/>
                    <a:pt x="509" y="124"/>
                    <a:pt x="509" y="124"/>
                  </a:cubicBezTo>
                  <a:cubicBezTo>
                    <a:pt x="509" y="124"/>
                    <a:pt x="509" y="124"/>
                    <a:pt x="509" y="124"/>
                  </a:cubicBezTo>
                  <a:cubicBezTo>
                    <a:pt x="510" y="123"/>
                    <a:pt x="511" y="121"/>
                    <a:pt x="509" y="119"/>
                  </a:cubicBezTo>
                  <a:cubicBezTo>
                    <a:pt x="507" y="117"/>
                    <a:pt x="503" y="118"/>
                    <a:pt x="500" y="119"/>
                  </a:cubicBezTo>
                  <a:cubicBezTo>
                    <a:pt x="499" y="119"/>
                    <a:pt x="499" y="119"/>
                    <a:pt x="499" y="119"/>
                  </a:cubicBezTo>
                  <a:cubicBezTo>
                    <a:pt x="490" y="121"/>
                    <a:pt x="482" y="128"/>
                    <a:pt x="475" y="135"/>
                  </a:cubicBezTo>
                  <a:cubicBezTo>
                    <a:pt x="468" y="141"/>
                    <a:pt x="462" y="147"/>
                    <a:pt x="456" y="147"/>
                  </a:cubicBezTo>
                  <a:cubicBezTo>
                    <a:pt x="451" y="147"/>
                    <a:pt x="446" y="143"/>
                    <a:pt x="441" y="136"/>
                  </a:cubicBezTo>
                  <a:cubicBezTo>
                    <a:pt x="441" y="136"/>
                    <a:pt x="441" y="135"/>
                    <a:pt x="441" y="134"/>
                  </a:cubicBezTo>
                  <a:cubicBezTo>
                    <a:pt x="440" y="133"/>
                    <a:pt x="440" y="131"/>
                    <a:pt x="439" y="130"/>
                  </a:cubicBezTo>
                  <a:cubicBezTo>
                    <a:pt x="437" y="127"/>
                    <a:pt x="432" y="126"/>
                    <a:pt x="427" y="124"/>
                  </a:cubicBezTo>
                  <a:cubicBezTo>
                    <a:pt x="423" y="123"/>
                    <a:pt x="419" y="122"/>
                    <a:pt x="417" y="120"/>
                  </a:cubicBezTo>
                  <a:cubicBezTo>
                    <a:pt x="417" y="120"/>
                    <a:pt x="417" y="119"/>
                    <a:pt x="417" y="118"/>
                  </a:cubicBezTo>
                  <a:cubicBezTo>
                    <a:pt x="416" y="116"/>
                    <a:pt x="416" y="114"/>
                    <a:pt x="414" y="113"/>
                  </a:cubicBezTo>
                  <a:cubicBezTo>
                    <a:pt x="413" y="111"/>
                    <a:pt x="407" y="110"/>
                    <a:pt x="405" y="110"/>
                  </a:cubicBezTo>
                  <a:cubicBezTo>
                    <a:pt x="405" y="110"/>
                    <a:pt x="404" y="110"/>
                    <a:pt x="402" y="110"/>
                  </a:cubicBezTo>
                  <a:cubicBezTo>
                    <a:pt x="395" y="110"/>
                    <a:pt x="393" y="111"/>
                    <a:pt x="392" y="112"/>
                  </a:cubicBezTo>
                  <a:cubicBezTo>
                    <a:pt x="390" y="114"/>
                    <a:pt x="390" y="117"/>
                    <a:pt x="390" y="120"/>
                  </a:cubicBezTo>
                  <a:cubicBezTo>
                    <a:pt x="390" y="121"/>
                    <a:pt x="390" y="122"/>
                    <a:pt x="390" y="123"/>
                  </a:cubicBezTo>
                  <a:cubicBezTo>
                    <a:pt x="389" y="123"/>
                    <a:pt x="388" y="122"/>
                    <a:pt x="385" y="120"/>
                  </a:cubicBezTo>
                  <a:cubicBezTo>
                    <a:pt x="383" y="119"/>
                    <a:pt x="382" y="117"/>
                    <a:pt x="381" y="116"/>
                  </a:cubicBezTo>
                  <a:cubicBezTo>
                    <a:pt x="381" y="116"/>
                    <a:pt x="381" y="114"/>
                    <a:pt x="381" y="114"/>
                  </a:cubicBezTo>
                  <a:cubicBezTo>
                    <a:pt x="381" y="112"/>
                    <a:pt x="381" y="110"/>
                    <a:pt x="380" y="109"/>
                  </a:cubicBezTo>
                  <a:cubicBezTo>
                    <a:pt x="379" y="106"/>
                    <a:pt x="375" y="102"/>
                    <a:pt x="372" y="101"/>
                  </a:cubicBezTo>
                  <a:cubicBezTo>
                    <a:pt x="370" y="100"/>
                    <a:pt x="368" y="101"/>
                    <a:pt x="367" y="101"/>
                  </a:cubicBezTo>
                  <a:cubicBezTo>
                    <a:pt x="366" y="102"/>
                    <a:pt x="366" y="102"/>
                    <a:pt x="366" y="102"/>
                  </a:cubicBezTo>
                  <a:cubicBezTo>
                    <a:pt x="366" y="101"/>
                    <a:pt x="366" y="101"/>
                    <a:pt x="366" y="101"/>
                  </a:cubicBezTo>
                  <a:cubicBezTo>
                    <a:pt x="367" y="99"/>
                    <a:pt x="368" y="97"/>
                    <a:pt x="367" y="95"/>
                  </a:cubicBezTo>
                  <a:cubicBezTo>
                    <a:pt x="364" y="88"/>
                    <a:pt x="350" y="84"/>
                    <a:pt x="336" y="82"/>
                  </a:cubicBezTo>
                  <a:cubicBezTo>
                    <a:pt x="335" y="81"/>
                    <a:pt x="335" y="81"/>
                    <a:pt x="335" y="81"/>
                  </a:cubicBezTo>
                  <a:cubicBezTo>
                    <a:pt x="334" y="81"/>
                    <a:pt x="332" y="81"/>
                    <a:pt x="329" y="81"/>
                  </a:cubicBezTo>
                  <a:cubicBezTo>
                    <a:pt x="326" y="81"/>
                    <a:pt x="322" y="81"/>
                    <a:pt x="320" y="81"/>
                  </a:cubicBezTo>
                  <a:cubicBezTo>
                    <a:pt x="318" y="81"/>
                    <a:pt x="318" y="81"/>
                    <a:pt x="318" y="81"/>
                  </a:cubicBezTo>
                  <a:cubicBezTo>
                    <a:pt x="316" y="81"/>
                    <a:pt x="311" y="82"/>
                    <a:pt x="310" y="82"/>
                  </a:cubicBezTo>
                  <a:cubicBezTo>
                    <a:pt x="310" y="82"/>
                    <a:pt x="308" y="83"/>
                    <a:pt x="308" y="83"/>
                  </a:cubicBezTo>
                  <a:cubicBezTo>
                    <a:pt x="307" y="83"/>
                    <a:pt x="307" y="84"/>
                    <a:pt x="306" y="84"/>
                  </a:cubicBezTo>
                  <a:cubicBezTo>
                    <a:pt x="306" y="84"/>
                    <a:pt x="306" y="84"/>
                    <a:pt x="306" y="84"/>
                  </a:cubicBezTo>
                  <a:cubicBezTo>
                    <a:pt x="306" y="84"/>
                    <a:pt x="305" y="84"/>
                    <a:pt x="304" y="85"/>
                  </a:cubicBezTo>
                  <a:cubicBezTo>
                    <a:pt x="303" y="85"/>
                    <a:pt x="301" y="85"/>
                    <a:pt x="300" y="85"/>
                  </a:cubicBezTo>
                  <a:cubicBezTo>
                    <a:pt x="299" y="86"/>
                    <a:pt x="298" y="88"/>
                    <a:pt x="297" y="90"/>
                  </a:cubicBezTo>
                  <a:cubicBezTo>
                    <a:pt x="297" y="91"/>
                    <a:pt x="296" y="92"/>
                    <a:pt x="296" y="93"/>
                  </a:cubicBezTo>
                  <a:cubicBezTo>
                    <a:pt x="293" y="95"/>
                    <a:pt x="283" y="97"/>
                    <a:pt x="279" y="97"/>
                  </a:cubicBezTo>
                  <a:cubicBezTo>
                    <a:pt x="277" y="96"/>
                    <a:pt x="274" y="94"/>
                    <a:pt x="273" y="93"/>
                  </a:cubicBezTo>
                  <a:cubicBezTo>
                    <a:pt x="272" y="93"/>
                    <a:pt x="272" y="92"/>
                    <a:pt x="272" y="91"/>
                  </a:cubicBezTo>
                  <a:cubicBezTo>
                    <a:pt x="272" y="89"/>
                    <a:pt x="272" y="87"/>
                    <a:pt x="270" y="86"/>
                  </a:cubicBezTo>
                  <a:cubicBezTo>
                    <a:pt x="267" y="83"/>
                    <a:pt x="261" y="82"/>
                    <a:pt x="256" y="82"/>
                  </a:cubicBezTo>
                  <a:cubicBezTo>
                    <a:pt x="254" y="82"/>
                    <a:pt x="252" y="82"/>
                    <a:pt x="251" y="82"/>
                  </a:cubicBezTo>
                  <a:cubicBezTo>
                    <a:pt x="249" y="83"/>
                    <a:pt x="247" y="83"/>
                    <a:pt x="245" y="83"/>
                  </a:cubicBezTo>
                  <a:cubicBezTo>
                    <a:pt x="243" y="83"/>
                    <a:pt x="239" y="82"/>
                    <a:pt x="237" y="82"/>
                  </a:cubicBezTo>
                  <a:cubicBezTo>
                    <a:pt x="236" y="81"/>
                    <a:pt x="235" y="80"/>
                    <a:pt x="234" y="80"/>
                  </a:cubicBezTo>
                  <a:cubicBezTo>
                    <a:pt x="233" y="78"/>
                    <a:pt x="231" y="77"/>
                    <a:pt x="230" y="76"/>
                  </a:cubicBezTo>
                  <a:cubicBezTo>
                    <a:pt x="228" y="76"/>
                    <a:pt x="224" y="76"/>
                    <a:pt x="220" y="76"/>
                  </a:cubicBezTo>
                  <a:cubicBezTo>
                    <a:pt x="218" y="76"/>
                    <a:pt x="216" y="77"/>
                    <a:pt x="214" y="76"/>
                  </a:cubicBezTo>
                  <a:cubicBezTo>
                    <a:pt x="213" y="76"/>
                    <a:pt x="209" y="75"/>
                    <a:pt x="208" y="74"/>
                  </a:cubicBezTo>
                  <a:cubicBezTo>
                    <a:pt x="206" y="72"/>
                    <a:pt x="203" y="69"/>
                    <a:pt x="202" y="68"/>
                  </a:cubicBezTo>
                  <a:cubicBezTo>
                    <a:pt x="202" y="67"/>
                    <a:pt x="202" y="65"/>
                    <a:pt x="203" y="63"/>
                  </a:cubicBezTo>
                  <a:cubicBezTo>
                    <a:pt x="203" y="61"/>
                    <a:pt x="203" y="59"/>
                    <a:pt x="203" y="58"/>
                  </a:cubicBezTo>
                  <a:cubicBezTo>
                    <a:pt x="203" y="54"/>
                    <a:pt x="201" y="49"/>
                    <a:pt x="199" y="44"/>
                  </a:cubicBezTo>
                  <a:cubicBezTo>
                    <a:pt x="198" y="41"/>
                    <a:pt x="197" y="38"/>
                    <a:pt x="197" y="36"/>
                  </a:cubicBezTo>
                  <a:cubicBezTo>
                    <a:pt x="196" y="34"/>
                    <a:pt x="196" y="31"/>
                    <a:pt x="195" y="28"/>
                  </a:cubicBezTo>
                  <a:cubicBezTo>
                    <a:pt x="195" y="22"/>
                    <a:pt x="194" y="16"/>
                    <a:pt x="192" y="12"/>
                  </a:cubicBezTo>
                  <a:cubicBezTo>
                    <a:pt x="191" y="10"/>
                    <a:pt x="187" y="5"/>
                    <a:pt x="185" y="4"/>
                  </a:cubicBezTo>
                  <a:cubicBezTo>
                    <a:pt x="182" y="2"/>
                    <a:pt x="175" y="2"/>
                    <a:pt x="170" y="2"/>
                  </a:cubicBezTo>
                  <a:cubicBezTo>
                    <a:pt x="165" y="0"/>
                    <a:pt x="165" y="0"/>
                    <a:pt x="165" y="0"/>
                  </a:cubicBezTo>
                  <a:cubicBezTo>
                    <a:pt x="164" y="0"/>
                    <a:pt x="163" y="0"/>
                    <a:pt x="163" y="0"/>
                  </a:cubicBezTo>
                  <a:cubicBezTo>
                    <a:pt x="162" y="1"/>
                    <a:pt x="161" y="2"/>
                    <a:pt x="161" y="2"/>
                  </a:cubicBezTo>
                  <a:cubicBezTo>
                    <a:pt x="162" y="38"/>
                    <a:pt x="162" y="38"/>
                    <a:pt x="162" y="38"/>
                  </a:cubicBezTo>
                  <a:cubicBezTo>
                    <a:pt x="161" y="43"/>
                    <a:pt x="161" y="43"/>
                    <a:pt x="161" y="43"/>
                  </a:cubicBezTo>
                  <a:cubicBezTo>
                    <a:pt x="104" y="45"/>
                    <a:pt x="104" y="45"/>
                    <a:pt x="104" y="45"/>
                  </a:cubicBezTo>
                  <a:cubicBezTo>
                    <a:pt x="4" y="45"/>
                    <a:pt x="4" y="45"/>
                    <a:pt x="4" y="45"/>
                  </a:cubicBezTo>
                  <a:cubicBezTo>
                    <a:pt x="3" y="45"/>
                    <a:pt x="2" y="45"/>
                    <a:pt x="1" y="46"/>
                  </a:cubicBezTo>
                  <a:cubicBezTo>
                    <a:pt x="0" y="50"/>
                    <a:pt x="0" y="50"/>
                    <a:pt x="0" y="50"/>
                  </a:cubicBezTo>
                  <a:cubicBezTo>
                    <a:pt x="0" y="50"/>
                    <a:pt x="0" y="50"/>
                    <a:pt x="0" y="51"/>
                  </a:cubicBezTo>
                  <a:cubicBezTo>
                    <a:pt x="0" y="51"/>
                    <a:pt x="0" y="51"/>
                    <a:pt x="0" y="51"/>
                  </a:cubicBezTo>
                  <a:cubicBezTo>
                    <a:pt x="0" y="52"/>
                    <a:pt x="0" y="52"/>
                    <a:pt x="0" y="53"/>
                  </a:cubicBezTo>
                  <a:cubicBezTo>
                    <a:pt x="3" y="58"/>
                    <a:pt x="3" y="58"/>
                    <a:pt x="3" y="58"/>
                  </a:cubicBezTo>
                  <a:cubicBezTo>
                    <a:pt x="8" y="79"/>
                    <a:pt x="8" y="79"/>
                    <a:pt x="8" y="79"/>
                  </a:cubicBezTo>
                  <a:cubicBezTo>
                    <a:pt x="8" y="80"/>
                    <a:pt x="8" y="80"/>
                    <a:pt x="8" y="80"/>
                  </a:cubicBezTo>
                  <a:cubicBezTo>
                    <a:pt x="9" y="82"/>
                    <a:pt x="11" y="85"/>
                    <a:pt x="11" y="86"/>
                  </a:cubicBezTo>
                  <a:cubicBezTo>
                    <a:pt x="11" y="88"/>
                    <a:pt x="10" y="90"/>
                    <a:pt x="9" y="93"/>
                  </a:cubicBezTo>
                  <a:cubicBezTo>
                    <a:pt x="8" y="96"/>
                    <a:pt x="7" y="98"/>
                    <a:pt x="6" y="100"/>
                  </a:cubicBezTo>
                  <a:cubicBezTo>
                    <a:pt x="6" y="102"/>
                    <a:pt x="7" y="105"/>
                    <a:pt x="8" y="108"/>
                  </a:cubicBezTo>
                  <a:cubicBezTo>
                    <a:pt x="8" y="110"/>
                    <a:pt x="9" y="113"/>
                    <a:pt x="9" y="114"/>
                  </a:cubicBezTo>
                  <a:cubicBezTo>
                    <a:pt x="9" y="115"/>
                    <a:pt x="8" y="116"/>
                    <a:pt x="8" y="117"/>
                  </a:cubicBezTo>
                  <a:cubicBezTo>
                    <a:pt x="7" y="119"/>
                    <a:pt x="7" y="120"/>
                    <a:pt x="7" y="121"/>
                  </a:cubicBezTo>
                  <a:cubicBezTo>
                    <a:pt x="7" y="123"/>
                    <a:pt x="8" y="124"/>
                    <a:pt x="8" y="125"/>
                  </a:cubicBezTo>
                  <a:cubicBezTo>
                    <a:pt x="8" y="125"/>
                    <a:pt x="9" y="126"/>
                    <a:pt x="9" y="126"/>
                  </a:cubicBezTo>
                  <a:cubicBezTo>
                    <a:pt x="9" y="128"/>
                    <a:pt x="8" y="131"/>
                    <a:pt x="8" y="133"/>
                  </a:cubicBezTo>
                  <a:cubicBezTo>
                    <a:pt x="8" y="136"/>
                    <a:pt x="8" y="138"/>
                    <a:pt x="8" y="140"/>
                  </a:cubicBezTo>
                  <a:cubicBezTo>
                    <a:pt x="8" y="143"/>
                    <a:pt x="9" y="147"/>
                    <a:pt x="9" y="149"/>
                  </a:cubicBezTo>
                  <a:cubicBezTo>
                    <a:pt x="10" y="151"/>
                    <a:pt x="12" y="155"/>
                    <a:pt x="13" y="158"/>
                  </a:cubicBezTo>
                  <a:cubicBezTo>
                    <a:pt x="15" y="163"/>
                    <a:pt x="18" y="169"/>
                    <a:pt x="18" y="172"/>
                  </a:cubicBezTo>
                  <a:cubicBezTo>
                    <a:pt x="18" y="173"/>
                    <a:pt x="18" y="173"/>
                    <a:pt x="17" y="174"/>
                  </a:cubicBezTo>
                  <a:cubicBezTo>
                    <a:pt x="17" y="175"/>
                    <a:pt x="16" y="176"/>
                    <a:pt x="16" y="177"/>
                  </a:cubicBezTo>
                  <a:cubicBezTo>
                    <a:pt x="17" y="181"/>
                    <a:pt x="20" y="187"/>
                    <a:pt x="23" y="192"/>
                  </a:cubicBezTo>
                  <a:cubicBezTo>
                    <a:pt x="24" y="195"/>
                    <a:pt x="26" y="198"/>
                    <a:pt x="27" y="200"/>
                  </a:cubicBezTo>
                  <a:cubicBezTo>
                    <a:pt x="28" y="204"/>
                    <a:pt x="30" y="211"/>
                    <a:pt x="30" y="215"/>
                  </a:cubicBezTo>
                  <a:cubicBezTo>
                    <a:pt x="30" y="217"/>
                    <a:pt x="30" y="221"/>
                    <a:pt x="30" y="223"/>
                  </a:cubicBezTo>
                  <a:cubicBezTo>
                    <a:pt x="30" y="223"/>
                    <a:pt x="30" y="224"/>
                    <a:pt x="30" y="225"/>
                  </a:cubicBezTo>
                  <a:cubicBezTo>
                    <a:pt x="29" y="227"/>
                    <a:pt x="29" y="229"/>
                    <a:pt x="29" y="230"/>
                  </a:cubicBezTo>
                  <a:cubicBezTo>
                    <a:pt x="29" y="232"/>
                    <a:pt x="29" y="234"/>
                    <a:pt x="30" y="235"/>
                  </a:cubicBezTo>
                  <a:cubicBezTo>
                    <a:pt x="30" y="236"/>
                    <a:pt x="31" y="237"/>
                    <a:pt x="31" y="238"/>
                  </a:cubicBezTo>
                  <a:cubicBezTo>
                    <a:pt x="31" y="240"/>
                    <a:pt x="31" y="243"/>
                    <a:pt x="31" y="246"/>
                  </a:cubicBezTo>
                  <a:cubicBezTo>
                    <a:pt x="31" y="249"/>
                    <a:pt x="31" y="251"/>
                    <a:pt x="31" y="253"/>
                  </a:cubicBezTo>
                  <a:cubicBezTo>
                    <a:pt x="31" y="255"/>
                    <a:pt x="31" y="257"/>
                    <a:pt x="32" y="260"/>
                  </a:cubicBezTo>
                  <a:cubicBezTo>
                    <a:pt x="32" y="263"/>
                    <a:pt x="33" y="267"/>
                    <a:pt x="33" y="269"/>
                  </a:cubicBezTo>
                  <a:cubicBezTo>
                    <a:pt x="33" y="270"/>
                    <a:pt x="33" y="271"/>
                    <a:pt x="33" y="273"/>
                  </a:cubicBezTo>
                  <a:cubicBezTo>
                    <a:pt x="32" y="275"/>
                    <a:pt x="32" y="278"/>
                    <a:pt x="32" y="280"/>
                  </a:cubicBezTo>
                  <a:cubicBezTo>
                    <a:pt x="33" y="281"/>
                    <a:pt x="34" y="283"/>
                    <a:pt x="35" y="285"/>
                  </a:cubicBezTo>
                  <a:cubicBezTo>
                    <a:pt x="36" y="285"/>
                    <a:pt x="37" y="287"/>
                    <a:pt x="37" y="288"/>
                  </a:cubicBezTo>
                  <a:cubicBezTo>
                    <a:pt x="37" y="288"/>
                    <a:pt x="36" y="290"/>
                    <a:pt x="36" y="291"/>
                  </a:cubicBezTo>
                  <a:cubicBezTo>
                    <a:pt x="36" y="292"/>
                    <a:pt x="35" y="293"/>
                    <a:pt x="35" y="294"/>
                  </a:cubicBezTo>
                  <a:cubicBezTo>
                    <a:pt x="35" y="302"/>
                    <a:pt x="34" y="316"/>
                    <a:pt x="36" y="323"/>
                  </a:cubicBezTo>
                  <a:cubicBezTo>
                    <a:pt x="36" y="325"/>
                    <a:pt x="37" y="326"/>
                    <a:pt x="38" y="327"/>
                  </a:cubicBezTo>
                  <a:cubicBezTo>
                    <a:pt x="39" y="328"/>
                    <a:pt x="39" y="330"/>
                    <a:pt x="40" y="330"/>
                  </a:cubicBezTo>
                  <a:cubicBezTo>
                    <a:pt x="40" y="331"/>
                    <a:pt x="39" y="333"/>
                    <a:pt x="39" y="334"/>
                  </a:cubicBezTo>
                  <a:cubicBezTo>
                    <a:pt x="39" y="335"/>
                    <a:pt x="39" y="337"/>
                    <a:pt x="39" y="338"/>
                  </a:cubicBezTo>
                  <a:cubicBezTo>
                    <a:pt x="39" y="341"/>
                    <a:pt x="42" y="346"/>
                    <a:pt x="42" y="346"/>
                  </a:cubicBezTo>
                  <a:cubicBezTo>
                    <a:pt x="44" y="349"/>
                    <a:pt x="49" y="356"/>
                    <a:pt x="51" y="358"/>
                  </a:cubicBezTo>
                  <a:cubicBezTo>
                    <a:pt x="52" y="364"/>
                    <a:pt x="52" y="364"/>
                    <a:pt x="52" y="364"/>
                  </a:cubicBezTo>
                  <a:cubicBezTo>
                    <a:pt x="52" y="370"/>
                    <a:pt x="52" y="377"/>
                    <a:pt x="53" y="383"/>
                  </a:cubicBezTo>
                  <a:cubicBezTo>
                    <a:pt x="55" y="398"/>
                    <a:pt x="56" y="412"/>
                    <a:pt x="47" y="424"/>
                  </a:cubicBezTo>
                  <a:cubicBezTo>
                    <a:pt x="45" y="425"/>
                    <a:pt x="41" y="427"/>
                    <a:pt x="40" y="428"/>
                  </a:cubicBezTo>
                  <a:cubicBezTo>
                    <a:pt x="38" y="429"/>
                    <a:pt x="34" y="433"/>
                    <a:pt x="32" y="436"/>
                  </a:cubicBezTo>
                  <a:cubicBezTo>
                    <a:pt x="31" y="438"/>
                    <a:pt x="29" y="441"/>
                    <a:pt x="29" y="443"/>
                  </a:cubicBezTo>
                  <a:cubicBezTo>
                    <a:pt x="30" y="446"/>
                    <a:pt x="32" y="447"/>
                    <a:pt x="34" y="449"/>
                  </a:cubicBezTo>
                  <a:cubicBezTo>
                    <a:pt x="35" y="450"/>
                    <a:pt x="35" y="451"/>
                    <a:pt x="36" y="451"/>
                  </a:cubicBezTo>
                  <a:cubicBezTo>
                    <a:pt x="37" y="452"/>
                    <a:pt x="37" y="454"/>
                    <a:pt x="38" y="456"/>
                  </a:cubicBezTo>
                  <a:cubicBezTo>
                    <a:pt x="40" y="461"/>
                    <a:pt x="42" y="465"/>
                    <a:pt x="45" y="467"/>
                  </a:cubicBezTo>
                  <a:cubicBezTo>
                    <a:pt x="47" y="468"/>
                    <a:pt x="50" y="468"/>
                    <a:pt x="53" y="469"/>
                  </a:cubicBezTo>
                  <a:cubicBezTo>
                    <a:pt x="59" y="472"/>
                    <a:pt x="59" y="472"/>
                    <a:pt x="59" y="472"/>
                  </a:cubicBezTo>
                  <a:cubicBezTo>
                    <a:pt x="63" y="478"/>
                    <a:pt x="63" y="478"/>
                    <a:pt x="63" y="478"/>
                  </a:cubicBezTo>
                  <a:cubicBezTo>
                    <a:pt x="65" y="688"/>
                    <a:pt x="65" y="688"/>
                    <a:pt x="65" y="688"/>
                  </a:cubicBezTo>
                  <a:cubicBezTo>
                    <a:pt x="65" y="689"/>
                    <a:pt x="65" y="690"/>
                    <a:pt x="66" y="690"/>
                  </a:cubicBezTo>
                  <a:cubicBezTo>
                    <a:pt x="66" y="690"/>
                    <a:pt x="67" y="691"/>
                    <a:pt x="67" y="691"/>
                  </a:cubicBezTo>
                  <a:cubicBezTo>
                    <a:pt x="67" y="691"/>
                    <a:pt x="67" y="691"/>
                    <a:pt x="67" y="691"/>
                  </a:cubicBezTo>
                  <a:cubicBezTo>
                    <a:pt x="155" y="690"/>
                    <a:pt x="155" y="690"/>
                    <a:pt x="155" y="690"/>
                  </a:cubicBezTo>
                  <a:cubicBezTo>
                    <a:pt x="300" y="686"/>
                    <a:pt x="300" y="686"/>
                    <a:pt x="300" y="686"/>
                  </a:cubicBezTo>
                  <a:cubicBezTo>
                    <a:pt x="422" y="681"/>
                    <a:pt x="422" y="681"/>
                    <a:pt x="422" y="681"/>
                  </a:cubicBezTo>
                  <a:cubicBezTo>
                    <a:pt x="510" y="676"/>
                    <a:pt x="510" y="676"/>
                    <a:pt x="510" y="676"/>
                  </a:cubicBezTo>
                  <a:cubicBezTo>
                    <a:pt x="510" y="676"/>
                    <a:pt x="511" y="676"/>
                    <a:pt x="511" y="675"/>
                  </a:cubicBezTo>
                  <a:cubicBezTo>
                    <a:pt x="512" y="675"/>
                    <a:pt x="512" y="674"/>
                    <a:pt x="512" y="673"/>
                  </a:cubicBezTo>
                  <a:cubicBezTo>
                    <a:pt x="509" y="666"/>
                    <a:pt x="509" y="666"/>
                    <a:pt x="509" y="666"/>
                  </a:cubicBezTo>
                  <a:cubicBezTo>
                    <a:pt x="510" y="664"/>
                    <a:pt x="510" y="664"/>
                    <a:pt x="510" y="664"/>
                  </a:cubicBezTo>
                  <a:cubicBezTo>
                    <a:pt x="510" y="663"/>
                    <a:pt x="510" y="663"/>
                    <a:pt x="510" y="662"/>
                  </a:cubicBezTo>
                  <a:cubicBezTo>
                    <a:pt x="507" y="653"/>
                    <a:pt x="507" y="646"/>
                    <a:pt x="507" y="640"/>
                  </a:cubicBezTo>
                  <a:cubicBezTo>
                    <a:pt x="506" y="627"/>
                    <a:pt x="505" y="621"/>
                    <a:pt x="482" y="611"/>
                  </a:cubicBezTo>
                  <a:cubicBezTo>
                    <a:pt x="481" y="610"/>
                    <a:pt x="479" y="610"/>
                    <a:pt x="478" y="610"/>
                  </a:cubicBezTo>
                  <a:cubicBezTo>
                    <a:pt x="477" y="610"/>
                    <a:pt x="475" y="610"/>
                    <a:pt x="475" y="609"/>
                  </a:cubicBezTo>
                  <a:cubicBezTo>
                    <a:pt x="474" y="609"/>
                    <a:pt x="470" y="607"/>
                    <a:pt x="468" y="606"/>
                  </a:cubicBezTo>
                  <a:cubicBezTo>
                    <a:pt x="465" y="603"/>
                    <a:pt x="456" y="596"/>
                    <a:pt x="454" y="593"/>
                  </a:cubicBezTo>
                  <a:cubicBezTo>
                    <a:pt x="453" y="591"/>
                    <a:pt x="451" y="589"/>
                    <a:pt x="450" y="586"/>
                  </a:cubicBezTo>
                  <a:cubicBezTo>
                    <a:pt x="448" y="583"/>
                    <a:pt x="445" y="579"/>
                    <a:pt x="443" y="577"/>
                  </a:cubicBezTo>
                  <a:cubicBezTo>
                    <a:pt x="441" y="574"/>
                    <a:pt x="433" y="570"/>
                    <a:pt x="432" y="569"/>
                  </a:cubicBezTo>
                  <a:cubicBezTo>
                    <a:pt x="422" y="566"/>
                    <a:pt x="422" y="566"/>
                    <a:pt x="422" y="566"/>
                  </a:cubicBezTo>
                  <a:cubicBezTo>
                    <a:pt x="419" y="564"/>
                    <a:pt x="416" y="563"/>
                    <a:pt x="415" y="562"/>
                  </a:cubicBezTo>
                  <a:cubicBezTo>
                    <a:pt x="415" y="561"/>
                    <a:pt x="414" y="560"/>
                    <a:pt x="414" y="559"/>
                  </a:cubicBezTo>
                  <a:cubicBezTo>
                    <a:pt x="413" y="557"/>
                    <a:pt x="411" y="555"/>
                    <a:pt x="410" y="553"/>
                  </a:cubicBezTo>
                  <a:cubicBezTo>
                    <a:pt x="408" y="552"/>
                    <a:pt x="404" y="552"/>
                    <a:pt x="401" y="552"/>
                  </a:cubicBezTo>
                  <a:cubicBezTo>
                    <a:pt x="399" y="551"/>
                    <a:pt x="397" y="551"/>
                    <a:pt x="396" y="551"/>
                  </a:cubicBezTo>
                  <a:cubicBezTo>
                    <a:pt x="394" y="550"/>
                    <a:pt x="390" y="549"/>
                    <a:pt x="389" y="548"/>
                  </a:cubicBezTo>
                  <a:cubicBezTo>
                    <a:pt x="388" y="547"/>
                    <a:pt x="387" y="546"/>
                    <a:pt x="386" y="545"/>
                  </a:cubicBezTo>
                  <a:cubicBezTo>
                    <a:pt x="384" y="543"/>
                    <a:pt x="383" y="541"/>
                    <a:pt x="382" y="540"/>
                  </a:cubicBezTo>
                  <a:cubicBezTo>
                    <a:pt x="381" y="540"/>
                    <a:pt x="379" y="539"/>
                    <a:pt x="378" y="538"/>
                  </a:cubicBezTo>
                  <a:cubicBezTo>
                    <a:pt x="375" y="537"/>
                    <a:pt x="371" y="535"/>
                    <a:pt x="370" y="533"/>
                  </a:cubicBezTo>
                  <a:cubicBezTo>
                    <a:pt x="371" y="533"/>
                    <a:pt x="372" y="531"/>
                    <a:pt x="372" y="530"/>
                  </a:cubicBezTo>
                  <a:cubicBezTo>
                    <a:pt x="373" y="529"/>
                    <a:pt x="374" y="528"/>
                    <a:pt x="374" y="527"/>
                  </a:cubicBezTo>
                  <a:cubicBezTo>
                    <a:pt x="375" y="523"/>
                    <a:pt x="375" y="516"/>
                    <a:pt x="375" y="513"/>
                  </a:cubicBezTo>
                  <a:cubicBezTo>
                    <a:pt x="375" y="511"/>
                    <a:pt x="374" y="509"/>
                    <a:pt x="373" y="506"/>
                  </a:cubicBezTo>
                  <a:cubicBezTo>
                    <a:pt x="372" y="503"/>
                    <a:pt x="371" y="499"/>
                    <a:pt x="372" y="497"/>
                  </a:cubicBezTo>
                  <a:cubicBezTo>
                    <a:pt x="372" y="497"/>
                    <a:pt x="373" y="495"/>
                    <a:pt x="373" y="494"/>
                  </a:cubicBezTo>
                  <a:cubicBezTo>
                    <a:pt x="374" y="493"/>
                    <a:pt x="375" y="491"/>
                    <a:pt x="375" y="490"/>
                  </a:cubicBezTo>
                  <a:cubicBezTo>
                    <a:pt x="375" y="487"/>
                    <a:pt x="375" y="485"/>
                    <a:pt x="374" y="482"/>
                  </a:cubicBezTo>
                  <a:cubicBezTo>
                    <a:pt x="374" y="479"/>
                    <a:pt x="373" y="477"/>
                    <a:pt x="374" y="475"/>
                  </a:cubicBezTo>
                  <a:cubicBezTo>
                    <a:pt x="374" y="473"/>
                    <a:pt x="375" y="471"/>
                    <a:pt x="377" y="468"/>
                  </a:cubicBezTo>
                  <a:cubicBezTo>
                    <a:pt x="379" y="464"/>
                    <a:pt x="381" y="459"/>
                    <a:pt x="381" y="455"/>
                  </a:cubicBezTo>
                  <a:cubicBezTo>
                    <a:pt x="380" y="450"/>
                    <a:pt x="375" y="440"/>
                    <a:pt x="371" y="438"/>
                  </a:cubicBezTo>
                  <a:cubicBezTo>
                    <a:pt x="370" y="437"/>
                    <a:pt x="368" y="437"/>
                    <a:pt x="367" y="437"/>
                  </a:cubicBezTo>
                  <a:cubicBezTo>
                    <a:pt x="365" y="437"/>
                    <a:pt x="365" y="437"/>
                    <a:pt x="365" y="437"/>
                  </a:cubicBezTo>
                  <a:cubicBezTo>
                    <a:pt x="364" y="437"/>
                    <a:pt x="364" y="437"/>
                    <a:pt x="364" y="437"/>
                  </a:cubicBezTo>
                  <a:cubicBezTo>
                    <a:pt x="362" y="437"/>
                    <a:pt x="360" y="433"/>
                    <a:pt x="360" y="431"/>
                  </a:cubicBezTo>
                  <a:cubicBezTo>
                    <a:pt x="359" y="429"/>
                    <a:pt x="359" y="426"/>
                    <a:pt x="360" y="424"/>
                  </a:cubicBezTo>
                  <a:cubicBezTo>
                    <a:pt x="360" y="424"/>
                    <a:pt x="362" y="421"/>
                    <a:pt x="365" y="419"/>
                  </a:cubicBezTo>
                  <a:cubicBezTo>
                    <a:pt x="365" y="419"/>
                    <a:pt x="365" y="419"/>
                    <a:pt x="365" y="418"/>
                  </a:cubicBezTo>
                  <a:cubicBezTo>
                    <a:pt x="366" y="417"/>
                    <a:pt x="369" y="412"/>
                    <a:pt x="370" y="410"/>
                  </a:cubicBezTo>
                  <a:cubicBezTo>
                    <a:pt x="370" y="409"/>
                    <a:pt x="370" y="408"/>
                    <a:pt x="370" y="407"/>
                  </a:cubicBezTo>
                  <a:cubicBezTo>
                    <a:pt x="370" y="406"/>
                    <a:pt x="371" y="404"/>
                    <a:pt x="371" y="403"/>
                  </a:cubicBezTo>
                  <a:cubicBezTo>
                    <a:pt x="373" y="400"/>
                    <a:pt x="382" y="395"/>
                    <a:pt x="385" y="393"/>
                  </a:cubicBezTo>
                  <a:cubicBezTo>
                    <a:pt x="386" y="393"/>
                    <a:pt x="388" y="392"/>
                    <a:pt x="390" y="391"/>
                  </a:cubicBezTo>
                  <a:cubicBezTo>
                    <a:pt x="394" y="389"/>
                    <a:pt x="398" y="388"/>
                    <a:pt x="400" y="386"/>
                  </a:cubicBezTo>
                  <a:cubicBezTo>
                    <a:pt x="402" y="384"/>
                    <a:pt x="404" y="380"/>
                    <a:pt x="405" y="378"/>
                  </a:cubicBezTo>
                  <a:cubicBezTo>
                    <a:pt x="406" y="376"/>
                    <a:pt x="406" y="371"/>
                    <a:pt x="407" y="369"/>
                  </a:cubicBezTo>
                  <a:cubicBezTo>
                    <a:pt x="407" y="356"/>
                    <a:pt x="405" y="321"/>
                    <a:pt x="404" y="311"/>
                  </a:cubicBezTo>
                  <a:cubicBezTo>
                    <a:pt x="407" y="311"/>
                    <a:pt x="408" y="311"/>
                    <a:pt x="409" y="310"/>
                  </a:cubicBezTo>
                  <a:cubicBezTo>
                    <a:pt x="411" y="309"/>
                    <a:pt x="413" y="304"/>
                    <a:pt x="414" y="302"/>
                  </a:cubicBezTo>
                  <a:cubicBezTo>
                    <a:pt x="417" y="297"/>
                    <a:pt x="417" y="297"/>
                    <a:pt x="417" y="297"/>
                  </a:cubicBezTo>
                  <a:cubicBezTo>
                    <a:pt x="418" y="295"/>
                    <a:pt x="420" y="293"/>
                    <a:pt x="420" y="292"/>
                  </a:cubicBezTo>
                  <a:cubicBezTo>
                    <a:pt x="425" y="287"/>
                    <a:pt x="442" y="274"/>
                    <a:pt x="443" y="274"/>
                  </a:cubicBezTo>
                  <a:cubicBezTo>
                    <a:pt x="450" y="267"/>
                    <a:pt x="450" y="267"/>
                    <a:pt x="450" y="267"/>
                  </a:cubicBezTo>
                  <a:cubicBezTo>
                    <a:pt x="451" y="265"/>
                    <a:pt x="453" y="262"/>
                    <a:pt x="454" y="262"/>
                  </a:cubicBezTo>
                  <a:cubicBezTo>
                    <a:pt x="456" y="260"/>
                    <a:pt x="460" y="257"/>
                    <a:pt x="462" y="255"/>
                  </a:cubicBezTo>
                  <a:cubicBezTo>
                    <a:pt x="482" y="232"/>
                    <a:pt x="482" y="232"/>
                    <a:pt x="482" y="232"/>
                  </a:cubicBezTo>
                  <a:cubicBezTo>
                    <a:pt x="490" y="221"/>
                    <a:pt x="490" y="221"/>
                    <a:pt x="490" y="221"/>
                  </a:cubicBezTo>
                  <a:cubicBezTo>
                    <a:pt x="517" y="193"/>
                    <a:pt x="517" y="193"/>
                    <a:pt x="517" y="193"/>
                  </a:cubicBezTo>
                  <a:cubicBezTo>
                    <a:pt x="540" y="180"/>
                    <a:pt x="540" y="180"/>
                    <a:pt x="540" y="180"/>
                  </a:cubicBezTo>
                  <a:cubicBezTo>
                    <a:pt x="554" y="174"/>
                    <a:pt x="554" y="174"/>
                    <a:pt x="554" y="174"/>
                  </a:cubicBezTo>
                  <a:cubicBezTo>
                    <a:pt x="563" y="171"/>
                    <a:pt x="563" y="171"/>
                    <a:pt x="563" y="171"/>
                  </a:cubicBezTo>
                  <a:cubicBezTo>
                    <a:pt x="587" y="158"/>
                    <a:pt x="587" y="158"/>
                    <a:pt x="587" y="158"/>
                  </a:cubicBezTo>
                  <a:cubicBezTo>
                    <a:pt x="588" y="158"/>
                    <a:pt x="593" y="155"/>
                    <a:pt x="595" y="154"/>
                  </a:cubicBezTo>
                  <a:cubicBezTo>
                    <a:pt x="596" y="153"/>
                    <a:pt x="597" y="152"/>
                    <a:pt x="598" y="150"/>
                  </a:cubicBezTo>
                  <a:cubicBezTo>
                    <a:pt x="599" y="149"/>
                    <a:pt x="601" y="147"/>
                    <a:pt x="602" y="147"/>
                  </a:cubicBezTo>
                  <a:cubicBezTo>
                    <a:pt x="602" y="146"/>
                    <a:pt x="603" y="146"/>
                    <a:pt x="604" y="146"/>
                  </a:cubicBezTo>
                  <a:cubicBezTo>
                    <a:pt x="607" y="144"/>
                    <a:pt x="611" y="142"/>
                    <a:pt x="610" y="139"/>
                  </a:cubicBezTo>
                  <a:cubicBezTo>
                    <a:pt x="609" y="137"/>
                    <a:pt x="608" y="135"/>
                    <a:pt x="602" y="135"/>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20">
              <a:extLst>
                <a:ext uri="{FF2B5EF4-FFF2-40B4-BE49-F238E27FC236}">
                  <a16:creationId xmlns:a16="http://schemas.microsoft.com/office/drawing/2014/main" id="{3FD86B3D-E291-4F5A-B2B5-4A77E83518B0}"/>
                </a:ext>
              </a:extLst>
            </p:cNvPr>
            <p:cNvSpPr>
              <a:spLocks/>
            </p:cNvSpPr>
            <p:nvPr/>
          </p:nvSpPr>
          <p:spPr bwMode="auto">
            <a:xfrm>
              <a:off x="6862938" y="2619503"/>
              <a:ext cx="39418" cy="67719"/>
            </a:xfrm>
            <a:custGeom>
              <a:avLst/>
              <a:gdLst>
                <a:gd name="T0" fmla="*/ 35 w 35"/>
                <a:gd name="T1" fmla="*/ 3 h 61"/>
                <a:gd name="T2" fmla="*/ 32 w 35"/>
                <a:gd name="T3" fmla="*/ 1 h 61"/>
                <a:gd name="T4" fmla="*/ 29 w 35"/>
                <a:gd name="T5" fmla="*/ 1 h 61"/>
                <a:gd name="T6" fmla="*/ 22 w 35"/>
                <a:gd name="T7" fmla="*/ 6 h 61"/>
                <a:gd name="T8" fmla="*/ 21 w 35"/>
                <a:gd name="T9" fmla="*/ 7 h 61"/>
                <a:gd name="T10" fmla="*/ 17 w 35"/>
                <a:gd name="T11" fmla="*/ 14 h 61"/>
                <a:gd name="T12" fmla="*/ 10 w 35"/>
                <a:gd name="T13" fmla="*/ 22 h 61"/>
                <a:gd name="T14" fmla="*/ 9 w 35"/>
                <a:gd name="T15" fmla="*/ 23 h 61"/>
                <a:gd name="T16" fmla="*/ 9 w 35"/>
                <a:gd name="T17" fmla="*/ 30 h 61"/>
                <a:gd name="T18" fmla="*/ 3 w 35"/>
                <a:gd name="T19" fmla="*/ 37 h 61"/>
                <a:gd name="T20" fmla="*/ 3 w 35"/>
                <a:gd name="T21" fmla="*/ 38 h 61"/>
                <a:gd name="T22" fmla="*/ 0 w 35"/>
                <a:gd name="T23" fmla="*/ 50 h 61"/>
                <a:gd name="T24" fmla="*/ 0 w 35"/>
                <a:gd name="T25" fmla="*/ 51 h 61"/>
                <a:gd name="T26" fmla="*/ 4 w 35"/>
                <a:gd name="T27" fmla="*/ 58 h 61"/>
                <a:gd name="T28" fmla="*/ 6 w 35"/>
                <a:gd name="T29" fmla="*/ 60 h 61"/>
                <a:gd name="T30" fmla="*/ 13 w 35"/>
                <a:gd name="T31" fmla="*/ 61 h 61"/>
                <a:gd name="T32" fmla="*/ 13 w 35"/>
                <a:gd name="T33" fmla="*/ 61 h 61"/>
                <a:gd name="T34" fmla="*/ 15 w 35"/>
                <a:gd name="T35" fmla="*/ 60 h 61"/>
                <a:gd name="T36" fmla="*/ 21 w 35"/>
                <a:gd name="T37" fmla="*/ 53 h 61"/>
                <a:gd name="T38" fmla="*/ 24 w 35"/>
                <a:gd name="T39" fmla="*/ 45 h 61"/>
                <a:gd name="T40" fmla="*/ 24 w 35"/>
                <a:gd name="T41" fmla="*/ 44 h 61"/>
                <a:gd name="T42" fmla="*/ 24 w 35"/>
                <a:gd name="T43" fmla="*/ 38 h 61"/>
                <a:gd name="T44" fmla="*/ 30 w 35"/>
                <a:gd name="T45" fmla="*/ 28 h 61"/>
                <a:gd name="T46" fmla="*/ 30 w 35"/>
                <a:gd name="T47" fmla="*/ 27 h 61"/>
                <a:gd name="T48" fmla="*/ 29 w 35"/>
                <a:gd name="T49" fmla="*/ 20 h 61"/>
                <a:gd name="T50" fmla="*/ 35 w 35"/>
                <a:gd name="T51" fmla="*/ 6 h 61"/>
                <a:gd name="T52" fmla="*/ 35 w 35"/>
                <a:gd name="T53"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61">
                  <a:moveTo>
                    <a:pt x="35" y="3"/>
                  </a:moveTo>
                  <a:cubicBezTo>
                    <a:pt x="32" y="1"/>
                    <a:pt x="32" y="1"/>
                    <a:pt x="32" y="1"/>
                  </a:cubicBezTo>
                  <a:cubicBezTo>
                    <a:pt x="31" y="0"/>
                    <a:pt x="30" y="0"/>
                    <a:pt x="29" y="1"/>
                  </a:cubicBezTo>
                  <a:cubicBezTo>
                    <a:pt x="22" y="6"/>
                    <a:pt x="22" y="6"/>
                    <a:pt x="22" y="6"/>
                  </a:cubicBezTo>
                  <a:cubicBezTo>
                    <a:pt x="22" y="7"/>
                    <a:pt x="21" y="7"/>
                    <a:pt x="21" y="7"/>
                  </a:cubicBezTo>
                  <a:cubicBezTo>
                    <a:pt x="17" y="14"/>
                    <a:pt x="17" y="14"/>
                    <a:pt x="17" y="14"/>
                  </a:cubicBezTo>
                  <a:cubicBezTo>
                    <a:pt x="10" y="22"/>
                    <a:pt x="10" y="22"/>
                    <a:pt x="10" y="22"/>
                  </a:cubicBezTo>
                  <a:cubicBezTo>
                    <a:pt x="10" y="22"/>
                    <a:pt x="9" y="23"/>
                    <a:pt x="9" y="23"/>
                  </a:cubicBezTo>
                  <a:cubicBezTo>
                    <a:pt x="9" y="30"/>
                    <a:pt x="9" y="30"/>
                    <a:pt x="9" y="30"/>
                  </a:cubicBezTo>
                  <a:cubicBezTo>
                    <a:pt x="3" y="37"/>
                    <a:pt x="3" y="37"/>
                    <a:pt x="3" y="37"/>
                  </a:cubicBezTo>
                  <a:cubicBezTo>
                    <a:pt x="3" y="37"/>
                    <a:pt x="3" y="38"/>
                    <a:pt x="3" y="38"/>
                  </a:cubicBezTo>
                  <a:cubicBezTo>
                    <a:pt x="0" y="50"/>
                    <a:pt x="0" y="50"/>
                    <a:pt x="0" y="50"/>
                  </a:cubicBezTo>
                  <a:cubicBezTo>
                    <a:pt x="0" y="50"/>
                    <a:pt x="0" y="51"/>
                    <a:pt x="0" y="51"/>
                  </a:cubicBezTo>
                  <a:cubicBezTo>
                    <a:pt x="4" y="58"/>
                    <a:pt x="4" y="58"/>
                    <a:pt x="4" y="58"/>
                  </a:cubicBezTo>
                  <a:cubicBezTo>
                    <a:pt x="4" y="59"/>
                    <a:pt x="5" y="60"/>
                    <a:pt x="6" y="60"/>
                  </a:cubicBezTo>
                  <a:cubicBezTo>
                    <a:pt x="13" y="61"/>
                    <a:pt x="13" y="61"/>
                    <a:pt x="13" y="61"/>
                  </a:cubicBezTo>
                  <a:cubicBezTo>
                    <a:pt x="13" y="61"/>
                    <a:pt x="13" y="61"/>
                    <a:pt x="13" y="61"/>
                  </a:cubicBezTo>
                  <a:cubicBezTo>
                    <a:pt x="14" y="61"/>
                    <a:pt x="15" y="61"/>
                    <a:pt x="15" y="60"/>
                  </a:cubicBezTo>
                  <a:cubicBezTo>
                    <a:pt x="21" y="53"/>
                    <a:pt x="21" y="53"/>
                    <a:pt x="21" y="53"/>
                  </a:cubicBezTo>
                  <a:cubicBezTo>
                    <a:pt x="24" y="45"/>
                    <a:pt x="24" y="45"/>
                    <a:pt x="24" y="45"/>
                  </a:cubicBezTo>
                  <a:cubicBezTo>
                    <a:pt x="24" y="45"/>
                    <a:pt x="24" y="45"/>
                    <a:pt x="24" y="44"/>
                  </a:cubicBezTo>
                  <a:cubicBezTo>
                    <a:pt x="24" y="38"/>
                    <a:pt x="24" y="38"/>
                    <a:pt x="24" y="38"/>
                  </a:cubicBezTo>
                  <a:cubicBezTo>
                    <a:pt x="30" y="28"/>
                    <a:pt x="30" y="28"/>
                    <a:pt x="30" y="28"/>
                  </a:cubicBezTo>
                  <a:cubicBezTo>
                    <a:pt x="30" y="28"/>
                    <a:pt x="30" y="27"/>
                    <a:pt x="30" y="27"/>
                  </a:cubicBezTo>
                  <a:cubicBezTo>
                    <a:pt x="29" y="20"/>
                    <a:pt x="29" y="20"/>
                    <a:pt x="29" y="20"/>
                  </a:cubicBezTo>
                  <a:cubicBezTo>
                    <a:pt x="35" y="6"/>
                    <a:pt x="35" y="6"/>
                    <a:pt x="35" y="6"/>
                  </a:cubicBezTo>
                  <a:cubicBezTo>
                    <a:pt x="35" y="5"/>
                    <a:pt x="35" y="4"/>
                    <a:pt x="35" y="3"/>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1">
              <a:extLst>
                <a:ext uri="{FF2B5EF4-FFF2-40B4-BE49-F238E27FC236}">
                  <a16:creationId xmlns:a16="http://schemas.microsoft.com/office/drawing/2014/main" id="{AE14DCBE-75FD-47D1-849B-9696B944AC39}"/>
                </a:ext>
              </a:extLst>
            </p:cNvPr>
            <p:cNvSpPr>
              <a:spLocks noEditPoints="1"/>
            </p:cNvSpPr>
            <p:nvPr/>
          </p:nvSpPr>
          <p:spPr bwMode="auto">
            <a:xfrm>
              <a:off x="6353532" y="2431508"/>
              <a:ext cx="524567" cy="582178"/>
            </a:xfrm>
            <a:custGeom>
              <a:avLst/>
              <a:gdLst>
                <a:gd name="T0" fmla="*/ 469 w 471"/>
                <a:gd name="T1" fmla="*/ 244 h 524"/>
                <a:gd name="T2" fmla="*/ 451 w 471"/>
                <a:gd name="T3" fmla="*/ 223 h 524"/>
                <a:gd name="T4" fmla="*/ 436 w 471"/>
                <a:gd name="T5" fmla="*/ 236 h 524"/>
                <a:gd name="T6" fmla="*/ 427 w 471"/>
                <a:gd name="T7" fmla="*/ 253 h 524"/>
                <a:gd name="T8" fmla="*/ 419 w 471"/>
                <a:gd name="T9" fmla="*/ 263 h 524"/>
                <a:gd name="T10" fmla="*/ 423 w 471"/>
                <a:gd name="T11" fmla="*/ 234 h 524"/>
                <a:gd name="T12" fmla="*/ 431 w 471"/>
                <a:gd name="T13" fmla="*/ 218 h 524"/>
                <a:gd name="T14" fmla="*/ 445 w 471"/>
                <a:gd name="T15" fmla="*/ 196 h 524"/>
                <a:gd name="T16" fmla="*/ 435 w 471"/>
                <a:gd name="T17" fmla="*/ 178 h 524"/>
                <a:gd name="T18" fmla="*/ 427 w 471"/>
                <a:gd name="T19" fmla="*/ 165 h 524"/>
                <a:gd name="T20" fmla="*/ 421 w 471"/>
                <a:gd name="T21" fmla="*/ 160 h 524"/>
                <a:gd name="T22" fmla="*/ 421 w 471"/>
                <a:gd name="T23" fmla="*/ 135 h 524"/>
                <a:gd name="T24" fmla="*/ 399 w 471"/>
                <a:gd name="T25" fmla="*/ 118 h 524"/>
                <a:gd name="T26" fmla="*/ 394 w 471"/>
                <a:gd name="T27" fmla="*/ 105 h 524"/>
                <a:gd name="T28" fmla="*/ 363 w 471"/>
                <a:gd name="T29" fmla="*/ 97 h 524"/>
                <a:gd name="T30" fmla="*/ 336 w 471"/>
                <a:gd name="T31" fmla="*/ 95 h 524"/>
                <a:gd name="T32" fmla="*/ 228 w 471"/>
                <a:gd name="T33" fmla="*/ 69 h 524"/>
                <a:gd name="T34" fmla="*/ 204 w 471"/>
                <a:gd name="T35" fmla="*/ 46 h 524"/>
                <a:gd name="T36" fmla="*/ 187 w 471"/>
                <a:gd name="T37" fmla="*/ 41 h 524"/>
                <a:gd name="T38" fmla="*/ 163 w 471"/>
                <a:gd name="T39" fmla="*/ 40 h 524"/>
                <a:gd name="T40" fmla="*/ 164 w 471"/>
                <a:gd name="T41" fmla="*/ 31 h 524"/>
                <a:gd name="T42" fmla="*/ 169 w 471"/>
                <a:gd name="T43" fmla="*/ 17 h 524"/>
                <a:gd name="T44" fmla="*/ 149 w 471"/>
                <a:gd name="T45" fmla="*/ 4 h 524"/>
                <a:gd name="T46" fmla="*/ 126 w 471"/>
                <a:gd name="T47" fmla="*/ 16 h 524"/>
                <a:gd name="T48" fmla="*/ 69 w 471"/>
                <a:gd name="T49" fmla="*/ 36 h 524"/>
                <a:gd name="T50" fmla="*/ 55 w 471"/>
                <a:gd name="T51" fmla="*/ 34 h 524"/>
                <a:gd name="T52" fmla="*/ 48 w 471"/>
                <a:gd name="T53" fmla="*/ 103 h 524"/>
                <a:gd name="T54" fmla="*/ 26 w 471"/>
                <a:gd name="T55" fmla="*/ 125 h 524"/>
                <a:gd name="T56" fmla="*/ 7 w 471"/>
                <a:gd name="T57" fmla="*/ 151 h 524"/>
                <a:gd name="T58" fmla="*/ 7 w 471"/>
                <a:gd name="T59" fmla="*/ 177 h 524"/>
                <a:gd name="T60" fmla="*/ 22 w 471"/>
                <a:gd name="T61" fmla="*/ 190 h 524"/>
                <a:gd name="T62" fmla="*/ 15 w 471"/>
                <a:gd name="T63" fmla="*/ 224 h 524"/>
                <a:gd name="T64" fmla="*/ 16 w 471"/>
                <a:gd name="T65" fmla="*/ 248 h 524"/>
                <a:gd name="T66" fmla="*/ 21 w 471"/>
                <a:gd name="T67" fmla="*/ 277 h 524"/>
                <a:gd name="T68" fmla="*/ 41 w 471"/>
                <a:gd name="T69" fmla="*/ 291 h 524"/>
                <a:gd name="T70" fmla="*/ 58 w 471"/>
                <a:gd name="T71" fmla="*/ 300 h 524"/>
                <a:gd name="T72" fmla="*/ 86 w 471"/>
                <a:gd name="T73" fmla="*/ 315 h 524"/>
                <a:gd name="T74" fmla="*/ 119 w 471"/>
                <a:gd name="T75" fmla="*/ 349 h 524"/>
                <a:gd name="T76" fmla="*/ 146 w 471"/>
                <a:gd name="T77" fmla="*/ 371 h 524"/>
                <a:gd name="T78" fmla="*/ 152 w 471"/>
                <a:gd name="T79" fmla="*/ 406 h 524"/>
                <a:gd name="T80" fmla="*/ 154 w 471"/>
                <a:gd name="T81" fmla="*/ 418 h 524"/>
                <a:gd name="T82" fmla="*/ 162 w 471"/>
                <a:gd name="T83" fmla="*/ 429 h 524"/>
                <a:gd name="T84" fmla="*/ 159 w 471"/>
                <a:gd name="T85" fmla="*/ 450 h 524"/>
                <a:gd name="T86" fmla="*/ 164 w 471"/>
                <a:gd name="T87" fmla="*/ 475 h 524"/>
                <a:gd name="T88" fmla="*/ 170 w 471"/>
                <a:gd name="T89" fmla="*/ 492 h 524"/>
                <a:gd name="T90" fmla="*/ 210 w 471"/>
                <a:gd name="T91" fmla="*/ 522 h 524"/>
                <a:gd name="T92" fmla="*/ 452 w 471"/>
                <a:gd name="T93" fmla="*/ 507 h 524"/>
                <a:gd name="T94" fmla="*/ 456 w 471"/>
                <a:gd name="T95" fmla="*/ 488 h 524"/>
                <a:gd name="T96" fmla="*/ 452 w 471"/>
                <a:gd name="T97" fmla="*/ 461 h 524"/>
                <a:gd name="T98" fmla="*/ 446 w 471"/>
                <a:gd name="T99" fmla="*/ 446 h 524"/>
                <a:gd name="T100" fmla="*/ 443 w 471"/>
                <a:gd name="T101" fmla="*/ 426 h 524"/>
                <a:gd name="T102" fmla="*/ 447 w 471"/>
                <a:gd name="T103" fmla="*/ 390 h 524"/>
                <a:gd name="T104" fmla="*/ 449 w 471"/>
                <a:gd name="T105" fmla="*/ 372 h 524"/>
                <a:gd name="T106" fmla="*/ 449 w 471"/>
                <a:gd name="T107" fmla="*/ 342 h 524"/>
                <a:gd name="T108" fmla="*/ 458 w 471"/>
                <a:gd name="T109" fmla="*/ 312 h 524"/>
                <a:gd name="T110" fmla="*/ 458 w 471"/>
                <a:gd name="T111" fmla="*/ 288 h 524"/>
                <a:gd name="T112" fmla="*/ 214 w 471"/>
                <a:gd name="T113" fmla="*/ 519 h 524"/>
                <a:gd name="T114" fmla="*/ 452 w 471"/>
                <a:gd name="T115" fmla="*/ 50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1" h="524">
                  <a:moveTo>
                    <a:pt x="460" y="280"/>
                  </a:moveTo>
                  <a:cubicBezTo>
                    <a:pt x="460" y="278"/>
                    <a:pt x="461" y="276"/>
                    <a:pt x="461" y="273"/>
                  </a:cubicBezTo>
                  <a:cubicBezTo>
                    <a:pt x="461" y="270"/>
                    <a:pt x="461" y="268"/>
                    <a:pt x="461" y="266"/>
                  </a:cubicBezTo>
                  <a:cubicBezTo>
                    <a:pt x="463" y="260"/>
                    <a:pt x="469" y="245"/>
                    <a:pt x="469" y="244"/>
                  </a:cubicBezTo>
                  <a:cubicBezTo>
                    <a:pt x="470" y="243"/>
                    <a:pt x="471" y="238"/>
                    <a:pt x="471" y="236"/>
                  </a:cubicBezTo>
                  <a:cubicBezTo>
                    <a:pt x="471" y="234"/>
                    <a:pt x="468" y="229"/>
                    <a:pt x="467" y="227"/>
                  </a:cubicBezTo>
                  <a:cubicBezTo>
                    <a:pt x="465" y="224"/>
                    <a:pt x="462" y="219"/>
                    <a:pt x="458" y="219"/>
                  </a:cubicBezTo>
                  <a:cubicBezTo>
                    <a:pt x="456" y="219"/>
                    <a:pt x="453" y="221"/>
                    <a:pt x="451" y="223"/>
                  </a:cubicBezTo>
                  <a:cubicBezTo>
                    <a:pt x="451" y="224"/>
                    <a:pt x="450" y="225"/>
                    <a:pt x="449" y="225"/>
                  </a:cubicBezTo>
                  <a:cubicBezTo>
                    <a:pt x="449" y="225"/>
                    <a:pt x="448" y="225"/>
                    <a:pt x="447" y="226"/>
                  </a:cubicBezTo>
                  <a:cubicBezTo>
                    <a:pt x="445" y="226"/>
                    <a:pt x="443" y="227"/>
                    <a:pt x="442" y="228"/>
                  </a:cubicBezTo>
                  <a:cubicBezTo>
                    <a:pt x="439" y="230"/>
                    <a:pt x="437" y="235"/>
                    <a:pt x="436" y="236"/>
                  </a:cubicBezTo>
                  <a:cubicBezTo>
                    <a:pt x="436" y="237"/>
                    <a:pt x="436" y="239"/>
                    <a:pt x="436" y="240"/>
                  </a:cubicBezTo>
                  <a:cubicBezTo>
                    <a:pt x="436" y="241"/>
                    <a:pt x="435" y="243"/>
                    <a:pt x="435" y="243"/>
                  </a:cubicBezTo>
                  <a:cubicBezTo>
                    <a:pt x="434" y="245"/>
                    <a:pt x="432" y="249"/>
                    <a:pt x="430" y="251"/>
                  </a:cubicBezTo>
                  <a:cubicBezTo>
                    <a:pt x="430" y="251"/>
                    <a:pt x="429" y="252"/>
                    <a:pt x="427" y="253"/>
                  </a:cubicBezTo>
                  <a:cubicBezTo>
                    <a:pt x="426" y="254"/>
                    <a:pt x="424" y="255"/>
                    <a:pt x="423" y="256"/>
                  </a:cubicBezTo>
                  <a:cubicBezTo>
                    <a:pt x="422" y="257"/>
                    <a:pt x="422" y="259"/>
                    <a:pt x="421" y="260"/>
                  </a:cubicBezTo>
                  <a:cubicBezTo>
                    <a:pt x="421" y="261"/>
                    <a:pt x="421" y="263"/>
                    <a:pt x="420" y="263"/>
                  </a:cubicBezTo>
                  <a:cubicBezTo>
                    <a:pt x="420" y="263"/>
                    <a:pt x="420" y="263"/>
                    <a:pt x="419" y="263"/>
                  </a:cubicBezTo>
                  <a:cubicBezTo>
                    <a:pt x="417" y="263"/>
                    <a:pt x="416" y="263"/>
                    <a:pt x="416" y="263"/>
                  </a:cubicBezTo>
                  <a:cubicBezTo>
                    <a:pt x="416" y="262"/>
                    <a:pt x="415" y="260"/>
                    <a:pt x="415" y="258"/>
                  </a:cubicBezTo>
                  <a:cubicBezTo>
                    <a:pt x="417" y="249"/>
                    <a:pt x="417" y="249"/>
                    <a:pt x="417" y="249"/>
                  </a:cubicBezTo>
                  <a:cubicBezTo>
                    <a:pt x="423" y="234"/>
                    <a:pt x="423" y="234"/>
                    <a:pt x="423" y="234"/>
                  </a:cubicBezTo>
                  <a:cubicBezTo>
                    <a:pt x="424" y="233"/>
                    <a:pt x="427" y="228"/>
                    <a:pt x="428" y="226"/>
                  </a:cubicBezTo>
                  <a:cubicBezTo>
                    <a:pt x="428" y="225"/>
                    <a:pt x="428" y="223"/>
                    <a:pt x="428" y="222"/>
                  </a:cubicBezTo>
                  <a:cubicBezTo>
                    <a:pt x="428" y="221"/>
                    <a:pt x="428" y="220"/>
                    <a:pt x="428" y="219"/>
                  </a:cubicBezTo>
                  <a:cubicBezTo>
                    <a:pt x="428" y="219"/>
                    <a:pt x="430" y="218"/>
                    <a:pt x="431" y="218"/>
                  </a:cubicBezTo>
                  <a:cubicBezTo>
                    <a:pt x="433" y="218"/>
                    <a:pt x="434" y="218"/>
                    <a:pt x="435" y="217"/>
                  </a:cubicBezTo>
                  <a:cubicBezTo>
                    <a:pt x="439" y="215"/>
                    <a:pt x="442" y="213"/>
                    <a:pt x="443" y="211"/>
                  </a:cubicBezTo>
                  <a:cubicBezTo>
                    <a:pt x="444" y="210"/>
                    <a:pt x="444" y="207"/>
                    <a:pt x="444" y="205"/>
                  </a:cubicBezTo>
                  <a:cubicBezTo>
                    <a:pt x="446" y="201"/>
                    <a:pt x="446" y="198"/>
                    <a:pt x="445" y="196"/>
                  </a:cubicBezTo>
                  <a:cubicBezTo>
                    <a:pt x="445" y="196"/>
                    <a:pt x="444" y="194"/>
                    <a:pt x="440" y="194"/>
                  </a:cubicBezTo>
                  <a:cubicBezTo>
                    <a:pt x="437" y="192"/>
                    <a:pt x="434" y="189"/>
                    <a:pt x="434" y="188"/>
                  </a:cubicBezTo>
                  <a:cubicBezTo>
                    <a:pt x="433" y="188"/>
                    <a:pt x="433" y="185"/>
                    <a:pt x="433" y="183"/>
                  </a:cubicBezTo>
                  <a:cubicBezTo>
                    <a:pt x="433" y="182"/>
                    <a:pt x="435" y="179"/>
                    <a:pt x="435" y="178"/>
                  </a:cubicBezTo>
                  <a:cubicBezTo>
                    <a:pt x="437" y="173"/>
                    <a:pt x="440" y="169"/>
                    <a:pt x="437" y="166"/>
                  </a:cubicBezTo>
                  <a:cubicBezTo>
                    <a:pt x="437" y="165"/>
                    <a:pt x="436" y="164"/>
                    <a:pt x="434" y="164"/>
                  </a:cubicBezTo>
                  <a:cubicBezTo>
                    <a:pt x="432" y="164"/>
                    <a:pt x="430" y="165"/>
                    <a:pt x="428" y="165"/>
                  </a:cubicBezTo>
                  <a:cubicBezTo>
                    <a:pt x="428" y="165"/>
                    <a:pt x="427" y="165"/>
                    <a:pt x="427" y="165"/>
                  </a:cubicBezTo>
                  <a:cubicBezTo>
                    <a:pt x="426" y="166"/>
                    <a:pt x="425" y="166"/>
                    <a:pt x="424" y="167"/>
                  </a:cubicBezTo>
                  <a:cubicBezTo>
                    <a:pt x="423" y="167"/>
                    <a:pt x="421" y="168"/>
                    <a:pt x="421" y="168"/>
                  </a:cubicBezTo>
                  <a:cubicBezTo>
                    <a:pt x="421" y="167"/>
                    <a:pt x="420" y="165"/>
                    <a:pt x="420" y="164"/>
                  </a:cubicBezTo>
                  <a:cubicBezTo>
                    <a:pt x="420" y="163"/>
                    <a:pt x="421" y="161"/>
                    <a:pt x="421" y="160"/>
                  </a:cubicBezTo>
                  <a:cubicBezTo>
                    <a:pt x="422" y="159"/>
                    <a:pt x="422" y="158"/>
                    <a:pt x="423" y="157"/>
                  </a:cubicBezTo>
                  <a:cubicBezTo>
                    <a:pt x="423" y="154"/>
                    <a:pt x="425" y="145"/>
                    <a:pt x="424" y="141"/>
                  </a:cubicBezTo>
                  <a:cubicBezTo>
                    <a:pt x="424" y="139"/>
                    <a:pt x="423" y="138"/>
                    <a:pt x="422" y="137"/>
                  </a:cubicBezTo>
                  <a:cubicBezTo>
                    <a:pt x="422" y="136"/>
                    <a:pt x="421" y="135"/>
                    <a:pt x="421" y="135"/>
                  </a:cubicBezTo>
                  <a:cubicBezTo>
                    <a:pt x="421" y="134"/>
                    <a:pt x="423" y="133"/>
                    <a:pt x="423" y="132"/>
                  </a:cubicBezTo>
                  <a:cubicBezTo>
                    <a:pt x="422" y="128"/>
                    <a:pt x="418" y="125"/>
                    <a:pt x="413" y="122"/>
                  </a:cubicBezTo>
                  <a:cubicBezTo>
                    <a:pt x="410" y="121"/>
                    <a:pt x="404" y="119"/>
                    <a:pt x="401" y="119"/>
                  </a:cubicBezTo>
                  <a:cubicBezTo>
                    <a:pt x="401" y="118"/>
                    <a:pt x="400" y="118"/>
                    <a:pt x="399" y="118"/>
                  </a:cubicBezTo>
                  <a:cubicBezTo>
                    <a:pt x="396" y="119"/>
                    <a:pt x="396" y="119"/>
                    <a:pt x="396" y="119"/>
                  </a:cubicBezTo>
                  <a:cubicBezTo>
                    <a:pt x="396" y="119"/>
                    <a:pt x="395" y="118"/>
                    <a:pt x="395" y="118"/>
                  </a:cubicBezTo>
                  <a:cubicBezTo>
                    <a:pt x="395" y="118"/>
                    <a:pt x="395" y="115"/>
                    <a:pt x="395" y="113"/>
                  </a:cubicBezTo>
                  <a:cubicBezTo>
                    <a:pt x="395" y="110"/>
                    <a:pt x="395" y="107"/>
                    <a:pt x="394" y="105"/>
                  </a:cubicBezTo>
                  <a:cubicBezTo>
                    <a:pt x="392" y="102"/>
                    <a:pt x="386" y="100"/>
                    <a:pt x="386" y="100"/>
                  </a:cubicBezTo>
                  <a:cubicBezTo>
                    <a:pt x="383" y="99"/>
                    <a:pt x="378" y="99"/>
                    <a:pt x="374" y="98"/>
                  </a:cubicBezTo>
                  <a:cubicBezTo>
                    <a:pt x="371" y="98"/>
                    <a:pt x="368" y="98"/>
                    <a:pt x="366" y="98"/>
                  </a:cubicBezTo>
                  <a:cubicBezTo>
                    <a:pt x="365" y="98"/>
                    <a:pt x="364" y="97"/>
                    <a:pt x="363" y="97"/>
                  </a:cubicBezTo>
                  <a:cubicBezTo>
                    <a:pt x="361" y="96"/>
                    <a:pt x="359" y="95"/>
                    <a:pt x="357" y="95"/>
                  </a:cubicBezTo>
                  <a:cubicBezTo>
                    <a:pt x="356" y="95"/>
                    <a:pt x="354" y="95"/>
                    <a:pt x="353" y="96"/>
                  </a:cubicBezTo>
                  <a:cubicBezTo>
                    <a:pt x="352" y="96"/>
                    <a:pt x="350" y="97"/>
                    <a:pt x="349" y="97"/>
                  </a:cubicBezTo>
                  <a:cubicBezTo>
                    <a:pt x="346" y="97"/>
                    <a:pt x="338" y="95"/>
                    <a:pt x="336" y="95"/>
                  </a:cubicBezTo>
                  <a:cubicBezTo>
                    <a:pt x="335" y="95"/>
                    <a:pt x="335" y="95"/>
                    <a:pt x="334" y="95"/>
                  </a:cubicBezTo>
                  <a:cubicBezTo>
                    <a:pt x="332" y="95"/>
                    <a:pt x="332" y="95"/>
                    <a:pt x="332" y="95"/>
                  </a:cubicBezTo>
                  <a:cubicBezTo>
                    <a:pt x="307" y="84"/>
                    <a:pt x="307" y="84"/>
                    <a:pt x="307" y="84"/>
                  </a:cubicBezTo>
                  <a:cubicBezTo>
                    <a:pt x="228" y="69"/>
                    <a:pt x="228" y="69"/>
                    <a:pt x="228" y="69"/>
                  </a:cubicBezTo>
                  <a:cubicBezTo>
                    <a:pt x="227" y="66"/>
                    <a:pt x="222" y="58"/>
                    <a:pt x="220" y="55"/>
                  </a:cubicBezTo>
                  <a:cubicBezTo>
                    <a:pt x="218" y="53"/>
                    <a:pt x="214" y="50"/>
                    <a:pt x="212" y="49"/>
                  </a:cubicBezTo>
                  <a:cubicBezTo>
                    <a:pt x="211" y="48"/>
                    <a:pt x="210" y="48"/>
                    <a:pt x="208" y="47"/>
                  </a:cubicBezTo>
                  <a:cubicBezTo>
                    <a:pt x="207" y="47"/>
                    <a:pt x="205" y="47"/>
                    <a:pt x="204" y="46"/>
                  </a:cubicBezTo>
                  <a:cubicBezTo>
                    <a:pt x="204" y="46"/>
                    <a:pt x="204" y="45"/>
                    <a:pt x="203" y="45"/>
                  </a:cubicBezTo>
                  <a:cubicBezTo>
                    <a:pt x="202" y="44"/>
                    <a:pt x="202" y="43"/>
                    <a:pt x="200" y="42"/>
                  </a:cubicBezTo>
                  <a:cubicBezTo>
                    <a:pt x="198" y="41"/>
                    <a:pt x="195" y="41"/>
                    <a:pt x="192" y="41"/>
                  </a:cubicBezTo>
                  <a:cubicBezTo>
                    <a:pt x="190" y="41"/>
                    <a:pt x="188" y="41"/>
                    <a:pt x="187" y="41"/>
                  </a:cubicBezTo>
                  <a:cubicBezTo>
                    <a:pt x="186" y="41"/>
                    <a:pt x="185" y="40"/>
                    <a:pt x="184" y="39"/>
                  </a:cubicBezTo>
                  <a:cubicBezTo>
                    <a:pt x="182" y="38"/>
                    <a:pt x="181" y="38"/>
                    <a:pt x="180" y="37"/>
                  </a:cubicBezTo>
                  <a:cubicBezTo>
                    <a:pt x="178" y="36"/>
                    <a:pt x="173" y="35"/>
                    <a:pt x="171" y="36"/>
                  </a:cubicBezTo>
                  <a:cubicBezTo>
                    <a:pt x="169" y="36"/>
                    <a:pt x="165" y="39"/>
                    <a:pt x="163" y="40"/>
                  </a:cubicBezTo>
                  <a:cubicBezTo>
                    <a:pt x="162" y="40"/>
                    <a:pt x="161" y="41"/>
                    <a:pt x="160" y="41"/>
                  </a:cubicBezTo>
                  <a:cubicBezTo>
                    <a:pt x="160" y="40"/>
                    <a:pt x="160" y="40"/>
                    <a:pt x="161" y="39"/>
                  </a:cubicBezTo>
                  <a:cubicBezTo>
                    <a:pt x="161" y="39"/>
                    <a:pt x="161" y="39"/>
                    <a:pt x="161" y="38"/>
                  </a:cubicBezTo>
                  <a:cubicBezTo>
                    <a:pt x="162" y="37"/>
                    <a:pt x="163" y="33"/>
                    <a:pt x="164" y="31"/>
                  </a:cubicBezTo>
                  <a:cubicBezTo>
                    <a:pt x="164" y="29"/>
                    <a:pt x="164" y="28"/>
                    <a:pt x="164" y="27"/>
                  </a:cubicBezTo>
                  <a:cubicBezTo>
                    <a:pt x="164" y="26"/>
                    <a:pt x="163" y="24"/>
                    <a:pt x="164" y="24"/>
                  </a:cubicBezTo>
                  <a:cubicBezTo>
                    <a:pt x="164" y="23"/>
                    <a:pt x="165" y="22"/>
                    <a:pt x="166" y="21"/>
                  </a:cubicBezTo>
                  <a:cubicBezTo>
                    <a:pt x="167" y="19"/>
                    <a:pt x="168" y="18"/>
                    <a:pt x="169" y="17"/>
                  </a:cubicBezTo>
                  <a:cubicBezTo>
                    <a:pt x="169" y="15"/>
                    <a:pt x="171" y="10"/>
                    <a:pt x="170" y="7"/>
                  </a:cubicBezTo>
                  <a:cubicBezTo>
                    <a:pt x="169" y="4"/>
                    <a:pt x="163" y="0"/>
                    <a:pt x="159" y="0"/>
                  </a:cubicBezTo>
                  <a:cubicBezTo>
                    <a:pt x="157" y="0"/>
                    <a:pt x="153" y="1"/>
                    <a:pt x="150" y="4"/>
                  </a:cubicBezTo>
                  <a:cubicBezTo>
                    <a:pt x="149" y="4"/>
                    <a:pt x="149" y="4"/>
                    <a:pt x="149" y="4"/>
                  </a:cubicBezTo>
                  <a:cubicBezTo>
                    <a:pt x="147" y="6"/>
                    <a:pt x="142" y="10"/>
                    <a:pt x="142" y="10"/>
                  </a:cubicBezTo>
                  <a:cubicBezTo>
                    <a:pt x="135" y="14"/>
                    <a:pt x="135" y="14"/>
                    <a:pt x="135" y="14"/>
                  </a:cubicBezTo>
                  <a:cubicBezTo>
                    <a:pt x="127" y="16"/>
                    <a:pt x="127" y="16"/>
                    <a:pt x="127" y="16"/>
                  </a:cubicBezTo>
                  <a:cubicBezTo>
                    <a:pt x="126" y="16"/>
                    <a:pt x="126" y="16"/>
                    <a:pt x="126" y="16"/>
                  </a:cubicBezTo>
                  <a:cubicBezTo>
                    <a:pt x="112" y="25"/>
                    <a:pt x="112" y="25"/>
                    <a:pt x="112" y="25"/>
                  </a:cubicBezTo>
                  <a:cubicBezTo>
                    <a:pt x="83" y="36"/>
                    <a:pt x="83" y="36"/>
                    <a:pt x="83" y="36"/>
                  </a:cubicBezTo>
                  <a:cubicBezTo>
                    <a:pt x="76" y="37"/>
                    <a:pt x="76" y="37"/>
                    <a:pt x="76" y="37"/>
                  </a:cubicBezTo>
                  <a:cubicBezTo>
                    <a:pt x="73" y="37"/>
                    <a:pt x="70" y="36"/>
                    <a:pt x="69" y="36"/>
                  </a:cubicBezTo>
                  <a:cubicBezTo>
                    <a:pt x="63" y="33"/>
                    <a:pt x="59" y="32"/>
                    <a:pt x="59" y="32"/>
                  </a:cubicBezTo>
                  <a:cubicBezTo>
                    <a:pt x="58" y="32"/>
                    <a:pt x="57" y="32"/>
                    <a:pt x="56" y="33"/>
                  </a:cubicBezTo>
                  <a:cubicBezTo>
                    <a:pt x="56" y="33"/>
                    <a:pt x="56" y="33"/>
                    <a:pt x="56" y="33"/>
                  </a:cubicBezTo>
                  <a:cubicBezTo>
                    <a:pt x="55" y="34"/>
                    <a:pt x="55" y="34"/>
                    <a:pt x="55" y="34"/>
                  </a:cubicBezTo>
                  <a:cubicBezTo>
                    <a:pt x="52" y="41"/>
                    <a:pt x="52" y="41"/>
                    <a:pt x="52" y="41"/>
                  </a:cubicBezTo>
                  <a:cubicBezTo>
                    <a:pt x="47" y="41"/>
                    <a:pt x="47" y="41"/>
                    <a:pt x="47" y="41"/>
                  </a:cubicBezTo>
                  <a:cubicBezTo>
                    <a:pt x="46" y="42"/>
                    <a:pt x="45" y="43"/>
                    <a:pt x="45" y="44"/>
                  </a:cubicBezTo>
                  <a:cubicBezTo>
                    <a:pt x="48" y="103"/>
                    <a:pt x="48" y="103"/>
                    <a:pt x="48" y="103"/>
                  </a:cubicBezTo>
                  <a:cubicBezTo>
                    <a:pt x="46" y="111"/>
                    <a:pt x="46" y="111"/>
                    <a:pt x="46" y="111"/>
                  </a:cubicBezTo>
                  <a:cubicBezTo>
                    <a:pt x="43" y="117"/>
                    <a:pt x="43" y="117"/>
                    <a:pt x="43" y="117"/>
                  </a:cubicBezTo>
                  <a:cubicBezTo>
                    <a:pt x="40" y="118"/>
                    <a:pt x="32" y="122"/>
                    <a:pt x="29" y="124"/>
                  </a:cubicBezTo>
                  <a:cubicBezTo>
                    <a:pt x="26" y="125"/>
                    <a:pt x="26" y="125"/>
                    <a:pt x="26" y="125"/>
                  </a:cubicBezTo>
                  <a:cubicBezTo>
                    <a:pt x="22" y="128"/>
                    <a:pt x="15" y="132"/>
                    <a:pt x="13" y="136"/>
                  </a:cubicBezTo>
                  <a:cubicBezTo>
                    <a:pt x="12" y="137"/>
                    <a:pt x="12" y="139"/>
                    <a:pt x="11" y="141"/>
                  </a:cubicBezTo>
                  <a:cubicBezTo>
                    <a:pt x="11" y="142"/>
                    <a:pt x="11" y="143"/>
                    <a:pt x="11" y="143"/>
                  </a:cubicBezTo>
                  <a:cubicBezTo>
                    <a:pt x="10" y="145"/>
                    <a:pt x="8" y="149"/>
                    <a:pt x="7" y="151"/>
                  </a:cubicBezTo>
                  <a:cubicBezTo>
                    <a:pt x="7" y="151"/>
                    <a:pt x="6" y="152"/>
                    <a:pt x="5" y="153"/>
                  </a:cubicBezTo>
                  <a:cubicBezTo>
                    <a:pt x="3" y="154"/>
                    <a:pt x="2" y="156"/>
                    <a:pt x="1" y="158"/>
                  </a:cubicBezTo>
                  <a:cubicBezTo>
                    <a:pt x="0" y="160"/>
                    <a:pt x="0" y="165"/>
                    <a:pt x="1" y="167"/>
                  </a:cubicBezTo>
                  <a:cubicBezTo>
                    <a:pt x="1" y="169"/>
                    <a:pt x="4" y="175"/>
                    <a:pt x="7" y="177"/>
                  </a:cubicBezTo>
                  <a:cubicBezTo>
                    <a:pt x="9" y="178"/>
                    <a:pt x="10" y="177"/>
                    <a:pt x="12" y="177"/>
                  </a:cubicBezTo>
                  <a:cubicBezTo>
                    <a:pt x="13" y="177"/>
                    <a:pt x="13" y="177"/>
                    <a:pt x="13" y="177"/>
                  </a:cubicBezTo>
                  <a:cubicBezTo>
                    <a:pt x="14" y="177"/>
                    <a:pt x="14" y="177"/>
                    <a:pt x="14" y="177"/>
                  </a:cubicBezTo>
                  <a:cubicBezTo>
                    <a:pt x="17" y="179"/>
                    <a:pt x="21" y="187"/>
                    <a:pt x="22" y="190"/>
                  </a:cubicBezTo>
                  <a:cubicBezTo>
                    <a:pt x="22" y="193"/>
                    <a:pt x="20" y="197"/>
                    <a:pt x="18" y="200"/>
                  </a:cubicBezTo>
                  <a:cubicBezTo>
                    <a:pt x="16" y="203"/>
                    <a:pt x="14" y="207"/>
                    <a:pt x="14" y="209"/>
                  </a:cubicBezTo>
                  <a:cubicBezTo>
                    <a:pt x="13" y="212"/>
                    <a:pt x="14" y="214"/>
                    <a:pt x="14" y="217"/>
                  </a:cubicBezTo>
                  <a:cubicBezTo>
                    <a:pt x="15" y="220"/>
                    <a:pt x="15" y="222"/>
                    <a:pt x="15" y="224"/>
                  </a:cubicBezTo>
                  <a:cubicBezTo>
                    <a:pt x="15" y="224"/>
                    <a:pt x="14" y="226"/>
                    <a:pt x="14" y="227"/>
                  </a:cubicBezTo>
                  <a:cubicBezTo>
                    <a:pt x="13" y="228"/>
                    <a:pt x="12" y="230"/>
                    <a:pt x="12" y="232"/>
                  </a:cubicBezTo>
                  <a:cubicBezTo>
                    <a:pt x="11" y="235"/>
                    <a:pt x="13" y="239"/>
                    <a:pt x="14" y="242"/>
                  </a:cubicBezTo>
                  <a:cubicBezTo>
                    <a:pt x="15" y="244"/>
                    <a:pt x="16" y="247"/>
                    <a:pt x="16" y="248"/>
                  </a:cubicBezTo>
                  <a:cubicBezTo>
                    <a:pt x="16" y="251"/>
                    <a:pt x="16" y="257"/>
                    <a:pt x="15" y="260"/>
                  </a:cubicBezTo>
                  <a:cubicBezTo>
                    <a:pt x="15" y="261"/>
                    <a:pt x="14" y="262"/>
                    <a:pt x="14" y="263"/>
                  </a:cubicBezTo>
                  <a:cubicBezTo>
                    <a:pt x="12" y="265"/>
                    <a:pt x="11" y="267"/>
                    <a:pt x="12" y="270"/>
                  </a:cubicBezTo>
                  <a:cubicBezTo>
                    <a:pt x="13" y="273"/>
                    <a:pt x="17" y="275"/>
                    <a:pt x="21" y="277"/>
                  </a:cubicBezTo>
                  <a:cubicBezTo>
                    <a:pt x="22" y="278"/>
                    <a:pt x="24" y="279"/>
                    <a:pt x="25" y="279"/>
                  </a:cubicBezTo>
                  <a:cubicBezTo>
                    <a:pt x="25" y="280"/>
                    <a:pt x="26" y="281"/>
                    <a:pt x="27" y="282"/>
                  </a:cubicBezTo>
                  <a:cubicBezTo>
                    <a:pt x="29" y="284"/>
                    <a:pt x="31" y="286"/>
                    <a:pt x="32" y="287"/>
                  </a:cubicBezTo>
                  <a:cubicBezTo>
                    <a:pt x="34" y="288"/>
                    <a:pt x="39" y="290"/>
                    <a:pt x="41" y="291"/>
                  </a:cubicBezTo>
                  <a:cubicBezTo>
                    <a:pt x="42" y="291"/>
                    <a:pt x="44" y="291"/>
                    <a:pt x="46" y="291"/>
                  </a:cubicBezTo>
                  <a:cubicBezTo>
                    <a:pt x="49" y="292"/>
                    <a:pt x="52" y="292"/>
                    <a:pt x="53" y="293"/>
                  </a:cubicBezTo>
                  <a:cubicBezTo>
                    <a:pt x="54" y="293"/>
                    <a:pt x="55" y="295"/>
                    <a:pt x="55" y="296"/>
                  </a:cubicBezTo>
                  <a:cubicBezTo>
                    <a:pt x="56" y="298"/>
                    <a:pt x="57" y="299"/>
                    <a:pt x="58" y="300"/>
                  </a:cubicBezTo>
                  <a:cubicBezTo>
                    <a:pt x="60" y="302"/>
                    <a:pt x="64" y="304"/>
                    <a:pt x="66" y="305"/>
                  </a:cubicBezTo>
                  <a:cubicBezTo>
                    <a:pt x="67" y="306"/>
                    <a:pt x="69" y="306"/>
                    <a:pt x="71" y="307"/>
                  </a:cubicBezTo>
                  <a:cubicBezTo>
                    <a:pt x="73" y="308"/>
                    <a:pt x="75" y="308"/>
                    <a:pt x="76" y="309"/>
                  </a:cubicBezTo>
                  <a:cubicBezTo>
                    <a:pt x="79" y="310"/>
                    <a:pt x="84" y="313"/>
                    <a:pt x="86" y="315"/>
                  </a:cubicBezTo>
                  <a:cubicBezTo>
                    <a:pt x="87" y="317"/>
                    <a:pt x="89" y="320"/>
                    <a:pt x="91" y="323"/>
                  </a:cubicBezTo>
                  <a:cubicBezTo>
                    <a:pt x="93" y="326"/>
                    <a:pt x="94" y="329"/>
                    <a:pt x="96" y="331"/>
                  </a:cubicBezTo>
                  <a:cubicBezTo>
                    <a:pt x="99" y="335"/>
                    <a:pt x="107" y="342"/>
                    <a:pt x="111" y="345"/>
                  </a:cubicBezTo>
                  <a:cubicBezTo>
                    <a:pt x="113" y="346"/>
                    <a:pt x="117" y="348"/>
                    <a:pt x="119" y="349"/>
                  </a:cubicBezTo>
                  <a:cubicBezTo>
                    <a:pt x="121" y="350"/>
                    <a:pt x="125" y="350"/>
                    <a:pt x="126" y="351"/>
                  </a:cubicBezTo>
                  <a:cubicBezTo>
                    <a:pt x="133" y="355"/>
                    <a:pt x="133" y="355"/>
                    <a:pt x="133" y="355"/>
                  </a:cubicBezTo>
                  <a:cubicBezTo>
                    <a:pt x="140" y="362"/>
                    <a:pt x="140" y="362"/>
                    <a:pt x="140" y="362"/>
                  </a:cubicBezTo>
                  <a:cubicBezTo>
                    <a:pt x="146" y="371"/>
                    <a:pt x="146" y="371"/>
                    <a:pt x="146" y="371"/>
                  </a:cubicBezTo>
                  <a:cubicBezTo>
                    <a:pt x="149" y="391"/>
                    <a:pt x="149" y="391"/>
                    <a:pt x="149" y="391"/>
                  </a:cubicBezTo>
                  <a:cubicBezTo>
                    <a:pt x="151" y="398"/>
                    <a:pt x="151" y="398"/>
                    <a:pt x="151" y="398"/>
                  </a:cubicBezTo>
                  <a:cubicBezTo>
                    <a:pt x="150" y="399"/>
                    <a:pt x="150" y="400"/>
                    <a:pt x="150" y="401"/>
                  </a:cubicBezTo>
                  <a:cubicBezTo>
                    <a:pt x="150" y="403"/>
                    <a:pt x="151" y="404"/>
                    <a:pt x="152" y="406"/>
                  </a:cubicBezTo>
                  <a:cubicBezTo>
                    <a:pt x="152" y="407"/>
                    <a:pt x="153" y="408"/>
                    <a:pt x="153" y="409"/>
                  </a:cubicBezTo>
                  <a:cubicBezTo>
                    <a:pt x="153" y="409"/>
                    <a:pt x="153" y="410"/>
                    <a:pt x="153" y="411"/>
                  </a:cubicBezTo>
                  <a:cubicBezTo>
                    <a:pt x="152" y="412"/>
                    <a:pt x="152" y="414"/>
                    <a:pt x="152" y="415"/>
                  </a:cubicBezTo>
                  <a:cubicBezTo>
                    <a:pt x="153" y="416"/>
                    <a:pt x="153" y="417"/>
                    <a:pt x="154" y="418"/>
                  </a:cubicBezTo>
                  <a:cubicBezTo>
                    <a:pt x="154" y="418"/>
                    <a:pt x="154" y="418"/>
                    <a:pt x="155" y="419"/>
                  </a:cubicBezTo>
                  <a:cubicBezTo>
                    <a:pt x="155" y="419"/>
                    <a:pt x="155" y="420"/>
                    <a:pt x="155" y="421"/>
                  </a:cubicBezTo>
                  <a:cubicBezTo>
                    <a:pt x="156" y="423"/>
                    <a:pt x="157" y="426"/>
                    <a:pt x="158" y="427"/>
                  </a:cubicBezTo>
                  <a:cubicBezTo>
                    <a:pt x="159" y="428"/>
                    <a:pt x="161" y="429"/>
                    <a:pt x="162" y="429"/>
                  </a:cubicBezTo>
                  <a:cubicBezTo>
                    <a:pt x="163" y="429"/>
                    <a:pt x="164" y="429"/>
                    <a:pt x="164" y="429"/>
                  </a:cubicBezTo>
                  <a:cubicBezTo>
                    <a:pt x="164" y="430"/>
                    <a:pt x="165" y="431"/>
                    <a:pt x="165" y="435"/>
                  </a:cubicBezTo>
                  <a:cubicBezTo>
                    <a:pt x="165" y="436"/>
                    <a:pt x="163" y="439"/>
                    <a:pt x="162" y="442"/>
                  </a:cubicBezTo>
                  <a:cubicBezTo>
                    <a:pt x="161" y="445"/>
                    <a:pt x="160" y="447"/>
                    <a:pt x="159" y="450"/>
                  </a:cubicBezTo>
                  <a:cubicBezTo>
                    <a:pt x="159" y="452"/>
                    <a:pt x="160" y="455"/>
                    <a:pt x="161" y="458"/>
                  </a:cubicBezTo>
                  <a:cubicBezTo>
                    <a:pt x="162" y="459"/>
                    <a:pt x="162" y="461"/>
                    <a:pt x="162" y="462"/>
                  </a:cubicBezTo>
                  <a:cubicBezTo>
                    <a:pt x="162" y="463"/>
                    <a:pt x="163" y="464"/>
                    <a:pt x="163" y="466"/>
                  </a:cubicBezTo>
                  <a:cubicBezTo>
                    <a:pt x="163" y="469"/>
                    <a:pt x="163" y="473"/>
                    <a:pt x="164" y="475"/>
                  </a:cubicBezTo>
                  <a:cubicBezTo>
                    <a:pt x="164" y="477"/>
                    <a:pt x="166" y="478"/>
                    <a:pt x="167" y="480"/>
                  </a:cubicBezTo>
                  <a:cubicBezTo>
                    <a:pt x="168" y="481"/>
                    <a:pt x="169" y="482"/>
                    <a:pt x="169" y="483"/>
                  </a:cubicBezTo>
                  <a:cubicBezTo>
                    <a:pt x="169" y="483"/>
                    <a:pt x="169" y="485"/>
                    <a:pt x="170" y="487"/>
                  </a:cubicBezTo>
                  <a:cubicBezTo>
                    <a:pt x="170" y="489"/>
                    <a:pt x="170" y="490"/>
                    <a:pt x="170" y="492"/>
                  </a:cubicBezTo>
                  <a:cubicBezTo>
                    <a:pt x="171" y="492"/>
                    <a:pt x="172" y="498"/>
                    <a:pt x="175" y="500"/>
                  </a:cubicBezTo>
                  <a:cubicBezTo>
                    <a:pt x="176" y="501"/>
                    <a:pt x="179" y="503"/>
                    <a:pt x="183" y="504"/>
                  </a:cubicBezTo>
                  <a:cubicBezTo>
                    <a:pt x="188" y="506"/>
                    <a:pt x="201" y="508"/>
                    <a:pt x="205" y="508"/>
                  </a:cubicBezTo>
                  <a:cubicBezTo>
                    <a:pt x="210" y="522"/>
                    <a:pt x="210" y="522"/>
                    <a:pt x="210" y="522"/>
                  </a:cubicBezTo>
                  <a:cubicBezTo>
                    <a:pt x="210" y="523"/>
                    <a:pt x="211" y="524"/>
                    <a:pt x="212" y="524"/>
                  </a:cubicBezTo>
                  <a:cubicBezTo>
                    <a:pt x="212" y="524"/>
                    <a:pt x="212" y="524"/>
                    <a:pt x="213" y="524"/>
                  </a:cubicBezTo>
                  <a:cubicBezTo>
                    <a:pt x="349" y="516"/>
                    <a:pt x="349" y="516"/>
                    <a:pt x="349" y="516"/>
                  </a:cubicBezTo>
                  <a:cubicBezTo>
                    <a:pt x="452" y="507"/>
                    <a:pt x="452" y="507"/>
                    <a:pt x="452" y="507"/>
                  </a:cubicBezTo>
                  <a:cubicBezTo>
                    <a:pt x="455" y="507"/>
                    <a:pt x="455" y="507"/>
                    <a:pt x="455" y="507"/>
                  </a:cubicBezTo>
                  <a:cubicBezTo>
                    <a:pt x="456" y="507"/>
                    <a:pt x="457" y="506"/>
                    <a:pt x="457" y="506"/>
                  </a:cubicBezTo>
                  <a:cubicBezTo>
                    <a:pt x="458" y="505"/>
                    <a:pt x="458" y="504"/>
                    <a:pt x="458" y="504"/>
                  </a:cubicBezTo>
                  <a:cubicBezTo>
                    <a:pt x="456" y="488"/>
                    <a:pt x="456" y="488"/>
                    <a:pt x="456" y="488"/>
                  </a:cubicBezTo>
                  <a:cubicBezTo>
                    <a:pt x="456" y="487"/>
                    <a:pt x="457" y="483"/>
                    <a:pt x="457" y="481"/>
                  </a:cubicBezTo>
                  <a:cubicBezTo>
                    <a:pt x="457" y="479"/>
                    <a:pt x="458" y="475"/>
                    <a:pt x="457" y="473"/>
                  </a:cubicBezTo>
                  <a:cubicBezTo>
                    <a:pt x="457" y="470"/>
                    <a:pt x="456" y="467"/>
                    <a:pt x="455" y="465"/>
                  </a:cubicBezTo>
                  <a:cubicBezTo>
                    <a:pt x="454" y="464"/>
                    <a:pt x="453" y="462"/>
                    <a:pt x="452" y="461"/>
                  </a:cubicBezTo>
                  <a:cubicBezTo>
                    <a:pt x="451" y="460"/>
                    <a:pt x="450" y="459"/>
                    <a:pt x="450" y="458"/>
                  </a:cubicBezTo>
                  <a:cubicBezTo>
                    <a:pt x="450" y="457"/>
                    <a:pt x="450" y="456"/>
                    <a:pt x="450" y="455"/>
                  </a:cubicBezTo>
                  <a:cubicBezTo>
                    <a:pt x="450" y="454"/>
                    <a:pt x="450" y="452"/>
                    <a:pt x="450" y="451"/>
                  </a:cubicBezTo>
                  <a:cubicBezTo>
                    <a:pt x="449" y="449"/>
                    <a:pt x="448" y="447"/>
                    <a:pt x="446" y="446"/>
                  </a:cubicBezTo>
                  <a:cubicBezTo>
                    <a:pt x="445" y="445"/>
                    <a:pt x="444" y="444"/>
                    <a:pt x="443" y="443"/>
                  </a:cubicBezTo>
                  <a:cubicBezTo>
                    <a:pt x="443" y="443"/>
                    <a:pt x="444" y="441"/>
                    <a:pt x="444" y="440"/>
                  </a:cubicBezTo>
                  <a:cubicBezTo>
                    <a:pt x="445" y="439"/>
                    <a:pt x="446" y="438"/>
                    <a:pt x="446" y="436"/>
                  </a:cubicBezTo>
                  <a:cubicBezTo>
                    <a:pt x="446" y="433"/>
                    <a:pt x="444" y="430"/>
                    <a:pt x="443" y="426"/>
                  </a:cubicBezTo>
                  <a:cubicBezTo>
                    <a:pt x="442" y="424"/>
                    <a:pt x="441" y="421"/>
                    <a:pt x="441" y="419"/>
                  </a:cubicBezTo>
                  <a:cubicBezTo>
                    <a:pt x="440" y="416"/>
                    <a:pt x="441" y="409"/>
                    <a:pt x="442" y="406"/>
                  </a:cubicBezTo>
                  <a:cubicBezTo>
                    <a:pt x="442" y="404"/>
                    <a:pt x="443" y="402"/>
                    <a:pt x="444" y="399"/>
                  </a:cubicBezTo>
                  <a:cubicBezTo>
                    <a:pt x="445" y="396"/>
                    <a:pt x="447" y="392"/>
                    <a:pt x="447" y="390"/>
                  </a:cubicBezTo>
                  <a:cubicBezTo>
                    <a:pt x="447" y="388"/>
                    <a:pt x="447" y="387"/>
                    <a:pt x="447" y="385"/>
                  </a:cubicBezTo>
                  <a:cubicBezTo>
                    <a:pt x="447" y="384"/>
                    <a:pt x="446" y="383"/>
                    <a:pt x="446" y="382"/>
                  </a:cubicBezTo>
                  <a:cubicBezTo>
                    <a:pt x="446" y="380"/>
                    <a:pt x="447" y="377"/>
                    <a:pt x="448" y="375"/>
                  </a:cubicBezTo>
                  <a:cubicBezTo>
                    <a:pt x="448" y="374"/>
                    <a:pt x="449" y="373"/>
                    <a:pt x="449" y="372"/>
                  </a:cubicBezTo>
                  <a:cubicBezTo>
                    <a:pt x="451" y="370"/>
                    <a:pt x="452" y="368"/>
                    <a:pt x="452" y="367"/>
                  </a:cubicBezTo>
                  <a:cubicBezTo>
                    <a:pt x="453" y="364"/>
                    <a:pt x="452" y="359"/>
                    <a:pt x="452" y="358"/>
                  </a:cubicBezTo>
                  <a:cubicBezTo>
                    <a:pt x="452" y="356"/>
                    <a:pt x="451" y="353"/>
                    <a:pt x="450" y="350"/>
                  </a:cubicBezTo>
                  <a:cubicBezTo>
                    <a:pt x="450" y="347"/>
                    <a:pt x="449" y="344"/>
                    <a:pt x="449" y="342"/>
                  </a:cubicBezTo>
                  <a:cubicBezTo>
                    <a:pt x="448" y="341"/>
                    <a:pt x="448" y="337"/>
                    <a:pt x="449" y="336"/>
                  </a:cubicBezTo>
                  <a:cubicBezTo>
                    <a:pt x="449" y="332"/>
                    <a:pt x="451" y="324"/>
                    <a:pt x="452" y="321"/>
                  </a:cubicBezTo>
                  <a:cubicBezTo>
                    <a:pt x="453" y="318"/>
                    <a:pt x="454" y="315"/>
                    <a:pt x="455" y="314"/>
                  </a:cubicBezTo>
                  <a:cubicBezTo>
                    <a:pt x="456" y="313"/>
                    <a:pt x="457" y="312"/>
                    <a:pt x="458" y="312"/>
                  </a:cubicBezTo>
                  <a:cubicBezTo>
                    <a:pt x="460" y="310"/>
                    <a:pt x="462" y="309"/>
                    <a:pt x="463" y="308"/>
                  </a:cubicBezTo>
                  <a:cubicBezTo>
                    <a:pt x="463" y="306"/>
                    <a:pt x="464" y="304"/>
                    <a:pt x="464" y="303"/>
                  </a:cubicBezTo>
                  <a:cubicBezTo>
                    <a:pt x="463" y="300"/>
                    <a:pt x="462" y="297"/>
                    <a:pt x="461" y="294"/>
                  </a:cubicBezTo>
                  <a:cubicBezTo>
                    <a:pt x="459" y="292"/>
                    <a:pt x="458" y="289"/>
                    <a:pt x="458" y="288"/>
                  </a:cubicBezTo>
                  <a:cubicBezTo>
                    <a:pt x="458" y="287"/>
                    <a:pt x="459" y="285"/>
                    <a:pt x="459" y="284"/>
                  </a:cubicBezTo>
                  <a:cubicBezTo>
                    <a:pt x="459" y="282"/>
                    <a:pt x="460" y="281"/>
                    <a:pt x="460" y="280"/>
                  </a:cubicBezTo>
                  <a:close/>
                  <a:moveTo>
                    <a:pt x="349" y="511"/>
                  </a:moveTo>
                  <a:cubicBezTo>
                    <a:pt x="214" y="519"/>
                    <a:pt x="214" y="519"/>
                    <a:pt x="214" y="519"/>
                  </a:cubicBezTo>
                  <a:cubicBezTo>
                    <a:pt x="214" y="518"/>
                    <a:pt x="214" y="518"/>
                    <a:pt x="214" y="518"/>
                  </a:cubicBezTo>
                  <a:cubicBezTo>
                    <a:pt x="349" y="510"/>
                    <a:pt x="349" y="510"/>
                    <a:pt x="349" y="510"/>
                  </a:cubicBezTo>
                  <a:cubicBezTo>
                    <a:pt x="452" y="501"/>
                    <a:pt x="452" y="501"/>
                    <a:pt x="452" y="501"/>
                  </a:cubicBezTo>
                  <a:cubicBezTo>
                    <a:pt x="452" y="501"/>
                    <a:pt x="452" y="501"/>
                    <a:pt x="452" y="501"/>
                  </a:cubicBezTo>
                  <a:cubicBezTo>
                    <a:pt x="453" y="502"/>
                    <a:pt x="453" y="502"/>
                    <a:pt x="453" y="502"/>
                  </a:cubicBezTo>
                  <a:lnTo>
                    <a:pt x="349" y="511"/>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2">
              <a:extLst>
                <a:ext uri="{FF2B5EF4-FFF2-40B4-BE49-F238E27FC236}">
                  <a16:creationId xmlns:a16="http://schemas.microsoft.com/office/drawing/2014/main" id="{601FCB3C-07A2-4F07-BED7-6F5225B9BDC5}"/>
                </a:ext>
              </a:extLst>
            </p:cNvPr>
            <p:cNvSpPr>
              <a:spLocks/>
            </p:cNvSpPr>
            <p:nvPr/>
          </p:nvSpPr>
          <p:spPr bwMode="auto">
            <a:xfrm>
              <a:off x="6520302" y="2991451"/>
              <a:ext cx="415409" cy="735809"/>
            </a:xfrm>
            <a:custGeom>
              <a:avLst/>
              <a:gdLst>
                <a:gd name="T0" fmla="*/ 14 w 373"/>
                <a:gd name="T1" fmla="*/ 260 h 662"/>
                <a:gd name="T2" fmla="*/ 33 w 373"/>
                <a:gd name="T3" fmla="*/ 236 h 662"/>
                <a:gd name="T4" fmla="*/ 36 w 373"/>
                <a:gd name="T5" fmla="*/ 216 h 662"/>
                <a:gd name="T6" fmla="*/ 32 w 373"/>
                <a:gd name="T7" fmla="*/ 171 h 662"/>
                <a:gd name="T8" fmla="*/ 65 w 373"/>
                <a:gd name="T9" fmla="*/ 142 h 662"/>
                <a:gd name="T10" fmla="*/ 95 w 373"/>
                <a:gd name="T11" fmla="*/ 124 h 662"/>
                <a:gd name="T12" fmla="*/ 109 w 373"/>
                <a:gd name="T13" fmla="*/ 71 h 662"/>
                <a:gd name="T14" fmla="*/ 91 w 373"/>
                <a:gd name="T15" fmla="*/ 52 h 662"/>
                <a:gd name="T16" fmla="*/ 67 w 373"/>
                <a:gd name="T17" fmla="*/ 25 h 662"/>
                <a:gd name="T18" fmla="*/ 199 w 373"/>
                <a:gd name="T19" fmla="*/ 9 h 662"/>
                <a:gd name="T20" fmla="*/ 306 w 373"/>
                <a:gd name="T21" fmla="*/ 7 h 662"/>
                <a:gd name="T22" fmla="*/ 315 w 373"/>
                <a:gd name="T23" fmla="*/ 44 h 662"/>
                <a:gd name="T24" fmla="*/ 329 w 373"/>
                <a:gd name="T25" fmla="*/ 70 h 662"/>
                <a:gd name="T26" fmla="*/ 339 w 373"/>
                <a:gd name="T27" fmla="*/ 92 h 662"/>
                <a:gd name="T28" fmla="*/ 361 w 373"/>
                <a:gd name="T29" fmla="*/ 381 h 662"/>
                <a:gd name="T30" fmla="*/ 363 w 373"/>
                <a:gd name="T31" fmla="*/ 406 h 662"/>
                <a:gd name="T32" fmla="*/ 373 w 373"/>
                <a:gd name="T33" fmla="*/ 436 h 662"/>
                <a:gd name="T34" fmla="*/ 362 w 373"/>
                <a:gd name="T35" fmla="*/ 460 h 662"/>
                <a:gd name="T36" fmla="*/ 346 w 373"/>
                <a:gd name="T37" fmla="*/ 491 h 662"/>
                <a:gd name="T38" fmla="*/ 340 w 373"/>
                <a:gd name="T39" fmla="*/ 514 h 662"/>
                <a:gd name="T40" fmla="*/ 332 w 373"/>
                <a:gd name="T41" fmla="*/ 545 h 662"/>
                <a:gd name="T42" fmla="*/ 333 w 373"/>
                <a:gd name="T43" fmla="*/ 563 h 662"/>
                <a:gd name="T44" fmla="*/ 335 w 373"/>
                <a:gd name="T45" fmla="*/ 586 h 662"/>
                <a:gd name="T46" fmla="*/ 308 w 373"/>
                <a:gd name="T47" fmla="*/ 602 h 662"/>
                <a:gd name="T48" fmla="*/ 300 w 373"/>
                <a:gd name="T49" fmla="*/ 620 h 662"/>
                <a:gd name="T50" fmla="*/ 302 w 373"/>
                <a:gd name="T51" fmla="*/ 643 h 662"/>
                <a:gd name="T52" fmla="*/ 274 w 373"/>
                <a:gd name="T53" fmla="*/ 633 h 662"/>
                <a:gd name="T54" fmla="*/ 251 w 373"/>
                <a:gd name="T55" fmla="*/ 631 h 662"/>
                <a:gd name="T56" fmla="*/ 245 w 373"/>
                <a:gd name="T57" fmla="*/ 658 h 662"/>
                <a:gd name="T58" fmla="*/ 215 w 373"/>
                <a:gd name="T59" fmla="*/ 640 h 662"/>
                <a:gd name="T60" fmla="*/ 212 w 373"/>
                <a:gd name="T61" fmla="*/ 609 h 662"/>
                <a:gd name="T62" fmla="*/ 194 w 373"/>
                <a:gd name="T63" fmla="*/ 576 h 662"/>
                <a:gd name="T64" fmla="*/ 170 w 373"/>
                <a:gd name="T65" fmla="*/ 555 h 662"/>
                <a:gd name="T66" fmla="*/ 156 w 373"/>
                <a:gd name="T67" fmla="*/ 549 h 662"/>
                <a:gd name="T68" fmla="*/ 119 w 373"/>
                <a:gd name="T69" fmla="*/ 511 h 662"/>
                <a:gd name="T70" fmla="*/ 127 w 373"/>
                <a:gd name="T71" fmla="*/ 483 h 662"/>
                <a:gd name="T72" fmla="*/ 137 w 373"/>
                <a:gd name="T73" fmla="*/ 449 h 662"/>
                <a:gd name="T74" fmla="*/ 116 w 373"/>
                <a:gd name="T75" fmla="*/ 436 h 662"/>
                <a:gd name="T76" fmla="*/ 100 w 373"/>
                <a:gd name="T77" fmla="*/ 441 h 662"/>
                <a:gd name="T78" fmla="*/ 78 w 373"/>
                <a:gd name="T79" fmla="*/ 403 h 662"/>
                <a:gd name="T80" fmla="*/ 48 w 373"/>
                <a:gd name="T81" fmla="*/ 379 h 662"/>
                <a:gd name="T82" fmla="*/ 30 w 373"/>
                <a:gd name="T83" fmla="*/ 358 h 662"/>
                <a:gd name="T84" fmla="*/ 5 w 373"/>
                <a:gd name="T85" fmla="*/ 28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3" h="662">
                  <a:moveTo>
                    <a:pt x="8" y="273"/>
                  </a:moveTo>
                  <a:cubicBezTo>
                    <a:pt x="8" y="271"/>
                    <a:pt x="13" y="269"/>
                    <a:pt x="13" y="268"/>
                  </a:cubicBezTo>
                  <a:cubicBezTo>
                    <a:pt x="14" y="266"/>
                    <a:pt x="15" y="262"/>
                    <a:pt x="14" y="260"/>
                  </a:cubicBezTo>
                  <a:cubicBezTo>
                    <a:pt x="13" y="258"/>
                    <a:pt x="9" y="255"/>
                    <a:pt x="9" y="252"/>
                  </a:cubicBezTo>
                  <a:cubicBezTo>
                    <a:pt x="9" y="250"/>
                    <a:pt x="13" y="247"/>
                    <a:pt x="15" y="245"/>
                  </a:cubicBezTo>
                  <a:cubicBezTo>
                    <a:pt x="19" y="242"/>
                    <a:pt x="30" y="240"/>
                    <a:pt x="33" y="236"/>
                  </a:cubicBezTo>
                  <a:cubicBezTo>
                    <a:pt x="34" y="234"/>
                    <a:pt x="35" y="230"/>
                    <a:pt x="35" y="229"/>
                  </a:cubicBezTo>
                  <a:cubicBezTo>
                    <a:pt x="35" y="227"/>
                    <a:pt x="35" y="223"/>
                    <a:pt x="35" y="221"/>
                  </a:cubicBezTo>
                  <a:cubicBezTo>
                    <a:pt x="35" y="219"/>
                    <a:pt x="36" y="217"/>
                    <a:pt x="36" y="216"/>
                  </a:cubicBezTo>
                  <a:cubicBezTo>
                    <a:pt x="38" y="212"/>
                    <a:pt x="46" y="205"/>
                    <a:pt x="47" y="201"/>
                  </a:cubicBezTo>
                  <a:cubicBezTo>
                    <a:pt x="49" y="197"/>
                    <a:pt x="47" y="189"/>
                    <a:pt x="46" y="185"/>
                  </a:cubicBezTo>
                  <a:cubicBezTo>
                    <a:pt x="44" y="181"/>
                    <a:pt x="34" y="176"/>
                    <a:pt x="32" y="171"/>
                  </a:cubicBezTo>
                  <a:cubicBezTo>
                    <a:pt x="31" y="167"/>
                    <a:pt x="33" y="160"/>
                    <a:pt x="34" y="156"/>
                  </a:cubicBezTo>
                  <a:cubicBezTo>
                    <a:pt x="35" y="154"/>
                    <a:pt x="35" y="149"/>
                    <a:pt x="37" y="148"/>
                  </a:cubicBezTo>
                  <a:cubicBezTo>
                    <a:pt x="43" y="143"/>
                    <a:pt x="59" y="145"/>
                    <a:pt x="65" y="142"/>
                  </a:cubicBezTo>
                  <a:cubicBezTo>
                    <a:pt x="67" y="141"/>
                    <a:pt x="70" y="137"/>
                    <a:pt x="72" y="136"/>
                  </a:cubicBezTo>
                  <a:cubicBezTo>
                    <a:pt x="76" y="134"/>
                    <a:pt x="84" y="133"/>
                    <a:pt x="88" y="131"/>
                  </a:cubicBezTo>
                  <a:cubicBezTo>
                    <a:pt x="90" y="129"/>
                    <a:pt x="94" y="126"/>
                    <a:pt x="95" y="124"/>
                  </a:cubicBezTo>
                  <a:cubicBezTo>
                    <a:pt x="97" y="121"/>
                    <a:pt x="95" y="112"/>
                    <a:pt x="96" y="108"/>
                  </a:cubicBezTo>
                  <a:cubicBezTo>
                    <a:pt x="98" y="104"/>
                    <a:pt x="105" y="98"/>
                    <a:pt x="106" y="94"/>
                  </a:cubicBezTo>
                  <a:cubicBezTo>
                    <a:pt x="109" y="89"/>
                    <a:pt x="110" y="77"/>
                    <a:pt x="109" y="71"/>
                  </a:cubicBezTo>
                  <a:cubicBezTo>
                    <a:pt x="109" y="69"/>
                    <a:pt x="108" y="65"/>
                    <a:pt x="106" y="63"/>
                  </a:cubicBezTo>
                  <a:cubicBezTo>
                    <a:pt x="105" y="61"/>
                    <a:pt x="101" y="58"/>
                    <a:pt x="99" y="56"/>
                  </a:cubicBezTo>
                  <a:cubicBezTo>
                    <a:pt x="97" y="55"/>
                    <a:pt x="93" y="53"/>
                    <a:pt x="91" y="52"/>
                  </a:cubicBezTo>
                  <a:cubicBezTo>
                    <a:pt x="89" y="51"/>
                    <a:pt x="85" y="48"/>
                    <a:pt x="84" y="46"/>
                  </a:cubicBezTo>
                  <a:cubicBezTo>
                    <a:pt x="83" y="44"/>
                    <a:pt x="84" y="39"/>
                    <a:pt x="83" y="37"/>
                  </a:cubicBezTo>
                  <a:cubicBezTo>
                    <a:pt x="80" y="33"/>
                    <a:pt x="67" y="25"/>
                    <a:pt x="67" y="25"/>
                  </a:cubicBezTo>
                  <a:cubicBezTo>
                    <a:pt x="62" y="19"/>
                    <a:pt x="62" y="19"/>
                    <a:pt x="62" y="19"/>
                  </a:cubicBezTo>
                  <a:cubicBezTo>
                    <a:pt x="62" y="17"/>
                    <a:pt x="62" y="17"/>
                    <a:pt x="62" y="17"/>
                  </a:cubicBezTo>
                  <a:cubicBezTo>
                    <a:pt x="199" y="9"/>
                    <a:pt x="199" y="9"/>
                    <a:pt x="199" y="9"/>
                  </a:cubicBezTo>
                  <a:cubicBezTo>
                    <a:pt x="302" y="0"/>
                    <a:pt x="302" y="0"/>
                    <a:pt x="302" y="0"/>
                  </a:cubicBezTo>
                  <a:cubicBezTo>
                    <a:pt x="305" y="0"/>
                    <a:pt x="305" y="0"/>
                    <a:pt x="305" y="0"/>
                  </a:cubicBezTo>
                  <a:cubicBezTo>
                    <a:pt x="306" y="7"/>
                    <a:pt x="306" y="7"/>
                    <a:pt x="306" y="7"/>
                  </a:cubicBezTo>
                  <a:cubicBezTo>
                    <a:pt x="305" y="22"/>
                    <a:pt x="305" y="22"/>
                    <a:pt x="305" y="22"/>
                  </a:cubicBezTo>
                  <a:cubicBezTo>
                    <a:pt x="305" y="22"/>
                    <a:pt x="306" y="28"/>
                    <a:pt x="307" y="30"/>
                  </a:cubicBezTo>
                  <a:cubicBezTo>
                    <a:pt x="308" y="33"/>
                    <a:pt x="312" y="41"/>
                    <a:pt x="315" y="44"/>
                  </a:cubicBezTo>
                  <a:cubicBezTo>
                    <a:pt x="316" y="46"/>
                    <a:pt x="321" y="48"/>
                    <a:pt x="322" y="51"/>
                  </a:cubicBezTo>
                  <a:cubicBezTo>
                    <a:pt x="323" y="53"/>
                    <a:pt x="323" y="59"/>
                    <a:pt x="324" y="62"/>
                  </a:cubicBezTo>
                  <a:cubicBezTo>
                    <a:pt x="325" y="64"/>
                    <a:pt x="328" y="68"/>
                    <a:pt x="329" y="70"/>
                  </a:cubicBezTo>
                  <a:cubicBezTo>
                    <a:pt x="329" y="72"/>
                    <a:pt x="330" y="75"/>
                    <a:pt x="331" y="77"/>
                  </a:cubicBezTo>
                  <a:cubicBezTo>
                    <a:pt x="332" y="80"/>
                    <a:pt x="339" y="89"/>
                    <a:pt x="339" y="89"/>
                  </a:cubicBezTo>
                  <a:cubicBezTo>
                    <a:pt x="339" y="92"/>
                    <a:pt x="339" y="92"/>
                    <a:pt x="339" y="92"/>
                  </a:cubicBezTo>
                  <a:cubicBezTo>
                    <a:pt x="365" y="366"/>
                    <a:pt x="365" y="366"/>
                    <a:pt x="365" y="366"/>
                  </a:cubicBezTo>
                  <a:cubicBezTo>
                    <a:pt x="365" y="366"/>
                    <a:pt x="358" y="371"/>
                    <a:pt x="357" y="374"/>
                  </a:cubicBezTo>
                  <a:cubicBezTo>
                    <a:pt x="357" y="376"/>
                    <a:pt x="361" y="379"/>
                    <a:pt x="361" y="381"/>
                  </a:cubicBezTo>
                  <a:cubicBezTo>
                    <a:pt x="361" y="383"/>
                    <a:pt x="357" y="387"/>
                    <a:pt x="357" y="389"/>
                  </a:cubicBezTo>
                  <a:cubicBezTo>
                    <a:pt x="356" y="391"/>
                    <a:pt x="357" y="397"/>
                    <a:pt x="357" y="397"/>
                  </a:cubicBezTo>
                  <a:cubicBezTo>
                    <a:pt x="363" y="406"/>
                    <a:pt x="363" y="406"/>
                    <a:pt x="363" y="406"/>
                  </a:cubicBezTo>
                  <a:cubicBezTo>
                    <a:pt x="363" y="406"/>
                    <a:pt x="369" y="411"/>
                    <a:pt x="370" y="413"/>
                  </a:cubicBezTo>
                  <a:cubicBezTo>
                    <a:pt x="370" y="415"/>
                    <a:pt x="368" y="419"/>
                    <a:pt x="368" y="421"/>
                  </a:cubicBezTo>
                  <a:cubicBezTo>
                    <a:pt x="368" y="425"/>
                    <a:pt x="373" y="432"/>
                    <a:pt x="373" y="436"/>
                  </a:cubicBezTo>
                  <a:cubicBezTo>
                    <a:pt x="373" y="438"/>
                    <a:pt x="373" y="443"/>
                    <a:pt x="372" y="444"/>
                  </a:cubicBezTo>
                  <a:cubicBezTo>
                    <a:pt x="371" y="445"/>
                    <a:pt x="370" y="445"/>
                    <a:pt x="370" y="446"/>
                  </a:cubicBezTo>
                  <a:cubicBezTo>
                    <a:pt x="367" y="449"/>
                    <a:pt x="363" y="456"/>
                    <a:pt x="362" y="460"/>
                  </a:cubicBezTo>
                  <a:cubicBezTo>
                    <a:pt x="361" y="462"/>
                    <a:pt x="362" y="466"/>
                    <a:pt x="361" y="468"/>
                  </a:cubicBezTo>
                  <a:cubicBezTo>
                    <a:pt x="360" y="472"/>
                    <a:pt x="354" y="480"/>
                    <a:pt x="352" y="484"/>
                  </a:cubicBezTo>
                  <a:cubicBezTo>
                    <a:pt x="350" y="486"/>
                    <a:pt x="346" y="491"/>
                    <a:pt x="346" y="491"/>
                  </a:cubicBezTo>
                  <a:cubicBezTo>
                    <a:pt x="346" y="491"/>
                    <a:pt x="340" y="496"/>
                    <a:pt x="339" y="498"/>
                  </a:cubicBezTo>
                  <a:cubicBezTo>
                    <a:pt x="338" y="499"/>
                    <a:pt x="338" y="504"/>
                    <a:pt x="338" y="506"/>
                  </a:cubicBezTo>
                  <a:cubicBezTo>
                    <a:pt x="339" y="508"/>
                    <a:pt x="341" y="509"/>
                    <a:pt x="340" y="514"/>
                  </a:cubicBezTo>
                  <a:cubicBezTo>
                    <a:pt x="340" y="517"/>
                    <a:pt x="338" y="520"/>
                    <a:pt x="337" y="523"/>
                  </a:cubicBezTo>
                  <a:cubicBezTo>
                    <a:pt x="337" y="523"/>
                    <a:pt x="335" y="534"/>
                    <a:pt x="334" y="537"/>
                  </a:cubicBezTo>
                  <a:cubicBezTo>
                    <a:pt x="334" y="539"/>
                    <a:pt x="332" y="543"/>
                    <a:pt x="332" y="545"/>
                  </a:cubicBezTo>
                  <a:cubicBezTo>
                    <a:pt x="332" y="547"/>
                    <a:pt x="335" y="550"/>
                    <a:pt x="336" y="552"/>
                  </a:cubicBezTo>
                  <a:cubicBezTo>
                    <a:pt x="336" y="553"/>
                    <a:pt x="336" y="555"/>
                    <a:pt x="336" y="555"/>
                  </a:cubicBezTo>
                  <a:cubicBezTo>
                    <a:pt x="333" y="563"/>
                    <a:pt x="333" y="563"/>
                    <a:pt x="333" y="563"/>
                  </a:cubicBezTo>
                  <a:cubicBezTo>
                    <a:pt x="333" y="563"/>
                    <a:pt x="328" y="568"/>
                    <a:pt x="328" y="570"/>
                  </a:cubicBezTo>
                  <a:cubicBezTo>
                    <a:pt x="327" y="572"/>
                    <a:pt x="328" y="576"/>
                    <a:pt x="329" y="578"/>
                  </a:cubicBezTo>
                  <a:cubicBezTo>
                    <a:pt x="330" y="580"/>
                    <a:pt x="335" y="583"/>
                    <a:pt x="335" y="586"/>
                  </a:cubicBezTo>
                  <a:cubicBezTo>
                    <a:pt x="335" y="588"/>
                    <a:pt x="332" y="592"/>
                    <a:pt x="330" y="593"/>
                  </a:cubicBezTo>
                  <a:cubicBezTo>
                    <a:pt x="327" y="595"/>
                    <a:pt x="319" y="595"/>
                    <a:pt x="316" y="596"/>
                  </a:cubicBezTo>
                  <a:cubicBezTo>
                    <a:pt x="313" y="597"/>
                    <a:pt x="310" y="600"/>
                    <a:pt x="308" y="602"/>
                  </a:cubicBezTo>
                  <a:cubicBezTo>
                    <a:pt x="306" y="602"/>
                    <a:pt x="302" y="603"/>
                    <a:pt x="300" y="604"/>
                  </a:cubicBezTo>
                  <a:cubicBezTo>
                    <a:pt x="299" y="606"/>
                    <a:pt x="298" y="610"/>
                    <a:pt x="298" y="612"/>
                  </a:cubicBezTo>
                  <a:cubicBezTo>
                    <a:pt x="298" y="614"/>
                    <a:pt x="299" y="618"/>
                    <a:pt x="300" y="620"/>
                  </a:cubicBezTo>
                  <a:cubicBezTo>
                    <a:pt x="301" y="622"/>
                    <a:pt x="304" y="625"/>
                    <a:pt x="305" y="627"/>
                  </a:cubicBezTo>
                  <a:cubicBezTo>
                    <a:pt x="306" y="628"/>
                    <a:pt x="308" y="632"/>
                    <a:pt x="308" y="634"/>
                  </a:cubicBezTo>
                  <a:cubicBezTo>
                    <a:pt x="307" y="637"/>
                    <a:pt x="304" y="642"/>
                    <a:pt x="302" y="643"/>
                  </a:cubicBezTo>
                  <a:cubicBezTo>
                    <a:pt x="300" y="644"/>
                    <a:pt x="296" y="643"/>
                    <a:pt x="295" y="642"/>
                  </a:cubicBezTo>
                  <a:cubicBezTo>
                    <a:pt x="293" y="641"/>
                    <a:pt x="290" y="638"/>
                    <a:pt x="288" y="638"/>
                  </a:cubicBezTo>
                  <a:cubicBezTo>
                    <a:pt x="285" y="636"/>
                    <a:pt x="277" y="635"/>
                    <a:pt x="274" y="633"/>
                  </a:cubicBezTo>
                  <a:cubicBezTo>
                    <a:pt x="272" y="632"/>
                    <a:pt x="268" y="630"/>
                    <a:pt x="266" y="630"/>
                  </a:cubicBezTo>
                  <a:cubicBezTo>
                    <a:pt x="265" y="629"/>
                    <a:pt x="261" y="628"/>
                    <a:pt x="259" y="628"/>
                  </a:cubicBezTo>
                  <a:cubicBezTo>
                    <a:pt x="257" y="628"/>
                    <a:pt x="253" y="630"/>
                    <a:pt x="251" y="631"/>
                  </a:cubicBezTo>
                  <a:cubicBezTo>
                    <a:pt x="248" y="634"/>
                    <a:pt x="242" y="641"/>
                    <a:pt x="241" y="645"/>
                  </a:cubicBezTo>
                  <a:cubicBezTo>
                    <a:pt x="240" y="647"/>
                    <a:pt x="240" y="652"/>
                    <a:pt x="241" y="653"/>
                  </a:cubicBezTo>
                  <a:cubicBezTo>
                    <a:pt x="241" y="655"/>
                    <a:pt x="246" y="657"/>
                    <a:pt x="245" y="658"/>
                  </a:cubicBezTo>
                  <a:cubicBezTo>
                    <a:pt x="243" y="660"/>
                    <a:pt x="235" y="658"/>
                    <a:pt x="232" y="658"/>
                  </a:cubicBezTo>
                  <a:cubicBezTo>
                    <a:pt x="230" y="658"/>
                    <a:pt x="227" y="662"/>
                    <a:pt x="225" y="662"/>
                  </a:cubicBezTo>
                  <a:cubicBezTo>
                    <a:pt x="220" y="661"/>
                    <a:pt x="218" y="644"/>
                    <a:pt x="215" y="640"/>
                  </a:cubicBezTo>
                  <a:cubicBezTo>
                    <a:pt x="213" y="637"/>
                    <a:pt x="206" y="630"/>
                    <a:pt x="206" y="625"/>
                  </a:cubicBezTo>
                  <a:cubicBezTo>
                    <a:pt x="206" y="623"/>
                    <a:pt x="210" y="620"/>
                    <a:pt x="211" y="617"/>
                  </a:cubicBezTo>
                  <a:cubicBezTo>
                    <a:pt x="212" y="615"/>
                    <a:pt x="213" y="611"/>
                    <a:pt x="212" y="609"/>
                  </a:cubicBezTo>
                  <a:cubicBezTo>
                    <a:pt x="212" y="605"/>
                    <a:pt x="205" y="599"/>
                    <a:pt x="204" y="595"/>
                  </a:cubicBezTo>
                  <a:cubicBezTo>
                    <a:pt x="203" y="591"/>
                    <a:pt x="205" y="582"/>
                    <a:pt x="202" y="578"/>
                  </a:cubicBezTo>
                  <a:cubicBezTo>
                    <a:pt x="201" y="577"/>
                    <a:pt x="196" y="577"/>
                    <a:pt x="194" y="576"/>
                  </a:cubicBezTo>
                  <a:cubicBezTo>
                    <a:pt x="192" y="575"/>
                    <a:pt x="189" y="572"/>
                    <a:pt x="187" y="570"/>
                  </a:cubicBezTo>
                  <a:cubicBezTo>
                    <a:pt x="186" y="569"/>
                    <a:pt x="184" y="564"/>
                    <a:pt x="183" y="563"/>
                  </a:cubicBezTo>
                  <a:cubicBezTo>
                    <a:pt x="180" y="560"/>
                    <a:pt x="174" y="555"/>
                    <a:pt x="170" y="555"/>
                  </a:cubicBezTo>
                  <a:cubicBezTo>
                    <a:pt x="168" y="554"/>
                    <a:pt x="164" y="559"/>
                    <a:pt x="162" y="558"/>
                  </a:cubicBezTo>
                  <a:cubicBezTo>
                    <a:pt x="160" y="557"/>
                    <a:pt x="162" y="550"/>
                    <a:pt x="160" y="549"/>
                  </a:cubicBezTo>
                  <a:cubicBezTo>
                    <a:pt x="160" y="548"/>
                    <a:pt x="157" y="549"/>
                    <a:pt x="156" y="549"/>
                  </a:cubicBezTo>
                  <a:cubicBezTo>
                    <a:pt x="150" y="547"/>
                    <a:pt x="139" y="538"/>
                    <a:pt x="134" y="534"/>
                  </a:cubicBezTo>
                  <a:cubicBezTo>
                    <a:pt x="130" y="530"/>
                    <a:pt x="122" y="523"/>
                    <a:pt x="120" y="519"/>
                  </a:cubicBezTo>
                  <a:cubicBezTo>
                    <a:pt x="119" y="517"/>
                    <a:pt x="119" y="513"/>
                    <a:pt x="119" y="511"/>
                  </a:cubicBezTo>
                  <a:cubicBezTo>
                    <a:pt x="119" y="509"/>
                    <a:pt x="119" y="505"/>
                    <a:pt x="119" y="503"/>
                  </a:cubicBezTo>
                  <a:cubicBezTo>
                    <a:pt x="120" y="501"/>
                    <a:pt x="124" y="496"/>
                    <a:pt x="124" y="496"/>
                  </a:cubicBezTo>
                  <a:cubicBezTo>
                    <a:pt x="124" y="496"/>
                    <a:pt x="126" y="486"/>
                    <a:pt x="127" y="483"/>
                  </a:cubicBezTo>
                  <a:cubicBezTo>
                    <a:pt x="128" y="480"/>
                    <a:pt x="132" y="475"/>
                    <a:pt x="133" y="472"/>
                  </a:cubicBezTo>
                  <a:cubicBezTo>
                    <a:pt x="134" y="468"/>
                    <a:pt x="132" y="462"/>
                    <a:pt x="132" y="459"/>
                  </a:cubicBezTo>
                  <a:cubicBezTo>
                    <a:pt x="133" y="456"/>
                    <a:pt x="137" y="452"/>
                    <a:pt x="137" y="449"/>
                  </a:cubicBezTo>
                  <a:cubicBezTo>
                    <a:pt x="138" y="449"/>
                    <a:pt x="138" y="447"/>
                    <a:pt x="137" y="446"/>
                  </a:cubicBezTo>
                  <a:cubicBezTo>
                    <a:pt x="135" y="443"/>
                    <a:pt x="127" y="438"/>
                    <a:pt x="123" y="437"/>
                  </a:cubicBezTo>
                  <a:cubicBezTo>
                    <a:pt x="121" y="436"/>
                    <a:pt x="118" y="437"/>
                    <a:pt x="116" y="436"/>
                  </a:cubicBezTo>
                  <a:cubicBezTo>
                    <a:pt x="114" y="436"/>
                    <a:pt x="110" y="434"/>
                    <a:pt x="108" y="433"/>
                  </a:cubicBezTo>
                  <a:cubicBezTo>
                    <a:pt x="107" y="433"/>
                    <a:pt x="105" y="434"/>
                    <a:pt x="104" y="434"/>
                  </a:cubicBezTo>
                  <a:cubicBezTo>
                    <a:pt x="102" y="435"/>
                    <a:pt x="102" y="440"/>
                    <a:pt x="100" y="441"/>
                  </a:cubicBezTo>
                  <a:cubicBezTo>
                    <a:pt x="98" y="443"/>
                    <a:pt x="94" y="444"/>
                    <a:pt x="92" y="444"/>
                  </a:cubicBezTo>
                  <a:cubicBezTo>
                    <a:pt x="90" y="443"/>
                    <a:pt x="87" y="438"/>
                    <a:pt x="86" y="436"/>
                  </a:cubicBezTo>
                  <a:cubicBezTo>
                    <a:pt x="83" y="429"/>
                    <a:pt x="81" y="411"/>
                    <a:pt x="78" y="403"/>
                  </a:cubicBezTo>
                  <a:cubicBezTo>
                    <a:pt x="77" y="401"/>
                    <a:pt x="75" y="398"/>
                    <a:pt x="74" y="396"/>
                  </a:cubicBezTo>
                  <a:cubicBezTo>
                    <a:pt x="72" y="394"/>
                    <a:pt x="69" y="392"/>
                    <a:pt x="67" y="390"/>
                  </a:cubicBezTo>
                  <a:cubicBezTo>
                    <a:pt x="62" y="387"/>
                    <a:pt x="51" y="383"/>
                    <a:pt x="48" y="379"/>
                  </a:cubicBezTo>
                  <a:cubicBezTo>
                    <a:pt x="47" y="377"/>
                    <a:pt x="46" y="373"/>
                    <a:pt x="45" y="371"/>
                  </a:cubicBezTo>
                  <a:cubicBezTo>
                    <a:pt x="44" y="370"/>
                    <a:pt x="39" y="368"/>
                    <a:pt x="37" y="366"/>
                  </a:cubicBezTo>
                  <a:cubicBezTo>
                    <a:pt x="35" y="365"/>
                    <a:pt x="32" y="360"/>
                    <a:pt x="30" y="358"/>
                  </a:cubicBezTo>
                  <a:cubicBezTo>
                    <a:pt x="28" y="356"/>
                    <a:pt x="22" y="354"/>
                    <a:pt x="20" y="351"/>
                  </a:cubicBezTo>
                  <a:cubicBezTo>
                    <a:pt x="8" y="335"/>
                    <a:pt x="0" y="309"/>
                    <a:pt x="3" y="288"/>
                  </a:cubicBezTo>
                  <a:cubicBezTo>
                    <a:pt x="5" y="280"/>
                    <a:pt x="5" y="280"/>
                    <a:pt x="5" y="280"/>
                  </a:cubicBezTo>
                  <a:cubicBezTo>
                    <a:pt x="5" y="280"/>
                    <a:pt x="8" y="275"/>
                    <a:pt x="8" y="273"/>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23">
              <a:extLst>
                <a:ext uri="{FF2B5EF4-FFF2-40B4-BE49-F238E27FC236}">
                  <a16:creationId xmlns:a16="http://schemas.microsoft.com/office/drawing/2014/main" id="{DC104A15-F947-48DD-9E1C-C2210A43D90B}"/>
                </a:ext>
              </a:extLst>
            </p:cNvPr>
            <p:cNvSpPr>
              <a:spLocks/>
            </p:cNvSpPr>
            <p:nvPr/>
          </p:nvSpPr>
          <p:spPr bwMode="auto">
            <a:xfrm>
              <a:off x="6014939" y="2881282"/>
              <a:ext cx="630693" cy="416419"/>
            </a:xfrm>
            <a:custGeom>
              <a:avLst/>
              <a:gdLst>
                <a:gd name="T0" fmla="*/ 556 w 567"/>
                <a:gd name="T1" fmla="*/ 153 h 374"/>
                <a:gd name="T2" fmla="*/ 541 w 567"/>
                <a:gd name="T3" fmla="*/ 141 h 374"/>
                <a:gd name="T4" fmla="*/ 519 w 567"/>
                <a:gd name="T5" fmla="*/ 118 h 374"/>
                <a:gd name="T6" fmla="*/ 490 w 567"/>
                <a:gd name="T7" fmla="*/ 94 h 374"/>
                <a:gd name="T8" fmla="*/ 480 w 567"/>
                <a:gd name="T9" fmla="*/ 81 h 374"/>
                <a:gd name="T10" fmla="*/ 474 w 567"/>
                <a:gd name="T11" fmla="*/ 69 h 374"/>
                <a:gd name="T12" fmla="*/ 471 w 567"/>
                <a:gd name="T13" fmla="*/ 52 h 374"/>
                <a:gd name="T14" fmla="*/ 477 w 567"/>
                <a:gd name="T15" fmla="*/ 30 h 374"/>
                <a:gd name="T16" fmla="*/ 467 w 567"/>
                <a:gd name="T17" fmla="*/ 19 h 374"/>
                <a:gd name="T18" fmla="*/ 463 w 567"/>
                <a:gd name="T19" fmla="*/ 10 h 374"/>
                <a:gd name="T20" fmla="*/ 463 w 567"/>
                <a:gd name="T21" fmla="*/ 3 h 374"/>
                <a:gd name="T22" fmla="*/ 372 w 567"/>
                <a:gd name="T23" fmla="*/ 6 h 374"/>
                <a:gd name="T24" fmla="*/ 18 w 567"/>
                <a:gd name="T25" fmla="*/ 16 h 374"/>
                <a:gd name="T26" fmla="*/ 3 w 567"/>
                <a:gd name="T27" fmla="*/ 19 h 374"/>
                <a:gd name="T28" fmla="*/ 9 w 567"/>
                <a:gd name="T29" fmla="*/ 35 h 374"/>
                <a:gd name="T30" fmla="*/ 5 w 567"/>
                <a:gd name="T31" fmla="*/ 42 h 374"/>
                <a:gd name="T32" fmla="*/ 15 w 567"/>
                <a:gd name="T33" fmla="*/ 60 h 374"/>
                <a:gd name="T34" fmla="*/ 11 w 567"/>
                <a:gd name="T35" fmla="*/ 72 h 374"/>
                <a:gd name="T36" fmla="*/ 7 w 567"/>
                <a:gd name="T37" fmla="*/ 94 h 374"/>
                <a:gd name="T38" fmla="*/ 3 w 567"/>
                <a:gd name="T39" fmla="*/ 113 h 374"/>
                <a:gd name="T40" fmla="*/ 13 w 567"/>
                <a:gd name="T41" fmla="*/ 131 h 374"/>
                <a:gd name="T42" fmla="*/ 21 w 567"/>
                <a:gd name="T43" fmla="*/ 137 h 374"/>
                <a:gd name="T44" fmla="*/ 25 w 567"/>
                <a:gd name="T45" fmla="*/ 159 h 374"/>
                <a:gd name="T46" fmla="*/ 29 w 567"/>
                <a:gd name="T47" fmla="*/ 178 h 374"/>
                <a:gd name="T48" fmla="*/ 32 w 567"/>
                <a:gd name="T49" fmla="*/ 188 h 374"/>
                <a:gd name="T50" fmla="*/ 42 w 567"/>
                <a:gd name="T51" fmla="*/ 203 h 374"/>
                <a:gd name="T52" fmla="*/ 47 w 567"/>
                <a:gd name="T53" fmla="*/ 216 h 374"/>
                <a:gd name="T54" fmla="*/ 48 w 567"/>
                <a:gd name="T55" fmla="*/ 238 h 374"/>
                <a:gd name="T56" fmla="*/ 53 w 567"/>
                <a:gd name="T57" fmla="*/ 250 h 374"/>
                <a:gd name="T58" fmla="*/ 56 w 567"/>
                <a:gd name="T59" fmla="*/ 250 h 374"/>
                <a:gd name="T60" fmla="*/ 63 w 567"/>
                <a:gd name="T61" fmla="*/ 259 h 374"/>
                <a:gd name="T62" fmla="*/ 64 w 567"/>
                <a:gd name="T63" fmla="*/ 272 h 374"/>
                <a:gd name="T64" fmla="*/ 63 w 567"/>
                <a:gd name="T65" fmla="*/ 284 h 374"/>
                <a:gd name="T66" fmla="*/ 68 w 567"/>
                <a:gd name="T67" fmla="*/ 298 h 374"/>
                <a:gd name="T68" fmla="*/ 69 w 567"/>
                <a:gd name="T69" fmla="*/ 347 h 374"/>
                <a:gd name="T70" fmla="*/ 79 w 567"/>
                <a:gd name="T71" fmla="*/ 359 h 374"/>
                <a:gd name="T72" fmla="*/ 241 w 567"/>
                <a:gd name="T73" fmla="*/ 360 h 374"/>
                <a:gd name="T74" fmla="*/ 437 w 567"/>
                <a:gd name="T75" fmla="*/ 353 h 374"/>
                <a:gd name="T76" fmla="*/ 458 w 567"/>
                <a:gd name="T77" fmla="*/ 372 h 374"/>
                <a:gd name="T78" fmla="*/ 471 w 567"/>
                <a:gd name="T79" fmla="*/ 368 h 374"/>
                <a:gd name="T80" fmla="*/ 467 w 567"/>
                <a:gd name="T81" fmla="*/ 352 h 374"/>
                <a:gd name="T82" fmla="*/ 490 w 567"/>
                <a:gd name="T83" fmla="*/ 336 h 374"/>
                <a:gd name="T84" fmla="*/ 494 w 567"/>
                <a:gd name="T85" fmla="*/ 316 h 374"/>
                <a:gd name="T86" fmla="*/ 497 w 567"/>
                <a:gd name="T87" fmla="*/ 276 h 374"/>
                <a:gd name="T88" fmla="*/ 494 w 567"/>
                <a:gd name="T89" fmla="*/ 249 h 374"/>
                <a:gd name="T90" fmla="*/ 526 w 567"/>
                <a:gd name="T91" fmla="*/ 240 h 374"/>
                <a:gd name="T92" fmla="*/ 544 w 567"/>
                <a:gd name="T93" fmla="*/ 232 h 374"/>
                <a:gd name="T94" fmla="*/ 554 w 567"/>
                <a:gd name="T95" fmla="*/ 208 h 374"/>
                <a:gd name="T96" fmla="*/ 567 w 567"/>
                <a:gd name="T97" fmla="*/ 17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7" h="374">
                  <a:moveTo>
                    <a:pt x="567" y="170"/>
                  </a:moveTo>
                  <a:cubicBezTo>
                    <a:pt x="566" y="168"/>
                    <a:pt x="565" y="163"/>
                    <a:pt x="563" y="161"/>
                  </a:cubicBezTo>
                  <a:cubicBezTo>
                    <a:pt x="562" y="159"/>
                    <a:pt x="558" y="155"/>
                    <a:pt x="556" y="153"/>
                  </a:cubicBezTo>
                  <a:cubicBezTo>
                    <a:pt x="554" y="152"/>
                    <a:pt x="548" y="149"/>
                    <a:pt x="548" y="149"/>
                  </a:cubicBezTo>
                  <a:cubicBezTo>
                    <a:pt x="545" y="147"/>
                    <a:pt x="542" y="145"/>
                    <a:pt x="541" y="144"/>
                  </a:cubicBezTo>
                  <a:cubicBezTo>
                    <a:pt x="541" y="144"/>
                    <a:pt x="541" y="142"/>
                    <a:pt x="541" y="141"/>
                  </a:cubicBezTo>
                  <a:cubicBezTo>
                    <a:pt x="541" y="138"/>
                    <a:pt x="541" y="136"/>
                    <a:pt x="540" y="135"/>
                  </a:cubicBezTo>
                  <a:cubicBezTo>
                    <a:pt x="537" y="130"/>
                    <a:pt x="526" y="123"/>
                    <a:pt x="524" y="121"/>
                  </a:cubicBezTo>
                  <a:cubicBezTo>
                    <a:pt x="522" y="120"/>
                    <a:pt x="520" y="119"/>
                    <a:pt x="519" y="118"/>
                  </a:cubicBezTo>
                  <a:cubicBezTo>
                    <a:pt x="520" y="118"/>
                    <a:pt x="520" y="117"/>
                    <a:pt x="520" y="117"/>
                  </a:cubicBezTo>
                  <a:cubicBezTo>
                    <a:pt x="521" y="112"/>
                    <a:pt x="517" y="102"/>
                    <a:pt x="513" y="99"/>
                  </a:cubicBezTo>
                  <a:cubicBezTo>
                    <a:pt x="508" y="96"/>
                    <a:pt x="493" y="95"/>
                    <a:pt x="490" y="94"/>
                  </a:cubicBezTo>
                  <a:cubicBezTo>
                    <a:pt x="487" y="93"/>
                    <a:pt x="484" y="92"/>
                    <a:pt x="483" y="91"/>
                  </a:cubicBezTo>
                  <a:cubicBezTo>
                    <a:pt x="482" y="91"/>
                    <a:pt x="481" y="88"/>
                    <a:pt x="480" y="85"/>
                  </a:cubicBezTo>
                  <a:cubicBezTo>
                    <a:pt x="480" y="84"/>
                    <a:pt x="480" y="83"/>
                    <a:pt x="480" y="81"/>
                  </a:cubicBezTo>
                  <a:cubicBezTo>
                    <a:pt x="479" y="79"/>
                    <a:pt x="479" y="77"/>
                    <a:pt x="479" y="76"/>
                  </a:cubicBezTo>
                  <a:cubicBezTo>
                    <a:pt x="478" y="74"/>
                    <a:pt x="477" y="73"/>
                    <a:pt x="476" y="72"/>
                  </a:cubicBezTo>
                  <a:cubicBezTo>
                    <a:pt x="475" y="71"/>
                    <a:pt x="474" y="69"/>
                    <a:pt x="474" y="69"/>
                  </a:cubicBezTo>
                  <a:cubicBezTo>
                    <a:pt x="473" y="67"/>
                    <a:pt x="473" y="64"/>
                    <a:pt x="473" y="61"/>
                  </a:cubicBezTo>
                  <a:cubicBezTo>
                    <a:pt x="473" y="59"/>
                    <a:pt x="472" y="57"/>
                    <a:pt x="472" y="56"/>
                  </a:cubicBezTo>
                  <a:cubicBezTo>
                    <a:pt x="472" y="55"/>
                    <a:pt x="471" y="53"/>
                    <a:pt x="471" y="52"/>
                  </a:cubicBezTo>
                  <a:cubicBezTo>
                    <a:pt x="470" y="50"/>
                    <a:pt x="469" y="47"/>
                    <a:pt x="469" y="45"/>
                  </a:cubicBezTo>
                  <a:cubicBezTo>
                    <a:pt x="470" y="44"/>
                    <a:pt x="471" y="42"/>
                    <a:pt x="472" y="39"/>
                  </a:cubicBezTo>
                  <a:cubicBezTo>
                    <a:pt x="475" y="36"/>
                    <a:pt x="477" y="33"/>
                    <a:pt x="477" y="30"/>
                  </a:cubicBezTo>
                  <a:cubicBezTo>
                    <a:pt x="477" y="27"/>
                    <a:pt x="474" y="22"/>
                    <a:pt x="472" y="21"/>
                  </a:cubicBezTo>
                  <a:cubicBezTo>
                    <a:pt x="471" y="20"/>
                    <a:pt x="470" y="19"/>
                    <a:pt x="468" y="19"/>
                  </a:cubicBezTo>
                  <a:cubicBezTo>
                    <a:pt x="468" y="19"/>
                    <a:pt x="467" y="19"/>
                    <a:pt x="467" y="19"/>
                  </a:cubicBezTo>
                  <a:cubicBezTo>
                    <a:pt x="466" y="18"/>
                    <a:pt x="466" y="16"/>
                    <a:pt x="465" y="15"/>
                  </a:cubicBezTo>
                  <a:cubicBezTo>
                    <a:pt x="465" y="14"/>
                    <a:pt x="465" y="12"/>
                    <a:pt x="464" y="11"/>
                  </a:cubicBezTo>
                  <a:cubicBezTo>
                    <a:pt x="464" y="11"/>
                    <a:pt x="463" y="10"/>
                    <a:pt x="463" y="10"/>
                  </a:cubicBezTo>
                  <a:cubicBezTo>
                    <a:pt x="463" y="9"/>
                    <a:pt x="462" y="9"/>
                    <a:pt x="462" y="9"/>
                  </a:cubicBezTo>
                  <a:cubicBezTo>
                    <a:pt x="462" y="9"/>
                    <a:pt x="462" y="8"/>
                    <a:pt x="463" y="8"/>
                  </a:cubicBezTo>
                  <a:cubicBezTo>
                    <a:pt x="463" y="6"/>
                    <a:pt x="464" y="4"/>
                    <a:pt x="463" y="3"/>
                  </a:cubicBezTo>
                  <a:cubicBezTo>
                    <a:pt x="463" y="2"/>
                    <a:pt x="462" y="1"/>
                    <a:pt x="461" y="1"/>
                  </a:cubicBezTo>
                  <a:cubicBezTo>
                    <a:pt x="458" y="1"/>
                    <a:pt x="453" y="0"/>
                    <a:pt x="447" y="0"/>
                  </a:cubicBezTo>
                  <a:cubicBezTo>
                    <a:pt x="420" y="0"/>
                    <a:pt x="373" y="6"/>
                    <a:pt x="372" y="6"/>
                  </a:cubicBezTo>
                  <a:cubicBezTo>
                    <a:pt x="251" y="11"/>
                    <a:pt x="251" y="11"/>
                    <a:pt x="251" y="11"/>
                  </a:cubicBezTo>
                  <a:cubicBezTo>
                    <a:pt x="106" y="15"/>
                    <a:pt x="106" y="15"/>
                    <a:pt x="106" y="15"/>
                  </a:cubicBezTo>
                  <a:cubicBezTo>
                    <a:pt x="18" y="16"/>
                    <a:pt x="18" y="16"/>
                    <a:pt x="18" y="16"/>
                  </a:cubicBezTo>
                  <a:cubicBezTo>
                    <a:pt x="5" y="16"/>
                    <a:pt x="5" y="16"/>
                    <a:pt x="5" y="16"/>
                  </a:cubicBezTo>
                  <a:cubicBezTo>
                    <a:pt x="5" y="16"/>
                    <a:pt x="4" y="16"/>
                    <a:pt x="3" y="17"/>
                  </a:cubicBezTo>
                  <a:cubicBezTo>
                    <a:pt x="3" y="17"/>
                    <a:pt x="3" y="18"/>
                    <a:pt x="3" y="19"/>
                  </a:cubicBezTo>
                  <a:cubicBezTo>
                    <a:pt x="5" y="28"/>
                    <a:pt x="5" y="28"/>
                    <a:pt x="5" y="28"/>
                  </a:cubicBezTo>
                  <a:cubicBezTo>
                    <a:pt x="5" y="28"/>
                    <a:pt x="5" y="28"/>
                    <a:pt x="5" y="28"/>
                  </a:cubicBezTo>
                  <a:cubicBezTo>
                    <a:pt x="7" y="31"/>
                    <a:pt x="9" y="34"/>
                    <a:pt x="9" y="35"/>
                  </a:cubicBezTo>
                  <a:cubicBezTo>
                    <a:pt x="10" y="36"/>
                    <a:pt x="10" y="40"/>
                    <a:pt x="10" y="40"/>
                  </a:cubicBezTo>
                  <a:cubicBezTo>
                    <a:pt x="9" y="40"/>
                    <a:pt x="9" y="40"/>
                    <a:pt x="9" y="40"/>
                  </a:cubicBezTo>
                  <a:cubicBezTo>
                    <a:pt x="8" y="40"/>
                    <a:pt x="6" y="41"/>
                    <a:pt x="5" y="42"/>
                  </a:cubicBezTo>
                  <a:cubicBezTo>
                    <a:pt x="3" y="46"/>
                    <a:pt x="7" y="52"/>
                    <a:pt x="8" y="53"/>
                  </a:cubicBezTo>
                  <a:cubicBezTo>
                    <a:pt x="8" y="54"/>
                    <a:pt x="10" y="55"/>
                    <a:pt x="12" y="57"/>
                  </a:cubicBezTo>
                  <a:cubicBezTo>
                    <a:pt x="13" y="58"/>
                    <a:pt x="15" y="59"/>
                    <a:pt x="15" y="60"/>
                  </a:cubicBezTo>
                  <a:cubicBezTo>
                    <a:pt x="16" y="60"/>
                    <a:pt x="16" y="63"/>
                    <a:pt x="15" y="65"/>
                  </a:cubicBezTo>
                  <a:cubicBezTo>
                    <a:pt x="15" y="66"/>
                    <a:pt x="14" y="67"/>
                    <a:pt x="13" y="68"/>
                  </a:cubicBezTo>
                  <a:cubicBezTo>
                    <a:pt x="12" y="69"/>
                    <a:pt x="11" y="71"/>
                    <a:pt x="11" y="72"/>
                  </a:cubicBezTo>
                  <a:cubicBezTo>
                    <a:pt x="10" y="74"/>
                    <a:pt x="11" y="79"/>
                    <a:pt x="11" y="81"/>
                  </a:cubicBezTo>
                  <a:cubicBezTo>
                    <a:pt x="10" y="85"/>
                    <a:pt x="8" y="92"/>
                    <a:pt x="7" y="94"/>
                  </a:cubicBezTo>
                  <a:cubicBezTo>
                    <a:pt x="7" y="94"/>
                    <a:pt x="7" y="94"/>
                    <a:pt x="7" y="94"/>
                  </a:cubicBezTo>
                  <a:cubicBezTo>
                    <a:pt x="6" y="94"/>
                    <a:pt x="5" y="95"/>
                    <a:pt x="5" y="95"/>
                  </a:cubicBezTo>
                  <a:cubicBezTo>
                    <a:pt x="4" y="97"/>
                    <a:pt x="1" y="101"/>
                    <a:pt x="1" y="104"/>
                  </a:cubicBezTo>
                  <a:cubicBezTo>
                    <a:pt x="0" y="107"/>
                    <a:pt x="2" y="111"/>
                    <a:pt x="3" y="113"/>
                  </a:cubicBezTo>
                  <a:cubicBezTo>
                    <a:pt x="4" y="115"/>
                    <a:pt x="6" y="116"/>
                    <a:pt x="7" y="117"/>
                  </a:cubicBezTo>
                  <a:cubicBezTo>
                    <a:pt x="9" y="118"/>
                    <a:pt x="10" y="119"/>
                    <a:pt x="10" y="120"/>
                  </a:cubicBezTo>
                  <a:cubicBezTo>
                    <a:pt x="11" y="121"/>
                    <a:pt x="12" y="127"/>
                    <a:pt x="13" y="131"/>
                  </a:cubicBezTo>
                  <a:cubicBezTo>
                    <a:pt x="13" y="133"/>
                    <a:pt x="14" y="135"/>
                    <a:pt x="17" y="137"/>
                  </a:cubicBezTo>
                  <a:cubicBezTo>
                    <a:pt x="17" y="137"/>
                    <a:pt x="18" y="137"/>
                    <a:pt x="18" y="137"/>
                  </a:cubicBezTo>
                  <a:cubicBezTo>
                    <a:pt x="20" y="137"/>
                    <a:pt x="21" y="138"/>
                    <a:pt x="21" y="137"/>
                  </a:cubicBezTo>
                  <a:cubicBezTo>
                    <a:pt x="22" y="138"/>
                    <a:pt x="22" y="141"/>
                    <a:pt x="22" y="144"/>
                  </a:cubicBezTo>
                  <a:cubicBezTo>
                    <a:pt x="21" y="146"/>
                    <a:pt x="20" y="148"/>
                    <a:pt x="20" y="150"/>
                  </a:cubicBezTo>
                  <a:cubicBezTo>
                    <a:pt x="20" y="152"/>
                    <a:pt x="23" y="156"/>
                    <a:pt x="25" y="159"/>
                  </a:cubicBezTo>
                  <a:cubicBezTo>
                    <a:pt x="27" y="165"/>
                    <a:pt x="27" y="165"/>
                    <a:pt x="27" y="165"/>
                  </a:cubicBezTo>
                  <a:cubicBezTo>
                    <a:pt x="26" y="167"/>
                    <a:pt x="25" y="171"/>
                    <a:pt x="26" y="173"/>
                  </a:cubicBezTo>
                  <a:cubicBezTo>
                    <a:pt x="26" y="174"/>
                    <a:pt x="28" y="176"/>
                    <a:pt x="29" y="178"/>
                  </a:cubicBezTo>
                  <a:cubicBezTo>
                    <a:pt x="30" y="179"/>
                    <a:pt x="31" y="180"/>
                    <a:pt x="32" y="181"/>
                  </a:cubicBezTo>
                  <a:cubicBezTo>
                    <a:pt x="32" y="181"/>
                    <a:pt x="32" y="183"/>
                    <a:pt x="32" y="183"/>
                  </a:cubicBezTo>
                  <a:cubicBezTo>
                    <a:pt x="32" y="185"/>
                    <a:pt x="32" y="187"/>
                    <a:pt x="32" y="188"/>
                  </a:cubicBezTo>
                  <a:cubicBezTo>
                    <a:pt x="33" y="190"/>
                    <a:pt x="35" y="193"/>
                    <a:pt x="38" y="195"/>
                  </a:cubicBezTo>
                  <a:cubicBezTo>
                    <a:pt x="40" y="197"/>
                    <a:pt x="42" y="199"/>
                    <a:pt x="42" y="201"/>
                  </a:cubicBezTo>
                  <a:cubicBezTo>
                    <a:pt x="42" y="201"/>
                    <a:pt x="42" y="203"/>
                    <a:pt x="42" y="203"/>
                  </a:cubicBezTo>
                  <a:cubicBezTo>
                    <a:pt x="42" y="205"/>
                    <a:pt x="42" y="207"/>
                    <a:pt x="42" y="208"/>
                  </a:cubicBezTo>
                  <a:cubicBezTo>
                    <a:pt x="43" y="210"/>
                    <a:pt x="44" y="211"/>
                    <a:pt x="45" y="213"/>
                  </a:cubicBezTo>
                  <a:cubicBezTo>
                    <a:pt x="46" y="214"/>
                    <a:pt x="47" y="215"/>
                    <a:pt x="47" y="216"/>
                  </a:cubicBezTo>
                  <a:cubicBezTo>
                    <a:pt x="48" y="218"/>
                    <a:pt x="49" y="221"/>
                    <a:pt x="49" y="222"/>
                  </a:cubicBezTo>
                  <a:cubicBezTo>
                    <a:pt x="49" y="224"/>
                    <a:pt x="48" y="229"/>
                    <a:pt x="48" y="230"/>
                  </a:cubicBezTo>
                  <a:cubicBezTo>
                    <a:pt x="48" y="238"/>
                    <a:pt x="48" y="238"/>
                    <a:pt x="48" y="238"/>
                  </a:cubicBezTo>
                  <a:cubicBezTo>
                    <a:pt x="50" y="244"/>
                    <a:pt x="50" y="244"/>
                    <a:pt x="50" y="244"/>
                  </a:cubicBezTo>
                  <a:cubicBezTo>
                    <a:pt x="48" y="247"/>
                    <a:pt x="49" y="248"/>
                    <a:pt x="49" y="249"/>
                  </a:cubicBezTo>
                  <a:cubicBezTo>
                    <a:pt x="50" y="250"/>
                    <a:pt x="51" y="250"/>
                    <a:pt x="53" y="250"/>
                  </a:cubicBezTo>
                  <a:cubicBezTo>
                    <a:pt x="54" y="250"/>
                    <a:pt x="55" y="250"/>
                    <a:pt x="56" y="250"/>
                  </a:cubicBezTo>
                  <a:cubicBezTo>
                    <a:pt x="56" y="250"/>
                    <a:pt x="56" y="250"/>
                    <a:pt x="56" y="250"/>
                  </a:cubicBezTo>
                  <a:cubicBezTo>
                    <a:pt x="56" y="250"/>
                    <a:pt x="56" y="250"/>
                    <a:pt x="56" y="250"/>
                  </a:cubicBezTo>
                  <a:cubicBezTo>
                    <a:pt x="55" y="252"/>
                    <a:pt x="54" y="254"/>
                    <a:pt x="56" y="256"/>
                  </a:cubicBezTo>
                  <a:cubicBezTo>
                    <a:pt x="57" y="258"/>
                    <a:pt x="59" y="258"/>
                    <a:pt x="61" y="259"/>
                  </a:cubicBezTo>
                  <a:cubicBezTo>
                    <a:pt x="61" y="259"/>
                    <a:pt x="63" y="260"/>
                    <a:pt x="63" y="259"/>
                  </a:cubicBezTo>
                  <a:cubicBezTo>
                    <a:pt x="63" y="260"/>
                    <a:pt x="62" y="261"/>
                    <a:pt x="62" y="262"/>
                  </a:cubicBezTo>
                  <a:cubicBezTo>
                    <a:pt x="61" y="264"/>
                    <a:pt x="61" y="266"/>
                    <a:pt x="61" y="268"/>
                  </a:cubicBezTo>
                  <a:cubicBezTo>
                    <a:pt x="61" y="269"/>
                    <a:pt x="62" y="271"/>
                    <a:pt x="64" y="272"/>
                  </a:cubicBezTo>
                  <a:cubicBezTo>
                    <a:pt x="64" y="273"/>
                    <a:pt x="65" y="274"/>
                    <a:pt x="65" y="275"/>
                  </a:cubicBezTo>
                  <a:cubicBezTo>
                    <a:pt x="65" y="275"/>
                    <a:pt x="65" y="277"/>
                    <a:pt x="64" y="278"/>
                  </a:cubicBezTo>
                  <a:cubicBezTo>
                    <a:pt x="64" y="280"/>
                    <a:pt x="63" y="282"/>
                    <a:pt x="63" y="284"/>
                  </a:cubicBezTo>
                  <a:cubicBezTo>
                    <a:pt x="64" y="286"/>
                    <a:pt x="65" y="288"/>
                    <a:pt x="67" y="289"/>
                  </a:cubicBezTo>
                  <a:cubicBezTo>
                    <a:pt x="68" y="290"/>
                    <a:pt x="69" y="291"/>
                    <a:pt x="69" y="291"/>
                  </a:cubicBezTo>
                  <a:cubicBezTo>
                    <a:pt x="69" y="292"/>
                    <a:pt x="69" y="295"/>
                    <a:pt x="68" y="298"/>
                  </a:cubicBezTo>
                  <a:cubicBezTo>
                    <a:pt x="68" y="300"/>
                    <a:pt x="67" y="306"/>
                    <a:pt x="67" y="308"/>
                  </a:cubicBezTo>
                  <a:cubicBezTo>
                    <a:pt x="68" y="312"/>
                    <a:pt x="71" y="321"/>
                    <a:pt x="73" y="324"/>
                  </a:cubicBezTo>
                  <a:cubicBezTo>
                    <a:pt x="71" y="329"/>
                    <a:pt x="67" y="342"/>
                    <a:pt x="69" y="347"/>
                  </a:cubicBezTo>
                  <a:cubicBezTo>
                    <a:pt x="70" y="349"/>
                    <a:pt x="72" y="350"/>
                    <a:pt x="74" y="352"/>
                  </a:cubicBezTo>
                  <a:cubicBezTo>
                    <a:pt x="75" y="352"/>
                    <a:pt x="77" y="353"/>
                    <a:pt x="77" y="353"/>
                  </a:cubicBezTo>
                  <a:cubicBezTo>
                    <a:pt x="77" y="354"/>
                    <a:pt x="78" y="356"/>
                    <a:pt x="79" y="359"/>
                  </a:cubicBezTo>
                  <a:cubicBezTo>
                    <a:pt x="79" y="360"/>
                    <a:pt x="80" y="361"/>
                    <a:pt x="81" y="361"/>
                  </a:cubicBezTo>
                  <a:cubicBezTo>
                    <a:pt x="179" y="362"/>
                    <a:pt x="179" y="362"/>
                    <a:pt x="179" y="362"/>
                  </a:cubicBezTo>
                  <a:cubicBezTo>
                    <a:pt x="241" y="360"/>
                    <a:pt x="241" y="360"/>
                    <a:pt x="241" y="360"/>
                  </a:cubicBezTo>
                  <a:cubicBezTo>
                    <a:pt x="377" y="352"/>
                    <a:pt x="377" y="352"/>
                    <a:pt x="377" y="352"/>
                  </a:cubicBezTo>
                  <a:cubicBezTo>
                    <a:pt x="434" y="346"/>
                    <a:pt x="434" y="346"/>
                    <a:pt x="434" y="346"/>
                  </a:cubicBezTo>
                  <a:cubicBezTo>
                    <a:pt x="437" y="353"/>
                    <a:pt x="437" y="353"/>
                    <a:pt x="437" y="353"/>
                  </a:cubicBezTo>
                  <a:cubicBezTo>
                    <a:pt x="437" y="353"/>
                    <a:pt x="438" y="353"/>
                    <a:pt x="438" y="353"/>
                  </a:cubicBezTo>
                  <a:cubicBezTo>
                    <a:pt x="452" y="364"/>
                    <a:pt x="452" y="364"/>
                    <a:pt x="452" y="364"/>
                  </a:cubicBezTo>
                  <a:cubicBezTo>
                    <a:pt x="453" y="366"/>
                    <a:pt x="456" y="371"/>
                    <a:pt x="458" y="372"/>
                  </a:cubicBezTo>
                  <a:cubicBezTo>
                    <a:pt x="458" y="372"/>
                    <a:pt x="461" y="374"/>
                    <a:pt x="463" y="374"/>
                  </a:cubicBezTo>
                  <a:cubicBezTo>
                    <a:pt x="463" y="374"/>
                    <a:pt x="464" y="374"/>
                    <a:pt x="464" y="374"/>
                  </a:cubicBezTo>
                  <a:cubicBezTo>
                    <a:pt x="467" y="373"/>
                    <a:pt x="470" y="369"/>
                    <a:pt x="471" y="368"/>
                  </a:cubicBezTo>
                  <a:cubicBezTo>
                    <a:pt x="472" y="365"/>
                    <a:pt x="472" y="360"/>
                    <a:pt x="471" y="358"/>
                  </a:cubicBezTo>
                  <a:cubicBezTo>
                    <a:pt x="471" y="356"/>
                    <a:pt x="470" y="355"/>
                    <a:pt x="468" y="354"/>
                  </a:cubicBezTo>
                  <a:cubicBezTo>
                    <a:pt x="468" y="353"/>
                    <a:pt x="467" y="352"/>
                    <a:pt x="467" y="352"/>
                  </a:cubicBezTo>
                  <a:cubicBezTo>
                    <a:pt x="467" y="351"/>
                    <a:pt x="469" y="348"/>
                    <a:pt x="471" y="346"/>
                  </a:cubicBezTo>
                  <a:cubicBezTo>
                    <a:pt x="473" y="345"/>
                    <a:pt x="476" y="344"/>
                    <a:pt x="478" y="343"/>
                  </a:cubicBezTo>
                  <a:cubicBezTo>
                    <a:pt x="483" y="341"/>
                    <a:pt x="487" y="339"/>
                    <a:pt x="490" y="336"/>
                  </a:cubicBezTo>
                  <a:cubicBezTo>
                    <a:pt x="492" y="334"/>
                    <a:pt x="492" y="329"/>
                    <a:pt x="492" y="328"/>
                  </a:cubicBezTo>
                  <a:cubicBezTo>
                    <a:pt x="493" y="326"/>
                    <a:pt x="493" y="321"/>
                    <a:pt x="492" y="320"/>
                  </a:cubicBezTo>
                  <a:cubicBezTo>
                    <a:pt x="494" y="316"/>
                    <a:pt x="494" y="316"/>
                    <a:pt x="494" y="316"/>
                  </a:cubicBezTo>
                  <a:cubicBezTo>
                    <a:pt x="496" y="314"/>
                    <a:pt x="503" y="305"/>
                    <a:pt x="505" y="301"/>
                  </a:cubicBezTo>
                  <a:cubicBezTo>
                    <a:pt x="506" y="297"/>
                    <a:pt x="505" y="287"/>
                    <a:pt x="503" y="283"/>
                  </a:cubicBezTo>
                  <a:cubicBezTo>
                    <a:pt x="502" y="281"/>
                    <a:pt x="499" y="279"/>
                    <a:pt x="497" y="276"/>
                  </a:cubicBezTo>
                  <a:cubicBezTo>
                    <a:pt x="494" y="274"/>
                    <a:pt x="491" y="271"/>
                    <a:pt x="490" y="269"/>
                  </a:cubicBezTo>
                  <a:cubicBezTo>
                    <a:pt x="490" y="267"/>
                    <a:pt x="491" y="260"/>
                    <a:pt x="492" y="255"/>
                  </a:cubicBezTo>
                  <a:cubicBezTo>
                    <a:pt x="492" y="252"/>
                    <a:pt x="493" y="249"/>
                    <a:pt x="494" y="249"/>
                  </a:cubicBezTo>
                  <a:cubicBezTo>
                    <a:pt x="496" y="247"/>
                    <a:pt x="503" y="246"/>
                    <a:pt x="508" y="246"/>
                  </a:cubicBezTo>
                  <a:cubicBezTo>
                    <a:pt x="513" y="245"/>
                    <a:pt x="518" y="245"/>
                    <a:pt x="521" y="243"/>
                  </a:cubicBezTo>
                  <a:cubicBezTo>
                    <a:pt x="523" y="243"/>
                    <a:pt x="524" y="241"/>
                    <a:pt x="526" y="240"/>
                  </a:cubicBezTo>
                  <a:cubicBezTo>
                    <a:pt x="527" y="239"/>
                    <a:pt x="528" y="238"/>
                    <a:pt x="529" y="238"/>
                  </a:cubicBezTo>
                  <a:cubicBezTo>
                    <a:pt x="530" y="237"/>
                    <a:pt x="533" y="236"/>
                    <a:pt x="535" y="235"/>
                  </a:cubicBezTo>
                  <a:cubicBezTo>
                    <a:pt x="538" y="234"/>
                    <a:pt x="542" y="233"/>
                    <a:pt x="544" y="232"/>
                  </a:cubicBezTo>
                  <a:cubicBezTo>
                    <a:pt x="546" y="231"/>
                    <a:pt x="551" y="227"/>
                    <a:pt x="552" y="224"/>
                  </a:cubicBezTo>
                  <a:cubicBezTo>
                    <a:pt x="553" y="222"/>
                    <a:pt x="553" y="218"/>
                    <a:pt x="553" y="215"/>
                  </a:cubicBezTo>
                  <a:cubicBezTo>
                    <a:pt x="553" y="212"/>
                    <a:pt x="553" y="209"/>
                    <a:pt x="554" y="208"/>
                  </a:cubicBezTo>
                  <a:cubicBezTo>
                    <a:pt x="554" y="206"/>
                    <a:pt x="556" y="204"/>
                    <a:pt x="558" y="202"/>
                  </a:cubicBezTo>
                  <a:cubicBezTo>
                    <a:pt x="561" y="199"/>
                    <a:pt x="563" y="197"/>
                    <a:pt x="564" y="195"/>
                  </a:cubicBezTo>
                  <a:cubicBezTo>
                    <a:pt x="566" y="189"/>
                    <a:pt x="567" y="176"/>
                    <a:pt x="567" y="170"/>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24">
              <a:extLst>
                <a:ext uri="{FF2B5EF4-FFF2-40B4-BE49-F238E27FC236}">
                  <a16:creationId xmlns:a16="http://schemas.microsoft.com/office/drawing/2014/main" id="{14D40E6F-DCA0-4D46-987E-C0812489242B}"/>
                </a:ext>
              </a:extLst>
            </p:cNvPr>
            <p:cNvSpPr>
              <a:spLocks/>
            </p:cNvSpPr>
            <p:nvPr/>
          </p:nvSpPr>
          <p:spPr bwMode="auto">
            <a:xfrm>
              <a:off x="6101861" y="3260304"/>
              <a:ext cx="696391" cy="605425"/>
            </a:xfrm>
            <a:custGeom>
              <a:avLst/>
              <a:gdLst>
                <a:gd name="T0" fmla="*/ 625 w 627"/>
                <a:gd name="T1" fmla="*/ 427 h 544"/>
                <a:gd name="T2" fmla="*/ 611 w 627"/>
                <a:gd name="T3" fmla="*/ 407 h 544"/>
                <a:gd name="T4" fmla="*/ 586 w 627"/>
                <a:gd name="T5" fmla="*/ 383 h 544"/>
                <a:gd name="T6" fmla="*/ 592 w 627"/>
                <a:gd name="T7" fmla="*/ 367 h 544"/>
                <a:gd name="T8" fmla="*/ 583 w 627"/>
                <a:gd name="T9" fmla="*/ 347 h 544"/>
                <a:gd name="T10" fmla="*/ 566 w 627"/>
                <a:gd name="T11" fmla="*/ 327 h 544"/>
                <a:gd name="T12" fmla="*/ 547 w 627"/>
                <a:gd name="T13" fmla="*/ 309 h 544"/>
                <a:gd name="T14" fmla="*/ 541 w 627"/>
                <a:gd name="T15" fmla="*/ 313 h 544"/>
                <a:gd name="T16" fmla="*/ 534 w 627"/>
                <a:gd name="T17" fmla="*/ 304 h 544"/>
                <a:gd name="T18" fmla="*/ 498 w 627"/>
                <a:gd name="T19" fmla="*/ 269 h 544"/>
                <a:gd name="T20" fmla="*/ 503 w 627"/>
                <a:gd name="T21" fmla="*/ 255 h 544"/>
                <a:gd name="T22" fmla="*/ 513 w 627"/>
                <a:gd name="T23" fmla="*/ 224 h 544"/>
                <a:gd name="T24" fmla="*/ 517 w 627"/>
                <a:gd name="T25" fmla="*/ 208 h 544"/>
                <a:gd name="T26" fmla="*/ 493 w 627"/>
                <a:gd name="T27" fmla="*/ 192 h 544"/>
                <a:gd name="T28" fmla="*/ 477 w 627"/>
                <a:gd name="T29" fmla="*/ 195 h 544"/>
                <a:gd name="T30" fmla="*/ 465 w 627"/>
                <a:gd name="T31" fmla="*/ 193 h 544"/>
                <a:gd name="T32" fmla="*/ 453 w 627"/>
                <a:gd name="T33" fmla="*/ 152 h 544"/>
                <a:gd name="T34" fmla="*/ 427 w 627"/>
                <a:gd name="T35" fmla="*/ 134 h 544"/>
                <a:gd name="T36" fmla="*/ 419 w 627"/>
                <a:gd name="T37" fmla="*/ 124 h 544"/>
                <a:gd name="T38" fmla="*/ 409 w 627"/>
                <a:gd name="T39" fmla="*/ 114 h 544"/>
                <a:gd name="T40" fmla="*/ 397 w 627"/>
                <a:gd name="T41" fmla="*/ 102 h 544"/>
                <a:gd name="T42" fmla="*/ 384 w 627"/>
                <a:gd name="T43" fmla="*/ 39 h 544"/>
                <a:gd name="T44" fmla="*/ 384 w 627"/>
                <a:gd name="T45" fmla="*/ 27 h 544"/>
                <a:gd name="T46" fmla="*/ 378 w 627"/>
                <a:gd name="T47" fmla="*/ 19 h 544"/>
                <a:gd name="T48" fmla="*/ 359 w 627"/>
                <a:gd name="T49" fmla="*/ 1 h 544"/>
                <a:gd name="T50" fmla="*/ 163 w 627"/>
                <a:gd name="T51" fmla="*/ 14 h 544"/>
                <a:gd name="T52" fmla="*/ 1 w 627"/>
                <a:gd name="T53" fmla="*/ 16 h 544"/>
                <a:gd name="T54" fmla="*/ 5 w 627"/>
                <a:gd name="T55" fmla="*/ 32 h 544"/>
                <a:gd name="T56" fmla="*/ 12 w 627"/>
                <a:gd name="T57" fmla="*/ 48 h 544"/>
                <a:gd name="T58" fmla="*/ 26 w 627"/>
                <a:gd name="T59" fmla="*/ 61 h 544"/>
                <a:gd name="T60" fmla="*/ 31 w 627"/>
                <a:gd name="T61" fmla="*/ 72 h 544"/>
                <a:gd name="T62" fmla="*/ 32 w 627"/>
                <a:gd name="T63" fmla="*/ 83 h 544"/>
                <a:gd name="T64" fmla="*/ 70 w 627"/>
                <a:gd name="T65" fmla="*/ 103 h 544"/>
                <a:gd name="T66" fmla="*/ 80 w 627"/>
                <a:gd name="T67" fmla="*/ 110 h 544"/>
                <a:gd name="T68" fmla="*/ 74 w 627"/>
                <a:gd name="T69" fmla="*/ 116 h 544"/>
                <a:gd name="T70" fmla="*/ 67 w 627"/>
                <a:gd name="T71" fmla="*/ 129 h 544"/>
                <a:gd name="T72" fmla="*/ 72 w 627"/>
                <a:gd name="T73" fmla="*/ 157 h 544"/>
                <a:gd name="T74" fmla="*/ 80 w 627"/>
                <a:gd name="T75" fmla="*/ 164 h 544"/>
                <a:gd name="T76" fmla="*/ 99 w 627"/>
                <a:gd name="T77" fmla="*/ 187 h 544"/>
                <a:gd name="T78" fmla="*/ 113 w 627"/>
                <a:gd name="T79" fmla="*/ 499 h 544"/>
                <a:gd name="T80" fmla="*/ 357 w 627"/>
                <a:gd name="T81" fmla="*/ 493 h 544"/>
                <a:gd name="T82" fmla="*/ 536 w 627"/>
                <a:gd name="T83" fmla="*/ 493 h 544"/>
                <a:gd name="T84" fmla="*/ 533 w 627"/>
                <a:gd name="T85" fmla="*/ 512 h 544"/>
                <a:gd name="T86" fmla="*/ 519 w 627"/>
                <a:gd name="T87" fmla="*/ 525 h 544"/>
                <a:gd name="T88" fmla="*/ 521 w 627"/>
                <a:gd name="T89" fmla="*/ 544 h 544"/>
                <a:gd name="T90" fmla="*/ 582 w 627"/>
                <a:gd name="T91" fmla="*/ 524 h 544"/>
                <a:gd name="T92" fmla="*/ 582 w 627"/>
                <a:gd name="T93" fmla="*/ 510 h 544"/>
                <a:gd name="T94" fmla="*/ 590 w 627"/>
                <a:gd name="T95" fmla="*/ 502 h 544"/>
                <a:gd name="T96" fmla="*/ 587 w 627"/>
                <a:gd name="T97" fmla="*/ 495 h 544"/>
                <a:gd name="T98" fmla="*/ 590 w 627"/>
                <a:gd name="T99" fmla="*/ 483 h 544"/>
                <a:gd name="T100" fmla="*/ 593 w 627"/>
                <a:gd name="T101" fmla="*/ 473 h 544"/>
                <a:gd name="T102" fmla="*/ 594 w 627"/>
                <a:gd name="T103" fmla="*/ 481 h 544"/>
                <a:gd name="T104" fmla="*/ 605 w 627"/>
                <a:gd name="T105" fmla="*/ 465 h 544"/>
                <a:gd name="T106" fmla="*/ 611 w 627"/>
                <a:gd name="T107" fmla="*/ 466 h 544"/>
                <a:gd name="T108" fmla="*/ 621 w 627"/>
                <a:gd name="T109" fmla="*/ 449 h 544"/>
                <a:gd name="T110" fmla="*/ 626 w 627"/>
                <a:gd name="T111" fmla="*/ 442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7" h="544">
                  <a:moveTo>
                    <a:pt x="625" y="433"/>
                  </a:moveTo>
                  <a:cubicBezTo>
                    <a:pt x="625" y="432"/>
                    <a:pt x="624" y="431"/>
                    <a:pt x="624" y="430"/>
                  </a:cubicBezTo>
                  <a:cubicBezTo>
                    <a:pt x="624" y="429"/>
                    <a:pt x="625" y="428"/>
                    <a:pt x="625" y="427"/>
                  </a:cubicBezTo>
                  <a:cubicBezTo>
                    <a:pt x="625" y="425"/>
                    <a:pt x="626" y="423"/>
                    <a:pt x="626" y="422"/>
                  </a:cubicBezTo>
                  <a:cubicBezTo>
                    <a:pt x="626" y="422"/>
                    <a:pt x="626" y="417"/>
                    <a:pt x="624" y="414"/>
                  </a:cubicBezTo>
                  <a:cubicBezTo>
                    <a:pt x="622" y="411"/>
                    <a:pt x="615" y="408"/>
                    <a:pt x="611" y="407"/>
                  </a:cubicBezTo>
                  <a:cubicBezTo>
                    <a:pt x="609" y="407"/>
                    <a:pt x="606" y="409"/>
                    <a:pt x="604" y="410"/>
                  </a:cubicBezTo>
                  <a:cubicBezTo>
                    <a:pt x="594" y="397"/>
                    <a:pt x="594" y="397"/>
                    <a:pt x="594" y="397"/>
                  </a:cubicBezTo>
                  <a:cubicBezTo>
                    <a:pt x="586" y="383"/>
                    <a:pt x="586" y="383"/>
                    <a:pt x="586" y="383"/>
                  </a:cubicBezTo>
                  <a:cubicBezTo>
                    <a:pt x="590" y="377"/>
                    <a:pt x="590" y="377"/>
                    <a:pt x="590" y="377"/>
                  </a:cubicBezTo>
                  <a:cubicBezTo>
                    <a:pt x="590" y="377"/>
                    <a:pt x="590" y="376"/>
                    <a:pt x="590" y="376"/>
                  </a:cubicBezTo>
                  <a:cubicBezTo>
                    <a:pt x="591" y="374"/>
                    <a:pt x="592" y="369"/>
                    <a:pt x="592" y="367"/>
                  </a:cubicBezTo>
                  <a:cubicBezTo>
                    <a:pt x="591" y="364"/>
                    <a:pt x="589" y="362"/>
                    <a:pt x="587" y="359"/>
                  </a:cubicBezTo>
                  <a:cubicBezTo>
                    <a:pt x="585" y="357"/>
                    <a:pt x="584" y="354"/>
                    <a:pt x="583" y="352"/>
                  </a:cubicBezTo>
                  <a:cubicBezTo>
                    <a:pt x="583" y="351"/>
                    <a:pt x="583" y="349"/>
                    <a:pt x="583" y="347"/>
                  </a:cubicBezTo>
                  <a:cubicBezTo>
                    <a:pt x="583" y="342"/>
                    <a:pt x="583" y="338"/>
                    <a:pt x="581" y="335"/>
                  </a:cubicBezTo>
                  <a:cubicBezTo>
                    <a:pt x="580" y="333"/>
                    <a:pt x="575" y="332"/>
                    <a:pt x="572" y="331"/>
                  </a:cubicBezTo>
                  <a:cubicBezTo>
                    <a:pt x="570" y="330"/>
                    <a:pt x="567" y="328"/>
                    <a:pt x="566" y="327"/>
                  </a:cubicBezTo>
                  <a:cubicBezTo>
                    <a:pt x="565" y="326"/>
                    <a:pt x="565" y="325"/>
                    <a:pt x="564" y="323"/>
                  </a:cubicBezTo>
                  <a:cubicBezTo>
                    <a:pt x="563" y="322"/>
                    <a:pt x="563" y="320"/>
                    <a:pt x="562" y="319"/>
                  </a:cubicBezTo>
                  <a:cubicBezTo>
                    <a:pt x="560" y="316"/>
                    <a:pt x="553" y="309"/>
                    <a:pt x="547" y="309"/>
                  </a:cubicBezTo>
                  <a:cubicBezTo>
                    <a:pt x="547" y="309"/>
                    <a:pt x="547" y="309"/>
                    <a:pt x="547" y="309"/>
                  </a:cubicBezTo>
                  <a:cubicBezTo>
                    <a:pt x="545" y="309"/>
                    <a:pt x="543" y="311"/>
                    <a:pt x="542" y="312"/>
                  </a:cubicBezTo>
                  <a:cubicBezTo>
                    <a:pt x="541" y="312"/>
                    <a:pt x="541" y="313"/>
                    <a:pt x="541" y="313"/>
                  </a:cubicBezTo>
                  <a:cubicBezTo>
                    <a:pt x="541" y="313"/>
                    <a:pt x="541" y="312"/>
                    <a:pt x="541" y="312"/>
                  </a:cubicBezTo>
                  <a:cubicBezTo>
                    <a:pt x="541" y="309"/>
                    <a:pt x="541" y="307"/>
                    <a:pt x="539" y="305"/>
                  </a:cubicBezTo>
                  <a:cubicBezTo>
                    <a:pt x="537" y="303"/>
                    <a:pt x="535" y="304"/>
                    <a:pt x="534" y="304"/>
                  </a:cubicBezTo>
                  <a:cubicBezTo>
                    <a:pt x="512" y="290"/>
                    <a:pt x="512" y="290"/>
                    <a:pt x="512" y="290"/>
                  </a:cubicBezTo>
                  <a:cubicBezTo>
                    <a:pt x="509" y="287"/>
                    <a:pt x="501" y="279"/>
                    <a:pt x="499" y="275"/>
                  </a:cubicBezTo>
                  <a:cubicBezTo>
                    <a:pt x="499" y="274"/>
                    <a:pt x="498" y="271"/>
                    <a:pt x="498" y="269"/>
                  </a:cubicBezTo>
                  <a:cubicBezTo>
                    <a:pt x="498" y="267"/>
                    <a:pt x="498" y="264"/>
                    <a:pt x="499" y="262"/>
                  </a:cubicBezTo>
                  <a:cubicBezTo>
                    <a:pt x="499" y="261"/>
                    <a:pt x="500" y="260"/>
                    <a:pt x="501" y="259"/>
                  </a:cubicBezTo>
                  <a:cubicBezTo>
                    <a:pt x="502" y="257"/>
                    <a:pt x="503" y="256"/>
                    <a:pt x="503" y="255"/>
                  </a:cubicBezTo>
                  <a:cubicBezTo>
                    <a:pt x="504" y="252"/>
                    <a:pt x="506" y="244"/>
                    <a:pt x="507" y="242"/>
                  </a:cubicBezTo>
                  <a:cubicBezTo>
                    <a:pt x="508" y="240"/>
                    <a:pt x="512" y="233"/>
                    <a:pt x="513" y="230"/>
                  </a:cubicBezTo>
                  <a:cubicBezTo>
                    <a:pt x="513" y="228"/>
                    <a:pt x="513" y="226"/>
                    <a:pt x="513" y="224"/>
                  </a:cubicBezTo>
                  <a:cubicBezTo>
                    <a:pt x="513" y="221"/>
                    <a:pt x="512" y="219"/>
                    <a:pt x="513" y="217"/>
                  </a:cubicBezTo>
                  <a:cubicBezTo>
                    <a:pt x="513" y="217"/>
                    <a:pt x="514" y="215"/>
                    <a:pt x="514" y="214"/>
                  </a:cubicBezTo>
                  <a:cubicBezTo>
                    <a:pt x="515" y="212"/>
                    <a:pt x="517" y="210"/>
                    <a:pt x="517" y="208"/>
                  </a:cubicBezTo>
                  <a:cubicBezTo>
                    <a:pt x="517" y="206"/>
                    <a:pt x="517" y="205"/>
                    <a:pt x="517" y="203"/>
                  </a:cubicBezTo>
                  <a:cubicBezTo>
                    <a:pt x="514" y="198"/>
                    <a:pt x="504" y="194"/>
                    <a:pt x="501" y="193"/>
                  </a:cubicBezTo>
                  <a:cubicBezTo>
                    <a:pt x="499" y="192"/>
                    <a:pt x="495" y="192"/>
                    <a:pt x="493" y="192"/>
                  </a:cubicBezTo>
                  <a:cubicBezTo>
                    <a:pt x="491" y="191"/>
                    <a:pt x="487" y="189"/>
                    <a:pt x="485" y="189"/>
                  </a:cubicBezTo>
                  <a:cubicBezTo>
                    <a:pt x="484" y="189"/>
                    <a:pt x="481" y="189"/>
                    <a:pt x="480" y="190"/>
                  </a:cubicBezTo>
                  <a:cubicBezTo>
                    <a:pt x="478" y="191"/>
                    <a:pt x="478" y="193"/>
                    <a:pt x="477" y="195"/>
                  </a:cubicBezTo>
                  <a:cubicBezTo>
                    <a:pt x="476" y="196"/>
                    <a:pt x="476" y="197"/>
                    <a:pt x="475" y="197"/>
                  </a:cubicBezTo>
                  <a:cubicBezTo>
                    <a:pt x="474" y="198"/>
                    <a:pt x="471" y="199"/>
                    <a:pt x="470" y="199"/>
                  </a:cubicBezTo>
                  <a:cubicBezTo>
                    <a:pt x="469" y="199"/>
                    <a:pt x="467" y="196"/>
                    <a:pt x="465" y="193"/>
                  </a:cubicBezTo>
                  <a:cubicBezTo>
                    <a:pt x="464" y="190"/>
                    <a:pt x="463" y="183"/>
                    <a:pt x="461" y="177"/>
                  </a:cubicBezTo>
                  <a:cubicBezTo>
                    <a:pt x="460" y="170"/>
                    <a:pt x="459" y="164"/>
                    <a:pt x="458" y="160"/>
                  </a:cubicBezTo>
                  <a:cubicBezTo>
                    <a:pt x="457" y="158"/>
                    <a:pt x="454" y="154"/>
                    <a:pt x="453" y="152"/>
                  </a:cubicBezTo>
                  <a:cubicBezTo>
                    <a:pt x="451" y="150"/>
                    <a:pt x="446" y="147"/>
                    <a:pt x="445" y="146"/>
                  </a:cubicBezTo>
                  <a:cubicBezTo>
                    <a:pt x="444" y="145"/>
                    <a:pt x="442" y="144"/>
                    <a:pt x="440" y="143"/>
                  </a:cubicBezTo>
                  <a:cubicBezTo>
                    <a:pt x="435" y="140"/>
                    <a:pt x="429" y="137"/>
                    <a:pt x="427" y="134"/>
                  </a:cubicBezTo>
                  <a:cubicBezTo>
                    <a:pt x="427" y="134"/>
                    <a:pt x="426" y="133"/>
                    <a:pt x="426" y="132"/>
                  </a:cubicBezTo>
                  <a:cubicBezTo>
                    <a:pt x="425" y="130"/>
                    <a:pt x="425" y="129"/>
                    <a:pt x="424" y="128"/>
                  </a:cubicBezTo>
                  <a:cubicBezTo>
                    <a:pt x="423" y="126"/>
                    <a:pt x="421" y="125"/>
                    <a:pt x="419" y="124"/>
                  </a:cubicBezTo>
                  <a:cubicBezTo>
                    <a:pt x="418" y="124"/>
                    <a:pt x="416" y="123"/>
                    <a:pt x="416" y="123"/>
                  </a:cubicBezTo>
                  <a:cubicBezTo>
                    <a:pt x="415" y="122"/>
                    <a:pt x="414" y="121"/>
                    <a:pt x="413" y="119"/>
                  </a:cubicBezTo>
                  <a:cubicBezTo>
                    <a:pt x="412" y="118"/>
                    <a:pt x="411" y="116"/>
                    <a:pt x="409" y="114"/>
                  </a:cubicBezTo>
                  <a:cubicBezTo>
                    <a:pt x="408" y="114"/>
                    <a:pt x="407" y="113"/>
                    <a:pt x="405" y="112"/>
                  </a:cubicBezTo>
                  <a:cubicBezTo>
                    <a:pt x="403" y="111"/>
                    <a:pt x="400" y="109"/>
                    <a:pt x="399" y="108"/>
                  </a:cubicBezTo>
                  <a:cubicBezTo>
                    <a:pt x="398" y="107"/>
                    <a:pt x="398" y="104"/>
                    <a:pt x="397" y="102"/>
                  </a:cubicBezTo>
                  <a:cubicBezTo>
                    <a:pt x="397" y="101"/>
                    <a:pt x="397" y="101"/>
                    <a:pt x="397" y="101"/>
                  </a:cubicBezTo>
                  <a:cubicBezTo>
                    <a:pt x="388" y="82"/>
                    <a:pt x="381" y="65"/>
                    <a:pt x="383" y="46"/>
                  </a:cubicBezTo>
                  <a:cubicBezTo>
                    <a:pt x="383" y="43"/>
                    <a:pt x="384" y="40"/>
                    <a:pt x="384" y="39"/>
                  </a:cubicBezTo>
                  <a:cubicBezTo>
                    <a:pt x="384" y="38"/>
                    <a:pt x="385" y="38"/>
                    <a:pt x="385" y="37"/>
                  </a:cubicBezTo>
                  <a:cubicBezTo>
                    <a:pt x="387" y="35"/>
                    <a:pt x="389" y="32"/>
                    <a:pt x="388" y="30"/>
                  </a:cubicBezTo>
                  <a:cubicBezTo>
                    <a:pt x="387" y="28"/>
                    <a:pt x="385" y="28"/>
                    <a:pt x="384" y="27"/>
                  </a:cubicBezTo>
                  <a:cubicBezTo>
                    <a:pt x="383" y="27"/>
                    <a:pt x="383" y="27"/>
                    <a:pt x="383" y="27"/>
                  </a:cubicBezTo>
                  <a:cubicBezTo>
                    <a:pt x="382" y="27"/>
                    <a:pt x="381" y="25"/>
                    <a:pt x="380" y="23"/>
                  </a:cubicBezTo>
                  <a:cubicBezTo>
                    <a:pt x="379" y="22"/>
                    <a:pt x="379" y="20"/>
                    <a:pt x="378" y="19"/>
                  </a:cubicBezTo>
                  <a:cubicBezTo>
                    <a:pt x="376" y="18"/>
                    <a:pt x="374" y="16"/>
                    <a:pt x="371" y="14"/>
                  </a:cubicBezTo>
                  <a:cubicBezTo>
                    <a:pt x="368" y="12"/>
                    <a:pt x="365" y="9"/>
                    <a:pt x="363" y="8"/>
                  </a:cubicBezTo>
                  <a:cubicBezTo>
                    <a:pt x="362" y="7"/>
                    <a:pt x="360" y="3"/>
                    <a:pt x="359" y="1"/>
                  </a:cubicBezTo>
                  <a:cubicBezTo>
                    <a:pt x="359" y="0"/>
                    <a:pt x="358" y="0"/>
                    <a:pt x="357" y="0"/>
                  </a:cubicBezTo>
                  <a:cubicBezTo>
                    <a:pt x="299" y="6"/>
                    <a:pt x="299" y="6"/>
                    <a:pt x="299" y="6"/>
                  </a:cubicBezTo>
                  <a:cubicBezTo>
                    <a:pt x="163" y="14"/>
                    <a:pt x="163" y="14"/>
                    <a:pt x="163" y="14"/>
                  </a:cubicBezTo>
                  <a:cubicBezTo>
                    <a:pt x="101" y="16"/>
                    <a:pt x="101" y="16"/>
                    <a:pt x="101" y="16"/>
                  </a:cubicBezTo>
                  <a:cubicBezTo>
                    <a:pt x="101" y="16"/>
                    <a:pt x="26" y="15"/>
                    <a:pt x="5" y="15"/>
                  </a:cubicBezTo>
                  <a:cubicBezTo>
                    <a:pt x="4" y="15"/>
                    <a:pt x="2" y="15"/>
                    <a:pt x="1" y="16"/>
                  </a:cubicBezTo>
                  <a:cubicBezTo>
                    <a:pt x="1" y="16"/>
                    <a:pt x="0" y="17"/>
                    <a:pt x="1" y="21"/>
                  </a:cubicBezTo>
                  <a:cubicBezTo>
                    <a:pt x="0" y="22"/>
                    <a:pt x="0" y="25"/>
                    <a:pt x="1" y="26"/>
                  </a:cubicBezTo>
                  <a:cubicBezTo>
                    <a:pt x="1" y="28"/>
                    <a:pt x="3" y="30"/>
                    <a:pt x="5" y="32"/>
                  </a:cubicBezTo>
                  <a:cubicBezTo>
                    <a:pt x="6" y="32"/>
                    <a:pt x="7" y="34"/>
                    <a:pt x="7" y="34"/>
                  </a:cubicBezTo>
                  <a:cubicBezTo>
                    <a:pt x="8" y="35"/>
                    <a:pt x="9" y="38"/>
                    <a:pt x="10" y="41"/>
                  </a:cubicBezTo>
                  <a:cubicBezTo>
                    <a:pt x="11" y="44"/>
                    <a:pt x="11" y="47"/>
                    <a:pt x="12" y="48"/>
                  </a:cubicBezTo>
                  <a:cubicBezTo>
                    <a:pt x="14" y="51"/>
                    <a:pt x="17" y="55"/>
                    <a:pt x="20" y="56"/>
                  </a:cubicBezTo>
                  <a:cubicBezTo>
                    <a:pt x="20" y="57"/>
                    <a:pt x="21" y="58"/>
                    <a:pt x="22" y="58"/>
                  </a:cubicBezTo>
                  <a:cubicBezTo>
                    <a:pt x="24" y="59"/>
                    <a:pt x="26" y="60"/>
                    <a:pt x="26" y="61"/>
                  </a:cubicBezTo>
                  <a:cubicBezTo>
                    <a:pt x="26" y="61"/>
                    <a:pt x="27" y="63"/>
                    <a:pt x="27" y="64"/>
                  </a:cubicBezTo>
                  <a:cubicBezTo>
                    <a:pt x="27" y="66"/>
                    <a:pt x="27" y="67"/>
                    <a:pt x="27" y="68"/>
                  </a:cubicBezTo>
                  <a:cubicBezTo>
                    <a:pt x="28" y="70"/>
                    <a:pt x="29" y="71"/>
                    <a:pt x="31" y="72"/>
                  </a:cubicBezTo>
                  <a:cubicBezTo>
                    <a:pt x="31" y="73"/>
                    <a:pt x="33" y="75"/>
                    <a:pt x="33" y="75"/>
                  </a:cubicBezTo>
                  <a:cubicBezTo>
                    <a:pt x="33" y="76"/>
                    <a:pt x="33" y="77"/>
                    <a:pt x="33" y="77"/>
                  </a:cubicBezTo>
                  <a:cubicBezTo>
                    <a:pt x="32" y="79"/>
                    <a:pt x="32" y="81"/>
                    <a:pt x="32" y="83"/>
                  </a:cubicBezTo>
                  <a:cubicBezTo>
                    <a:pt x="34" y="86"/>
                    <a:pt x="39" y="89"/>
                    <a:pt x="42" y="90"/>
                  </a:cubicBezTo>
                  <a:cubicBezTo>
                    <a:pt x="45" y="94"/>
                    <a:pt x="58" y="106"/>
                    <a:pt x="65" y="107"/>
                  </a:cubicBezTo>
                  <a:cubicBezTo>
                    <a:pt x="67" y="107"/>
                    <a:pt x="68" y="105"/>
                    <a:pt x="70" y="103"/>
                  </a:cubicBezTo>
                  <a:cubicBezTo>
                    <a:pt x="71" y="103"/>
                    <a:pt x="72" y="102"/>
                    <a:pt x="72" y="102"/>
                  </a:cubicBezTo>
                  <a:cubicBezTo>
                    <a:pt x="73" y="102"/>
                    <a:pt x="75" y="103"/>
                    <a:pt x="76" y="103"/>
                  </a:cubicBezTo>
                  <a:cubicBezTo>
                    <a:pt x="77" y="104"/>
                    <a:pt x="79" y="108"/>
                    <a:pt x="80" y="110"/>
                  </a:cubicBezTo>
                  <a:cubicBezTo>
                    <a:pt x="81" y="112"/>
                    <a:pt x="81" y="115"/>
                    <a:pt x="81" y="117"/>
                  </a:cubicBezTo>
                  <a:cubicBezTo>
                    <a:pt x="81" y="117"/>
                    <a:pt x="80" y="117"/>
                    <a:pt x="80" y="117"/>
                  </a:cubicBezTo>
                  <a:cubicBezTo>
                    <a:pt x="78" y="116"/>
                    <a:pt x="75" y="116"/>
                    <a:pt x="74" y="116"/>
                  </a:cubicBezTo>
                  <a:cubicBezTo>
                    <a:pt x="72" y="118"/>
                    <a:pt x="71" y="120"/>
                    <a:pt x="71" y="122"/>
                  </a:cubicBezTo>
                  <a:cubicBezTo>
                    <a:pt x="71" y="123"/>
                    <a:pt x="70" y="124"/>
                    <a:pt x="70" y="125"/>
                  </a:cubicBezTo>
                  <a:cubicBezTo>
                    <a:pt x="70" y="126"/>
                    <a:pt x="68" y="127"/>
                    <a:pt x="67" y="129"/>
                  </a:cubicBezTo>
                  <a:cubicBezTo>
                    <a:pt x="64" y="132"/>
                    <a:pt x="61" y="135"/>
                    <a:pt x="61" y="138"/>
                  </a:cubicBezTo>
                  <a:cubicBezTo>
                    <a:pt x="61" y="140"/>
                    <a:pt x="62" y="143"/>
                    <a:pt x="64" y="147"/>
                  </a:cubicBezTo>
                  <a:cubicBezTo>
                    <a:pt x="66" y="149"/>
                    <a:pt x="70" y="154"/>
                    <a:pt x="72" y="157"/>
                  </a:cubicBezTo>
                  <a:cubicBezTo>
                    <a:pt x="73" y="157"/>
                    <a:pt x="75" y="158"/>
                    <a:pt x="76" y="159"/>
                  </a:cubicBezTo>
                  <a:cubicBezTo>
                    <a:pt x="77" y="160"/>
                    <a:pt x="80" y="161"/>
                    <a:pt x="80" y="162"/>
                  </a:cubicBezTo>
                  <a:cubicBezTo>
                    <a:pt x="80" y="162"/>
                    <a:pt x="80" y="163"/>
                    <a:pt x="80" y="164"/>
                  </a:cubicBezTo>
                  <a:cubicBezTo>
                    <a:pt x="80" y="166"/>
                    <a:pt x="79" y="168"/>
                    <a:pt x="80" y="169"/>
                  </a:cubicBezTo>
                  <a:cubicBezTo>
                    <a:pt x="82" y="174"/>
                    <a:pt x="88" y="182"/>
                    <a:pt x="93" y="185"/>
                  </a:cubicBezTo>
                  <a:cubicBezTo>
                    <a:pt x="94" y="186"/>
                    <a:pt x="98" y="187"/>
                    <a:pt x="99" y="187"/>
                  </a:cubicBezTo>
                  <a:cubicBezTo>
                    <a:pt x="106" y="192"/>
                    <a:pt x="106" y="192"/>
                    <a:pt x="106" y="192"/>
                  </a:cubicBezTo>
                  <a:cubicBezTo>
                    <a:pt x="112" y="441"/>
                    <a:pt x="112" y="441"/>
                    <a:pt x="112" y="441"/>
                  </a:cubicBezTo>
                  <a:cubicBezTo>
                    <a:pt x="113" y="499"/>
                    <a:pt x="113" y="499"/>
                    <a:pt x="113" y="499"/>
                  </a:cubicBezTo>
                  <a:cubicBezTo>
                    <a:pt x="113" y="501"/>
                    <a:pt x="114" y="502"/>
                    <a:pt x="116" y="502"/>
                  </a:cubicBezTo>
                  <a:cubicBezTo>
                    <a:pt x="209" y="500"/>
                    <a:pt x="209" y="500"/>
                    <a:pt x="209" y="500"/>
                  </a:cubicBezTo>
                  <a:cubicBezTo>
                    <a:pt x="357" y="493"/>
                    <a:pt x="357" y="493"/>
                    <a:pt x="357" y="493"/>
                  </a:cubicBezTo>
                  <a:cubicBezTo>
                    <a:pt x="525" y="482"/>
                    <a:pt x="525" y="482"/>
                    <a:pt x="525" y="482"/>
                  </a:cubicBezTo>
                  <a:cubicBezTo>
                    <a:pt x="527" y="484"/>
                    <a:pt x="530" y="485"/>
                    <a:pt x="531" y="486"/>
                  </a:cubicBezTo>
                  <a:cubicBezTo>
                    <a:pt x="532" y="488"/>
                    <a:pt x="535" y="491"/>
                    <a:pt x="536" y="493"/>
                  </a:cubicBezTo>
                  <a:cubicBezTo>
                    <a:pt x="537" y="494"/>
                    <a:pt x="538" y="497"/>
                    <a:pt x="538" y="499"/>
                  </a:cubicBezTo>
                  <a:cubicBezTo>
                    <a:pt x="538" y="501"/>
                    <a:pt x="538" y="505"/>
                    <a:pt x="538" y="506"/>
                  </a:cubicBezTo>
                  <a:cubicBezTo>
                    <a:pt x="537" y="507"/>
                    <a:pt x="535" y="510"/>
                    <a:pt x="533" y="512"/>
                  </a:cubicBezTo>
                  <a:cubicBezTo>
                    <a:pt x="532" y="512"/>
                    <a:pt x="531" y="513"/>
                    <a:pt x="530" y="514"/>
                  </a:cubicBezTo>
                  <a:cubicBezTo>
                    <a:pt x="528" y="515"/>
                    <a:pt x="526" y="515"/>
                    <a:pt x="525" y="516"/>
                  </a:cubicBezTo>
                  <a:cubicBezTo>
                    <a:pt x="523" y="518"/>
                    <a:pt x="521" y="520"/>
                    <a:pt x="519" y="525"/>
                  </a:cubicBezTo>
                  <a:cubicBezTo>
                    <a:pt x="518" y="525"/>
                    <a:pt x="511" y="537"/>
                    <a:pt x="519" y="543"/>
                  </a:cubicBezTo>
                  <a:cubicBezTo>
                    <a:pt x="520" y="544"/>
                    <a:pt x="520" y="544"/>
                    <a:pt x="521" y="544"/>
                  </a:cubicBezTo>
                  <a:cubicBezTo>
                    <a:pt x="521" y="544"/>
                    <a:pt x="521" y="544"/>
                    <a:pt x="521" y="544"/>
                  </a:cubicBezTo>
                  <a:cubicBezTo>
                    <a:pt x="575" y="538"/>
                    <a:pt x="575" y="538"/>
                    <a:pt x="575" y="538"/>
                  </a:cubicBezTo>
                  <a:cubicBezTo>
                    <a:pt x="576" y="538"/>
                    <a:pt x="577" y="537"/>
                    <a:pt x="577" y="536"/>
                  </a:cubicBezTo>
                  <a:cubicBezTo>
                    <a:pt x="577" y="536"/>
                    <a:pt x="581" y="527"/>
                    <a:pt x="582" y="524"/>
                  </a:cubicBezTo>
                  <a:cubicBezTo>
                    <a:pt x="582" y="524"/>
                    <a:pt x="583" y="523"/>
                    <a:pt x="584" y="522"/>
                  </a:cubicBezTo>
                  <a:cubicBezTo>
                    <a:pt x="585" y="520"/>
                    <a:pt x="587" y="518"/>
                    <a:pt x="587" y="516"/>
                  </a:cubicBezTo>
                  <a:cubicBezTo>
                    <a:pt x="587" y="513"/>
                    <a:pt x="584" y="512"/>
                    <a:pt x="582" y="510"/>
                  </a:cubicBezTo>
                  <a:cubicBezTo>
                    <a:pt x="581" y="510"/>
                    <a:pt x="581" y="509"/>
                    <a:pt x="580" y="509"/>
                  </a:cubicBezTo>
                  <a:cubicBezTo>
                    <a:pt x="581" y="508"/>
                    <a:pt x="582" y="508"/>
                    <a:pt x="583" y="507"/>
                  </a:cubicBezTo>
                  <a:cubicBezTo>
                    <a:pt x="586" y="506"/>
                    <a:pt x="589" y="505"/>
                    <a:pt x="590" y="502"/>
                  </a:cubicBezTo>
                  <a:cubicBezTo>
                    <a:pt x="590" y="500"/>
                    <a:pt x="588" y="498"/>
                    <a:pt x="587" y="496"/>
                  </a:cubicBezTo>
                  <a:cubicBezTo>
                    <a:pt x="587" y="496"/>
                    <a:pt x="586" y="495"/>
                    <a:pt x="586" y="495"/>
                  </a:cubicBezTo>
                  <a:cubicBezTo>
                    <a:pt x="586" y="495"/>
                    <a:pt x="587" y="495"/>
                    <a:pt x="587" y="495"/>
                  </a:cubicBezTo>
                  <a:cubicBezTo>
                    <a:pt x="589" y="494"/>
                    <a:pt x="592" y="494"/>
                    <a:pt x="593" y="492"/>
                  </a:cubicBezTo>
                  <a:cubicBezTo>
                    <a:pt x="594" y="489"/>
                    <a:pt x="593" y="487"/>
                    <a:pt x="591" y="485"/>
                  </a:cubicBezTo>
                  <a:cubicBezTo>
                    <a:pt x="591" y="484"/>
                    <a:pt x="590" y="483"/>
                    <a:pt x="590" y="483"/>
                  </a:cubicBezTo>
                  <a:cubicBezTo>
                    <a:pt x="589" y="478"/>
                    <a:pt x="589" y="476"/>
                    <a:pt x="589" y="476"/>
                  </a:cubicBezTo>
                  <a:cubicBezTo>
                    <a:pt x="589" y="473"/>
                    <a:pt x="590" y="471"/>
                    <a:pt x="590" y="470"/>
                  </a:cubicBezTo>
                  <a:cubicBezTo>
                    <a:pt x="591" y="471"/>
                    <a:pt x="592" y="472"/>
                    <a:pt x="593" y="473"/>
                  </a:cubicBezTo>
                  <a:cubicBezTo>
                    <a:pt x="592" y="473"/>
                    <a:pt x="592" y="474"/>
                    <a:pt x="592" y="474"/>
                  </a:cubicBezTo>
                  <a:cubicBezTo>
                    <a:pt x="591" y="476"/>
                    <a:pt x="590" y="479"/>
                    <a:pt x="592" y="481"/>
                  </a:cubicBezTo>
                  <a:cubicBezTo>
                    <a:pt x="593" y="481"/>
                    <a:pt x="594" y="481"/>
                    <a:pt x="594" y="481"/>
                  </a:cubicBezTo>
                  <a:cubicBezTo>
                    <a:pt x="598" y="481"/>
                    <a:pt x="603" y="475"/>
                    <a:pt x="603" y="474"/>
                  </a:cubicBezTo>
                  <a:cubicBezTo>
                    <a:pt x="604" y="473"/>
                    <a:pt x="604" y="471"/>
                    <a:pt x="604" y="469"/>
                  </a:cubicBezTo>
                  <a:cubicBezTo>
                    <a:pt x="604" y="467"/>
                    <a:pt x="605" y="465"/>
                    <a:pt x="605" y="465"/>
                  </a:cubicBezTo>
                  <a:cubicBezTo>
                    <a:pt x="605" y="464"/>
                    <a:pt x="607" y="464"/>
                    <a:pt x="608" y="464"/>
                  </a:cubicBezTo>
                  <a:cubicBezTo>
                    <a:pt x="609" y="464"/>
                    <a:pt x="609" y="464"/>
                    <a:pt x="609" y="464"/>
                  </a:cubicBezTo>
                  <a:cubicBezTo>
                    <a:pt x="609" y="464"/>
                    <a:pt x="610" y="465"/>
                    <a:pt x="611" y="466"/>
                  </a:cubicBezTo>
                  <a:cubicBezTo>
                    <a:pt x="613" y="467"/>
                    <a:pt x="616" y="468"/>
                    <a:pt x="618" y="467"/>
                  </a:cubicBezTo>
                  <a:cubicBezTo>
                    <a:pt x="622" y="465"/>
                    <a:pt x="623" y="456"/>
                    <a:pt x="623" y="454"/>
                  </a:cubicBezTo>
                  <a:cubicBezTo>
                    <a:pt x="623" y="452"/>
                    <a:pt x="622" y="451"/>
                    <a:pt x="621" y="449"/>
                  </a:cubicBezTo>
                  <a:cubicBezTo>
                    <a:pt x="620" y="449"/>
                    <a:pt x="619" y="447"/>
                    <a:pt x="619" y="448"/>
                  </a:cubicBezTo>
                  <a:cubicBezTo>
                    <a:pt x="619" y="447"/>
                    <a:pt x="621" y="446"/>
                    <a:pt x="622" y="446"/>
                  </a:cubicBezTo>
                  <a:cubicBezTo>
                    <a:pt x="624" y="445"/>
                    <a:pt x="626" y="444"/>
                    <a:pt x="626" y="442"/>
                  </a:cubicBezTo>
                  <a:cubicBezTo>
                    <a:pt x="627" y="439"/>
                    <a:pt x="626" y="436"/>
                    <a:pt x="625" y="433"/>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25">
              <a:extLst>
                <a:ext uri="{FF2B5EF4-FFF2-40B4-BE49-F238E27FC236}">
                  <a16:creationId xmlns:a16="http://schemas.microsoft.com/office/drawing/2014/main" id="{6CF413D2-E6F6-4F61-91BD-58FE79FFC89C}"/>
                </a:ext>
              </a:extLst>
            </p:cNvPr>
            <p:cNvSpPr>
              <a:spLocks/>
            </p:cNvSpPr>
            <p:nvPr/>
          </p:nvSpPr>
          <p:spPr bwMode="auto">
            <a:xfrm>
              <a:off x="6763887" y="3392709"/>
              <a:ext cx="752991" cy="398226"/>
            </a:xfrm>
            <a:custGeom>
              <a:avLst/>
              <a:gdLst>
                <a:gd name="T0" fmla="*/ 646 w 677"/>
                <a:gd name="T1" fmla="*/ 140 h 358"/>
                <a:gd name="T2" fmla="*/ 620 w 677"/>
                <a:gd name="T3" fmla="*/ 105 h 358"/>
                <a:gd name="T4" fmla="*/ 608 w 677"/>
                <a:gd name="T5" fmla="*/ 68 h 358"/>
                <a:gd name="T6" fmla="*/ 604 w 677"/>
                <a:gd name="T7" fmla="*/ 58 h 358"/>
                <a:gd name="T8" fmla="*/ 583 w 677"/>
                <a:gd name="T9" fmla="*/ 43 h 358"/>
                <a:gd name="T10" fmla="*/ 568 w 677"/>
                <a:gd name="T11" fmla="*/ 23 h 358"/>
                <a:gd name="T12" fmla="*/ 550 w 677"/>
                <a:gd name="T13" fmla="*/ 35 h 358"/>
                <a:gd name="T14" fmla="*/ 534 w 677"/>
                <a:gd name="T15" fmla="*/ 44 h 358"/>
                <a:gd name="T16" fmla="*/ 517 w 677"/>
                <a:gd name="T17" fmla="*/ 37 h 358"/>
                <a:gd name="T18" fmla="*/ 498 w 677"/>
                <a:gd name="T19" fmla="*/ 45 h 358"/>
                <a:gd name="T20" fmla="*/ 477 w 677"/>
                <a:gd name="T21" fmla="*/ 32 h 358"/>
                <a:gd name="T22" fmla="*/ 441 w 677"/>
                <a:gd name="T23" fmla="*/ 10 h 358"/>
                <a:gd name="T24" fmla="*/ 409 w 677"/>
                <a:gd name="T25" fmla="*/ 5 h 358"/>
                <a:gd name="T26" fmla="*/ 389 w 677"/>
                <a:gd name="T27" fmla="*/ 6 h 358"/>
                <a:gd name="T28" fmla="*/ 387 w 677"/>
                <a:gd name="T29" fmla="*/ 28 h 358"/>
                <a:gd name="T30" fmla="*/ 379 w 677"/>
                <a:gd name="T31" fmla="*/ 46 h 358"/>
                <a:gd name="T32" fmla="*/ 355 w 677"/>
                <a:gd name="T33" fmla="*/ 51 h 358"/>
                <a:gd name="T34" fmla="*/ 340 w 677"/>
                <a:gd name="T35" fmla="*/ 66 h 358"/>
                <a:gd name="T36" fmla="*/ 328 w 677"/>
                <a:gd name="T37" fmla="*/ 91 h 358"/>
                <a:gd name="T38" fmla="*/ 312 w 677"/>
                <a:gd name="T39" fmla="*/ 112 h 358"/>
                <a:gd name="T40" fmla="*/ 305 w 677"/>
                <a:gd name="T41" fmla="*/ 137 h 358"/>
                <a:gd name="T42" fmla="*/ 279 w 677"/>
                <a:gd name="T43" fmla="*/ 143 h 358"/>
                <a:gd name="T44" fmla="*/ 261 w 677"/>
                <a:gd name="T45" fmla="*/ 128 h 358"/>
                <a:gd name="T46" fmla="*/ 257 w 677"/>
                <a:gd name="T47" fmla="*/ 141 h 358"/>
                <a:gd name="T48" fmla="*/ 246 w 677"/>
                <a:gd name="T49" fmla="*/ 163 h 358"/>
                <a:gd name="T50" fmla="*/ 239 w 677"/>
                <a:gd name="T51" fmla="*/ 165 h 358"/>
                <a:gd name="T52" fmla="*/ 224 w 677"/>
                <a:gd name="T53" fmla="*/ 156 h 358"/>
                <a:gd name="T54" fmla="*/ 205 w 677"/>
                <a:gd name="T55" fmla="*/ 173 h 358"/>
                <a:gd name="T56" fmla="*/ 197 w 677"/>
                <a:gd name="T57" fmla="*/ 177 h 358"/>
                <a:gd name="T58" fmla="*/ 164 w 677"/>
                <a:gd name="T59" fmla="*/ 171 h 358"/>
                <a:gd name="T60" fmla="*/ 154 w 677"/>
                <a:gd name="T61" fmla="*/ 180 h 358"/>
                <a:gd name="T62" fmla="*/ 147 w 677"/>
                <a:gd name="T63" fmla="*/ 174 h 358"/>
                <a:gd name="T64" fmla="*/ 124 w 677"/>
                <a:gd name="T65" fmla="*/ 179 h 358"/>
                <a:gd name="T66" fmla="*/ 115 w 677"/>
                <a:gd name="T67" fmla="*/ 190 h 358"/>
                <a:gd name="T68" fmla="*/ 107 w 677"/>
                <a:gd name="T69" fmla="*/ 207 h 358"/>
                <a:gd name="T70" fmla="*/ 113 w 677"/>
                <a:gd name="T71" fmla="*/ 225 h 358"/>
                <a:gd name="T72" fmla="*/ 88 w 677"/>
                <a:gd name="T73" fmla="*/ 238 h 358"/>
                <a:gd name="T74" fmla="*/ 77 w 677"/>
                <a:gd name="T75" fmla="*/ 251 h 358"/>
                <a:gd name="T76" fmla="*/ 86 w 677"/>
                <a:gd name="T77" fmla="*/ 273 h 358"/>
                <a:gd name="T78" fmla="*/ 70 w 677"/>
                <a:gd name="T79" fmla="*/ 274 h 358"/>
                <a:gd name="T80" fmla="*/ 40 w 677"/>
                <a:gd name="T81" fmla="*/ 265 h 358"/>
                <a:gd name="T82" fmla="*/ 19 w 677"/>
                <a:gd name="T83" fmla="*/ 283 h 358"/>
                <a:gd name="T84" fmla="*/ 24 w 677"/>
                <a:gd name="T85" fmla="*/ 298 h 358"/>
                <a:gd name="T86" fmla="*/ 25 w 677"/>
                <a:gd name="T87" fmla="*/ 321 h 358"/>
                <a:gd name="T88" fmla="*/ 19 w 677"/>
                <a:gd name="T89" fmla="*/ 343 h 358"/>
                <a:gd name="T90" fmla="*/ 2 w 677"/>
                <a:gd name="T91" fmla="*/ 346 h 358"/>
                <a:gd name="T92" fmla="*/ 3 w 677"/>
                <a:gd name="T93" fmla="*/ 358 h 358"/>
                <a:gd name="T94" fmla="*/ 134 w 677"/>
                <a:gd name="T95" fmla="*/ 336 h 358"/>
                <a:gd name="T96" fmla="*/ 151 w 677"/>
                <a:gd name="T97" fmla="*/ 328 h 358"/>
                <a:gd name="T98" fmla="*/ 320 w 677"/>
                <a:gd name="T99" fmla="*/ 312 h 358"/>
                <a:gd name="T100" fmla="*/ 463 w 677"/>
                <a:gd name="T101" fmla="*/ 298 h 358"/>
                <a:gd name="T102" fmla="*/ 536 w 677"/>
                <a:gd name="T103" fmla="*/ 288 h 358"/>
                <a:gd name="T104" fmla="*/ 559 w 677"/>
                <a:gd name="T105" fmla="*/ 276 h 358"/>
                <a:gd name="T106" fmla="*/ 586 w 677"/>
                <a:gd name="T107" fmla="*/ 254 h 358"/>
                <a:gd name="T108" fmla="*/ 606 w 677"/>
                <a:gd name="T109" fmla="*/ 238 h 358"/>
                <a:gd name="T110" fmla="*/ 616 w 677"/>
                <a:gd name="T111" fmla="*/ 223 h 358"/>
                <a:gd name="T112" fmla="*/ 676 w 677"/>
                <a:gd name="T113" fmla="*/ 155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7" h="358">
                  <a:moveTo>
                    <a:pt x="677" y="152"/>
                  </a:moveTo>
                  <a:cubicBezTo>
                    <a:pt x="676" y="151"/>
                    <a:pt x="675" y="151"/>
                    <a:pt x="674" y="151"/>
                  </a:cubicBezTo>
                  <a:cubicBezTo>
                    <a:pt x="660" y="150"/>
                    <a:pt x="660" y="150"/>
                    <a:pt x="660" y="150"/>
                  </a:cubicBezTo>
                  <a:cubicBezTo>
                    <a:pt x="646" y="140"/>
                    <a:pt x="646" y="140"/>
                    <a:pt x="646" y="140"/>
                  </a:cubicBezTo>
                  <a:cubicBezTo>
                    <a:pt x="630" y="120"/>
                    <a:pt x="630" y="120"/>
                    <a:pt x="630" y="120"/>
                  </a:cubicBezTo>
                  <a:cubicBezTo>
                    <a:pt x="623" y="113"/>
                    <a:pt x="623" y="113"/>
                    <a:pt x="623" y="113"/>
                  </a:cubicBezTo>
                  <a:cubicBezTo>
                    <a:pt x="621" y="106"/>
                    <a:pt x="621" y="106"/>
                    <a:pt x="621" y="106"/>
                  </a:cubicBezTo>
                  <a:cubicBezTo>
                    <a:pt x="621" y="106"/>
                    <a:pt x="621" y="106"/>
                    <a:pt x="620" y="105"/>
                  </a:cubicBezTo>
                  <a:cubicBezTo>
                    <a:pt x="606" y="90"/>
                    <a:pt x="606" y="90"/>
                    <a:pt x="606" y="90"/>
                  </a:cubicBezTo>
                  <a:cubicBezTo>
                    <a:pt x="609" y="77"/>
                    <a:pt x="609" y="77"/>
                    <a:pt x="609" y="77"/>
                  </a:cubicBezTo>
                  <a:cubicBezTo>
                    <a:pt x="609" y="76"/>
                    <a:pt x="609" y="76"/>
                    <a:pt x="609" y="76"/>
                  </a:cubicBezTo>
                  <a:cubicBezTo>
                    <a:pt x="608" y="68"/>
                    <a:pt x="608" y="68"/>
                    <a:pt x="608" y="68"/>
                  </a:cubicBezTo>
                  <a:cubicBezTo>
                    <a:pt x="608" y="67"/>
                    <a:pt x="608" y="67"/>
                    <a:pt x="608" y="67"/>
                  </a:cubicBezTo>
                  <a:cubicBezTo>
                    <a:pt x="605" y="63"/>
                    <a:pt x="605" y="63"/>
                    <a:pt x="605" y="63"/>
                  </a:cubicBezTo>
                  <a:cubicBezTo>
                    <a:pt x="605" y="59"/>
                    <a:pt x="605" y="59"/>
                    <a:pt x="605" y="59"/>
                  </a:cubicBezTo>
                  <a:cubicBezTo>
                    <a:pt x="605" y="59"/>
                    <a:pt x="604" y="58"/>
                    <a:pt x="604" y="58"/>
                  </a:cubicBezTo>
                  <a:cubicBezTo>
                    <a:pt x="598" y="50"/>
                    <a:pt x="598" y="50"/>
                    <a:pt x="598" y="50"/>
                  </a:cubicBezTo>
                  <a:cubicBezTo>
                    <a:pt x="591" y="44"/>
                    <a:pt x="591" y="44"/>
                    <a:pt x="591" y="44"/>
                  </a:cubicBezTo>
                  <a:cubicBezTo>
                    <a:pt x="590" y="44"/>
                    <a:pt x="590" y="43"/>
                    <a:pt x="589" y="43"/>
                  </a:cubicBezTo>
                  <a:cubicBezTo>
                    <a:pt x="583" y="43"/>
                    <a:pt x="583" y="43"/>
                    <a:pt x="583" y="43"/>
                  </a:cubicBezTo>
                  <a:cubicBezTo>
                    <a:pt x="577" y="36"/>
                    <a:pt x="577" y="36"/>
                    <a:pt x="577" y="36"/>
                  </a:cubicBezTo>
                  <a:cubicBezTo>
                    <a:pt x="571" y="24"/>
                    <a:pt x="571" y="24"/>
                    <a:pt x="571" y="24"/>
                  </a:cubicBezTo>
                  <a:cubicBezTo>
                    <a:pt x="571" y="23"/>
                    <a:pt x="570" y="23"/>
                    <a:pt x="570" y="23"/>
                  </a:cubicBezTo>
                  <a:cubicBezTo>
                    <a:pt x="569" y="22"/>
                    <a:pt x="568" y="22"/>
                    <a:pt x="568" y="23"/>
                  </a:cubicBezTo>
                  <a:cubicBezTo>
                    <a:pt x="559" y="27"/>
                    <a:pt x="559" y="27"/>
                    <a:pt x="559" y="27"/>
                  </a:cubicBezTo>
                  <a:cubicBezTo>
                    <a:pt x="559" y="27"/>
                    <a:pt x="559" y="27"/>
                    <a:pt x="559" y="27"/>
                  </a:cubicBezTo>
                  <a:cubicBezTo>
                    <a:pt x="551" y="35"/>
                    <a:pt x="551" y="35"/>
                    <a:pt x="551" y="35"/>
                  </a:cubicBezTo>
                  <a:cubicBezTo>
                    <a:pt x="550" y="35"/>
                    <a:pt x="550" y="35"/>
                    <a:pt x="550" y="35"/>
                  </a:cubicBezTo>
                  <a:cubicBezTo>
                    <a:pt x="547" y="41"/>
                    <a:pt x="547" y="41"/>
                    <a:pt x="547" y="41"/>
                  </a:cubicBezTo>
                  <a:cubicBezTo>
                    <a:pt x="541" y="41"/>
                    <a:pt x="541" y="41"/>
                    <a:pt x="541" y="41"/>
                  </a:cubicBezTo>
                  <a:cubicBezTo>
                    <a:pt x="540" y="41"/>
                    <a:pt x="540" y="41"/>
                    <a:pt x="540" y="41"/>
                  </a:cubicBezTo>
                  <a:cubicBezTo>
                    <a:pt x="534" y="44"/>
                    <a:pt x="534" y="44"/>
                    <a:pt x="534" y="44"/>
                  </a:cubicBezTo>
                  <a:cubicBezTo>
                    <a:pt x="528" y="39"/>
                    <a:pt x="528" y="39"/>
                    <a:pt x="528" y="39"/>
                  </a:cubicBezTo>
                  <a:cubicBezTo>
                    <a:pt x="528" y="39"/>
                    <a:pt x="527" y="38"/>
                    <a:pt x="527" y="38"/>
                  </a:cubicBezTo>
                  <a:cubicBezTo>
                    <a:pt x="517" y="37"/>
                    <a:pt x="517" y="37"/>
                    <a:pt x="517" y="37"/>
                  </a:cubicBezTo>
                  <a:cubicBezTo>
                    <a:pt x="517" y="37"/>
                    <a:pt x="517" y="37"/>
                    <a:pt x="517" y="37"/>
                  </a:cubicBezTo>
                  <a:cubicBezTo>
                    <a:pt x="510" y="38"/>
                    <a:pt x="510" y="38"/>
                    <a:pt x="510" y="38"/>
                  </a:cubicBezTo>
                  <a:cubicBezTo>
                    <a:pt x="509" y="38"/>
                    <a:pt x="508" y="38"/>
                    <a:pt x="508" y="39"/>
                  </a:cubicBezTo>
                  <a:cubicBezTo>
                    <a:pt x="503" y="45"/>
                    <a:pt x="503" y="45"/>
                    <a:pt x="503" y="45"/>
                  </a:cubicBezTo>
                  <a:cubicBezTo>
                    <a:pt x="498" y="45"/>
                    <a:pt x="498" y="45"/>
                    <a:pt x="498" y="45"/>
                  </a:cubicBezTo>
                  <a:cubicBezTo>
                    <a:pt x="483" y="34"/>
                    <a:pt x="483" y="34"/>
                    <a:pt x="483" y="34"/>
                  </a:cubicBezTo>
                  <a:cubicBezTo>
                    <a:pt x="483" y="33"/>
                    <a:pt x="483" y="33"/>
                    <a:pt x="482" y="33"/>
                  </a:cubicBezTo>
                  <a:cubicBezTo>
                    <a:pt x="478" y="32"/>
                    <a:pt x="478" y="32"/>
                    <a:pt x="478" y="32"/>
                  </a:cubicBezTo>
                  <a:cubicBezTo>
                    <a:pt x="478" y="32"/>
                    <a:pt x="477" y="32"/>
                    <a:pt x="477" y="32"/>
                  </a:cubicBezTo>
                  <a:cubicBezTo>
                    <a:pt x="462" y="34"/>
                    <a:pt x="462" y="34"/>
                    <a:pt x="462" y="34"/>
                  </a:cubicBezTo>
                  <a:cubicBezTo>
                    <a:pt x="456" y="33"/>
                    <a:pt x="456" y="33"/>
                    <a:pt x="456" y="33"/>
                  </a:cubicBezTo>
                  <a:cubicBezTo>
                    <a:pt x="445" y="19"/>
                    <a:pt x="445" y="19"/>
                    <a:pt x="445" y="19"/>
                  </a:cubicBezTo>
                  <a:cubicBezTo>
                    <a:pt x="441" y="10"/>
                    <a:pt x="441" y="10"/>
                    <a:pt x="441" y="10"/>
                  </a:cubicBezTo>
                  <a:cubicBezTo>
                    <a:pt x="440" y="9"/>
                    <a:pt x="440" y="9"/>
                    <a:pt x="439" y="9"/>
                  </a:cubicBezTo>
                  <a:cubicBezTo>
                    <a:pt x="421" y="2"/>
                    <a:pt x="421" y="2"/>
                    <a:pt x="421" y="2"/>
                  </a:cubicBezTo>
                  <a:cubicBezTo>
                    <a:pt x="421" y="1"/>
                    <a:pt x="420" y="1"/>
                    <a:pt x="420" y="2"/>
                  </a:cubicBezTo>
                  <a:cubicBezTo>
                    <a:pt x="409" y="5"/>
                    <a:pt x="409" y="5"/>
                    <a:pt x="409" y="5"/>
                  </a:cubicBezTo>
                  <a:cubicBezTo>
                    <a:pt x="402" y="0"/>
                    <a:pt x="402" y="0"/>
                    <a:pt x="402" y="0"/>
                  </a:cubicBezTo>
                  <a:cubicBezTo>
                    <a:pt x="402" y="0"/>
                    <a:pt x="400" y="0"/>
                    <a:pt x="400" y="0"/>
                  </a:cubicBezTo>
                  <a:cubicBezTo>
                    <a:pt x="390" y="6"/>
                    <a:pt x="390" y="6"/>
                    <a:pt x="390" y="6"/>
                  </a:cubicBezTo>
                  <a:cubicBezTo>
                    <a:pt x="389" y="6"/>
                    <a:pt x="389" y="6"/>
                    <a:pt x="389" y="6"/>
                  </a:cubicBezTo>
                  <a:cubicBezTo>
                    <a:pt x="385" y="10"/>
                    <a:pt x="385" y="10"/>
                    <a:pt x="385" y="10"/>
                  </a:cubicBezTo>
                  <a:cubicBezTo>
                    <a:pt x="385" y="11"/>
                    <a:pt x="384" y="12"/>
                    <a:pt x="385" y="13"/>
                  </a:cubicBezTo>
                  <a:cubicBezTo>
                    <a:pt x="389" y="21"/>
                    <a:pt x="389" y="21"/>
                    <a:pt x="389" y="21"/>
                  </a:cubicBezTo>
                  <a:cubicBezTo>
                    <a:pt x="387" y="28"/>
                    <a:pt x="387" y="28"/>
                    <a:pt x="387" y="28"/>
                  </a:cubicBezTo>
                  <a:cubicBezTo>
                    <a:pt x="387" y="28"/>
                    <a:pt x="387" y="29"/>
                    <a:pt x="387" y="30"/>
                  </a:cubicBezTo>
                  <a:cubicBezTo>
                    <a:pt x="394" y="37"/>
                    <a:pt x="394" y="37"/>
                    <a:pt x="394" y="37"/>
                  </a:cubicBezTo>
                  <a:cubicBezTo>
                    <a:pt x="393" y="42"/>
                    <a:pt x="393" y="42"/>
                    <a:pt x="393" y="42"/>
                  </a:cubicBezTo>
                  <a:cubicBezTo>
                    <a:pt x="379" y="46"/>
                    <a:pt x="379" y="46"/>
                    <a:pt x="379" y="46"/>
                  </a:cubicBezTo>
                  <a:cubicBezTo>
                    <a:pt x="378" y="46"/>
                    <a:pt x="378" y="46"/>
                    <a:pt x="378" y="46"/>
                  </a:cubicBezTo>
                  <a:cubicBezTo>
                    <a:pt x="365" y="56"/>
                    <a:pt x="365" y="56"/>
                    <a:pt x="365" y="56"/>
                  </a:cubicBezTo>
                  <a:cubicBezTo>
                    <a:pt x="358" y="52"/>
                    <a:pt x="358" y="52"/>
                    <a:pt x="358" y="52"/>
                  </a:cubicBezTo>
                  <a:cubicBezTo>
                    <a:pt x="357" y="51"/>
                    <a:pt x="356" y="51"/>
                    <a:pt x="355" y="51"/>
                  </a:cubicBezTo>
                  <a:cubicBezTo>
                    <a:pt x="348" y="54"/>
                    <a:pt x="348" y="54"/>
                    <a:pt x="348" y="54"/>
                  </a:cubicBezTo>
                  <a:cubicBezTo>
                    <a:pt x="341" y="55"/>
                    <a:pt x="341" y="55"/>
                    <a:pt x="341" y="55"/>
                  </a:cubicBezTo>
                  <a:cubicBezTo>
                    <a:pt x="340" y="55"/>
                    <a:pt x="339" y="56"/>
                    <a:pt x="339" y="58"/>
                  </a:cubicBezTo>
                  <a:cubicBezTo>
                    <a:pt x="340" y="66"/>
                    <a:pt x="340" y="66"/>
                    <a:pt x="340" y="66"/>
                  </a:cubicBezTo>
                  <a:cubicBezTo>
                    <a:pt x="343" y="74"/>
                    <a:pt x="343" y="74"/>
                    <a:pt x="343" y="74"/>
                  </a:cubicBezTo>
                  <a:cubicBezTo>
                    <a:pt x="341" y="81"/>
                    <a:pt x="341" y="81"/>
                    <a:pt x="341" y="81"/>
                  </a:cubicBezTo>
                  <a:cubicBezTo>
                    <a:pt x="336" y="87"/>
                    <a:pt x="336" y="87"/>
                    <a:pt x="336" y="87"/>
                  </a:cubicBezTo>
                  <a:cubicBezTo>
                    <a:pt x="328" y="91"/>
                    <a:pt x="328" y="91"/>
                    <a:pt x="328" y="91"/>
                  </a:cubicBezTo>
                  <a:cubicBezTo>
                    <a:pt x="328" y="92"/>
                    <a:pt x="327" y="92"/>
                    <a:pt x="327" y="93"/>
                  </a:cubicBezTo>
                  <a:cubicBezTo>
                    <a:pt x="325" y="107"/>
                    <a:pt x="325" y="107"/>
                    <a:pt x="325" y="107"/>
                  </a:cubicBezTo>
                  <a:cubicBezTo>
                    <a:pt x="319" y="112"/>
                    <a:pt x="319" y="112"/>
                    <a:pt x="319" y="112"/>
                  </a:cubicBezTo>
                  <a:cubicBezTo>
                    <a:pt x="312" y="112"/>
                    <a:pt x="312" y="112"/>
                    <a:pt x="312" y="112"/>
                  </a:cubicBezTo>
                  <a:cubicBezTo>
                    <a:pt x="311" y="112"/>
                    <a:pt x="310" y="112"/>
                    <a:pt x="310" y="114"/>
                  </a:cubicBezTo>
                  <a:cubicBezTo>
                    <a:pt x="305" y="129"/>
                    <a:pt x="305" y="129"/>
                    <a:pt x="305" y="129"/>
                  </a:cubicBezTo>
                  <a:cubicBezTo>
                    <a:pt x="305" y="129"/>
                    <a:pt x="305" y="129"/>
                    <a:pt x="305" y="130"/>
                  </a:cubicBezTo>
                  <a:cubicBezTo>
                    <a:pt x="305" y="137"/>
                    <a:pt x="305" y="137"/>
                    <a:pt x="305" y="137"/>
                  </a:cubicBezTo>
                  <a:cubicBezTo>
                    <a:pt x="304" y="144"/>
                    <a:pt x="304" y="144"/>
                    <a:pt x="304" y="144"/>
                  </a:cubicBezTo>
                  <a:cubicBezTo>
                    <a:pt x="299" y="147"/>
                    <a:pt x="299" y="147"/>
                    <a:pt x="299" y="147"/>
                  </a:cubicBezTo>
                  <a:cubicBezTo>
                    <a:pt x="285" y="146"/>
                    <a:pt x="285" y="146"/>
                    <a:pt x="285" y="146"/>
                  </a:cubicBezTo>
                  <a:cubicBezTo>
                    <a:pt x="279" y="143"/>
                    <a:pt x="279" y="143"/>
                    <a:pt x="279" y="143"/>
                  </a:cubicBezTo>
                  <a:cubicBezTo>
                    <a:pt x="273" y="133"/>
                    <a:pt x="273" y="133"/>
                    <a:pt x="273" y="133"/>
                  </a:cubicBezTo>
                  <a:cubicBezTo>
                    <a:pt x="272" y="132"/>
                    <a:pt x="272" y="132"/>
                    <a:pt x="271" y="132"/>
                  </a:cubicBezTo>
                  <a:cubicBezTo>
                    <a:pt x="264" y="128"/>
                    <a:pt x="264" y="128"/>
                    <a:pt x="264" y="128"/>
                  </a:cubicBezTo>
                  <a:cubicBezTo>
                    <a:pt x="263" y="127"/>
                    <a:pt x="262" y="128"/>
                    <a:pt x="261" y="128"/>
                  </a:cubicBezTo>
                  <a:cubicBezTo>
                    <a:pt x="261" y="129"/>
                    <a:pt x="260" y="130"/>
                    <a:pt x="261" y="131"/>
                  </a:cubicBezTo>
                  <a:cubicBezTo>
                    <a:pt x="263" y="136"/>
                    <a:pt x="263" y="136"/>
                    <a:pt x="263" y="136"/>
                  </a:cubicBezTo>
                  <a:cubicBezTo>
                    <a:pt x="257" y="140"/>
                    <a:pt x="257" y="140"/>
                    <a:pt x="257" y="140"/>
                  </a:cubicBezTo>
                  <a:cubicBezTo>
                    <a:pt x="257" y="140"/>
                    <a:pt x="257" y="141"/>
                    <a:pt x="257" y="141"/>
                  </a:cubicBezTo>
                  <a:cubicBezTo>
                    <a:pt x="251" y="148"/>
                    <a:pt x="251" y="148"/>
                    <a:pt x="251" y="148"/>
                  </a:cubicBezTo>
                  <a:cubicBezTo>
                    <a:pt x="251" y="149"/>
                    <a:pt x="250" y="149"/>
                    <a:pt x="251" y="150"/>
                  </a:cubicBezTo>
                  <a:cubicBezTo>
                    <a:pt x="251" y="157"/>
                    <a:pt x="251" y="157"/>
                    <a:pt x="251" y="157"/>
                  </a:cubicBezTo>
                  <a:cubicBezTo>
                    <a:pt x="246" y="163"/>
                    <a:pt x="246" y="163"/>
                    <a:pt x="246" y="163"/>
                  </a:cubicBezTo>
                  <a:cubicBezTo>
                    <a:pt x="246" y="164"/>
                    <a:pt x="246" y="164"/>
                    <a:pt x="246" y="164"/>
                  </a:cubicBezTo>
                  <a:cubicBezTo>
                    <a:pt x="245" y="169"/>
                    <a:pt x="245" y="169"/>
                    <a:pt x="245" y="169"/>
                  </a:cubicBezTo>
                  <a:cubicBezTo>
                    <a:pt x="240" y="166"/>
                    <a:pt x="240" y="166"/>
                    <a:pt x="240" y="166"/>
                  </a:cubicBezTo>
                  <a:cubicBezTo>
                    <a:pt x="240" y="165"/>
                    <a:pt x="239" y="165"/>
                    <a:pt x="239" y="165"/>
                  </a:cubicBezTo>
                  <a:cubicBezTo>
                    <a:pt x="233" y="164"/>
                    <a:pt x="233" y="164"/>
                    <a:pt x="233" y="164"/>
                  </a:cubicBezTo>
                  <a:cubicBezTo>
                    <a:pt x="228" y="157"/>
                    <a:pt x="228" y="157"/>
                    <a:pt x="228" y="157"/>
                  </a:cubicBezTo>
                  <a:cubicBezTo>
                    <a:pt x="227" y="156"/>
                    <a:pt x="227" y="156"/>
                    <a:pt x="226" y="156"/>
                  </a:cubicBezTo>
                  <a:cubicBezTo>
                    <a:pt x="225" y="156"/>
                    <a:pt x="224" y="156"/>
                    <a:pt x="224" y="156"/>
                  </a:cubicBezTo>
                  <a:cubicBezTo>
                    <a:pt x="218" y="162"/>
                    <a:pt x="218" y="162"/>
                    <a:pt x="218" y="162"/>
                  </a:cubicBezTo>
                  <a:cubicBezTo>
                    <a:pt x="211" y="165"/>
                    <a:pt x="211" y="165"/>
                    <a:pt x="211" y="165"/>
                  </a:cubicBezTo>
                  <a:cubicBezTo>
                    <a:pt x="211" y="165"/>
                    <a:pt x="210" y="165"/>
                    <a:pt x="210" y="165"/>
                  </a:cubicBezTo>
                  <a:cubicBezTo>
                    <a:pt x="205" y="173"/>
                    <a:pt x="205" y="173"/>
                    <a:pt x="205" y="173"/>
                  </a:cubicBezTo>
                  <a:cubicBezTo>
                    <a:pt x="205" y="173"/>
                    <a:pt x="204" y="174"/>
                    <a:pt x="204" y="174"/>
                  </a:cubicBezTo>
                  <a:cubicBezTo>
                    <a:pt x="204" y="176"/>
                    <a:pt x="204" y="176"/>
                    <a:pt x="204" y="176"/>
                  </a:cubicBezTo>
                  <a:cubicBezTo>
                    <a:pt x="202" y="181"/>
                    <a:pt x="202" y="181"/>
                    <a:pt x="202" y="181"/>
                  </a:cubicBezTo>
                  <a:cubicBezTo>
                    <a:pt x="197" y="177"/>
                    <a:pt x="197" y="177"/>
                    <a:pt x="197" y="177"/>
                  </a:cubicBezTo>
                  <a:cubicBezTo>
                    <a:pt x="197" y="176"/>
                    <a:pt x="196" y="176"/>
                    <a:pt x="196" y="176"/>
                  </a:cubicBezTo>
                  <a:cubicBezTo>
                    <a:pt x="173" y="167"/>
                    <a:pt x="173" y="167"/>
                    <a:pt x="173" y="167"/>
                  </a:cubicBezTo>
                  <a:cubicBezTo>
                    <a:pt x="172" y="167"/>
                    <a:pt x="172" y="167"/>
                    <a:pt x="171" y="168"/>
                  </a:cubicBezTo>
                  <a:cubicBezTo>
                    <a:pt x="164" y="171"/>
                    <a:pt x="164" y="171"/>
                    <a:pt x="164" y="171"/>
                  </a:cubicBezTo>
                  <a:cubicBezTo>
                    <a:pt x="155" y="172"/>
                    <a:pt x="155" y="172"/>
                    <a:pt x="155" y="172"/>
                  </a:cubicBezTo>
                  <a:cubicBezTo>
                    <a:pt x="154" y="172"/>
                    <a:pt x="153" y="172"/>
                    <a:pt x="153" y="173"/>
                  </a:cubicBezTo>
                  <a:cubicBezTo>
                    <a:pt x="152" y="173"/>
                    <a:pt x="152" y="174"/>
                    <a:pt x="153" y="175"/>
                  </a:cubicBezTo>
                  <a:cubicBezTo>
                    <a:pt x="154" y="180"/>
                    <a:pt x="154" y="180"/>
                    <a:pt x="154" y="180"/>
                  </a:cubicBezTo>
                  <a:cubicBezTo>
                    <a:pt x="152" y="181"/>
                    <a:pt x="152" y="181"/>
                    <a:pt x="152" y="181"/>
                  </a:cubicBezTo>
                  <a:cubicBezTo>
                    <a:pt x="151" y="176"/>
                    <a:pt x="151" y="176"/>
                    <a:pt x="151" y="176"/>
                  </a:cubicBezTo>
                  <a:cubicBezTo>
                    <a:pt x="151" y="175"/>
                    <a:pt x="150" y="174"/>
                    <a:pt x="149" y="174"/>
                  </a:cubicBezTo>
                  <a:cubicBezTo>
                    <a:pt x="149" y="174"/>
                    <a:pt x="148" y="174"/>
                    <a:pt x="147" y="174"/>
                  </a:cubicBezTo>
                  <a:cubicBezTo>
                    <a:pt x="141" y="178"/>
                    <a:pt x="141" y="178"/>
                    <a:pt x="141" y="178"/>
                  </a:cubicBezTo>
                  <a:cubicBezTo>
                    <a:pt x="126" y="176"/>
                    <a:pt x="126" y="176"/>
                    <a:pt x="126" y="176"/>
                  </a:cubicBezTo>
                  <a:cubicBezTo>
                    <a:pt x="126" y="176"/>
                    <a:pt x="125" y="176"/>
                    <a:pt x="124" y="177"/>
                  </a:cubicBezTo>
                  <a:cubicBezTo>
                    <a:pt x="124" y="178"/>
                    <a:pt x="123" y="179"/>
                    <a:pt x="124" y="179"/>
                  </a:cubicBezTo>
                  <a:cubicBezTo>
                    <a:pt x="126" y="185"/>
                    <a:pt x="126" y="185"/>
                    <a:pt x="126" y="185"/>
                  </a:cubicBezTo>
                  <a:cubicBezTo>
                    <a:pt x="123" y="190"/>
                    <a:pt x="123" y="190"/>
                    <a:pt x="123" y="190"/>
                  </a:cubicBezTo>
                  <a:cubicBezTo>
                    <a:pt x="117" y="189"/>
                    <a:pt x="117" y="189"/>
                    <a:pt x="117" y="189"/>
                  </a:cubicBezTo>
                  <a:cubicBezTo>
                    <a:pt x="116" y="189"/>
                    <a:pt x="116" y="189"/>
                    <a:pt x="115" y="190"/>
                  </a:cubicBezTo>
                  <a:cubicBezTo>
                    <a:pt x="115" y="190"/>
                    <a:pt x="114" y="191"/>
                    <a:pt x="114" y="191"/>
                  </a:cubicBezTo>
                  <a:cubicBezTo>
                    <a:pt x="114" y="194"/>
                    <a:pt x="114" y="194"/>
                    <a:pt x="114" y="194"/>
                  </a:cubicBezTo>
                  <a:cubicBezTo>
                    <a:pt x="112" y="200"/>
                    <a:pt x="112" y="200"/>
                    <a:pt x="112" y="200"/>
                  </a:cubicBezTo>
                  <a:cubicBezTo>
                    <a:pt x="107" y="207"/>
                    <a:pt x="107" y="207"/>
                    <a:pt x="107" y="207"/>
                  </a:cubicBezTo>
                  <a:cubicBezTo>
                    <a:pt x="106" y="208"/>
                    <a:pt x="106" y="209"/>
                    <a:pt x="106" y="209"/>
                  </a:cubicBezTo>
                  <a:cubicBezTo>
                    <a:pt x="108" y="217"/>
                    <a:pt x="108" y="217"/>
                    <a:pt x="108" y="217"/>
                  </a:cubicBezTo>
                  <a:cubicBezTo>
                    <a:pt x="108" y="218"/>
                    <a:pt x="108" y="218"/>
                    <a:pt x="108" y="218"/>
                  </a:cubicBezTo>
                  <a:cubicBezTo>
                    <a:pt x="113" y="225"/>
                    <a:pt x="113" y="225"/>
                    <a:pt x="113" y="225"/>
                  </a:cubicBezTo>
                  <a:cubicBezTo>
                    <a:pt x="109" y="230"/>
                    <a:pt x="109" y="230"/>
                    <a:pt x="109" y="230"/>
                  </a:cubicBezTo>
                  <a:cubicBezTo>
                    <a:pt x="96" y="233"/>
                    <a:pt x="96" y="233"/>
                    <a:pt x="96" y="233"/>
                  </a:cubicBezTo>
                  <a:cubicBezTo>
                    <a:pt x="96" y="233"/>
                    <a:pt x="95" y="233"/>
                    <a:pt x="95" y="233"/>
                  </a:cubicBezTo>
                  <a:cubicBezTo>
                    <a:pt x="88" y="238"/>
                    <a:pt x="88" y="238"/>
                    <a:pt x="88" y="238"/>
                  </a:cubicBezTo>
                  <a:cubicBezTo>
                    <a:pt x="80" y="241"/>
                    <a:pt x="80" y="241"/>
                    <a:pt x="80" y="241"/>
                  </a:cubicBezTo>
                  <a:cubicBezTo>
                    <a:pt x="80" y="241"/>
                    <a:pt x="79" y="242"/>
                    <a:pt x="79" y="243"/>
                  </a:cubicBezTo>
                  <a:cubicBezTo>
                    <a:pt x="77" y="250"/>
                    <a:pt x="77" y="250"/>
                    <a:pt x="77" y="250"/>
                  </a:cubicBezTo>
                  <a:cubicBezTo>
                    <a:pt x="77" y="250"/>
                    <a:pt x="77" y="251"/>
                    <a:pt x="77" y="251"/>
                  </a:cubicBezTo>
                  <a:cubicBezTo>
                    <a:pt x="78" y="259"/>
                    <a:pt x="78" y="259"/>
                    <a:pt x="78" y="259"/>
                  </a:cubicBezTo>
                  <a:cubicBezTo>
                    <a:pt x="78" y="259"/>
                    <a:pt x="78" y="260"/>
                    <a:pt x="79" y="260"/>
                  </a:cubicBezTo>
                  <a:cubicBezTo>
                    <a:pt x="84" y="267"/>
                    <a:pt x="84" y="267"/>
                    <a:pt x="84" y="267"/>
                  </a:cubicBezTo>
                  <a:cubicBezTo>
                    <a:pt x="86" y="273"/>
                    <a:pt x="86" y="273"/>
                    <a:pt x="86" y="273"/>
                  </a:cubicBezTo>
                  <a:cubicBezTo>
                    <a:pt x="82" y="280"/>
                    <a:pt x="82" y="280"/>
                    <a:pt x="82" y="280"/>
                  </a:cubicBezTo>
                  <a:cubicBezTo>
                    <a:pt x="77" y="279"/>
                    <a:pt x="77" y="279"/>
                    <a:pt x="77" y="279"/>
                  </a:cubicBezTo>
                  <a:cubicBezTo>
                    <a:pt x="70" y="274"/>
                    <a:pt x="70" y="274"/>
                    <a:pt x="70" y="274"/>
                  </a:cubicBezTo>
                  <a:cubicBezTo>
                    <a:pt x="70" y="274"/>
                    <a:pt x="70" y="274"/>
                    <a:pt x="70" y="274"/>
                  </a:cubicBezTo>
                  <a:cubicBezTo>
                    <a:pt x="56" y="270"/>
                    <a:pt x="56" y="270"/>
                    <a:pt x="56" y="270"/>
                  </a:cubicBezTo>
                  <a:cubicBezTo>
                    <a:pt x="49" y="266"/>
                    <a:pt x="49" y="266"/>
                    <a:pt x="49" y="266"/>
                  </a:cubicBezTo>
                  <a:cubicBezTo>
                    <a:pt x="48" y="266"/>
                    <a:pt x="48" y="266"/>
                    <a:pt x="48" y="266"/>
                  </a:cubicBezTo>
                  <a:cubicBezTo>
                    <a:pt x="40" y="265"/>
                    <a:pt x="40" y="265"/>
                    <a:pt x="40" y="265"/>
                  </a:cubicBezTo>
                  <a:cubicBezTo>
                    <a:pt x="40" y="265"/>
                    <a:pt x="39" y="265"/>
                    <a:pt x="39" y="265"/>
                  </a:cubicBezTo>
                  <a:cubicBezTo>
                    <a:pt x="31" y="268"/>
                    <a:pt x="31" y="268"/>
                    <a:pt x="31" y="268"/>
                  </a:cubicBezTo>
                  <a:cubicBezTo>
                    <a:pt x="31" y="268"/>
                    <a:pt x="31" y="268"/>
                    <a:pt x="30" y="269"/>
                  </a:cubicBezTo>
                  <a:cubicBezTo>
                    <a:pt x="19" y="283"/>
                    <a:pt x="19" y="283"/>
                    <a:pt x="19" y="283"/>
                  </a:cubicBezTo>
                  <a:cubicBezTo>
                    <a:pt x="19" y="283"/>
                    <a:pt x="19" y="284"/>
                    <a:pt x="19" y="284"/>
                  </a:cubicBezTo>
                  <a:cubicBezTo>
                    <a:pt x="19" y="292"/>
                    <a:pt x="19" y="292"/>
                    <a:pt x="19" y="292"/>
                  </a:cubicBezTo>
                  <a:cubicBezTo>
                    <a:pt x="19" y="293"/>
                    <a:pt x="19" y="294"/>
                    <a:pt x="20" y="294"/>
                  </a:cubicBezTo>
                  <a:cubicBezTo>
                    <a:pt x="24" y="298"/>
                    <a:pt x="24" y="298"/>
                    <a:pt x="24" y="298"/>
                  </a:cubicBezTo>
                  <a:cubicBezTo>
                    <a:pt x="25" y="303"/>
                    <a:pt x="25" y="303"/>
                    <a:pt x="25" y="303"/>
                  </a:cubicBezTo>
                  <a:cubicBezTo>
                    <a:pt x="23" y="311"/>
                    <a:pt x="23" y="311"/>
                    <a:pt x="23" y="311"/>
                  </a:cubicBezTo>
                  <a:cubicBezTo>
                    <a:pt x="23" y="311"/>
                    <a:pt x="23" y="311"/>
                    <a:pt x="23" y="312"/>
                  </a:cubicBezTo>
                  <a:cubicBezTo>
                    <a:pt x="25" y="321"/>
                    <a:pt x="25" y="321"/>
                    <a:pt x="25" y="321"/>
                  </a:cubicBezTo>
                  <a:cubicBezTo>
                    <a:pt x="19" y="326"/>
                    <a:pt x="19" y="326"/>
                    <a:pt x="19" y="326"/>
                  </a:cubicBezTo>
                  <a:cubicBezTo>
                    <a:pt x="18" y="327"/>
                    <a:pt x="18" y="328"/>
                    <a:pt x="19" y="329"/>
                  </a:cubicBezTo>
                  <a:cubicBezTo>
                    <a:pt x="22" y="335"/>
                    <a:pt x="22" y="335"/>
                    <a:pt x="22" y="335"/>
                  </a:cubicBezTo>
                  <a:cubicBezTo>
                    <a:pt x="19" y="343"/>
                    <a:pt x="19" y="343"/>
                    <a:pt x="19" y="343"/>
                  </a:cubicBezTo>
                  <a:cubicBezTo>
                    <a:pt x="14" y="341"/>
                    <a:pt x="14" y="341"/>
                    <a:pt x="14" y="341"/>
                  </a:cubicBezTo>
                  <a:cubicBezTo>
                    <a:pt x="13" y="340"/>
                    <a:pt x="12" y="340"/>
                    <a:pt x="12" y="341"/>
                  </a:cubicBezTo>
                  <a:cubicBezTo>
                    <a:pt x="4" y="344"/>
                    <a:pt x="4" y="344"/>
                    <a:pt x="4" y="344"/>
                  </a:cubicBezTo>
                  <a:cubicBezTo>
                    <a:pt x="3" y="345"/>
                    <a:pt x="3" y="345"/>
                    <a:pt x="2" y="346"/>
                  </a:cubicBezTo>
                  <a:cubicBezTo>
                    <a:pt x="0" y="355"/>
                    <a:pt x="0" y="355"/>
                    <a:pt x="0" y="355"/>
                  </a:cubicBezTo>
                  <a:cubicBezTo>
                    <a:pt x="0" y="356"/>
                    <a:pt x="0" y="357"/>
                    <a:pt x="1" y="358"/>
                  </a:cubicBezTo>
                  <a:cubicBezTo>
                    <a:pt x="1" y="358"/>
                    <a:pt x="2" y="358"/>
                    <a:pt x="3" y="358"/>
                  </a:cubicBezTo>
                  <a:cubicBezTo>
                    <a:pt x="3" y="358"/>
                    <a:pt x="3" y="358"/>
                    <a:pt x="3" y="358"/>
                  </a:cubicBezTo>
                  <a:cubicBezTo>
                    <a:pt x="131" y="348"/>
                    <a:pt x="131" y="348"/>
                    <a:pt x="131" y="348"/>
                  </a:cubicBezTo>
                  <a:cubicBezTo>
                    <a:pt x="132" y="347"/>
                    <a:pt x="133" y="347"/>
                    <a:pt x="133" y="345"/>
                  </a:cubicBezTo>
                  <a:cubicBezTo>
                    <a:pt x="134" y="337"/>
                    <a:pt x="134" y="337"/>
                    <a:pt x="134" y="337"/>
                  </a:cubicBezTo>
                  <a:cubicBezTo>
                    <a:pt x="134" y="337"/>
                    <a:pt x="134" y="337"/>
                    <a:pt x="134" y="336"/>
                  </a:cubicBezTo>
                  <a:cubicBezTo>
                    <a:pt x="130" y="325"/>
                    <a:pt x="130" y="325"/>
                    <a:pt x="130" y="325"/>
                  </a:cubicBezTo>
                  <a:cubicBezTo>
                    <a:pt x="142" y="325"/>
                    <a:pt x="142" y="325"/>
                    <a:pt x="142" y="325"/>
                  </a:cubicBezTo>
                  <a:cubicBezTo>
                    <a:pt x="150" y="328"/>
                    <a:pt x="150" y="328"/>
                    <a:pt x="150" y="328"/>
                  </a:cubicBezTo>
                  <a:cubicBezTo>
                    <a:pt x="150" y="328"/>
                    <a:pt x="151" y="328"/>
                    <a:pt x="151" y="328"/>
                  </a:cubicBezTo>
                  <a:cubicBezTo>
                    <a:pt x="190" y="323"/>
                    <a:pt x="190" y="323"/>
                    <a:pt x="190" y="323"/>
                  </a:cubicBezTo>
                  <a:cubicBezTo>
                    <a:pt x="227" y="320"/>
                    <a:pt x="227" y="320"/>
                    <a:pt x="227" y="320"/>
                  </a:cubicBezTo>
                  <a:cubicBezTo>
                    <a:pt x="274" y="314"/>
                    <a:pt x="274" y="314"/>
                    <a:pt x="274" y="314"/>
                  </a:cubicBezTo>
                  <a:cubicBezTo>
                    <a:pt x="320" y="312"/>
                    <a:pt x="320" y="312"/>
                    <a:pt x="320" y="312"/>
                  </a:cubicBezTo>
                  <a:cubicBezTo>
                    <a:pt x="366" y="307"/>
                    <a:pt x="366" y="307"/>
                    <a:pt x="366" y="307"/>
                  </a:cubicBezTo>
                  <a:cubicBezTo>
                    <a:pt x="391" y="303"/>
                    <a:pt x="391" y="303"/>
                    <a:pt x="391" y="303"/>
                  </a:cubicBezTo>
                  <a:cubicBezTo>
                    <a:pt x="432" y="301"/>
                    <a:pt x="432" y="301"/>
                    <a:pt x="432" y="301"/>
                  </a:cubicBezTo>
                  <a:cubicBezTo>
                    <a:pt x="463" y="298"/>
                    <a:pt x="463" y="298"/>
                    <a:pt x="463" y="298"/>
                  </a:cubicBezTo>
                  <a:cubicBezTo>
                    <a:pt x="492" y="293"/>
                    <a:pt x="492" y="293"/>
                    <a:pt x="492" y="293"/>
                  </a:cubicBezTo>
                  <a:cubicBezTo>
                    <a:pt x="525" y="291"/>
                    <a:pt x="525" y="291"/>
                    <a:pt x="525" y="291"/>
                  </a:cubicBezTo>
                  <a:cubicBezTo>
                    <a:pt x="525" y="291"/>
                    <a:pt x="526" y="291"/>
                    <a:pt x="526" y="291"/>
                  </a:cubicBezTo>
                  <a:cubicBezTo>
                    <a:pt x="536" y="288"/>
                    <a:pt x="536" y="288"/>
                    <a:pt x="536" y="288"/>
                  </a:cubicBezTo>
                  <a:cubicBezTo>
                    <a:pt x="536" y="288"/>
                    <a:pt x="536" y="287"/>
                    <a:pt x="536" y="287"/>
                  </a:cubicBezTo>
                  <a:cubicBezTo>
                    <a:pt x="550" y="278"/>
                    <a:pt x="550" y="278"/>
                    <a:pt x="550" y="278"/>
                  </a:cubicBezTo>
                  <a:cubicBezTo>
                    <a:pt x="558" y="276"/>
                    <a:pt x="558" y="276"/>
                    <a:pt x="558" y="276"/>
                  </a:cubicBezTo>
                  <a:cubicBezTo>
                    <a:pt x="558" y="276"/>
                    <a:pt x="559" y="276"/>
                    <a:pt x="559" y="276"/>
                  </a:cubicBezTo>
                  <a:cubicBezTo>
                    <a:pt x="566" y="270"/>
                    <a:pt x="566" y="270"/>
                    <a:pt x="566" y="270"/>
                  </a:cubicBezTo>
                  <a:cubicBezTo>
                    <a:pt x="584" y="263"/>
                    <a:pt x="584" y="263"/>
                    <a:pt x="584" y="263"/>
                  </a:cubicBezTo>
                  <a:cubicBezTo>
                    <a:pt x="584" y="263"/>
                    <a:pt x="585" y="262"/>
                    <a:pt x="585" y="261"/>
                  </a:cubicBezTo>
                  <a:cubicBezTo>
                    <a:pt x="586" y="254"/>
                    <a:pt x="586" y="254"/>
                    <a:pt x="586" y="254"/>
                  </a:cubicBezTo>
                  <a:cubicBezTo>
                    <a:pt x="592" y="249"/>
                    <a:pt x="592" y="249"/>
                    <a:pt x="592" y="249"/>
                  </a:cubicBezTo>
                  <a:cubicBezTo>
                    <a:pt x="600" y="246"/>
                    <a:pt x="600" y="246"/>
                    <a:pt x="600" y="246"/>
                  </a:cubicBezTo>
                  <a:cubicBezTo>
                    <a:pt x="600" y="245"/>
                    <a:pt x="600" y="245"/>
                    <a:pt x="600" y="245"/>
                  </a:cubicBezTo>
                  <a:cubicBezTo>
                    <a:pt x="606" y="238"/>
                    <a:pt x="606" y="238"/>
                    <a:pt x="606" y="238"/>
                  </a:cubicBezTo>
                  <a:cubicBezTo>
                    <a:pt x="607" y="237"/>
                    <a:pt x="607" y="237"/>
                    <a:pt x="607" y="236"/>
                  </a:cubicBezTo>
                  <a:cubicBezTo>
                    <a:pt x="607" y="230"/>
                    <a:pt x="607" y="230"/>
                    <a:pt x="607" y="230"/>
                  </a:cubicBezTo>
                  <a:cubicBezTo>
                    <a:pt x="615" y="224"/>
                    <a:pt x="615" y="224"/>
                    <a:pt x="615" y="224"/>
                  </a:cubicBezTo>
                  <a:cubicBezTo>
                    <a:pt x="616" y="224"/>
                    <a:pt x="616" y="223"/>
                    <a:pt x="616" y="223"/>
                  </a:cubicBezTo>
                  <a:cubicBezTo>
                    <a:pt x="617" y="215"/>
                    <a:pt x="617" y="215"/>
                    <a:pt x="617" y="215"/>
                  </a:cubicBezTo>
                  <a:cubicBezTo>
                    <a:pt x="621" y="208"/>
                    <a:pt x="621" y="208"/>
                    <a:pt x="621" y="208"/>
                  </a:cubicBezTo>
                  <a:cubicBezTo>
                    <a:pt x="647" y="189"/>
                    <a:pt x="647" y="189"/>
                    <a:pt x="647" y="189"/>
                  </a:cubicBezTo>
                  <a:cubicBezTo>
                    <a:pt x="676" y="155"/>
                    <a:pt x="676" y="155"/>
                    <a:pt x="676" y="155"/>
                  </a:cubicBezTo>
                  <a:cubicBezTo>
                    <a:pt x="677" y="154"/>
                    <a:pt x="677" y="153"/>
                    <a:pt x="677" y="15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6">
              <a:extLst>
                <a:ext uri="{FF2B5EF4-FFF2-40B4-BE49-F238E27FC236}">
                  <a16:creationId xmlns:a16="http://schemas.microsoft.com/office/drawing/2014/main" id="{093FA332-C4F6-44AE-966C-CB6985948BD9}"/>
                </a:ext>
              </a:extLst>
            </p:cNvPr>
            <p:cNvSpPr>
              <a:spLocks/>
            </p:cNvSpPr>
            <p:nvPr/>
          </p:nvSpPr>
          <p:spPr bwMode="auto">
            <a:xfrm>
              <a:off x="6574881" y="3972866"/>
              <a:ext cx="369926" cy="639790"/>
            </a:xfrm>
            <a:custGeom>
              <a:avLst/>
              <a:gdLst>
                <a:gd name="T0" fmla="*/ 31 w 332"/>
                <a:gd name="T1" fmla="*/ 266 h 575"/>
                <a:gd name="T2" fmla="*/ 44 w 332"/>
                <a:gd name="T3" fmla="*/ 270 h 575"/>
                <a:gd name="T4" fmla="*/ 47 w 332"/>
                <a:gd name="T5" fmla="*/ 288 h 575"/>
                <a:gd name="T6" fmla="*/ 54 w 332"/>
                <a:gd name="T7" fmla="*/ 301 h 575"/>
                <a:gd name="T8" fmla="*/ 46 w 332"/>
                <a:gd name="T9" fmla="*/ 313 h 575"/>
                <a:gd name="T10" fmla="*/ 56 w 332"/>
                <a:gd name="T11" fmla="*/ 325 h 575"/>
                <a:gd name="T12" fmla="*/ 67 w 332"/>
                <a:gd name="T13" fmla="*/ 334 h 575"/>
                <a:gd name="T14" fmla="*/ 54 w 332"/>
                <a:gd name="T15" fmla="*/ 344 h 575"/>
                <a:gd name="T16" fmla="*/ 49 w 332"/>
                <a:gd name="T17" fmla="*/ 355 h 575"/>
                <a:gd name="T18" fmla="*/ 51 w 332"/>
                <a:gd name="T19" fmla="*/ 365 h 575"/>
                <a:gd name="T20" fmla="*/ 52 w 332"/>
                <a:gd name="T21" fmla="*/ 370 h 575"/>
                <a:gd name="T22" fmla="*/ 25 w 332"/>
                <a:gd name="T23" fmla="*/ 399 h 575"/>
                <a:gd name="T24" fmla="*/ 21 w 332"/>
                <a:gd name="T25" fmla="*/ 417 h 575"/>
                <a:gd name="T26" fmla="*/ 19 w 332"/>
                <a:gd name="T27" fmla="*/ 426 h 575"/>
                <a:gd name="T28" fmla="*/ 7 w 332"/>
                <a:gd name="T29" fmla="*/ 448 h 575"/>
                <a:gd name="T30" fmla="*/ 0 w 332"/>
                <a:gd name="T31" fmla="*/ 463 h 575"/>
                <a:gd name="T32" fmla="*/ 9 w 332"/>
                <a:gd name="T33" fmla="*/ 486 h 575"/>
                <a:gd name="T34" fmla="*/ 194 w 332"/>
                <a:gd name="T35" fmla="*/ 481 h 575"/>
                <a:gd name="T36" fmla="*/ 188 w 332"/>
                <a:gd name="T37" fmla="*/ 505 h 575"/>
                <a:gd name="T38" fmla="*/ 192 w 332"/>
                <a:gd name="T39" fmla="*/ 533 h 575"/>
                <a:gd name="T40" fmla="*/ 209 w 332"/>
                <a:gd name="T41" fmla="*/ 562 h 575"/>
                <a:gd name="T42" fmla="*/ 222 w 332"/>
                <a:gd name="T43" fmla="*/ 575 h 575"/>
                <a:gd name="T44" fmla="*/ 240 w 332"/>
                <a:gd name="T45" fmla="*/ 560 h 575"/>
                <a:gd name="T46" fmla="*/ 268 w 332"/>
                <a:gd name="T47" fmla="*/ 549 h 575"/>
                <a:gd name="T48" fmla="*/ 303 w 332"/>
                <a:gd name="T49" fmla="*/ 549 h 575"/>
                <a:gd name="T50" fmla="*/ 328 w 332"/>
                <a:gd name="T51" fmla="*/ 549 h 575"/>
                <a:gd name="T52" fmla="*/ 308 w 332"/>
                <a:gd name="T53" fmla="*/ 364 h 575"/>
                <a:gd name="T54" fmla="*/ 304 w 332"/>
                <a:gd name="T55" fmla="*/ 0 h 575"/>
                <a:gd name="T56" fmla="*/ 108 w 332"/>
                <a:gd name="T57" fmla="*/ 16 h 575"/>
                <a:gd name="T58" fmla="*/ 107 w 332"/>
                <a:gd name="T59" fmla="*/ 26 h 575"/>
                <a:gd name="T60" fmla="*/ 92 w 332"/>
                <a:gd name="T61" fmla="*/ 44 h 575"/>
                <a:gd name="T62" fmla="*/ 82 w 332"/>
                <a:gd name="T63" fmla="*/ 57 h 575"/>
                <a:gd name="T64" fmla="*/ 80 w 332"/>
                <a:gd name="T65" fmla="*/ 77 h 575"/>
                <a:gd name="T66" fmla="*/ 72 w 332"/>
                <a:gd name="T67" fmla="*/ 93 h 575"/>
                <a:gd name="T68" fmla="*/ 59 w 332"/>
                <a:gd name="T69" fmla="*/ 107 h 575"/>
                <a:gd name="T70" fmla="*/ 52 w 332"/>
                <a:gd name="T71" fmla="*/ 117 h 575"/>
                <a:gd name="T72" fmla="*/ 36 w 332"/>
                <a:gd name="T73" fmla="*/ 140 h 575"/>
                <a:gd name="T74" fmla="*/ 42 w 332"/>
                <a:gd name="T75" fmla="*/ 158 h 575"/>
                <a:gd name="T76" fmla="*/ 32 w 332"/>
                <a:gd name="T77" fmla="*/ 169 h 575"/>
                <a:gd name="T78" fmla="*/ 31 w 332"/>
                <a:gd name="T79" fmla="*/ 172 h 575"/>
                <a:gd name="T80" fmla="*/ 24 w 332"/>
                <a:gd name="T81" fmla="*/ 188 h 575"/>
                <a:gd name="T82" fmla="*/ 36 w 332"/>
                <a:gd name="T83" fmla="*/ 209 h 575"/>
                <a:gd name="T84" fmla="*/ 38 w 332"/>
                <a:gd name="T85" fmla="*/ 223 h 575"/>
                <a:gd name="T86" fmla="*/ 42 w 332"/>
                <a:gd name="T87" fmla="*/ 239 h 575"/>
                <a:gd name="T88" fmla="*/ 35 w 332"/>
                <a:gd name="T89" fmla="*/ 25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2" h="575">
                  <a:moveTo>
                    <a:pt x="35" y="255"/>
                  </a:moveTo>
                  <a:cubicBezTo>
                    <a:pt x="32" y="259"/>
                    <a:pt x="32" y="259"/>
                    <a:pt x="32" y="259"/>
                  </a:cubicBezTo>
                  <a:cubicBezTo>
                    <a:pt x="31" y="266"/>
                    <a:pt x="31" y="266"/>
                    <a:pt x="31" y="266"/>
                  </a:cubicBezTo>
                  <a:cubicBezTo>
                    <a:pt x="38" y="261"/>
                    <a:pt x="38" y="261"/>
                    <a:pt x="38" y="261"/>
                  </a:cubicBezTo>
                  <a:cubicBezTo>
                    <a:pt x="44" y="262"/>
                    <a:pt x="44" y="262"/>
                    <a:pt x="44" y="262"/>
                  </a:cubicBezTo>
                  <a:cubicBezTo>
                    <a:pt x="44" y="270"/>
                    <a:pt x="44" y="270"/>
                    <a:pt x="44" y="270"/>
                  </a:cubicBezTo>
                  <a:cubicBezTo>
                    <a:pt x="38" y="276"/>
                    <a:pt x="38" y="276"/>
                    <a:pt x="38" y="276"/>
                  </a:cubicBezTo>
                  <a:cubicBezTo>
                    <a:pt x="39" y="284"/>
                    <a:pt x="39" y="284"/>
                    <a:pt x="39" y="284"/>
                  </a:cubicBezTo>
                  <a:cubicBezTo>
                    <a:pt x="47" y="288"/>
                    <a:pt x="47" y="288"/>
                    <a:pt x="47" y="288"/>
                  </a:cubicBezTo>
                  <a:cubicBezTo>
                    <a:pt x="39" y="298"/>
                    <a:pt x="39" y="298"/>
                    <a:pt x="39" y="298"/>
                  </a:cubicBezTo>
                  <a:cubicBezTo>
                    <a:pt x="41" y="303"/>
                    <a:pt x="41" y="303"/>
                    <a:pt x="41" y="303"/>
                  </a:cubicBezTo>
                  <a:cubicBezTo>
                    <a:pt x="54" y="301"/>
                    <a:pt x="54" y="301"/>
                    <a:pt x="54" y="301"/>
                  </a:cubicBezTo>
                  <a:cubicBezTo>
                    <a:pt x="48" y="308"/>
                    <a:pt x="48" y="308"/>
                    <a:pt x="48" y="308"/>
                  </a:cubicBezTo>
                  <a:cubicBezTo>
                    <a:pt x="53" y="315"/>
                    <a:pt x="53" y="315"/>
                    <a:pt x="53" y="315"/>
                  </a:cubicBezTo>
                  <a:cubicBezTo>
                    <a:pt x="46" y="313"/>
                    <a:pt x="46" y="313"/>
                    <a:pt x="46" y="313"/>
                  </a:cubicBezTo>
                  <a:cubicBezTo>
                    <a:pt x="45" y="314"/>
                    <a:pt x="45" y="314"/>
                    <a:pt x="45" y="314"/>
                  </a:cubicBezTo>
                  <a:cubicBezTo>
                    <a:pt x="49" y="321"/>
                    <a:pt x="49" y="321"/>
                    <a:pt x="49" y="321"/>
                  </a:cubicBezTo>
                  <a:cubicBezTo>
                    <a:pt x="56" y="325"/>
                    <a:pt x="56" y="325"/>
                    <a:pt x="56" y="325"/>
                  </a:cubicBezTo>
                  <a:cubicBezTo>
                    <a:pt x="58" y="331"/>
                    <a:pt x="58" y="331"/>
                    <a:pt x="58" y="331"/>
                  </a:cubicBezTo>
                  <a:cubicBezTo>
                    <a:pt x="65" y="333"/>
                    <a:pt x="65" y="333"/>
                    <a:pt x="65" y="333"/>
                  </a:cubicBezTo>
                  <a:cubicBezTo>
                    <a:pt x="67" y="334"/>
                    <a:pt x="67" y="334"/>
                    <a:pt x="67" y="334"/>
                  </a:cubicBezTo>
                  <a:cubicBezTo>
                    <a:pt x="66" y="337"/>
                    <a:pt x="66" y="337"/>
                    <a:pt x="66" y="337"/>
                  </a:cubicBezTo>
                  <a:cubicBezTo>
                    <a:pt x="60" y="337"/>
                    <a:pt x="60" y="337"/>
                    <a:pt x="60" y="337"/>
                  </a:cubicBezTo>
                  <a:cubicBezTo>
                    <a:pt x="54" y="344"/>
                    <a:pt x="54" y="344"/>
                    <a:pt x="54" y="344"/>
                  </a:cubicBezTo>
                  <a:cubicBezTo>
                    <a:pt x="47" y="347"/>
                    <a:pt x="47" y="347"/>
                    <a:pt x="47" y="347"/>
                  </a:cubicBezTo>
                  <a:cubicBezTo>
                    <a:pt x="42" y="354"/>
                    <a:pt x="42" y="354"/>
                    <a:pt x="42" y="354"/>
                  </a:cubicBezTo>
                  <a:cubicBezTo>
                    <a:pt x="49" y="355"/>
                    <a:pt x="49" y="355"/>
                    <a:pt x="49" y="355"/>
                  </a:cubicBezTo>
                  <a:cubicBezTo>
                    <a:pt x="57" y="354"/>
                    <a:pt x="57" y="354"/>
                    <a:pt x="57" y="354"/>
                  </a:cubicBezTo>
                  <a:cubicBezTo>
                    <a:pt x="52" y="363"/>
                    <a:pt x="52" y="363"/>
                    <a:pt x="52" y="363"/>
                  </a:cubicBezTo>
                  <a:cubicBezTo>
                    <a:pt x="51" y="365"/>
                    <a:pt x="51" y="365"/>
                    <a:pt x="51" y="365"/>
                  </a:cubicBezTo>
                  <a:cubicBezTo>
                    <a:pt x="44" y="366"/>
                    <a:pt x="44" y="366"/>
                    <a:pt x="44" y="366"/>
                  </a:cubicBezTo>
                  <a:cubicBezTo>
                    <a:pt x="51" y="369"/>
                    <a:pt x="51" y="369"/>
                    <a:pt x="51" y="369"/>
                  </a:cubicBezTo>
                  <a:cubicBezTo>
                    <a:pt x="52" y="370"/>
                    <a:pt x="52" y="370"/>
                    <a:pt x="52" y="370"/>
                  </a:cubicBezTo>
                  <a:cubicBezTo>
                    <a:pt x="34" y="389"/>
                    <a:pt x="34" y="389"/>
                    <a:pt x="34" y="389"/>
                  </a:cubicBezTo>
                  <a:cubicBezTo>
                    <a:pt x="28" y="392"/>
                    <a:pt x="28" y="392"/>
                    <a:pt x="28" y="392"/>
                  </a:cubicBezTo>
                  <a:cubicBezTo>
                    <a:pt x="25" y="399"/>
                    <a:pt x="25" y="399"/>
                    <a:pt x="25" y="399"/>
                  </a:cubicBezTo>
                  <a:cubicBezTo>
                    <a:pt x="30" y="403"/>
                    <a:pt x="30" y="403"/>
                    <a:pt x="30" y="403"/>
                  </a:cubicBezTo>
                  <a:cubicBezTo>
                    <a:pt x="23" y="410"/>
                    <a:pt x="23" y="410"/>
                    <a:pt x="23" y="410"/>
                  </a:cubicBezTo>
                  <a:cubicBezTo>
                    <a:pt x="21" y="417"/>
                    <a:pt x="21" y="417"/>
                    <a:pt x="21" y="417"/>
                  </a:cubicBezTo>
                  <a:cubicBezTo>
                    <a:pt x="13" y="422"/>
                    <a:pt x="13" y="422"/>
                    <a:pt x="13" y="422"/>
                  </a:cubicBezTo>
                  <a:cubicBezTo>
                    <a:pt x="21" y="423"/>
                    <a:pt x="21" y="423"/>
                    <a:pt x="21" y="423"/>
                  </a:cubicBezTo>
                  <a:cubicBezTo>
                    <a:pt x="19" y="426"/>
                    <a:pt x="19" y="426"/>
                    <a:pt x="19" y="426"/>
                  </a:cubicBezTo>
                  <a:cubicBezTo>
                    <a:pt x="12" y="432"/>
                    <a:pt x="12" y="432"/>
                    <a:pt x="12" y="432"/>
                  </a:cubicBezTo>
                  <a:cubicBezTo>
                    <a:pt x="16" y="447"/>
                    <a:pt x="16" y="447"/>
                    <a:pt x="16" y="447"/>
                  </a:cubicBezTo>
                  <a:cubicBezTo>
                    <a:pt x="7" y="448"/>
                    <a:pt x="7" y="448"/>
                    <a:pt x="7" y="448"/>
                  </a:cubicBezTo>
                  <a:cubicBezTo>
                    <a:pt x="13" y="455"/>
                    <a:pt x="13" y="455"/>
                    <a:pt x="13" y="455"/>
                  </a:cubicBezTo>
                  <a:cubicBezTo>
                    <a:pt x="11" y="461"/>
                    <a:pt x="11" y="461"/>
                    <a:pt x="11" y="461"/>
                  </a:cubicBezTo>
                  <a:cubicBezTo>
                    <a:pt x="0" y="463"/>
                    <a:pt x="0" y="463"/>
                    <a:pt x="0" y="463"/>
                  </a:cubicBezTo>
                  <a:cubicBezTo>
                    <a:pt x="5" y="471"/>
                    <a:pt x="5" y="471"/>
                    <a:pt x="5" y="471"/>
                  </a:cubicBezTo>
                  <a:cubicBezTo>
                    <a:pt x="4" y="479"/>
                    <a:pt x="4" y="479"/>
                    <a:pt x="4" y="479"/>
                  </a:cubicBezTo>
                  <a:cubicBezTo>
                    <a:pt x="9" y="486"/>
                    <a:pt x="9" y="486"/>
                    <a:pt x="9" y="486"/>
                  </a:cubicBezTo>
                  <a:cubicBezTo>
                    <a:pt x="2" y="494"/>
                    <a:pt x="2" y="494"/>
                    <a:pt x="2" y="494"/>
                  </a:cubicBezTo>
                  <a:cubicBezTo>
                    <a:pt x="100" y="488"/>
                    <a:pt x="100" y="488"/>
                    <a:pt x="100" y="488"/>
                  </a:cubicBezTo>
                  <a:cubicBezTo>
                    <a:pt x="194" y="481"/>
                    <a:pt x="194" y="481"/>
                    <a:pt x="194" y="481"/>
                  </a:cubicBezTo>
                  <a:cubicBezTo>
                    <a:pt x="194" y="482"/>
                    <a:pt x="194" y="482"/>
                    <a:pt x="194" y="482"/>
                  </a:cubicBezTo>
                  <a:cubicBezTo>
                    <a:pt x="193" y="490"/>
                    <a:pt x="193" y="490"/>
                    <a:pt x="193" y="490"/>
                  </a:cubicBezTo>
                  <a:cubicBezTo>
                    <a:pt x="188" y="505"/>
                    <a:pt x="188" y="505"/>
                    <a:pt x="188" y="505"/>
                  </a:cubicBezTo>
                  <a:cubicBezTo>
                    <a:pt x="188" y="505"/>
                    <a:pt x="185" y="515"/>
                    <a:pt x="185" y="518"/>
                  </a:cubicBezTo>
                  <a:cubicBezTo>
                    <a:pt x="185" y="520"/>
                    <a:pt x="188" y="526"/>
                    <a:pt x="188" y="526"/>
                  </a:cubicBezTo>
                  <a:cubicBezTo>
                    <a:pt x="188" y="526"/>
                    <a:pt x="191" y="532"/>
                    <a:pt x="192" y="533"/>
                  </a:cubicBezTo>
                  <a:cubicBezTo>
                    <a:pt x="195" y="536"/>
                    <a:pt x="201" y="540"/>
                    <a:pt x="203" y="543"/>
                  </a:cubicBezTo>
                  <a:cubicBezTo>
                    <a:pt x="204" y="545"/>
                    <a:pt x="204" y="549"/>
                    <a:pt x="205" y="551"/>
                  </a:cubicBezTo>
                  <a:cubicBezTo>
                    <a:pt x="205" y="551"/>
                    <a:pt x="205" y="557"/>
                    <a:pt x="209" y="562"/>
                  </a:cubicBezTo>
                  <a:cubicBezTo>
                    <a:pt x="210" y="563"/>
                    <a:pt x="213" y="569"/>
                    <a:pt x="213" y="569"/>
                  </a:cubicBezTo>
                  <a:cubicBezTo>
                    <a:pt x="218" y="572"/>
                    <a:pt x="218" y="572"/>
                    <a:pt x="218" y="572"/>
                  </a:cubicBezTo>
                  <a:cubicBezTo>
                    <a:pt x="218" y="572"/>
                    <a:pt x="221" y="574"/>
                    <a:pt x="222" y="575"/>
                  </a:cubicBezTo>
                  <a:cubicBezTo>
                    <a:pt x="224" y="575"/>
                    <a:pt x="228" y="575"/>
                    <a:pt x="229" y="574"/>
                  </a:cubicBezTo>
                  <a:cubicBezTo>
                    <a:pt x="231" y="573"/>
                    <a:pt x="231" y="568"/>
                    <a:pt x="232" y="567"/>
                  </a:cubicBezTo>
                  <a:cubicBezTo>
                    <a:pt x="233" y="565"/>
                    <a:pt x="240" y="560"/>
                    <a:pt x="240" y="560"/>
                  </a:cubicBezTo>
                  <a:cubicBezTo>
                    <a:pt x="242" y="557"/>
                    <a:pt x="242" y="557"/>
                    <a:pt x="242" y="557"/>
                  </a:cubicBezTo>
                  <a:cubicBezTo>
                    <a:pt x="248" y="554"/>
                    <a:pt x="250" y="555"/>
                    <a:pt x="253" y="555"/>
                  </a:cubicBezTo>
                  <a:cubicBezTo>
                    <a:pt x="257" y="555"/>
                    <a:pt x="268" y="549"/>
                    <a:pt x="268" y="549"/>
                  </a:cubicBezTo>
                  <a:cubicBezTo>
                    <a:pt x="283" y="546"/>
                    <a:pt x="283" y="546"/>
                    <a:pt x="283" y="546"/>
                  </a:cubicBezTo>
                  <a:cubicBezTo>
                    <a:pt x="287" y="544"/>
                    <a:pt x="296" y="547"/>
                    <a:pt x="296" y="547"/>
                  </a:cubicBezTo>
                  <a:cubicBezTo>
                    <a:pt x="296" y="547"/>
                    <a:pt x="301" y="549"/>
                    <a:pt x="303" y="549"/>
                  </a:cubicBezTo>
                  <a:cubicBezTo>
                    <a:pt x="305" y="549"/>
                    <a:pt x="311" y="546"/>
                    <a:pt x="311" y="546"/>
                  </a:cubicBezTo>
                  <a:cubicBezTo>
                    <a:pt x="311" y="546"/>
                    <a:pt x="312" y="544"/>
                    <a:pt x="313" y="544"/>
                  </a:cubicBezTo>
                  <a:cubicBezTo>
                    <a:pt x="317" y="542"/>
                    <a:pt x="324" y="551"/>
                    <a:pt x="328" y="549"/>
                  </a:cubicBezTo>
                  <a:cubicBezTo>
                    <a:pt x="330" y="549"/>
                    <a:pt x="332" y="541"/>
                    <a:pt x="332" y="541"/>
                  </a:cubicBezTo>
                  <a:cubicBezTo>
                    <a:pt x="331" y="538"/>
                    <a:pt x="331" y="538"/>
                    <a:pt x="331" y="538"/>
                  </a:cubicBezTo>
                  <a:cubicBezTo>
                    <a:pt x="308" y="364"/>
                    <a:pt x="308" y="364"/>
                    <a:pt x="308" y="364"/>
                  </a:cubicBezTo>
                  <a:cubicBezTo>
                    <a:pt x="315" y="10"/>
                    <a:pt x="315" y="10"/>
                    <a:pt x="315" y="10"/>
                  </a:cubicBezTo>
                  <a:cubicBezTo>
                    <a:pt x="308" y="6"/>
                    <a:pt x="308" y="6"/>
                    <a:pt x="308" y="6"/>
                  </a:cubicBezTo>
                  <a:cubicBezTo>
                    <a:pt x="304" y="0"/>
                    <a:pt x="304" y="0"/>
                    <a:pt x="304" y="0"/>
                  </a:cubicBezTo>
                  <a:cubicBezTo>
                    <a:pt x="303" y="0"/>
                    <a:pt x="303" y="0"/>
                    <a:pt x="303" y="0"/>
                  </a:cubicBezTo>
                  <a:cubicBezTo>
                    <a:pt x="233" y="6"/>
                    <a:pt x="233" y="6"/>
                    <a:pt x="233" y="6"/>
                  </a:cubicBezTo>
                  <a:cubicBezTo>
                    <a:pt x="108" y="16"/>
                    <a:pt x="108" y="16"/>
                    <a:pt x="108" y="16"/>
                  </a:cubicBezTo>
                  <a:cubicBezTo>
                    <a:pt x="108" y="16"/>
                    <a:pt x="103" y="15"/>
                    <a:pt x="103" y="16"/>
                  </a:cubicBezTo>
                  <a:cubicBezTo>
                    <a:pt x="103" y="17"/>
                    <a:pt x="106" y="19"/>
                    <a:pt x="106" y="19"/>
                  </a:cubicBezTo>
                  <a:cubicBezTo>
                    <a:pt x="106" y="19"/>
                    <a:pt x="108" y="25"/>
                    <a:pt x="107" y="26"/>
                  </a:cubicBezTo>
                  <a:cubicBezTo>
                    <a:pt x="106" y="29"/>
                    <a:pt x="102" y="32"/>
                    <a:pt x="100" y="33"/>
                  </a:cubicBezTo>
                  <a:cubicBezTo>
                    <a:pt x="98" y="34"/>
                    <a:pt x="94" y="33"/>
                    <a:pt x="92" y="34"/>
                  </a:cubicBezTo>
                  <a:cubicBezTo>
                    <a:pt x="90" y="34"/>
                    <a:pt x="94" y="37"/>
                    <a:pt x="92" y="44"/>
                  </a:cubicBezTo>
                  <a:cubicBezTo>
                    <a:pt x="91" y="47"/>
                    <a:pt x="86" y="46"/>
                    <a:pt x="83" y="41"/>
                  </a:cubicBezTo>
                  <a:cubicBezTo>
                    <a:pt x="81" y="39"/>
                    <a:pt x="81" y="49"/>
                    <a:pt x="83" y="52"/>
                  </a:cubicBezTo>
                  <a:cubicBezTo>
                    <a:pt x="83" y="52"/>
                    <a:pt x="83" y="56"/>
                    <a:pt x="82" y="57"/>
                  </a:cubicBezTo>
                  <a:cubicBezTo>
                    <a:pt x="76" y="61"/>
                    <a:pt x="80" y="64"/>
                    <a:pt x="80" y="64"/>
                  </a:cubicBezTo>
                  <a:cubicBezTo>
                    <a:pt x="80" y="65"/>
                    <a:pt x="84" y="66"/>
                    <a:pt x="85" y="68"/>
                  </a:cubicBezTo>
                  <a:cubicBezTo>
                    <a:pt x="85" y="70"/>
                    <a:pt x="81" y="74"/>
                    <a:pt x="80" y="77"/>
                  </a:cubicBezTo>
                  <a:cubicBezTo>
                    <a:pt x="80" y="78"/>
                    <a:pt x="82" y="81"/>
                    <a:pt x="82" y="83"/>
                  </a:cubicBezTo>
                  <a:cubicBezTo>
                    <a:pt x="81" y="85"/>
                    <a:pt x="78" y="89"/>
                    <a:pt x="76" y="91"/>
                  </a:cubicBezTo>
                  <a:cubicBezTo>
                    <a:pt x="75" y="91"/>
                    <a:pt x="73" y="93"/>
                    <a:pt x="72" y="93"/>
                  </a:cubicBezTo>
                  <a:cubicBezTo>
                    <a:pt x="70" y="93"/>
                    <a:pt x="66" y="91"/>
                    <a:pt x="65" y="93"/>
                  </a:cubicBezTo>
                  <a:cubicBezTo>
                    <a:pt x="63" y="94"/>
                    <a:pt x="67" y="98"/>
                    <a:pt x="66" y="100"/>
                  </a:cubicBezTo>
                  <a:cubicBezTo>
                    <a:pt x="65" y="102"/>
                    <a:pt x="60" y="105"/>
                    <a:pt x="59" y="107"/>
                  </a:cubicBezTo>
                  <a:cubicBezTo>
                    <a:pt x="58" y="108"/>
                    <a:pt x="58" y="112"/>
                    <a:pt x="57" y="112"/>
                  </a:cubicBezTo>
                  <a:cubicBezTo>
                    <a:pt x="50" y="109"/>
                    <a:pt x="54" y="115"/>
                    <a:pt x="54" y="115"/>
                  </a:cubicBezTo>
                  <a:cubicBezTo>
                    <a:pt x="54" y="116"/>
                    <a:pt x="52" y="117"/>
                    <a:pt x="52" y="117"/>
                  </a:cubicBezTo>
                  <a:cubicBezTo>
                    <a:pt x="51" y="119"/>
                    <a:pt x="51" y="123"/>
                    <a:pt x="52" y="125"/>
                  </a:cubicBezTo>
                  <a:cubicBezTo>
                    <a:pt x="52" y="127"/>
                    <a:pt x="56" y="130"/>
                    <a:pt x="55" y="132"/>
                  </a:cubicBezTo>
                  <a:cubicBezTo>
                    <a:pt x="53" y="137"/>
                    <a:pt x="37" y="135"/>
                    <a:pt x="36" y="140"/>
                  </a:cubicBezTo>
                  <a:cubicBezTo>
                    <a:pt x="36" y="141"/>
                    <a:pt x="41" y="142"/>
                    <a:pt x="42" y="144"/>
                  </a:cubicBezTo>
                  <a:cubicBezTo>
                    <a:pt x="42" y="146"/>
                    <a:pt x="40" y="150"/>
                    <a:pt x="40" y="152"/>
                  </a:cubicBezTo>
                  <a:cubicBezTo>
                    <a:pt x="40" y="154"/>
                    <a:pt x="42" y="157"/>
                    <a:pt x="42" y="158"/>
                  </a:cubicBezTo>
                  <a:cubicBezTo>
                    <a:pt x="41" y="160"/>
                    <a:pt x="41" y="162"/>
                    <a:pt x="40" y="163"/>
                  </a:cubicBezTo>
                  <a:cubicBezTo>
                    <a:pt x="38" y="164"/>
                    <a:pt x="34" y="161"/>
                    <a:pt x="32" y="163"/>
                  </a:cubicBezTo>
                  <a:cubicBezTo>
                    <a:pt x="31" y="164"/>
                    <a:pt x="31" y="167"/>
                    <a:pt x="32" y="169"/>
                  </a:cubicBezTo>
                  <a:cubicBezTo>
                    <a:pt x="33" y="170"/>
                    <a:pt x="40" y="169"/>
                    <a:pt x="40" y="171"/>
                  </a:cubicBezTo>
                  <a:cubicBezTo>
                    <a:pt x="40" y="173"/>
                    <a:pt x="35" y="176"/>
                    <a:pt x="33" y="175"/>
                  </a:cubicBezTo>
                  <a:cubicBezTo>
                    <a:pt x="32" y="175"/>
                    <a:pt x="32" y="172"/>
                    <a:pt x="31" y="172"/>
                  </a:cubicBezTo>
                  <a:cubicBezTo>
                    <a:pt x="29" y="172"/>
                    <a:pt x="26" y="174"/>
                    <a:pt x="26" y="175"/>
                  </a:cubicBezTo>
                  <a:cubicBezTo>
                    <a:pt x="25" y="177"/>
                    <a:pt x="32" y="181"/>
                    <a:pt x="31" y="183"/>
                  </a:cubicBezTo>
                  <a:cubicBezTo>
                    <a:pt x="31" y="185"/>
                    <a:pt x="25" y="186"/>
                    <a:pt x="24" y="188"/>
                  </a:cubicBezTo>
                  <a:cubicBezTo>
                    <a:pt x="24" y="190"/>
                    <a:pt x="28" y="194"/>
                    <a:pt x="29" y="195"/>
                  </a:cubicBezTo>
                  <a:cubicBezTo>
                    <a:pt x="30" y="197"/>
                    <a:pt x="29" y="207"/>
                    <a:pt x="29" y="207"/>
                  </a:cubicBezTo>
                  <a:cubicBezTo>
                    <a:pt x="30" y="209"/>
                    <a:pt x="35" y="209"/>
                    <a:pt x="36" y="209"/>
                  </a:cubicBezTo>
                  <a:cubicBezTo>
                    <a:pt x="37" y="209"/>
                    <a:pt x="37" y="208"/>
                    <a:pt x="37" y="208"/>
                  </a:cubicBezTo>
                  <a:cubicBezTo>
                    <a:pt x="39" y="209"/>
                    <a:pt x="35" y="213"/>
                    <a:pt x="35" y="215"/>
                  </a:cubicBezTo>
                  <a:cubicBezTo>
                    <a:pt x="35" y="217"/>
                    <a:pt x="37" y="222"/>
                    <a:pt x="38" y="223"/>
                  </a:cubicBezTo>
                  <a:cubicBezTo>
                    <a:pt x="38" y="224"/>
                    <a:pt x="40" y="224"/>
                    <a:pt x="40" y="225"/>
                  </a:cubicBezTo>
                  <a:cubicBezTo>
                    <a:pt x="42" y="227"/>
                    <a:pt x="43" y="234"/>
                    <a:pt x="42" y="237"/>
                  </a:cubicBezTo>
                  <a:cubicBezTo>
                    <a:pt x="42" y="237"/>
                    <a:pt x="42" y="238"/>
                    <a:pt x="42" y="239"/>
                  </a:cubicBezTo>
                  <a:cubicBezTo>
                    <a:pt x="40" y="239"/>
                    <a:pt x="35" y="237"/>
                    <a:pt x="34" y="239"/>
                  </a:cubicBezTo>
                  <a:cubicBezTo>
                    <a:pt x="33" y="240"/>
                    <a:pt x="36" y="245"/>
                    <a:pt x="36" y="245"/>
                  </a:cubicBezTo>
                  <a:lnTo>
                    <a:pt x="35" y="255"/>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7">
              <a:extLst>
                <a:ext uri="{FF2B5EF4-FFF2-40B4-BE49-F238E27FC236}">
                  <a16:creationId xmlns:a16="http://schemas.microsoft.com/office/drawing/2014/main" id="{BB7C459C-8B91-44F6-A65C-CE508952C351}"/>
                </a:ext>
              </a:extLst>
            </p:cNvPr>
            <p:cNvSpPr>
              <a:spLocks/>
            </p:cNvSpPr>
            <p:nvPr/>
          </p:nvSpPr>
          <p:spPr bwMode="auto">
            <a:xfrm>
              <a:off x="6227192" y="3790935"/>
              <a:ext cx="522546" cy="484138"/>
            </a:xfrm>
            <a:custGeom>
              <a:avLst/>
              <a:gdLst>
                <a:gd name="T0" fmla="*/ 462 w 470"/>
                <a:gd name="T1" fmla="*/ 56 h 435"/>
                <a:gd name="T2" fmla="*/ 410 w 470"/>
                <a:gd name="T3" fmla="*/ 50 h 435"/>
                <a:gd name="T4" fmla="*/ 423 w 470"/>
                <a:gd name="T5" fmla="*/ 39 h 435"/>
                <a:gd name="T6" fmla="*/ 427 w 470"/>
                <a:gd name="T7" fmla="*/ 13 h 435"/>
                <a:gd name="T8" fmla="*/ 412 w 470"/>
                <a:gd name="T9" fmla="*/ 0 h 435"/>
                <a:gd name="T10" fmla="*/ 5 w 470"/>
                <a:gd name="T11" fmla="*/ 20 h 435"/>
                <a:gd name="T12" fmla="*/ 17 w 470"/>
                <a:gd name="T13" fmla="*/ 122 h 435"/>
                <a:gd name="T14" fmla="*/ 23 w 470"/>
                <a:gd name="T15" fmla="*/ 361 h 435"/>
                <a:gd name="T16" fmla="*/ 26 w 470"/>
                <a:gd name="T17" fmla="*/ 365 h 435"/>
                <a:gd name="T18" fmla="*/ 44 w 470"/>
                <a:gd name="T19" fmla="*/ 369 h 435"/>
                <a:gd name="T20" fmla="*/ 66 w 470"/>
                <a:gd name="T21" fmla="*/ 432 h 435"/>
                <a:gd name="T22" fmla="*/ 69 w 470"/>
                <a:gd name="T23" fmla="*/ 435 h 435"/>
                <a:gd name="T24" fmla="*/ 350 w 470"/>
                <a:gd name="T25" fmla="*/ 419 h 435"/>
                <a:gd name="T26" fmla="*/ 350 w 470"/>
                <a:gd name="T27" fmla="*/ 405 h 435"/>
                <a:gd name="T28" fmla="*/ 358 w 470"/>
                <a:gd name="T29" fmla="*/ 402 h 435"/>
                <a:gd name="T30" fmla="*/ 350 w 470"/>
                <a:gd name="T31" fmla="*/ 379 h 435"/>
                <a:gd name="T32" fmla="*/ 348 w 470"/>
                <a:gd name="T33" fmla="*/ 371 h 435"/>
                <a:gd name="T34" fmla="*/ 351 w 470"/>
                <a:gd name="T35" fmla="*/ 366 h 435"/>
                <a:gd name="T36" fmla="*/ 344 w 470"/>
                <a:gd name="T37" fmla="*/ 358 h 435"/>
                <a:gd name="T38" fmla="*/ 341 w 470"/>
                <a:gd name="T39" fmla="*/ 353 h 435"/>
                <a:gd name="T40" fmla="*/ 343 w 470"/>
                <a:gd name="T41" fmla="*/ 342 h 435"/>
                <a:gd name="T42" fmla="*/ 345 w 470"/>
                <a:gd name="T43" fmla="*/ 342 h 435"/>
                <a:gd name="T44" fmla="*/ 356 w 470"/>
                <a:gd name="T45" fmla="*/ 334 h 435"/>
                <a:gd name="T46" fmla="*/ 347 w 470"/>
                <a:gd name="T47" fmla="*/ 329 h 435"/>
                <a:gd name="T48" fmla="*/ 355 w 470"/>
                <a:gd name="T49" fmla="*/ 328 h 435"/>
                <a:gd name="T50" fmla="*/ 357 w 470"/>
                <a:gd name="T51" fmla="*/ 307 h 435"/>
                <a:gd name="T52" fmla="*/ 359 w 470"/>
                <a:gd name="T53" fmla="*/ 302 h 435"/>
                <a:gd name="T54" fmla="*/ 367 w 470"/>
                <a:gd name="T55" fmla="*/ 288 h 435"/>
                <a:gd name="T56" fmla="*/ 370 w 470"/>
                <a:gd name="T57" fmla="*/ 279 h 435"/>
                <a:gd name="T58" fmla="*/ 374 w 470"/>
                <a:gd name="T59" fmla="*/ 273 h 435"/>
                <a:gd name="T60" fmla="*/ 381 w 470"/>
                <a:gd name="T61" fmla="*/ 265 h 435"/>
                <a:gd name="T62" fmla="*/ 381 w 470"/>
                <a:gd name="T63" fmla="*/ 259 h 435"/>
                <a:gd name="T64" fmla="*/ 397 w 470"/>
                <a:gd name="T65" fmla="*/ 247 h 435"/>
                <a:gd name="T66" fmla="*/ 398 w 470"/>
                <a:gd name="T67" fmla="*/ 238 h 435"/>
                <a:gd name="T68" fmla="*/ 396 w 470"/>
                <a:gd name="T69" fmla="*/ 227 h 435"/>
                <a:gd name="T70" fmla="*/ 401 w 470"/>
                <a:gd name="T71" fmla="*/ 216 h 435"/>
                <a:gd name="T72" fmla="*/ 408 w 470"/>
                <a:gd name="T73" fmla="*/ 206 h 435"/>
                <a:gd name="T74" fmla="*/ 422 w 470"/>
                <a:gd name="T75" fmla="*/ 191 h 435"/>
                <a:gd name="T76" fmla="*/ 421 w 470"/>
                <a:gd name="T77" fmla="*/ 178 h 435"/>
                <a:gd name="T78" fmla="*/ 429 w 470"/>
                <a:gd name="T79" fmla="*/ 169 h 435"/>
                <a:gd name="T80" fmla="*/ 438 w 470"/>
                <a:gd name="T81" fmla="*/ 162 h 435"/>
                <a:gd name="T82" fmla="*/ 428 w 470"/>
                <a:gd name="T83" fmla="*/ 132 h 435"/>
                <a:gd name="T84" fmla="*/ 435 w 470"/>
                <a:gd name="T85" fmla="*/ 127 h 435"/>
                <a:gd name="T86" fmla="*/ 440 w 470"/>
                <a:gd name="T87" fmla="*/ 117 h 435"/>
                <a:gd name="T88" fmla="*/ 443 w 470"/>
                <a:gd name="T89" fmla="*/ 114 h 435"/>
                <a:gd name="T90" fmla="*/ 447 w 470"/>
                <a:gd name="T91" fmla="*/ 95 h 435"/>
                <a:gd name="T92" fmla="*/ 465 w 470"/>
                <a:gd name="T93" fmla="*/ 81 h 435"/>
                <a:gd name="T94" fmla="*/ 463 w 470"/>
                <a:gd name="T95" fmla="*/ 74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0" h="435">
                  <a:moveTo>
                    <a:pt x="467" y="62"/>
                  </a:moveTo>
                  <a:cubicBezTo>
                    <a:pt x="467" y="60"/>
                    <a:pt x="465" y="58"/>
                    <a:pt x="464" y="57"/>
                  </a:cubicBezTo>
                  <a:cubicBezTo>
                    <a:pt x="463" y="56"/>
                    <a:pt x="463" y="56"/>
                    <a:pt x="462" y="56"/>
                  </a:cubicBezTo>
                  <a:cubicBezTo>
                    <a:pt x="409" y="62"/>
                    <a:pt x="409" y="62"/>
                    <a:pt x="409" y="62"/>
                  </a:cubicBezTo>
                  <a:cubicBezTo>
                    <a:pt x="408" y="59"/>
                    <a:pt x="408" y="57"/>
                    <a:pt x="408" y="56"/>
                  </a:cubicBezTo>
                  <a:cubicBezTo>
                    <a:pt x="408" y="56"/>
                    <a:pt x="409" y="53"/>
                    <a:pt x="410" y="50"/>
                  </a:cubicBezTo>
                  <a:cubicBezTo>
                    <a:pt x="412" y="48"/>
                    <a:pt x="414" y="44"/>
                    <a:pt x="415" y="43"/>
                  </a:cubicBezTo>
                  <a:cubicBezTo>
                    <a:pt x="416" y="43"/>
                    <a:pt x="417" y="42"/>
                    <a:pt x="419" y="41"/>
                  </a:cubicBezTo>
                  <a:cubicBezTo>
                    <a:pt x="420" y="40"/>
                    <a:pt x="422" y="40"/>
                    <a:pt x="423" y="39"/>
                  </a:cubicBezTo>
                  <a:cubicBezTo>
                    <a:pt x="425" y="37"/>
                    <a:pt x="429" y="33"/>
                    <a:pt x="430" y="30"/>
                  </a:cubicBezTo>
                  <a:cubicBezTo>
                    <a:pt x="431" y="28"/>
                    <a:pt x="430" y="22"/>
                    <a:pt x="430" y="21"/>
                  </a:cubicBezTo>
                  <a:cubicBezTo>
                    <a:pt x="430" y="19"/>
                    <a:pt x="428" y="15"/>
                    <a:pt x="427" y="13"/>
                  </a:cubicBezTo>
                  <a:cubicBezTo>
                    <a:pt x="426" y="11"/>
                    <a:pt x="423" y="7"/>
                    <a:pt x="421" y="5"/>
                  </a:cubicBezTo>
                  <a:cubicBezTo>
                    <a:pt x="419" y="4"/>
                    <a:pt x="414" y="1"/>
                    <a:pt x="413" y="1"/>
                  </a:cubicBezTo>
                  <a:cubicBezTo>
                    <a:pt x="413" y="1"/>
                    <a:pt x="412" y="0"/>
                    <a:pt x="412" y="0"/>
                  </a:cubicBezTo>
                  <a:cubicBezTo>
                    <a:pt x="243" y="11"/>
                    <a:pt x="243" y="11"/>
                    <a:pt x="243" y="11"/>
                  </a:cubicBezTo>
                  <a:cubicBezTo>
                    <a:pt x="96" y="18"/>
                    <a:pt x="96" y="18"/>
                    <a:pt x="96" y="18"/>
                  </a:cubicBezTo>
                  <a:cubicBezTo>
                    <a:pt x="95" y="18"/>
                    <a:pt x="28" y="18"/>
                    <a:pt x="5" y="20"/>
                  </a:cubicBezTo>
                  <a:cubicBezTo>
                    <a:pt x="4" y="20"/>
                    <a:pt x="2" y="20"/>
                    <a:pt x="1" y="22"/>
                  </a:cubicBezTo>
                  <a:cubicBezTo>
                    <a:pt x="1" y="22"/>
                    <a:pt x="0" y="24"/>
                    <a:pt x="1" y="27"/>
                  </a:cubicBezTo>
                  <a:cubicBezTo>
                    <a:pt x="17" y="122"/>
                    <a:pt x="17" y="122"/>
                    <a:pt x="17" y="122"/>
                  </a:cubicBezTo>
                  <a:cubicBezTo>
                    <a:pt x="20" y="154"/>
                    <a:pt x="20" y="154"/>
                    <a:pt x="20" y="154"/>
                  </a:cubicBezTo>
                  <a:cubicBezTo>
                    <a:pt x="22" y="359"/>
                    <a:pt x="22" y="359"/>
                    <a:pt x="22" y="359"/>
                  </a:cubicBezTo>
                  <a:cubicBezTo>
                    <a:pt x="22" y="359"/>
                    <a:pt x="22" y="360"/>
                    <a:pt x="23" y="361"/>
                  </a:cubicBezTo>
                  <a:cubicBezTo>
                    <a:pt x="24" y="361"/>
                    <a:pt x="25" y="362"/>
                    <a:pt x="25" y="362"/>
                  </a:cubicBezTo>
                  <a:cubicBezTo>
                    <a:pt x="25" y="362"/>
                    <a:pt x="25" y="362"/>
                    <a:pt x="25" y="362"/>
                  </a:cubicBezTo>
                  <a:cubicBezTo>
                    <a:pt x="25" y="363"/>
                    <a:pt x="25" y="364"/>
                    <a:pt x="26" y="365"/>
                  </a:cubicBezTo>
                  <a:cubicBezTo>
                    <a:pt x="27" y="367"/>
                    <a:pt x="31" y="372"/>
                    <a:pt x="35" y="372"/>
                  </a:cubicBezTo>
                  <a:cubicBezTo>
                    <a:pt x="37" y="372"/>
                    <a:pt x="39" y="371"/>
                    <a:pt x="41" y="370"/>
                  </a:cubicBezTo>
                  <a:cubicBezTo>
                    <a:pt x="42" y="369"/>
                    <a:pt x="43" y="369"/>
                    <a:pt x="44" y="369"/>
                  </a:cubicBezTo>
                  <a:cubicBezTo>
                    <a:pt x="44" y="369"/>
                    <a:pt x="45" y="368"/>
                    <a:pt x="47" y="368"/>
                  </a:cubicBezTo>
                  <a:cubicBezTo>
                    <a:pt x="52" y="368"/>
                    <a:pt x="61" y="370"/>
                    <a:pt x="64" y="371"/>
                  </a:cubicBezTo>
                  <a:cubicBezTo>
                    <a:pt x="66" y="432"/>
                    <a:pt x="66" y="432"/>
                    <a:pt x="66" y="432"/>
                  </a:cubicBezTo>
                  <a:cubicBezTo>
                    <a:pt x="66" y="433"/>
                    <a:pt x="67" y="433"/>
                    <a:pt x="67" y="434"/>
                  </a:cubicBezTo>
                  <a:cubicBezTo>
                    <a:pt x="68" y="434"/>
                    <a:pt x="68" y="435"/>
                    <a:pt x="69" y="435"/>
                  </a:cubicBezTo>
                  <a:cubicBezTo>
                    <a:pt x="69" y="435"/>
                    <a:pt x="69" y="435"/>
                    <a:pt x="69" y="435"/>
                  </a:cubicBezTo>
                  <a:cubicBezTo>
                    <a:pt x="189" y="430"/>
                    <a:pt x="189" y="430"/>
                    <a:pt x="189" y="430"/>
                  </a:cubicBezTo>
                  <a:cubicBezTo>
                    <a:pt x="348" y="422"/>
                    <a:pt x="348" y="422"/>
                    <a:pt x="348" y="422"/>
                  </a:cubicBezTo>
                  <a:cubicBezTo>
                    <a:pt x="349" y="422"/>
                    <a:pt x="350" y="421"/>
                    <a:pt x="350" y="419"/>
                  </a:cubicBezTo>
                  <a:cubicBezTo>
                    <a:pt x="351" y="409"/>
                    <a:pt x="351" y="409"/>
                    <a:pt x="351" y="409"/>
                  </a:cubicBezTo>
                  <a:cubicBezTo>
                    <a:pt x="351" y="409"/>
                    <a:pt x="351" y="408"/>
                    <a:pt x="351" y="408"/>
                  </a:cubicBezTo>
                  <a:cubicBezTo>
                    <a:pt x="350" y="407"/>
                    <a:pt x="350" y="406"/>
                    <a:pt x="350" y="405"/>
                  </a:cubicBezTo>
                  <a:cubicBezTo>
                    <a:pt x="350" y="405"/>
                    <a:pt x="350" y="405"/>
                    <a:pt x="351" y="405"/>
                  </a:cubicBezTo>
                  <a:cubicBezTo>
                    <a:pt x="353" y="405"/>
                    <a:pt x="354" y="405"/>
                    <a:pt x="356" y="405"/>
                  </a:cubicBezTo>
                  <a:cubicBezTo>
                    <a:pt x="357" y="404"/>
                    <a:pt x="357" y="402"/>
                    <a:pt x="358" y="402"/>
                  </a:cubicBezTo>
                  <a:cubicBezTo>
                    <a:pt x="358" y="398"/>
                    <a:pt x="357" y="391"/>
                    <a:pt x="355" y="387"/>
                  </a:cubicBezTo>
                  <a:cubicBezTo>
                    <a:pt x="355" y="387"/>
                    <a:pt x="354" y="386"/>
                    <a:pt x="353" y="386"/>
                  </a:cubicBezTo>
                  <a:cubicBezTo>
                    <a:pt x="352" y="384"/>
                    <a:pt x="350" y="380"/>
                    <a:pt x="350" y="379"/>
                  </a:cubicBezTo>
                  <a:cubicBezTo>
                    <a:pt x="351" y="379"/>
                    <a:pt x="351" y="378"/>
                    <a:pt x="351" y="377"/>
                  </a:cubicBezTo>
                  <a:cubicBezTo>
                    <a:pt x="352" y="375"/>
                    <a:pt x="354" y="372"/>
                    <a:pt x="351" y="370"/>
                  </a:cubicBezTo>
                  <a:cubicBezTo>
                    <a:pt x="350" y="369"/>
                    <a:pt x="349" y="370"/>
                    <a:pt x="348" y="371"/>
                  </a:cubicBezTo>
                  <a:cubicBezTo>
                    <a:pt x="348" y="371"/>
                    <a:pt x="348" y="371"/>
                    <a:pt x="348" y="371"/>
                  </a:cubicBezTo>
                  <a:cubicBezTo>
                    <a:pt x="348" y="371"/>
                    <a:pt x="347" y="370"/>
                    <a:pt x="346" y="370"/>
                  </a:cubicBezTo>
                  <a:cubicBezTo>
                    <a:pt x="348" y="370"/>
                    <a:pt x="351" y="368"/>
                    <a:pt x="351" y="366"/>
                  </a:cubicBezTo>
                  <a:cubicBezTo>
                    <a:pt x="351" y="364"/>
                    <a:pt x="350" y="362"/>
                    <a:pt x="349" y="360"/>
                  </a:cubicBezTo>
                  <a:cubicBezTo>
                    <a:pt x="348" y="359"/>
                    <a:pt x="347" y="358"/>
                    <a:pt x="345" y="358"/>
                  </a:cubicBezTo>
                  <a:cubicBezTo>
                    <a:pt x="345" y="358"/>
                    <a:pt x="344" y="358"/>
                    <a:pt x="344" y="358"/>
                  </a:cubicBezTo>
                  <a:cubicBezTo>
                    <a:pt x="344" y="358"/>
                    <a:pt x="344" y="358"/>
                    <a:pt x="344" y="357"/>
                  </a:cubicBezTo>
                  <a:cubicBezTo>
                    <a:pt x="344" y="355"/>
                    <a:pt x="342" y="354"/>
                    <a:pt x="341" y="353"/>
                  </a:cubicBezTo>
                  <a:cubicBezTo>
                    <a:pt x="341" y="353"/>
                    <a:pt x="341" y="353"/>
                    <a:pt x="341" y="353"/>
                  </a:cubicBezTo>
                  <a:cubicBezTo>
                    <a:pt x="341" y="353"/>
                    <a:pt x="341" y="352"/>
                    <a:pt x="341" y="352"/>
                  </a:cubicBezTo>
                  <a:cubicBezTo>
                    <a:pt x="344" y="352"/>
                    <a:pt x="346" y="351"/>
                    <a:pt x="347" y="348"/>
                  </a:cubicBezTo>
                  <a:cubicBezTo>
                    <a:pt x="347" y="346"/>
                    <a:pt x="345" y="344"/>
                    <a:pt x="343" y="342"/>
                  </a:cubicBezTo>
                  <a:cubicBezTo>
                    <a:pt x="343" y="342"/>
                    <a:pt x="342" y="341"/>
                    <a:pt x="341" y="340"/>
                  </a:cubicBezTo>
                  <a:cubicBezTo>
                    <a:pt x="342" y="340"/>
                    <a:pt x="342" y="340"/>
                    <a:pt x="343" y="340"/>
                  </a:cubicBezTo>
                  <a:cubicBezTo>
                    <a:pt x="343" y="341"/>
                    <a:pt x="344" y="342"/>
                    <a:pt x="345" y="342"/>
                  </a:cubicBezTo>
                  <a:cubicBezTo>
                    <a:pt x="346" y="342"/>
                    <a:pt x="346" y="343"/>
                    <a:pt x="346" y="343"/>
                  </a:cubicBezTo>
                  <a:cubicBezTo>
                    <a:pt x="349" y="343"/>
                    <a:pt x="352" y="340"/>
                    <a:pt x="354" y="338"/>
                  </a:cubicBezTo>
                  <a:cubicBezTo>
                    <a:pt x="355" y="337"/>
                    <a:pt x="356" y="336"/>
                    <a:pt x="356" y="334"/>
                  </a:cubicBezTo>
                  <a:cubicBezTo>
                    <a:pt x="355" y="331"/>
                    <a:pt x="352" y="331"/>
                    <a:pt x="349" y="331"/>
                  </a:cubicBezTo>
                  <a:cubicBezTo>
                    <a:pt x="348" y="331"/>
                    <a:pt x="347" y="331"/>
                    <a:pt x="347" y="331"/>
                  </a:cubicBezTo>
                  <a:cubicBezTo>
                    <a:pt x="347" y="331"/>
                    <a:pt x="347" y="330"/>
                    <a:pt x="347" y="329"/>
                  </a:cubicBezTo>
                  <a:cubicBezTo>
                    <a:pt x="347" y="329"/>
                    <a:pt x="348" y="329"/>
                    <a:pt x="349" y="329"/>
                  </a:cubicBezTo>
                  <a:cubicBezTo>
                    <a:pt x="350" y="330"/>
                    <a:pt x="351" y="330"/>
                    <a:pt x="352" y="330"/>
                  </a:cubicBezTo>
                  <a:cubicBezTo>
                    <a:pt x="354" y="330"/>
                    <a:pt x="355" y="329"/>
                    <a:pt x="355" y="328"/>
                  </a:cubicBezTo>
                  <a:cubicBezTo>
                    <a:pt x="358" y="324"/>
                    <a:pt x="356" y="318"/>
                    <a:pt x="356" y="316"/>
                  </a:cubicBezTo>
                  <a:cubicBezTo>
                    <a:pt x="356" y="315"/>
                    <a:pt x="356" y="314"/>
                    <a:pt x="356" y="314"/>
                  </a:cubicBezTo>
                  <a:cubicBezTo>
                    <a:pt x="357" y="311"/>
                    <a:pt x="358" y="309"/>
                    <a:pt x="357" y="307"/>
                  </a:cubicBezTo>
                  <a:cubicBezTo>
                    <a:pt x="356" y="306"/>
                    <a:pt x="355" y="305"/>
                    <a:pt x="353" y="304"/>
                  </a:cubicBezTo>
                  <a:cubicBezTo>
                    <a:pt x="353" y="304"/>
                    <a:pt x="353" y="304"/>
                    <a:pt x="353" y="304"/>
                  </a:cubicBezTo>
                  <a:cubicBezTo>
                    <a:pt x="354" y="303"/>
                    <a:pt x="358" y="302"/>
                    <a:pt x="359" y="302"/>
                  </a:cubicBezTo>
                  <a:cubicBezTo>
                    <a:pt x="364" y="301"/>
                    <a:pt x="369" y="300"/>
                    <a:pt x="371" y="297"/>
                  </a:cubicBezTo>
                  <a:cubicBezTo>
                    <a:pt x="371" y="294"/>
                    <a:pt x="370" y="292"/>
                    <a:pt x="368" y="290"/>
                  </a:cubicBezTo>
                  <a:cubicBezTo>
                    <a:pt x="368" y="289"/>
                    <a:pt x="367" y="288"/>
                    <a:pt x="367" y="288"/>
                  </a:cubicBezTo>
                  <a:cubicBezTo>
                    <a:pt x="367" y="286"/>
                    <a:pt x="367" y="284"/>
                    <a:pt x="367" y="283"/>
                  </a:cubicBezTo>
                  <a:cubicBezTo>
                    <a:pt x="367" y="283"/>
                    <a:pt x="367" y="283"/>
                    <a:pt x="367" y="283"/>
                  </a:cubicBezTo>
                  <a:cubicBezTo>
                    <a:pt x="368" y="282"/>
                    <a:pt x="370" y="281"/>
                    <a:pt x="370" y="279"/>
                  </a:cubicBezTo>
                  <a:cubicBezTo>
                    <a:pt x="370" y="279"/>
                    <a:pt x="370" y="279"/>
                    <a:pt x="370" y="278"/>
                  </a:cubicBezTo>
                  <a:cubicBezTo>
                    <a:pt x="370" y="278"/>
                    <a:pt x="371" y="278"/>
                    <a:pt x="372" y="278"/>
                  </a:cubicBezTo>
                  <a:cubicBezTo>
                    <a:pt x="373" y="277"/>
                    <a:pt x="374" y="275"/>
                    <a:pt x="374" y="273"/>
                  </a:cubicBezTo>
                  <a:cubicBezTo>
                    <a:pt x="374" y="273"/>
                    <a:pt x="374" y="273"/>
                    <a:pt x="374" y="273"/>
                  </a:cubicBezTo>
                  <a:cubicBezTo>
                    <a:pt x="374" y="272"/>
                    <a:pt x="376" y="271"/>
                    <a:pt x="377" y="270"/>
                  </a:cubicBezTo>
                  <a:cubicBezTo>
                    <a:pt x="379" y="269"/>
                    <a:pt x="381" y="267"/>
                    <a:pt x="381" y="265"/>
                  </a:cubicBezTo>
                  <a:cubicBezTo>
                    <a:pt x="382" y="263"/>
                    <a:pt x="381" y="261"/>
                    <a:pt x="381" y="260"/>
                  </a:cubicBezTo>
                  <a:cubicBezTo>
                    <a:pt x="380" y="259"/>
                    <a:pt x="380" y="259"/>
                    <a:pt x="380" y="259"/>
                  </a:cubicBezTo>
                  <a:cubicBezTo>
                    <a:pt x="381" y="259"/>
                    <a:pt x="381" y="259"/>
                    <a:pt x="381" y="259"/>
                  </a:cubicBezTo>
                  <a:cubicBezTo>
                    <a:pt x="383" y="259"/>
                    <a:pt x="384" y="259"/>
                    <a:pt x="385" y="259"/>
                  </a:cubicBezTo>
                  <a:cubicBezTo>
                    <a:pt x="387" y="259"/>
                    <a:pt x="390" y="258"/>
                    <a:pt x="391" y="257"/>
                  </a:cubicBezTo>
                  <a:cubicBezTo>
                    <a:pt x="393" y="255"/>
                    <a:pt x="397" y="251"/>
                    <a:pt x="397" y="247"/>
                  </a:cubicBezTo>
                  <a:cubicBezTo>
                    <a:pt x="398" y="246"/>
                    <a:pt x="397" y="244"/>
                    <a:pt x="396" y="243"/>
                  </a:cubicBezTo>
                  <a:cubicBezTo>
                    <a:pt x="396" y="242"/>
                    <a:pt x="396" y="241"/>
                    <a:pt x="396" y="241"/>
                  </a:cubicBezTo>
                  <a:cubicBezTo>
                    <a:pt x="396" y="241"/>
                    <a:pt x="397" y="239"/>
                    <a:pt x="398" y="238"/>
                  </a:cubicBezTo>
                  <a:cubicBezTo>
                    <a:pt x="399" y="236"/>
                    <a:pt x="401" y="233"/>
                    <a:pt x="400" y="231"/>
                  </a:cubicBezTo>
                  <a:cubicBezTo>
                    <a:pt x="400" y="229"/>
                    <a:pt x="398" y="228"/>
                    <a:pt x="397" y="228"/>
                  </a:cubicBezTo>
                  <a:cubicBezTo>
                    <a:pt x="397" y="227"/>
                    <a:pt x="396" y="227"/>
                    <a:pt x="396" y="227"/>
                  </a:cubicBezTo>
                  <a:cubicBezTo>
                    <a:pt x="396" y="226"/>
                    <a:pt x="396" y="226"/>
                    <a:pt x="396" y="226"/>
                  </a:cubicBezTo>
                  <a:cubicBezTo>
                    <a:pt x="399" y="227"/>
                    <a:pt x="405" y="224"/>
                    <a:pt x="405" y="220"/>
                  </a:cubicBezTo>
                  <a:cubicBezTo>
                    <a:pt x="405" y="218"/>
                    <a:pt x="403" y="216"/>
                    <a:pt x="401" y="216"/>
                  </a:cubicBezTo>
                  <a:cubicBezTo>
                    <a:pt x="402" y="215"/>
                    <a:pt x="404" y="215"/>
                    <a:pt x="405" y="214"/>
                  </a:cubicBezTo>
                  <a:cubicBezTo>
                    <a:pt x="407" y="211"/>
                    <a:pt x="408" y="207"/>
                    <a:pt x="408" y="206"/>
                  </a:cubicBezTo>
                  <a:cubicBezTo>
                    <a:pt x="408" y="206"/>
                    <a:pt x="408" y="206"/>
                    <a:pt x="408" y="206"/>
                  </a:cubicBezTo>
                  <a:cubicBezTo>
                    <a:pt x="407" y="204"/>
                    <a:pt x="407" y="203"/>
                    <a:pt x="407" y="203"/>
                  </a:cubicBezTo>
                  <a:cubicBezTo>
                    <a:pt x="409" y="202"/>
                    <a:pt x="413" y="200"/>
                    <a:pt x="414" y="199"/>
                  </a:cubicBezTo>
                  <a:cubicBezTo>
                    <a:pt x="418" y="197"/>
                    <a:pt x="421" y="194"/>
                    <a:pt x="422" y="191"/>
                  </a:cubicBezTo>
                  <a:cubicBezTo>
                    <a:pt x="424" y="188"/>
                    <a:pt x="422" y="183"/>
                    <a:pt x="421" y="181"/>
                  </a:cubicBezTo>
                  <a:cubicBezTo>
                    <a:pt x="420" y="180"/>
                    <a:pt x="420" y="180"/>
                    <a:pt x="419" y="180"/>
                  </a:cubicBezTo>
                  <a:cubicBezTo>
                    <a:pt x="419" y="179"/>
                    <a:pt x="420" y="179"/>
                    <a:pt x="421" y="178"/>
                  </a:cubicBezTo>
                  <a:cubicBezTo>
                    <a:pt x="423" y="177"/>
                    <a:pt x="425" y="177"/>
                    <a:pt x="426" y="176"/>
                  </a:cubicBezTo>
                  <a:cubicBezTo>
                    <a:pt x="427" y="175"/>
                    <a:pt x="427" y="173"/>
                    <a:pt x="428" y="171"/>
                  </a:cubicBezTo>
                  <a:cubicBezTo>
                    <a:pt x="428" y="170"/>
                    <a:pt x="429" y="169"/>
                    <a:pt x="429" y="169"/>
                  </a:cubicBezTo>
                  <a:cubicBezTo>
                    <a:pt x="429" y="168"/>
                    <a:pt x="431" y="168"/>
                    <a:pt x="431" y="168"/>
                  </a:cubicBezTo>
                  <a:cubicBezTo>
                    <a:pt x="433" y="168"/>
                    <a:pt x="435" y="167"/>
                    <a:pt x="436" y="166"/>
                  </a:cubicBezTo>
                  <a:cubicBezTo>
                    <a:pt x="437" y="165"/>
                    <a:pt x="438" y="163"/>
                    <a:pt x="438" y="162"/>
                  </a:cubicBezTo>
                  <a:cubicBezTo>
                    <a:pt x="439" y="157"/>
                    <a:pt x="435" y="146"/>
                    <a:pt x="434" y="142"/>
                  </a:cubicBezTo>
                  <a:cubicBezTo>
                    <a:pt x="437" y="136"/>
                    <a:pt x="437" y="133"/>
                    <a:pt x="435" y="131"/>
                  </a:cubicBezTo>
                  <a:cubicBezTo>
                    <a:pt x="433" y="129"/>
                    <a:pt x="430" y="130"/>
                    <a:pt x="428" y="132"/>
                  </a:cubicBezTo>
                  <a:cubicBezTo>
                    <a:pt x="428" y="132"/>
                    <a:pt x="428" y="132"/>
                    <a:pt x="428" y="132"/>
                  </a:cubicBezTo>
                  <a:cubicBezTo>
                    <a:pt x="428" y="131"/>
                    <a:pt x="429" y="129"/>
                    <a:pt x="429" y="129"/>
                  </a:cubicBezTo>
                  <a:cubicBezTo>
                    <a:pt x="430" y="128"/>
                    <a:pt x="432" y="127"/>
                    <a:pt x="435" y="127"/>
                  </a:cubicBezTo>
                  <a:cubicBezTo>
                    <a:pt x="435" y="127"/>
                    <a:pt x="435" y="127"/>
                    <a:pt x="436" y="127"/>
                  </a:cubicBezTo>
                  <a:cubicBezTo>
                    <a:pt x="440" y="127"/>
                    <a:pt x="442" y="125"/>
                    <a:pt x="443" y="124"/>
                  </a:cubicBezTo>
                  <a:cubicBezTo>
                    <a:pt x="444" y="121"/>
                    <a:pt x="442" y="119"/>
                    <a:pt x="440" y="117"/>
                  </a:cubicBezTo>
                  <a:cubicBezTo>
                    <a:pt x="440" y="117"/>
                    <a:pt x="439" y="117"/>
                    <a:pt x="439" y="116"/>
                  </a:cubicBezTo>
                  <a:cubicBezTo>
                    <a:pt x="439" y="116"/>
                    <a:pt x="440" y="116"/>
                    <a:pt x="440" y="116"/>
                  </a:cubicBezTo>
                  <a:cubicBezTo>
                    <a:pt x="441" y="116"/>
                    <a:pt x="442" y="115"/>
                    <a:pt x="443" y="114"/>
                  </a:cubicBezTo>
                  <a:cubicBezTo>
                    <a:pt x="444" y="113"/>
                    <a:pt x="446" y="110"/>
                    <a:pt x="447" y="109"/>
                  </a:cubicBezTo>
                  <a:cubicBezTo>
                    <a:pt x="447" y="108"/>
                    <a:pt x="449" y="106"/>
                    <a:pt x="449" y="103"/>
                  </a:cubicBezTo>
                  <a:cubicBezTo>
                    <a:pt x="449" y="101"/>
                    <a:pt x="448" y="97"/>
                    <a:pt x="447" y="95"/>
                  </a:cubicBezTo>
                  <a:cubicBezTo>
                    <a:pt x="450" y="92"/>
                    <a:pt x="450" y="92"/>
                    <a:pt x="450" y="92"/>
                  </a:cubicBezTo>
                  <a:cubicBezTo>
                    <a:pt x="457" y="89"/>
                    <a:pt x="457" y="89"/>
                    <a:pt x="457" y="89"/>
                  </a:cubicBezTo>
                  <a:cubicBezTo>
                    <a:pt x="460" y="87"/>
                    <a:pt x="465" y="84"/>
                    <a:pt x="465" y="81"/>
                  </a:cubicBezTo>
                  <a:cubicBezTo>
                    <a:pt x="466" y="79"/>
                    <a:pt x="464" y="77"/>
                    <a:pt x="462" y="75"/>
                  </a:cubicBezTo>
                  <a:cubicBezTo>
                    <a:pt x="462" y="75"/>
                    <a:pt x="462" y="75"/>
                    <a:pt x="461" y="74"/>
                  </a:cubicBezTo>
                  <a:cubicBezTo>
                    <a:pt x="462" y="74"/>
                    <a:pt x="462" y="74"/>
                    <a:pt x="463" y="74"/>
                  </a:cubicBezTo>
                  <a:cubicBezTo>
                    <a:pt x="465" y="74"/>
                    <a:pt x="467" y="73"/>
                    <a:pt x="468" y="71"/>
                  </a:cubicBezTo>
                  <a:cubicBezTo>
                    <a:pt x="470" y="69"/>
                    <a:pt x="469" y="65"/>
                    <a:pt x="467" y="6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8">
              <a:extLst>
                <a:ext uri="{FF2B5EF4-FFF2-40B4-BE49-F238E27FC236}">
                  <a16:creationId xmlns:a16="http://schemas.microsoft.com/office/drawing/2014/main" id="{C782C385-900E-420A-B25D-57AF013FC8AE}"/>
                </a:ext>
              </a:extLst>
            </p:cNvPr>
            <p:cNvSpPr>
              <a:spLocks noEditPoints="1"/>
            </p:cNvSpPr>
            <p:nvPr/>
          </p:nvSpPr>
          <p:spPr bwMode="auto">
            <a:xfrm>
              <a:off x="6300975" y="4253848"/>
              <a:ext cx="588243" cy="510417"/>
            </a:xfrm>
            <a:custGeom>
              <a:avLst/>
              <a:gdLst>
                <a:gd name="T0" fmla="*/ 474 w 529"/>
                <a:gd name="T1" fmla="*/ 404 h 459"/>
                <a:gd name="T2" fmla="*/ 470 w 529"/>
                <a:gd name="T3" fmla="*/ 376 h 459"/>
                <a:gd name="T4" fmla="*/ 493 w 529"/>
                <a:gd name="T5" fmla="*/ 365 h 459"/>
                <a:gd name="T6" fmla="*/ 459 w 529"/>
                <a:gd name="T7" fmla="*/ 358 h 459"/>
                <a:gd name="T8" fmla="*/ 447 w 529"/>
                <a:gd name="T9" fmla="*/ 344 h 459"/>
                <a:gd name="T10" fmla="*/ 427 w 529"/>
                <a:gd name="T11" fmla="*/ 334 h 459"/>
                <a:gd name="T12" fmla="*/ 380 w 529"/>
                <a:gd name="T13" fmla="*/ 331 h 459"/>
                <a:gd name="T14" fmla="*/ 441 w 529"/>
                <a:gd name="T15" fmla="*/ 313 h 459"/>
                <a:gd name="T16" fmla="*/ 459 w 529"/>
                <a:gd name="T17" fmla="*/ 305 h 459"/>
                <a:gd name="T18" fmla="*/ 437 w 529"/>
                <a:gd name="T19" fmla="*/ 273 h 459"/>
                <a:gd name="T20" fmla="*/ 444 w 529"/>
                <a:gd name="T21" fmla="*/ 229 h 459"/>
                <a:gd name="T22" fmla="*/ 257 w 529"/>
                <a:gd name="T23" fmla="*/ 239 h 459"/>
                <a:gd name="T24" fmla="*/ 253 w 529"/>
                <a:gd name="T25" fmla="*/ 226 h 459"/>
                <a:gd name="T26" fmla="*/ 252 w 529"/>
                <a:gd name="T27" fmla="*/ 212 h 459"/>
                <a:gd name="T28" fmla="*/ 263 w 529"/>
                <a:gd name="T29" fmla="*/ 186 h 459"/>
                <a:gd name="T30" fmla="*/ 275 w 529"/>
                <a:gd name="T31" fmla="*/ 157 h 459"/>
                <a:gd name="T32" fmla="*/ 279 w 529"/>
                <a:gd name="T33" fmla="*/ 141 h 459"/>
                <a:gd name="T34" fmla="*/ 306 w 529"/>
                <a:gd name="T35" fmla="*/ 101 h 459"/>
                <a:gd name="T36" fmla="*/ 296 w 529"/>
                <a:gd name="T37" fmla="*/ 101 h 459"/>
                <a:gd name="T38" fmla="*/ 303 w 529"/>
                <a:gd name="T39" fmla="*/ 94 h 459"/>
                <a:gd name="T40" fmla="*/ 316 w 529"/>
                <a:gd name="T41" fmla="*/ 82 h 459"/>
                <a:gd name="T42" fmla="*/ 305 w 529"/>
                <a:gd name="T43" fmla="*/ 71 h 459"/>
                <a:gd name="T44" fmla="*/ 303 w 529"/>
                <a:gd name="T45" fmla="*/ 46 h 459"/>
                <a:gd name="T46" fmla="*/ 297 w 529"/>
                <a:gd name="T47" fmla="*/ 36 h 459"/>
                <a:gd name="T48" fmla="*/ 294 w 529"/>
                <a:gd name="T49" fmla="*/ 18 h 459"/>
                <a:gd name="T50" fmla="*/ 284 w 529"/>
                <a:gd name="T51" fmla="*/ 2 h 459"/>
                <a:gd name="T52" fmla="*/ 0 w 529"/>
                <a:gd name="T53" fmla="*/ 16 h 459"/>
                <a:gd name="T54" fmla="*/ 28 w 529"/>
                <a:gd name="T55" fmla="*/ 169 h 459"/>
                <a:gd name="T56" fmla="*/ 34 w 529"/>
                <a:gd name="T57" fmla="*/ 192 h 459"/>
                <a:gd name="T58" fmla="*/ 42 w 529"/>
                <a:gd name="T59" fmla="*/ 208 h 459"/>
                <a:gd name="T60" fmla="*/ 57 w 529"/>
                <a:gd name="T61" fmla="*/ 236 h 459"/>
                <a:gd name="T62" fmla="*/ 58 w 529"/>
                <a:gd name="T63" fmla="*/ 256 h 459"/>
                <a:gd name="T64" fmla="*/ 55 w 529"/>
                <a:gd name="T65" fmla="*/ 274 h 459"/>
                <a:gd name="T66" fmla="*/ 45 w 529"/>
                <a:gd name="T67" fmla="*/ 292 h 459"/>
                <a:gd name="T68" fmla="*/ 39 w 529"/>
                <a:gd name="T69" fmla="*/ 324 h 459"/>
                <a:gd name="T70" fmla="*/ 30 w 529"/>
                <a:gd name="T71" fmla="*/ 374 h 459"/>
                <a:gd name="T72" fmla="*/ 58 w 529"/>
                <a:gd name="T73" fmla="*/ 398 h 459"/>
                <a:gd name="T74" fmla="*/ 80 w 529"/>
                <a:gd name="T75" fmla="*/ 384 h 459"/>
                <a:gd name="T76" fmla="*/ 89 w 529"/>
                <a:gd name="T77" fmla="*/ 367 h 459"/>
                <a:gd name="T78" fmla="*/ 95 w 529"/>
                <a:gd name="T79" fmla="*/ 394 h 459"/>
                <a:gd name="T80" fmla="*/ 138 w 529"/>
                <a:gd name="T81" fmla="*/ 408 h 459"/>
                <a:gd name="T82" fmla="*/ 208 w 529"/>
                <a:gd name="T83" fmla="*/ 412 h 459"/>
                <a:gd name="T84" fmla="*/ 211 w 529"/>
                <a:gd name="T85" fmla="*/ 393 h 459"/>
                <a:gd name="T86" fmla="*/ 232 w 529"/>
                <a:gd name="T87" fmla="*/ 386 h 459"/>
                <a:gd name="T88" fmla="*/ 254 w 529"/>
                <a:gd name="T89" fmla="*/ 390 h 459"/>
                <a:gd name="T90" fmla="*/ 265 w 529"/>
                <a:gd name="T91" fmla="*/ 401 h 459"/>
                <a:gd name="T92" fmla="*/ 291 w 529"/>
                <a:gd name="T93" fmla="*/ 418 h 459"/>
                <a:gd name="T94" fmla="*/ 309 w 529"/>
                <a:gd name="T95" fmla="*/ 432 h 459"/>
                <a:gd name="T96" fmla="*/ 323 w 529"/>
                <a:gd name="T97" fmla="*/ 450 h 459"/>
                <a:gd name="T98" fmla="*/ 349 w 529"/>
                <a:gd name="T99" fmla="*/ 454 h 459"/>
                <a:gd name="T100" fmla="*/ 366 w 529"/>
                <a:gd name="T101" fmla="*/ 454 h 459"/>
                <a:gd name="T102" fmla="*/ 370 w 529"/>
                <a:gd name="T103" fmla="*/ 436 h 459"/>
                <a:gd name="T104" fmla="*/ 384 w 529"/>
                <a:gd name="T105" fmla="*/ 432 h 459"/>
                <a:gd name="T106" fmla="*/ 401 w 529"/>
                <a:gd name="T107" fmla="*/ 443 h 459"/>
                <a:gd name="T108" fmla="*/ 414 w 529"/>
                <a:gd name="T109" fmla="*/ 455 h 459"/>
                <a:gd name="T110" fmla="*/ 422 w 529"/>
                <a:gd name="T111" fmla="*/ 434 h 459"/>
                <a:gd name="T112" fmla="*/ 409 w 529"/>
                <a:gd name="T113" fmla="*/ 401 h 459"/>
                <a:gd name="T114" fmla="*/ 448 w 529"/>
                <a:gd name="T115" fmla="*/ 418 h 459"/>
                <a:gd name="T116" fmla="*/ 454 w 529"/>
                <a:gd name="T117" fmla="*/ 428 h 459"/>
                <a:gd name="T118" fmla="*/ 510 w 529"/>
                <a:gd name="T119" fmla="*/ 454 h 459"/>
                <a:gd name="T120" fmla="*/ 519 w 529"/>
                <a:gd name="T121" fmla="*/ 424 h 459"/>
                <a:gd name="T122" fmla="*/ 296 w 529"/>
                <a:gd name="T123" fmla="*/ 10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9" h="459">
                  <a:moveTo>
                    <a:pt x="519" y="424"/>
                  </a:moveTo>
                  <a:cubicBezTo>
                    <a:pt x="515" y="422"/>
                    <a:pt x="512" y="419"/>
                    <a:pt x="509" y="417"/>
                  </a:cubicBezTo>
                  <a:cubicBezTo>
                    <a:pt x="503" y="413"/>
                    <a:pt x="496" y="409"/>
                    <a:pt x="488" y="409"/>
                  </a:cubicBezTo>
                  <a:cubicBezTo>
                    <a:pt x="486" y="409"/>
                    <a:pt x="486" y="409"/>
                    <a:pt x="486" y="409"/>
                  </a:cubicBezTo>
                  <a:cubicBezTo>
                    <a:pt x="480" y="409"/>
                    <a:pt x="477" y="406"/>
                    <a:pt x="474" y="404"/>
                  </a:cubicBezTo>
                  <a:cubicBezTo>
                    <a:pt x="472" y="403"/>
                    <a:pt x="470" y="401"/>
                    <a:pt x="467" y="401"/>
                  </a:cubicBezTo>
                  <a:cubicBezTo>
                    <a:pt x="463" y="400"/>
                    <a:pt x="461" y="400"/>
                    <a:pt x="460" y="399"/>
                  </a:cubicBezTo>
                  <a:cubicBezTo>
                    <a:pt x="459" y="398"/>
                    <a:pt x="458" y="396"/>
                    <a:pt x="458" y="395"/>
                  </a:cubicBezTo>
                  <a:cubicBezTo>
                    <a:pt x="459" y="394"/>
                    <a:pt x="460" y="394"/>
                    <a:pt x="461" y="393"/>
                  </a:cubicBezTo>
                  <a:cubicBezTo>
                    <a:pt x="469" y="389"/>
                    <a:pt x="470" y="384"/>
                    <a:pt x="470" y="376"/>
                  </a:cubicBezTo>
                  <a:cubicBezTo>
                    <a:pt x="470" y="376"/>
                    <a:pt x="470" y="376"/>
                    <a:pt x="470" y="376"/>
                  </a:cubicBezTo>
                  <a:cubicBezTo>
                    <a:pt x="471" y="376"/>
                    <a:pt x="472" y="376"/>
                    <a:pt x="473" y="376"/>
                  </a:cubicBezTo>
                  <a:cubicBezTo>
                    <a:pt x="477" y="376"/>
                    <a:pt x="478" y="374"/>
                    <a:pt x="479" y="372"/>
                  </a:cubicBezTo>
                  <a:cubicBezTo>
                    <a:pt x="480" y="371"/>
                    <a:pt x="484" y="370"/>
                    <a:pt x="486" y="369"/>
                  </a:cubicBezTo>
                  <a:cubicBezTo>
                    <a:pt x="490" y="368"/>
                    <a:pt x="492" y="368"/>
                    <a:pt x="493" y="365"/>
                  </a:cubicBezTo>
                  <a:cubicBezTo>
                    <a:pt x="493" y="362"/>
                    <a:pt x="491" y="361"/>
                    <a:pt x="490" y="360"/>
                  </a:cubicBezTo>
                  <a:cubicBezTo>
                    <a:pt x="487" y="359"/>
                    <a:pt x="487" y="359"/>
                    <a:pt x="487" y="359"/>
                  </a:cubicBezTo>
                  <a:cubicBezTo>
                    <a:pt x="482" y="356"/>
                    <a:pt x="481" y="355"/>
                    <a:pt x="470" y="352"/>
                  </a:cubicBezTo>
                  <a:cubicBezTo>
                    <a:pt x="463" y="350"/>
                    <a:pt x="460" y="352"/>
                    <a:pt x="459" y="354"/>
                  </a:cubicBezTo>
                  <a:cubicBezTo>
                    <a:pt x="459" y="355"/>
                    <a:pt x="459" y="356"/>
                    <a:pt x="459" y="358"/>
                  </a:cubicBezTo>
                  <a:cubicBezTo>
                    <a:pt x="458" y="357"/>
                    <a:pt x="457" y="357"/>
                    <a:pt x="456" y="357"/>
                  </a:cubicBezTo>
                  <a:cubicBezTo>
                    <a:pt x="449" y="354"/>
                    <a:pt x="446" y="352"/>
                    <a:pt x="446" y="352"/>
                  </a:cubicBezTo>
                  <a:cubicBezTo>
                    <a:pt x="444" y="350"/>
                    <a:pt x="441" y="348"/>
                    <a:pt x="441" y="347"/>
                  </a:cubicBezTo>
                  <a:cubicBezTo>
                    <a:pt x="441" y="347"/>
                    <a:pt x="440" y="347"/>
                    <a:pt x="440" y="347"/>
                  </a:cubicBezTo>
                  <a:cubicBezTo>
                    <a:pt x="441" y="346"/>
                    <a:pt x="445" y="345"/>
                    <a:pt x="447" y="344"/>
                  </a:cubicBezTo>
                  <a:cubicBezTo>
                    <a:pt x="451" y="343"/>
                    <a:pt x="456" y="341"/>
                    <a:pt x="456" y="337"/>
                  </a:cubicBezTo>
                  <a:cubicBezTo>
                    <a:pt x="456" y="331"/>
                    <a:pt x="443" y="328"/>
                    <a:pt x="435" y="327"/>
                  </a:cubicBezTo>
                  <a:cubicBezTo>
                    <a:pt x="435" y="327"/>
                    <a:pt x="435" y="327"/>
                    <a:pt x="435" y="327"/>
                  </a:cubicBezTo>
                  <a:cubicBezTo>
                    <a:pt x="432" y="327"/>
                    <a:pt x="430" y="329"/>
                    <a:pt x="429" y="332"/>
                  </a:cubicBezTo>
                  <a:cubicBezTo>
                    <a:pt x="428" y="333"/>
                    <a:pt x="427" y="334"/>
                    <a:pt x="427" y="334"/>
                  </a:cubicBezTo>
                  <a:cubicBezTo>
                    <a:pt x="426" y="335"/>
                    <a:pt x="423" y="336"/>
                    <a:pt x="421" y="337"/>
                  </a:cubicBezTo>
                  <a:cubicBezTo>
                    <a:pt x="415" y="338"/>
                    <a:pt x="403" y="339"/>
                    <a:pt x="399" y="339"/>
                  </a:cubicBezTo>
                  <a:cubicBezTo>
                    <a:pt x="397" y="339"/>
                    <a:pt x="390" y="339"/>
                    <a:pt x="388" y="339"/>
                  </a:cubicBezTo>
                  <a:cubicBezTo>
                    <a:pt x="385" y="338"/>
                    <a:pt x="381" y="336"/>
                    <a:pt x="381" y="336"/>
                  </a:cubicBezTo>
                  <a:cubicBezTo>
                    <a:pt x="380" y="335"/>
                    <a:pt x="380" y="332"/>
                    <a:pt x="380" y="331"/>
                  </a:cubicBezTo>
                  <a:cubicBezTo>
                    <a:pt x="381" y="330"/>
                    <a:pt x="383" y="327"/>
                    <a:pt x="386" y="324"/>
                  </a:cubicBezTo>
                  <a:cubicBezTo>
                    <a:pt x="386" y="324"/>
                    <a:pt x="387" y="324"/>
                    <a:pt x="387" y="324"/>
                  </a:cubicBezTo>
                  <a:cubicBezTo>
                    <a:pt x="389" y="318"/>
                    <a:pt x="394" y="310"/>
                    <a:pt x="396" y="309"/>
                  </a:cubicBezTo>
                  <a:cubicBezTo>
                    <a:pt x="399" y="307"/>
                    <a:pt x="405" y="306"/>
                    <a:pt x="411" y="306"/>
                  </a:cubicBezTo>
                  <a:cubicBezTo>
                    <a:pt x="422" y="306"/>
                    <a:pt x="434" y="309"/>
                    <a:pt x="441" y="313"/>
                  </a:cubicBezTo>
                  <a:cubicBezTo>
                    <a:pt x="444" y="316"/>
                    <a:pt x="458" y="328"/>
                    <a:pt x="466" y="328"/>
                  </a:cubicBezTo>
                  <a:cubicBezTo>
                    <a:pt x="469" y="328"/>
                    <a:pt x="471" y="326"/>
                    <a:pt x="471" y="323"/>
                  </a:cubicBezTo>
                  <a:cubicBezTo>
                    <a:pt x="471" y="323"/>
                    <a:pt x="471" y="322"/>
                    <a:pt x="471" y="322"/>
                  </a:cubicBezTo>
                  <a:cubicBezTo>
                    <a:pt x="471" y="322"/>
                    <a:pt x="469" y="315"/>
                    <a:pt x="462" y="310"/>
                  </a:cubicBezTo>
                  <a:cubicBezTo>
                    <a:pt x="459" y="305"/>
                    <a:pt x="459" y="305"/>
                    <a:pt x="459" y="305"/>
                  </a:cubicBezTo>
                  <a:cubicBezTo>
                    <a:pt x="455" y="298"/>
                    <a:pt x="455" y="298"/>
                    <a:pt x="455" y="298"/>
                  </a:cubicBezTo>
                  <a:cubicBezTo>
                    <a:pt x="454" y="296"/>
                    <a:pt x="453" y="291"/>
                    <a:pt x="452" y="290"/>
                  </a:cubicBezTo>
                  <a:cubicBezTo>
                    <a:pt x="451" y="287"/>
                    <a:pt x="448" y="285"/>
                    <a:pt x="446" y="283"/>
                  </a:cubicBezTo>
                  <a:cubicBezTo>
                    <a:pt x="444" y="282"/>
                    <a:pt x="442" y="281"/>
                    <a:pt x="441" y="280"/>
                  </a:cubicBezTo>
                  <a:cubicBezTo>
                    <a:pt x="440" y="279"/>
                    <a:pt x="438" y="275"/>
                    <a:pt x="437" y="273"/>
                  </a:cubicBezTo>
                  <a:cubicBezTo>
                    <a:pt x="436" y="271"/>
                    <a:pt x="435" y="267"/>
                    <a:pt x="435" y="266"/>
                  </a:cubicBezTo>
                  <a:cubicBezTo>
                    <a:pt x="434" y="264"/>
                    <a:pt x="436" y="258"/>
                    <a:pt x="437" y="254"/>
                  </a:cubicBezTo>
                  <a:cubicBezTo>
                    <a:pt x="442" y="239"/>
                    <a:pt x="442" y="239"/>
                    <a:pt x="442" y="239"/>
                  </a:cubicBezTo>
                  <a:cubicBezTo>
                    <a:pt x="444" y="231"/>
                    <a:pt x="444" y="231"/>
                    <a:pt x="444" y="231"/>
                  </a:cubicBezTo>
                  <a:cubicBezTo>
                    <a:pt x="444" y="230"/>
                    <a:pt x="444" y="230"/>
                    <a:pt x="444" y="229"/>
                  </a:cubicBezTo>
                  <a:cubicBezTo>
                    <a:pt x="443" y="228"/>
                    <a:pt x="443" y="228"/>
                    <a:pt x="443" y="228"/>
                  </a:cubicBezTo>
                  <a:cubicBezTo>
                    <a:pt x="442" y="227"/>
                    <a:pt x="442" y="226"/>
                    <a:pt x="440" y="226"/>
                  </a:cubicBezTo>
                  <a:cubicBezTo>
                    <a:pt x="347" y="234"/>
                    <a:pt x="347" y="234"/>
                    <a:pt x="347" y="234"/>
                  </a:cubicBezTo>
                  <a:cubicBezTo>
                    <a:pt x="258" y="239"/>
                    <a:pt x="258" y="239"/>
                    <a:pt x="258" y="239"/>
                  </a:cubicBezTo>
                  <a:cubicBezTo>
                    <a:pt x="258" y="239"/>
                    <a:pt x="257" y="239"/>
                    <a:pt x="257" y="239"/>
                  </a:cubicBezTo>
                  <a:cubicBezTo>
                    <a:pt x="257" y="239"/>
                    <a:pt x="255" y="239"/>
                    <a:pt x="254" y="240"/>
                  </a:cubicBezTo>
                  <a:cubicBezTo>
                    <a:pt x="254" y="240"/>
                    <a:pt x="254" y="240"/>
                    <a:pt x="254" y="240"/>
                  </a:cubicBezTo>
                  <a:cubicBezTo>
                    <a:pt x="256" y="238"/>
                    <a:pt x="258" y="237"/>
                    <a:pt x="259" y="234"/>
                  </a:cubicBezTo>
                  <a:cubicBezTo>
                    <a:pt x="259" y="232"/>
                    <a:pt x="257" y="230"/>
                    <a:pt x="255" y="228"/>
                  </a:cubicBezTo>
                  <a:cubicBezTo>
                    <a:pt x="255" y="228"/>
                    <a:pt x="254" y="226"/>
                    <a:pt x="253" y="226"/>
                  </a:cubicBezTo>
                  <a:cubicBezTo>
                    <a:pt x="253" y="226"/>
                    <a:pt x="254" y="224"/>
                    <a:pt x="254" y="223"/>
                  </a:cubicBezTo>
                  <a:cubicBezTo>
                    <a:pt x="255" y="222"/>
                    <a:pt x="255" y="220"/>
                    <a:pt x="255" y="218"/>
                  </a:cubicBezTo>
                  <a:cubicBezTo>
                    <a:pt x="255" y="217"/>
                    <a:pt x="253" y="215"/>
                    <a:pt x="252" y="214"/>
                  </a:cubicBezTo>
                  <a:cubicBezTo>
                    <a:pt x="251" y="213"/>
                    <a:pt x="251" y="213"/>
                    <a:pt x="250" y="212"/>
                  </a:cubicBezTo>
                  <a:cubicBezTo>
                    <a:pt x="251" y="212"/>
                    <a:pt x="252" y="212"/>
                    <a:pt x="252" y="212"/>
                  </a:cubicBezTo>
                  <a:cubicBezTo>
                    <a:pt x="254" y="212"/>
                    <a:pt x="254" y="212"/>
                    <a:pt x="254" y="212"/>
                  </a:cubicBezTo>
                  <a:cubicBezTo>
                    <a:pt x="256" y="212"/>
                    <a:pt x="258" y="212"/>
                    <a:pt x="260" y="211"/>
                  </a:cubicBezTo>
                  <a:cubicBezTo>
                    <a:pt x="261" y="209"/>
                    <a:pt x="263" y="206"/>
                    <a:pt x="263" y="203"/>
                  </a:cubicBezTo>
                  <a:cubicBezTo>
                    <a:pt x="265" y="196"/>
                    <a:pt x="265" y="196"/>
                    <a:pt x="265" y="196"/>
                  </a:cubicBezTo>
                  <a:cubicBezTo>
                    <a:pt x="266" y="193"/>
                    <a:pt x="265" y="190"/>
                    <a:pt x="263" y="186"/>
                  </a:cubicBezTo>
                  <a:cubicBezTo>
                    <a:pt x="262" y="185"/>
                    <a:pt x="261" y="182"/>
                    <a:pt x="261" y="181"/>
                  </a:cubicBezTo>
                  <a:cubicBezTo>
                    <a:pt x="264" y="175"/>
                    <a:pt x="270" y="167"/>
                    <a:pt x="270" y="167"/>
                  </a:cubicBezTo>
                  <a:cubicBezTo>
                    <a:pt x="271" y="165"/>
                    <a:pt x="271" y="164"/>
                    <a:pt x="272" y="162"/>
                  </a:cubicBezTo>
                  <a:cubicBezTo>
                    <a:pt x="272" y="161"/>
                    <a:pt x="272" y="160"/>
                    <a:pt x="272" y="159"/>
                  </a:cubicBezTo>
                  <a:cubicBezTo>
                    <a:pt x="272" y="159"/>
                    <a:pt x="274" y="158"/>
                    <a:pt x="275" y="157"/>
                  </a:cubicBezTo>
                  <a:cubicBezTo>
                    <a:pt x="277" y="156"/>
                    <a:pt x="280" y="154"/>
                    <a:pt x="279" y="151"/>
                  </a:cubicBezTo>
                  <a:cubicBezTo>
                    <a:pt x="279" y="148"/>
                    <a:pt x="277" y="147"/>
                    <a:pt x="275" y="147"/>
                  </a:cubicBezTo>
                  <a:cubicBezTo>
                    <a:pt x="275" y="147"/>
                    <a:pt x="275" y="146"/>
                    <a:pt x="274" y="146"/>
                  </a:cubicBezTo>
                  <a:cubicBezTo>
                    <a:pt x="275" y="145"/>
                    <a:pt x="276" y="143"/>
                    <a:pt x="277" y="142"/>
                  </a:cubicBezTo>
                  <a:cubicBezTo>
                    <a:pt x="277" y="142"/>
                    <a:pt x="278" y="141"/>
                    <a:pt x="279" y="141"/>
                  </a:cubicBezTo>
                  <a:cubicBezTo>
                    <a:pt x="281" y="140"/>
                    <a:pt x="282" y="140"/>
                    <a:pt x="283" y="139"/>
                  </a:cubicBezTo>
                  <a:cubicBezTo>
                    <a:pt x="291" y="134"/>
                    <a:pt x="300" y="126"/>
                    <a:pt x="301" y="118"/>
                  </a:cubicBezTo>
                  <a:cubicBezTo>
                    <a:pt x="301" y="111"/>
                    <a:pt x="301" y="111"/>
                    <a:pt x="301" y="111"/>
                  </a:cubicBezTo>
                  <a:cubicBezTo>
                    <a:pt x="302" y="111"/>
                    <a:pt x="302" y="110"/>
                    <a:pt x="303" y="109"/>
                  </a:cubicBezTo>
                  <a:cubicBezTo>
                    <a:pt x="305" y="107"/>
                    <a:pt x="308" y="104"/>
                    <a:pt x="306" y="101"/>
                  </a:cubicBezTo>
                  <a:cubicBezTo>
                    <a:pt x="306" y="100"/>
                    <a:pt x="305" y="99"/>
                    <a:pt x="303" y="99"/>
                  </a:cubicBezTo>
                  <a:cubicBezTo>
                    <a:pt x="302" y="99"/>
                    <a:pt x="300" y="99"/>
                    <a:pt x="299" y="100"/>
                  </a:cubicBezTo>
                  <a:cubicBezTo>
                    <a:pt x="298" y="100"/>
                    <a:pt x="297" y="101"/>
                    <a:pt x="296" y="101"/>
                  </a:cubicBezTo>
                  <a:cubicBezTo>
                    <a:pt x="296" y="101"/>
                    <a:pt x="296" y="101"/>
                    <a:pt x="296" y="101"/>
                  </a:cubicBezTo>
                  <a:cubicBezTo>
                    <a:pt x="296" y="101"/>
                    <a:pt x="296" y="101"/>
                    <a:pt x="296" y="101"/>
                  </a:cubicBezTo>
                  <a:cubicBezTo>
                    <a:pt x="295" y="101"/>
                    <a:pt x="295" y="101"/>
                    <a:pt x="295" y="101"/>
                  </a:cubicBezTo>
                  <a:cubicBezTo>
                    <a:pt x="293" y="101"/>
                    <a:pt x="292" y="101"/>
                    <a:pt x="292" y="101"/>
                  </a:cubicBezTo>
                  <a:cubicBezTo>
                    <a:pt x="292" y="100"/>
                    <a:pt x="294" y="98"/>
                    <a:pt x="295" y="97"/>
                  </a:cubicBezTo>
                  <a:cubicBezTo>
                    <a:pt x="296" y="96"/>
                    <a:pt x="297" y="96"/>
                    <a:pt x="298" y="96"/>
                  </a:cubicBezTo>
                  <a:cubicBezTo>
                    <a:pt x="300" y="95"/>
                    <a:pt x="302" y="95"/>
                    <a:pt x="303" y="94"/>
                  </a:cubicBezTo>
                  <a:cubicBezTo>
                    <a:pt x="304" y="93"/>
                    <a:pt x="305" y="91"/>
                    <a:pt x="306" y="90"/>
                  </a:cubicBezTo>
                  <a:cubicBezTo>
                    <a:pt x="307" y="89"/>
                    <a:pt x="308" y="87"/>
                    <a:pt x="308" y="87"/>
                  </a:cubicBezTo>
                  <a:cubicBezTo>
                    <a:pt x="309" y="87"/>
                    <a:pt x="309" y="87"/>
                    <a:pt x="310" y="87"/>
                  </a:cubicBezTo>
                  <a:cubicBezTo>
                    <a:pt x="312" y="87"/>
                    <a:pt x="313" y="87"/>
                    <a:pt x="314" y="87"/>
                  </a:cubicBezTo>
                  <a:cubicBezTo>
                    <a:pt x="316" y="86"/>
                    <a:pt x="317" y="83"/>
                    <a:pt x="316" y="82"/>
                  </a:cubicBezTo>
                  <a:cubicBezTo>
                    <a:pt x="316" y="80"/>
                    <a:pt x="314" y="79"/>
                    <a:pt x="313" y="79"/>
                  </a:cubicBezTo>
                  <a:cubicBezTo>
                    <a:pt x="312" y="78"/>
                    <a:pt x="311" y="78"/>
                    <a:pt x="310" y="78"/>
                  </a:cubicBezTo>
                  <a:cubicBezTo>
                    <a:pt x="309" y="78"/>
                    <a:pt x="307" y="77"/>
                    <a:pt x="307" y="77"/>
                  </a:cubicBezTo>
                  <a:cubicBezTo>
                    <a:pt x="307" y="77"/>
                    <a:pt x="307" y="76"/>
                    <a:pt x="306" y="75"/>
                  </a:cubicBezTo>
                  <a:cubicBezTo>
                    <a:pt x="306" y="74"/>
                    <a:pt x="306" y="72"/>
                    <a:pt x="305" y="71"/>
                  </a:cubicBezTo>
                  <a:cubicBezTo>
                    <a:pt x="304" y="70"/>
                    <a:pt x="302" y="69"/>
                    <a:pt x="300" y="69"/>
                  </a:cubicBezTo>
                  <a:cubicBezTo>
                    <a:pt x="299" y="69"/>
                    <a:pt x="298" y="68"/>
                    <a:pt x="297" y="68"/>
                  </a:cubicBezTo>
                  <a:cubicBezTo>
                    <a:pt x="296" y="67"/>
                    <a:pt x="295" y="64"/>
                    <a:pt x="295" y="63"/>
                  </a:cubicBezTo>
                  <a:cubicBezTo>
                    <a:pt x="296" y="61"/>
                    <a:pt x="302" y="56"/>
                    <a:pt x="303" y="49"/>
                  </a:cubicBezTo>
                  <a:cubicBezTo>
                    <a:pt x="303" y="48"/>
                    <a:pt x="303" y="47"/>
                    <a:pt x="303" y="46"/>
                  </a:cubicBezTo>
                  <a:cubicBezTo>
                    <a:pt x="302" y="45"/>
                    <a:pt x="300" y="45"/>
                    <a:pt x="294" y="47"/>
                  </a:cubicBezTo>
                  <a:cubicBezTo>
                    <a:pt x="292" y="47"/>
                    <a:pt x="290" y="48"/>
                    <a:pt x="289" y="49"/>
                  </a:cubicBezTo>
                  <a:cubicBezTo>
                    <a:pt x="289" y="48"/>
                    <a:pt x="288" y="47"/>
                    <a:pt x="288" y="46"/>
                  </a:cubicBezTo>
                  <a:cubicBezTo>
                    <a:pt x="288" y="46"/>
                    <a:pt x="290" y="44"/>
                    <a:pt x="291" y="43"/>
                  </a:cubicBezTo>
                  <a:cubicBezTo>
                    <a:pt x="294" y="41"/>
                    <a:pt x="297" y="39"/>
                    <a:pt x="297" y="36"/>
                  </a:cubicBezTo>
                  <a:cubicBezTo>
                    <a:pt x="296" y="33"/>
                    <a:pt x="293" y="32"/>
                    <a:pt x="290" y="31"/>
                  </a:cubicBezTo>
                  <a:cubicBezTo>
                    <a:pt x="289" y="31"/>
                    <a:pt x="288" y="31"/>
                    <a:pt x="288" y="30"/>
                  </a:cubicBezTo>
                  <a:cubicBezTo>
                    <a:pt x="287" y="29"/>
                    <a:pt x="287" y="26"/>
                    <a:pt x="287" y="25"/>
                  </a:cubicBezTo>
                  <a:cubicBezTo>
                    <a:pt x="287" y="25"/>
                    <a:pt x="289" y="23"/>
                    <a:pt x="290" y="23"/>
                  </a:cubicBezTo>
                  <a:cubicBezTo>
                    <a:pt x="291" y="22"/>
                    <a:pt x="293" y="20"/>
                    <a:pt x="294" y="18"/>
                  </a:cubicBezTo>
                  <a:cubicBezTo>
                    <a:pt x="294" y="16"/>
                    <a:pt x="295" y="11"/>
                    <a:pt x="293" y="9"/>
                  </a:cubicBezTo>
                  <a:cubicBezTo>
                    <a:pt x="291" y="7"/>
                    <a:pt x="289" y="7"/>
                    <a:pt x="286" y="6"/>
                  </a:cubicBezTo>
                  <a:cubicBezTo>
                    <a:pt x="285" y="6"/>
                    <a:pt x="285" y="6"/>
                    <a:pt x="285" y="6"/>
                  </a:cubicBezTo>
                  <a:cubicBezTo>
                    <a:pt x="285" y="6"/>
                    <a:pt x="285" y="5"/>
                    <a:pt x="285" y="5"/>
                  </a:cubicBezTo>
                  <a:cubicBezTo>
                    <a:pt x="285" y="4"/>
                    <a:pt x="285" y="3"/>
                    <a:pt x="284" y="2"/>
                  </a:cubicBezTo>
                  <a:cubicBezTo>
                    <a:pt x="283" y="1"/>
                    <a:pt x="282" y="0"/>
                    <a:pt x="281" y="0"/>
                  </a:cubicBezTo>
                  <a:cubicBezTo>
                    <a:pt x="279" y="0"/>
                    <a:pt x="278" y="1"/>
                    <a:pt x="278" y="1"/>
                  </a:cubicBezTo>
                  <a:cubicBezTo>
                    <a:pt x="123" y="9"/>
                    <a:pt x="123" y="9"/>
                    <a:pt x="123" y="9"/>
                  </a:cubicBezTo>
                  <a:cubicBezTo>
                    <a:pt x="3" y="14"/>
                    <a:pt x="3" y="14"/>
                    <a:pt x="3" y="14"/>
                  </a:cubicBezTo>
                  <a:cubicBezTo>
                    <a:pt x="1" y="14"/>
                    <a:pt x="0" y="15"/>
                    <a:pt x="0" y="16"/>
                  </a:cubicBezTo>
                  <a:cubicBezTo>
                    <a:pt x="4" y="135"/>
                    <a:pt x="4" y="135"/>
                    <a:pt x="4" y="135"/>
                  </a:cubicBezTo>
                  <a:cubicBezTo>
                    <a:pt x="4" y="136"/>
                    <a:pt x="4" y="136"/>
                    <a:pt x="5" y="137"/>
                  </a:cubicBezTo>
                  <a:cubicBezTo>
                    <a:pt x="17" y="148"/>
                    <a:pt x="17" y="148"/>
                    <a:pt x="17" y="148"/>
                  </a:cubicBezTo>
                  <a:cubicBezTo>
                    <a:pt x="22" y="155"/>
                    <a:pt x="22" y="155"/>
                    <a:pt x="22" y="155"/>
                  </a:cubicBezTo>
                  <a:cubicBezTo>
                    <a:pt x="24" y="159"/>
                    <a:pt x="27" y="167"/>
                    <a:pt x="28" y="169"/>
                  </a:cubicBezTo>
                  <a:cubicBezTo>
                    <a:pt x="28" y="170"/>
                    <a:pt x="27" y="172"/>
                    <a:pt x="27" y="174"/>
                  </a:cubicBezTo>
                  <a:cubicBezTo>
                    <a:pt x="26" y="176"/>
                    <a:pt x="26" y="179"/>
                    <a:pt x="26" y="181"/>
                  </a:cubicBezTo>
                  <a:cubicBezTo>
                    <a:pt x="27" y="183"/>
                    <a:pt x="29" y="185"/>
                    <a:pt x="30" y="187"/>
                  </a:cubicBezTo>
                  <a:cubicBezTo>
                    <a:pt x="31" y="188"/>
                    <a:pt x="32" y="188"/>
                    <a:pt x="33" y="189"/>
                  </a:cubicBezTo>
                  <a:cubicBezTo>
                    <a:pt x="33" y="190"/>
                    <a:pt x="33" y="191"/>
                    <a:pt x="34" y="192"/>
                  </a:cubicBezTo>
                  <a:cubicBezTo>
                    <a:pt x="34" y="194"/>
                    <a:pt x="35" y="196"/>
                    <a:pt x="37" y="197"/>
                  </a:cubicBezTo>
                  <a:cubicBezTo>
                    <a:pt x="37" y="198"/>
                    <a:pt x="38" y="198"/>
                    <a:pt x="39" y="199"/>
                  </a:cubicBezTo>
                  <a:cubicBezTo>
                    <a:pt x="39" y="199"/>
                    <a:pt x="39" y="199"/>
                    <a:pt x="39" y="199"/>
                  </a:cubicBezTo>
                  <a:cubicBezTo>
                    <a:pt x="40" y="200"/>
                    <a:pt x="42" y="203"/>
                    <a:pt x="42" y="205"/>
                  </a:cubicBezTo>
                  <a:cubicBezTo>
                    <a:pt x="42" y="205"/>
                    <a:pt x="42" y="207"/>
                    <a:pt x="42" y="208"/>
                  </a:cubicBezTo>
                  <a:cubicBezTo>
                    <a:pt x="42" y="210"/>
                    <a:pt x="42" y="212"/>
                    <a:pt x="42" y="213"/>
                  </a:cubicBezTo>
                  <a:cubicBezTo>
                    <a:pt x="44" y="216"/>
                    <a:pt x="47" y="220"/>
                    <a:pt x="51" y="224"/>
                  </a:cubicBezTo>
                  <a:cubicBezTo>
                    <a:pt x="52" y="226"/>
                    <a:pt x="54" y="228"/>
                    <a:pt x="55" y="229"/>
                  </a:cubicBezTo>
                  <a:cubicBezTo>
                    <a:pt x="56" y="230"/>
                    <a:pt x="56" y="231"/>
                    <a:pt x="57" y="236"/>
                  </a:cubicBezTo>
                  <a:cubicBezTo>
                    <a:pt x="57" y="236"/>
                    <a:pt x="57" y="236"/>
                    <a:pt x="57" y="236"/>
                  </a:cubicBezTo>
                  <a:cubicBezTo>
                    <a:pt x="58" y="239"/>
                    <a:pt x="59" y="242"/>
                    <a:pt x="59" y="243"/>
                  </a:cubicBezTo>
                  <a:cubicBezTo>
                    <a:pt x="59" y="243"/>
                    <a:pt x="58" y="244"/>
                    <a:pt x="58" y="244"/>
                  </a:cubicBezTo>
                  <a:cubicBezTo>
                    <a:pt x="57" y="246"/>
                    <a:pt x="55" y="247"/>
                    <a:pt x="55" y="249"/>
                  </a:cubicBezTo>
                  <a:cubicBezTo>
                    <a:pt x="55" y="251"/>
                    <a:pt x="56" y="252"/>
                    <a:pt x="57" y="254"/>
                  </a:cubicBezTo>
                  <a:cubicBezTo>
                    <a:pt x="57" y="255"/>
                    <a:pt x="58" y="256"/>
                    <a:pt x="58" y="256"/>
                  </a:cubicBezTo>
                  <a:cubicBezTo>
                    <a:pt x="58" y="257"/>
                    <a:pt x="57" y="258"/>
                    <a:pt x="57" y="259"/>
                  </a:cubicBezTo>
                  <a:cubicBezTo>
                    <a:pt x="56" y="260"/>
                    <a:pt x="55" y="262"/>
                    <a:pt x="55" y="263"/>
                  </a:cubicBezTo>
                  <a:cubicBezTo>
                    <a:pt x="55" y="265"/>
                    <a:pt x="56" y="266"/>
                    <a:pt x="56" y="268"/>
                  </a:cubicBezTo>
                  <a:cubicBezTo>
                    <a:pt x="56" y="269"/>
                    <a:pt x="57" y="270"/>
                    <a:pt x="57" y="271"/>
                  </a:cubicBezTo>
                  <a:cubicBezTo>
                    <a:pt x="57" y="272"/>
                    <a:pt x="55" y="273"/>
                    <a:pt x="55" y="274"/>
                  </a:cubicBezTo>
                  <a:cubicBezTo>
                    <a:pt x="54" y="275"/>
                    <a:pt x="53" y="277"/>
                    <a:pt x="52" y="278"/>
                  </a:cubicBezTo>
                  <a:cubicBezTo>
                    <a:pt x="52" y="279"/>
                    <a:pt x="52" y="280"/>
                    <a:pt x="52" y="282"/>
                  </a:cubicBezTo>
                  <a:cubicBezTo>
                    <a:pt x="52" y="283"/>
                    <a:pt x="51" y="285"/>
                    <a:pt x="51" y="285"/>
                  </a:cubicBezTo>
                  <a:cubicBezTo>
                    <a:pt x="51" y="286"/>
                    <a:pt x="49" y="288"/>
                    <a:pt x="48" y="289"/>
                  </a:cubicBezTo>
                  <a:cubicBezTo>
                    <a:pt x="47" y="290"/>
                    <a:pt x="46" y="291"/>
                    <a:pt x="45" y="292"/>
                  </a:cubicBezTo>
                  <a:cubicBezTo>
                    <a:pt x="45" y="294"/>
                    <a:pt x="42" y="298"/>
                    <a:pt x="42" y="301"/>
                  </a:cubicBezTo>
                  <a:cubicBezTo>
                    <a:pt x="41" y="304"/>
                    <a:pt x="42" y="306"/>
                    <a:pt x="43" y="309"/>
                  </a:cubicBezTo>
                  <a:cubicBezTo>
                    <a:pt x="43" y="311"/>
                    <a:pt x="44" y="314"/>
                    <a:pt x="44" y="316"/>
                  </a:cubicBezTo>
                  <a:cubicBezTo>
                    <a:pt x="44" y="316"/>
                    <a:pt x="42" y="317"/>
                    <a:pt x="42" y="318"/>
                  </a:cubicBezTo>
                  <a:cubicBezTo>
                    <a:pt x="40" y="320"/>
                    <a:pt x="39" y="322"/>
                    <a:pt x="39" y="324"/>
                  </a:cubicBezTo>
                  <a:cubicBezTo>
                    <a:pt x="38" y="327"/>
                    <a:pt x="41" y="332"/>
                    <a:pt x="42" y="334"/>
                  </a:cubicBezTo>
                  <a:cubicBezTo>
                    <a:pt x="46" y="352"/>
                    <a:pt x="46" y="352"/>
                    <a:pt x="46" y="352"/>
                  </a:cubicBezTo>
                  <a:cubicBezTo>
                    <a:pt x="46" y="355"/>
                    <a:pt x="45" y="358"/>
                    <a:pt x="44" y="358"/>
                  </a:cubicBezTo>
                  <a:cubicBezTo>
                    <a:pt x="39" y="363"/>
                    <a:pt x="37" y="366"/>
                    <a:pt x="37" y="367"/>
                  </a:cubicBezTo>
                  <a:cubicBezTo>
                    <a:pt x="34" y="370"/>
                    <a:pt x="31" y="374"/>
                    <a:pt x="30" y="374"/>
                  </a:cubicBezTo>
                  <a:cubicBezTo>
                    <a:pt x="23" y="378"/>
                    <a:pt x="22" y="384"/>
                    <a:pt x="22" y="388"/>
                  </a:cubicBezTo>
                  <a:cubicBezTo>
                    <a:pt x="21" y="391"/>
                    <a:pt x="22" y="395"/>
                    <a:pt x="23" y="397"/>
                  </a:cubicBezTo>
                  <a:cubicBezTo>
                    <a:pt x="23" y="399"/>
                    <a:pt x="26" y="403"/>
                    <a:pt x="33" y="403"/>
                  </a:cubicBezTo>
                  <a:cubicBezTo>
                    <a:pt x="36" y="403"/>
                    <a:pt x="41" y="402"/>
                    <a:pt x="47" y="399"/>
                  </a:cubicBezTo>
                  <a:cubicBezTo>
                    <a:pt x="49" y="398"/>
                    <a:pt x="54" y="398"/>
                    <a:pt x="58" y="398"/>
                  </a:cubicBezTo>
                  <a:cubicBezTo>
                    <a:pt x="60" y="398"/>
                    <a:pt x="61" y="398"/>
                    <a:pt x="63" y="398"/>
                  </a:cubicBezTo>
                  <a:cubicBezTo>
                    <a:pt x="70" y="398"/>
                    <a:pt x="77" y="398"/>
                    <a:pt x="82" y="395"/>
                  </a:cubicBezTo>
                  <a:cubicBezTo>
                    <a:pt x="84" y="395"/>
                    <a:pt x="87" y="391"/>
                    <a:pt x="86" y="388"/>
                  </a:cubicBezTo>
                  <a:cubicBezTo>
                    <a:pt x="86" y="386"/>
                    <a:pt x="83" y="385"/>
                    <a:pt x="81" y="384"/>
                  </a:cubicBezTo>
                  <a:cubicBezTo>
                    <a:pt x="81" y="384"/>
                    <a:pt x="80" y="384"/>
                    <a:pt x="80" y="384"/>
                  </a:cubicBezTo>
                  <a:cubicBezTo>
                    <a:pt x="80" y="383"/>
                    <a:pt x="81" y="383"/>
                    <a:pt x="81" y="383"/>
                  </a:cubicBezTo>
                  <a:cubicBezTo>
                    <a:pt x="83" y="382"/>
                    <a:pt x="85" y="381"/>
                    <a:pt x="86" y="379"/>
                  </a:cubicBezTo>
                  <a:cubicBezTo>
                    <a:pt x="87" y="377"/>
                    <a:pt x="87" y="373"/>
                    <a:pt x="86" y="369"/>
                  </a:cubicBezTo>
                  <a:cubicBezTo>
                    <a:pt x="86" y="367"/>
                    <a:pt x="86" y="364"/>
                    <a:pt x="86" y="362"/>
                  </a:cubicBezTo>
                  <a:cubicBezTo>
                    <a:pt x="87" y="363"/>
                    <a:pt x="88" y="366"/>
                    <a:pt x="89" y="367"/>
                  </a:cubicBezTo>
                  <a:cubicBezTo>
                    <a:pt x="89" y="368"/>
                    <a:pt x="89" y="368"/>
                    <a:pt x="89" y="368"/>
                  </a:cubicBezTo>
                  <a:cubicBezTo>
                    <a:pt x="90" y="369"/>
                    <a:pt x="92" y="373"/>
                    <a:pt x="92" y="374"/>
                  </a:cubicBezTo>
                  <a:cubicBezTo>
                    <a:pt x="93" y="378"/>
                    <a:pt x="92" y="379"/>
                    <a:pt x="93" y="379"/>
                  </a:cubicBezTo>
                  <a:cubicBezTo>
                    <a:pt x="92" y="380"/>
                    <a:pt x="87" y="387"/>
                    <a:pt x="90" y="392"/>
                  </a:cubicBezTo>
                  <a:cubicBezTo>
                    <a:pt x="91" y="394"/>
                    <a:pt x="94" y="394"/>
                    <a:pt x="95" y="394"/>
                  </a:cubicBezTo>
                  <a:cubicBezTo>
                    <a:pt x="96" y="395"/>
                    <a:pt x="97" y="394"/>
                    <a:pt x="98" y="394"/>
                  </a:cubicBezTo>
                  <a:cubicBezTo>
                    <a:pt x="98" y="394"/>
                    <a:pt x="99" y="394"/>
                    <a:pt x="100" y="394"/>
                  </a:cubicBezTo>
                  <a:cubicBezTo>
                    <a:pt x="104" y="395"/>
                    <a:pt x="111" y="397"/>
                    <a:pt x="115" y="398"/>
                  </a:cubicBezTo>
                  <a:cubicBezTo>
                    <a:pt x="118" y="399"/>
                    <a:pt x="129" y="403"/>
                    <a:pt x="129" y="403"/>
                  </a:cubicBezTo>
                  <a:cubicBezTo>
                    <a:pt x="138" y="408"/>
                    <a:pt x="138" y="408"/>
                    <a:pt x="138" y="408"/>
                  </a:cubicBezTo>
                  <a:cubicBezTo>
                    <a:pt x="151" y="412"/>
                    <a:pt x="151" y="412"/>
                    <a:pt x="151" y="412"/>
                  </a:cubicBezTo>
                  <a:cubicBezTo>
                    <a:pt x="152" y="413"/>
                    <a:pt x="179" y="418"/>
                    <a:pt x="189" y="418"/>
                  </a:cubicBezTo>
                  <a:cubicBezTo>
                    <a:pt x="191" y="418"/>
                    <a:pt x="195" y="418"/>
                    <a:pt x="197" y="417"/>
                  </a:cubicBezTo>
                  <a:cubicBezTo>
                    <a:pt x="199" y="417"/>
                    <a:pt x="201" y="416"/>
                    <a:pt x="203" y="414"/>
                  </a:cubicBezTo>
                  <a:cubicBezTo>
                    <a:pt x="204" y="413"/>
                    <a:pt x="206" y="412"/>
                    <a:pt x="208" y="412"/>
                  </a:cubicBezTo>
                  <a:cubicBezTo>
                    <a:pt x="208" y="412"/>
                    <a:pt x="209" y="412"/>
                    <a:pt x="210" y="412"/>
                  </a:cubicBezTo>
                  <a:cubicBezTo>
                    <a:pt x="212" y="412"/>
                    <a:pt x="215" y="412"/>
                    <a:pt x="216" y="411"/>
                  </a:cubicBezTo>
                  <a:cubicBezTo>
                    <a:pt x="219" y="407"/>
                    <a:pt x="215" y="401"/>
                    <a:pt x="211" y="396"/>
                  </a:cubicBezTo>
                  <a:cubicBezTo>
                    <a:pt x="210" y="395"/>
                    <a:pt x="209" y="394"/>
                    <a:pt x="208" y="394"/>
                  </a:cubicBezTo>
                  <a:cubicBezTo>
                    <a:pt x="209" y="394"/>
                    <a:pt x="210" y="394"/>
                    <a:pt x="211" y="393"/>
                  </a:cubicBezTo>
                  <a:cubicBezTo>
                    <a:pt x="212" y="393"/>
                    <a:pt x="213" y="392"/>
                    <a:pt x="213" y="391"/>
                  </a:cubicBezTo>
                  <a:cubicBezTo>
                    <a:pt x="214" y="391"/>
                    <a:pt x="214" y="390"/>
                    <a:pt x="214" y="390"/>
                  </a:cubicBezTo>
                  <a:cubicBezTo>
                    <a:pt x="215" y="389"/>
                    <a:pt x="219" y="388"/>
                    <a:pt x="222" y="387"/>
                  </a:cubicBezTo>
                  <a:cubicBezTo>
                    <a:pt x="225" y="385"/>
                    <a:pt x="231" y="382"/>
                    <a:pt x="234" y="381"/>
                  </a:cubicBezTo>
                  <a:cubicBezTo>
                    <a:pt x="234" y="383"/>
                    <a:pt x="233" y="385"/>
                    <a:pt x="232" y="386"/>
                  </a:cubicBezTo>
                  <a:cubicBezTo>
                    <a:pt x="232" y="387"/>
                    <a:pt x="232" y="387"/>
                    <a:pt x="232" y="387"/>
                  </a:cubicBezTo>
                  <a:cubicBezTo>
                    <a:pt x="232" y="393"/>
                    <a:pt x="233" y="394"/>
                    <a:pt x="234" y="394"/>
                  </a:cubicBezTo>
                  <a:cubicBezTo>
                    <a:pt x="234" y="394"/>
                    <a:pt x="235" y="395"/>
                    <a:pt x="236" y="395"/>
                  </a:cubicBezTo>
                  <a:cubicBezTo>
                    <a:pt x="239" y="395"/>
                    <a:pt x="242" y="392"/>
                    <a:pt x="243" y="392"/>
                  </a:cubicBezTo>
                  <a:cubicBezTo>
                    <a:pt x="243" y="392"/>
                    <a:pt x="250" y="390"/>
                    <a:pt x="254" y="390"/>
                  </a:cubicBezTo>
                  <a:cubicBezTo>
                    <a:pt x="255" y="390"/>
                    <a:pt x="256" y="390"/>
                    <a:pt x="256" y="390"/>
                  </a:cubicBezTo>
                  <a:cubicBezTo>
                    <a:pt x="256" y="391"/>
                    <a:pt x="256" y="392"/>
                    <a:pt x="256" y="393"/>
                  </a:cubicBezTo>
                  <a:cubicBezTo>
                    <a:pt x="256" y="394"/>
                    <a:pt x="257" y="396"/>
                    <a:pt x="258" y="398"/>
                  </a:cubicBezTo>
                  <a:cubicBezTo>
                    <a:pt x="259" y="399"/>
                    <a:pt x="261" y="400"/>
                    <a:pt x="262" y="400"/>
                  </a:cubicBezTo>
                  <a:cubicBezTo>
                    <a:pt x="263" y="401"/>
                    <a:pt x="265" y="401"/>
                    <a:pt x="265" y="401"/>
                  </a:cubicBezTo>
                  <a:cubicBezTo>
                    <a:pt x="265" y="402"/>
                    <a:pt x="265" y="404"/>
                    <a:pt x="266" y="405"/>
                  </a:cubicBezTo>
                  <a:cubicBezTo>
                    <a:pt x="266" y="408"/>
                    <a:pt x="266" y="411"/>
                    <a:pt x="268" y="413"/>
                  </a:cubicBezTo>
                  <a:cubicBezTo>
                    <a:pt x="270" y="414"/>
                    <a:pt x="272" y="414"/>
                    <a:pt x="275" y="413"/>
                  </a:cubicBezTo>
                  <a:cubicBezTo>
                    <a:pt x="276" y="413"/>
                    <a:pt x="276" y="413"/>
                    <a:pt x="277" y="413"/>
                  </a:cubicBezTo>
                  <a:cubicBezTo>
                    <a:pt x="280" y="414"/>
                    <a:pt x="288" y="417"/>
                    <a:pt x="291" y="418"/>
                  </a:cubicBezTo>
                  <a:cubicBezTo>
                    <a:pt x="292" y="418"/>
                    <a:pt x="292" y="418"/>
                    <a:pt x="292" y="418"/>
                  </a:cubicBezTo>
                  <a:cubicBezTo>
                    <a:pt x="292" y="418"/>
                    <a:pt x="294" y="418"/>
                    <a:pt x="296" y="420"/>
                  </a:cubicBezTo>
                  <a:cubicBezTo>
                    <a:pt x="301" y="426"/>
                    <a:pt x="301" y="426"/>
                    <a:pt x="301" y="426"/>
                  </a:cubicBezTo>
                  <a:cubicBezTo>
                    <a:pt x="301" y="427"/>
                    <a:pt x="301" y="427"/>
                    <a:pt x="302" y="427"/>
                  </a:cubicBezTo>
                  <a:cubicBezTo>
                    <a:pt x="305" y="429"/>
                    <a:pt x="308" y="431"/>
                    <a:pt x="309" y="432"/>
                  </a:cubicBezTo>
                  <a:cubicBezTo>
                    <a:pt x="310" y="433"/>
                    <a:pt x="312" y="437"/>
                    <a:pt x="312" y="438"/>
                  </a:cubicBezTo>
                  <a:cubicBezTo>
                    <a:pt x="312" y="438"/>
                    <a:pt x="311" y="440"/>
                    <a:pt x="311" y="440"/>
                  </a:cubicBezTo>
                  <a:cubicBezTo>
                    <a:pt x="310" y="442"/>
                    <a:pt x="309" y="444"/>
                    <a:pt x="310" y="446"/>
                  </a:cubicBezTo>
                  <a:cubicBezTo>
                    <a:pt x="311" y="449"/>
                    <a:pt x="316" y="451"/>
                    <a:pt x="318" y="451"/>
                  </a:cubicBezTo>
                  <a:cubicBezTo>
                    <a:pt x="320" y="451"/>
                    <a:pt x="322" y="450"/>
                    <a:pt x="323" y="450"/>
                  </a:cubicBezTo>
                  <a:cubicBezTo>
                    <a:pt x="324" y="449"/>
                    <a:pt x="325" y="448"/>
                    <a:pt x="326" y="448"/>
                  </a:cubicBezTo>
                  <a:cubicBezTo>
                    <a:pt x="327" y="449"/>
                    <a:pt x="329" y="451"/>
                    <a:pt x="331" y="452"/>
                  </a:cubicBezTo>
                  <a:cubicBezTo>
                    <a:pt x="334" y="455"/>
                    <a:pt x="337" y="458"/>
                    <a:pt x="341" y="458"/>
                  </a:cubicBezTo>
                  <a:cubicBezTo>
                    <a:pt x="343" y="458"/>
                    <a:pt x="344" y="457"/>
                    <a:pt x="346" y="455"/>
                  </a:cubicBezTo>
                  <a:cubicBezTo>
                    <a:pt x="347" y="455"/>
                    <a:pt x="348" y="454"/>
                    <a:pt x="349" y="454"/>
                  </a:cubicBezTo>
                  <a:cubicBezTo>
                    <a:pt x="350" y="454"/>
                    <a:pt x="350" y="454"/>
                    <a:pt x="350" y="454"/>
                  </a:cubicBezTo>
                  <a:cubicBezTo>
                    <a:pt x="350" y="454"/>
                    <a:pt x="352" y="455"/>
                    <a:pt x="352" y="456"/>
                  </a:cubicBezTo>
                  <a:cubicBezTo>
                    <a:pt x="354" y="457"/>
                    <a:pt x="356" y="459"/>
                    <a:pt x="358" y="459"/>
                  </a:cubicBezTo>
                  <a:cubicBezTo>
                    <a:pt x="358" y="459"/>
                    <a:pt x="359" y="459"/>
                    <a:pt x="359" y="459"/>
                  </a:cubicBezTo>
                  <a:cubicBezTo>
                    <a:pt x="361" y="458"/>
                    <a:pt x="365" y="456"/>
                    <a:pt x="366" y="454"/>
                  </a:cubicBezTo>
                  <a:cubicBezTo>
                    <a:pt x="368" y="452"/>
                    <a:pt x="367" y="449"/>
                    <a:pt x="367" y="446"/>
                  </a:cubicBezTo>
                  <a:cubicBezTo>
                    <a:pt x="367" y="445"/>
                    <a:pt x="367" y="443"/>
                    <a:pt x="367" y="443"/>
                  </a:cubicBezTo>
                  <a:cubicBezTo>
                    <a:pt x="367" y="442"/>
                    <a:pt x="367" y="442"/>
                    <a:pt x="367" y="442"/>
                  </a:cubicBezTo>
                  <a:cubicBezTo>
                    <a:pt x="367" y="441"/>
                    <a:pt x="367" y="437"/>
                    <a:pt x="368" y="436"/>
                  </a:cubicBezTo>
                  <a:cubicBezTo>
                    <a:pt x="368" y="436"/>
                    <a:pt x="368" y="436"/>
                    <a:pt x="370" y="436"/>
                  </a:cubicBezTo>
                  <a:cubicBezTo>
                    <a:pt x="370" y="436"/>
                    <a:pt x="371" y="436"/>
                    <a:pt x="371" y="436"/>
                  </a:cubicBezTo>
                  <a:cubicBezTo>
                    <a:pt x="373" y="436"/>
                    <a:pt x="374" y="436"/>
                    <a:pt x="375" y="436"/>
                  </a:cubicBezTo>
                  <a:cubicBezTo>
                    <a:pt x="376" y="436"/>
                    <a:pt x="379" y="435"/>
                    <a:pt x="381" y="434"/>
                  </a:cubicBezTo>
                  <a:cubicBezTo>
                    <a:pt x="381" y="434"/>
                    <a:pt x="382" y="433"/>
                    <a:pt x="382" y="433"/>
                  </a:cubicBezTo>
                  <a:cubicBezTo>
                    <a:pt x="383" y="433"/>
                    <a:pt x="383" y="433"/>
                    <a:pt x="384" y="432"/>
                  </a:cubicBezTo>
                  <a:cubicBezTo>
                    <a:pt x="384" y="432"/>
                    <a:pt x="384" y="432"/>
                    <a:pt x="385" y="432"/>
                  </a:cubicBezTo>
                  <a:cubicBezTo>
                    <a:pt x="394" y="437"/>
                    <a:pt x="394" y="437"/>
                    <a:pt x="394" y="437"/>
                  </a:cubicBezTo>
                  <a:cubicBezTo>
                    <a:pt x="394" y="437"/>
                    <a:pt x="395" y="437"/>
                    <a:pt x="396" y="437"/>
                  </a:cubicBezTo>
                  <a:cubicBezTo>
                    <a:pt x="398" y="437"/>
                    <a:pt x="401" y="438"/>
                    <a:pt x="401" y="438"/>
                  </a:cubicBezTo>
                  <a:cubicBezTo>
                    <a:pt x="401" y="439"/>
                    <a:pt x="401" y="441"/>
                    <a:pt x="401" y="443"/>
                  </a:cubicBezTo>
                  <a:cubicBezTo>
                    <a:pt x="400" y="445"/>
                    <a:pt x="400" y="447"/>
                    <a:pt x="400" y="449"/>
                  </a:cubicBezTo>
                  <a:cubicBezTo>
                    <a:pt x="400" y="451"/>
                    <a:pt x="402" y="456"/>
                    <a:pt x="405" y="458"/>
                  </a:cubicBezTo>
                  <a:cubicBezTo>
                    <a:pt x="405" y="458"/>
                    <a:pt x="406" y="458"/>
                    <a:pt x="407" y="458"/>
                  </a:cubicBezTo>
                  <a:cubicBezTo>
                    <a:pt x="409" y="458"/>
                    <a:pt x="411" y="457"/>
                    <a:pt x="413" y="455"/>
                  </a:cubicBezTo>
                  <a:cubicBezTo>
                    <a:pt x="414" y="455"/>
                    <a:pt x="414" y="455"/>
                    <a:pt x="414" y="455"/>
                  </a:cubicBezTo>
                  <a:cubicBezTo>
                    <a:pt x="416" y="454"/>
                    <a:pt x="420" y="450"/>
                    <a:pt x="422" y="448"/>
                  </a:cubicBezTo>
                  <a:cubicBezTo>
                    <a:pt x="423" y="447"/>
                    <a:pt x="426" y="442"/>
                    <a:pt x="426" y="439"/>
                  </a:cubicBezTo>
                  <a:cubicBezTo>
                    <a:pt x="426" y="437"/>
                    <a:pt x="424" y="436"/>
                    <a:pt x="423" y="434"/>
                  </a:cubicBezTo>
                  <a:cubicBezTo>
                    <a:pt x="422" y="434"/>
                    <a:pt x="422" y="434"/>
                    <a:pt x="422" y="434"/>
                  </a:cubicBezTo>
                  <a:cubicBezTo>
                    <a:pt x="422" y="434"/>
                    <a:pt x="422" y="434"/>
                    <a:pt x="422" y="434"/>
                  </a:cubicBezTo>
                  <a:cubicBezTo>
                    <a:pt x="424" y="433"/>
                    <a:pt x="426" y="433"/>
                    <a:pt x="428" y="431"/>
                  </a:cubicBezTo>
                  <a:cubicBezTo>
                    <a:pt x="430" y="427"/>
                    <a:pt x="428" y="418"/>
                    <a:pt x="425" y="414"/>
                  </a:cubicBezTo>
                  <a:cubicBezTo>
                    <a:pt x="424" y="412"/>
                    <a:pt x="420" y="410"/>
                    <a:pt x="417" y="409"/>
                  </a:cubicBezTo>
                  <a:cubicBezTo>
                    <a:pt x="414" y="408"/>
                    <a:pt x="411" y="407"/>
                    <a:pt x="410" y="405"/>
                  </a:cubicBezTo>
                  <a:cubicBezTo>
                    <a:pt x="410" y="405"/>
                    <a:pt x="409" y="403"/>
                    <a:pt x="409" y="401"/>
                  </a:cubicBezTo>
                  <a:cubicBezTo>
                    <a:pt x="415" y="402"/>
                    <a:pt x="428" y="409"/>
                    <a:pt x="433" y="412"/>
                  </a:cubicBezTo>
                  <a:cubicBezTo>
                    <a:pt x="433" y="412"/>
                    <a:pt x="433" y="412"/>
                    <a:pt x="434" y="412"/>
                  </a:cubicBezTo>
                  <a:cubicBezTo>
                    <a:pt x="440" y="414"/>
                    <a:pt x="440" y="414"/>
                    <a:pt x="440" y="414"/>
                  </a:cubicBezTo>
                  <a:cubicBezTo>
                    <a:pt x="442" y="414"/>
                    <a:pt x="446" y="416"/>
                    <a:pt x="447" y="417"/>
                  </a:cubicBezTo>
                  <a:cubicBezTo>
                    <a:pt x="448" y="418"/>
                    <a:pt x="448" y="418"/>
                    <a:pt x="448" y="418"/>
                  </a:cubicBezTo>
                  <a:cubicBezTo>
                    <a:pt x="448" y="418"/>
                    <a:pt x="449" y="418"/>
                    <a:pt x="449" y="418"/>
                  </a:cubicBezTo>
                  <a:cubicBezTo>
                    <a:pt x="449" y="419"/>
                    <a:pt x="448" y="419"/>
                    <a:pt x="448" y="420"/>
                  </a:cubicBezTo>
                  <a:cubicBezTo>
                    <a:pt x="446" y="422"/>
                    <a:pt x="443" y="424"/>
                    <a:pt x="445" y="427"/>
                  </a:cubicBezTo>
                  <a:cubicBezTo>
                    <a:pt x="446" y="428"/>
                    <a:pt x="447" y="429"/>
                    <a:pt x="449" y="429"/>
                  </a:cubicBezTo>
                  <a:cubicBezTo>
                    <a:pt x="451" y="429"/>
                    <a:pt x="453" y="429"/>
                    <a:pt x="454" y="428"/>
                  </a:cubicBezTo>
                  <a:cubicBezTo>
                    <a:pt x="455" y="428"/>
                    <a:pt x="455" y="428"/>
                    <a:pt x="456" y="428"/>
                  </a:cubicBezTo>
                  <a:cubicBezTo>
                    <a:pt x="456" y="428"/>
                    <a:pt x="463" y="427"/>
                    <a:pt x="472" y="432"/>
                  </a:cubicBezTo>
                  <a:cubicBezTo>
                    <a:pt x="476" y="435"/>
                    <a:pt x="480" y="436"/>
                    <a:pt x="483" y="437"/>
                  </a:cubicBezTo>
                  <a:cubicBezTo>
                    <a:pt x="488" y="439"/>
                    <a:pt x="492" y="441"/>
                    <a:pt x="496" y="446"/>
                  </a:cubicBezTo>
                  <a:cubicBezTo>
                    <a:pt x="501" y="451"/>
                    <a:pt x="505" y="454"/>
                    <a:pt x="510" y="454"/>
                  </a:cubicBezTo>
                  <a:cubicBezTo>
                    <a:pt x="513" y="454"/>
                    <a:pt x="516" y="453"/>
                    <a:pt x="518" y="452"/>
                  </a:cubicBezTo>
                  <a:cubicBezTo>
                    <a:pt x="518" y="451"/>
                    <a:pt x="519" y="451"/>
                    <a:pt x="520" y="451"/>
                  </a:cubicBezTo>
                  <a:cubicBezTo>
                    <a:pt x="523" y="450"/>
                    <a:pt x="527" y="448"/>
                    <a:pt x="527" y="440"/>
                  </a:cubicBezTo>
                  <a:cubicBezTo>
                    <a:pt x="527" y="438"/>
                    <a:pt x="528" y="437"/>
                    <a:pt x="528" y="436"/>
                  </a:cubicBezTo>
                  <a:cubicBezTo>
                    <a:pt x="529" y="430"/>
                    <a:pt x="528" y="428"/>
                    <a:pt x="519" y="424"/>
                  </a:cubicBezTo>
                  <a:close/>
                  <a:moveTo>
                    <a:pt x="254" y="209"/>
                  </a:moveTo>
                  <a:cubicBezTo>
                    <a:pt x="254" y="209"/>
                    <a:pt x="254" y="209"/>
                    <a:pt x="254" y="209"/>
                  </a:cubicBezTo>
                  <a:cubicBezTo>
                    <a:pt x="254" y="209"/>
                    <a:pt x="254" y="209"/>
                    <a:pt x="254" y="209"/>
                  </a:cubicBezTo>
                  <a:close/>
                  <a:moveTo>
                    <a:pt x="296" y="103"/>
                  </a:moveTo>
                  <a:cubicBezTo>
                    <a:pt x="296" y="103"/>
                    <a:pt x="296" y="103"/>
                    <a:pt x="296" y="103"/>
                  </a:cubicBezTo>
                  <a:cubicBezTo>
                    <a:pt x="296" y="103"/>
                    <a:pt x="296" y="103"/>
                    <a:pt x="296" y="103"/>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29">
              <a:extLst>
                <a:ext uri="{FF2B5EF4-FFF2-40B4-BE49-F238E27FC236}">
                  <a16:creationId xmlns:a16="http://schemas.microsoft.com/office/drawing/2014/main" id="{7948EC0C-0F12-492C-8F7C-8526C009EE71}"/>
                </a:ext>
              </a:extLst>
            </p:cNvPr>
            <p:cNvSpPr>
              <a:spLocks/>
            </p:cNvSpPr>
            <p:nvPr/>
          </p:nvSpPr>
          <p:spPr bwMode="auto">
            <a:xfrm>
              <a:off x="7182328" y="3910201"/>
              <a:ext cx="568028" cy="583189"/>
            </a:xfrm>
            <a:custGeom>
              <a:avLst/>
              <a:gdLst>
                <a:gd name="T0" fmla="*/ 36 w 511"/>
                <a:gd name="T1" fmla="*/ 143 h 525"/>
                <a:gd name="T2" fmla="*/ 72 w 511"/>
                <a:gd name="T3" fmla="*/ 274 h 525"/>
                <a:gd name="T4" fmla="*/ 79 w 511"/>
                <a:gd name="T5" fmla="*/ 290 h 525"/>
                <a:gd name="T6" fmla="*/ 96 w 511"/>
                <a:gd name="T7" fmla="*/ 313 h 525"/>
                <a:gd name="T8" fmla="*/ 101 w 511"/>
                <a:gd name="T9" fmla="*/ 324 h 525"/>
                <a:gd name="T10" fmla="*/ 106 w 511"/>
                <a:gd name="T11" fmla="*/ 340 h 525"/>
                <a:gd name="T12" fmla="*/ 101 w 511"/>
                <a:gd name="T13" fmla="*/ 352 h 525"/>
                <a:gd name="T14" fmla="*/ 97 w 511"/>
                <a:gd name="T15" fmla="*/ 374 h 525"/>
                <a:gd name="T16" fmla="*/ 92 w 511"/>
                <a:gd name="T17" fmla="*/ 396 h 525"/>
                <a:gd name="T18" fmla="*/ 103 w 511"/>
                <a:gd name="T19" fmla="*/ 419 h 525"/>
                <a:gd name="T20" fmla="*/ 105 w 511"/>
                <a:gd name="T21" fmla="*/ 444 h 525"/>
                <a:gd name="T22" fmla="*/ 105 w 511"/>
                <a:gd name="T23" fmla="*/ 469 h 525"/>
                <a:gd name="T24" fmla="*/ 117 w 511"/>
                <a:gd name="T25" fmla="*/ 487 h 525"/>
                <a:gd name="T26" fmla="*/ 128 w 511"/>
                <a:gd name="T27" fmla="*/ 508 h 525"/>
                <a:gd name="T28" fmla="*/ 135 w 511"/>
                <a:gd name="T29" fmla="*/ 522 h 525"/>
                <a:gd name="T30" fmla="*/ 401 w 511"/>
                <a:gd name="T31" fmla="*/ 508 h 525"/>
                <a:gd name="T32" fmla="*/ 414 w 511"/>
                <a:gd name="T33" fmla="*/ 524 h 525"/>
                <a:gd name="T34" fmla="*/ 422 w 511"/>
                <a:gd name="T35" fmla="*/ 503 h 525"/>
                <a:gd name="T36" fmla="*/ 416 w 511"/>
                <a:gd name="T37" fmla="*/ 489 h 525"/>
                <a:gd name="T38" fmla="*/ 418 w 511"/>
                <a:gd name="T39" fmla="*/ 476 h 525"/>
                <a:gd name="T40" fmla="*/ 428 w 511"/>
                <a:gd name="T41" fmla="*/ 470 h 525"/>
                <a:gd name="T42" fmla="*/ 454 w 511"/>
                <a:gd name="T43" fmla="*/ 475 h 525"/>
                <a:gd name="T44" fmla="*/ 465 w 511"/>
                <a:gd name="T45" fmla="*/ 475 h 525"/>
                <a:gd name="T46" fmla="*/ 469 w 511"/>
                <a:gd name="T47" fmla="*/ 466 h 525"/>
                <a:gd name="T48" fmla="*/ 466 w 511"/>
                <a:gd name="T49" fmla="*/ 452 h 525"/>
                <a:gd name="T50" fmla="*/ 464 w 511"/>
                <a:gd name="T51" fmla="*/ 445 h 525"/>
                <a:gd name="T52" fmla="*/ 468 w 511"/>
                <a:gd name="T53" fmla="*/ 435 h 525"/>
                <a:gd name="T54" fmla="*/ 472 w 511"/>
                <a:gd name="T55" fmla="*/ 424 h 525"/>
                <a:gd name="T56" fmla="*/ 481 w 511"/>
                <a:gd name="T57" fmla="*/ 405 h 525"/>
                <a:gd name="T58" fmla="*/ 466 w 511"/>
                <a:gd name="T59" fmla="*/ 402 h 525"/>
                <a:gd name="T60" fmla="*/ 460 w 511"/>
                <a:gd name="T61" fmla="*/ 398 h 525"/>
                <a:gd name="T62" fmla="*/ 475 w 511"/>
                <a:gd name="T63" fmla="*/ 400 h 525"/>
                <a:gd name="T64" fmla="*/ 479 w 511"/>
                <a:gd name="T65" fmla="*/ 393 h 525"/>
                <a:gd name="T66" fmla="*/ 473 w 511"/>
                <a:gd name="T67" fmla="*/ 377 h 525"/>
                <a:gd name="T68" fmla="*/ 477 w 511"/>
                <a:gd name="T69" fmla="*/ 363 h 525"/>
                <a:gd name="T70" fmla="*/ 492 w 511"/>
                <a:gd name="T71" fmla="*/ 342 h 525"/>
                <a:gd name="T72" fmla="*/ 485 w 511"/>
                <a:gd name="T73" fmla="*/ 329 h 525"/>
                <a:gd name="T74" fmla="*/ 499 w 511"/>
                <a:gd name="T75" fmla="*/ 332 h 525"/>
                <a:gd name="T76" fmla="*/ 506 w 511"/>
                <a:gd name="T77" fmla="*/ 320 h 525"/>
                <a:gd name="T78" fmla="*/ 504 w 511"/>
                <a:gd name="T79" fmla="*/ 312 h 525"/>
                <a:gd name="T80" fmla="*/ 497 w 511"/>
                <a:gd name="T81" fmla="*/ 308 h 525"/>
                <a:gd name="T82" fmla="*/ 476 w 511"/>
                <a:gd name="T83" fmla="*/ 299 h 525"/>
                <a:gd name="T84" fmla="*/ 476 w 511"/>
                <a:gd name="T85" fmla="*/ 285 h 525"/>
                <a:gd name="T86" fmla="*/ 466 w 511"/>
                <a:gd name="T87" fmla="*/ 269 h 525"/>
                <a:gd name="T88" fmla="*/ 450 w 511"/>
                <a:gd name="T89" fmla="*/ 257 h 525"/>
                <a:gd name="T90" fmla="*/ 440 w 511"/>
                <a:gd name="T91" fmla="*/ 244 h 525"/>
                <a:gd name="T92" fmla="*/ 437 w 511"/>
                <a:gd name="T93" fmla="*/ 228 h 525"/>
                <a:gd name="T94" fmla="*/ 427 w 511"/>
                <a:gd name="T95" fmla="*/ 210 h 525"/>
                <a:gd name="T96" fmla="*/ 404 w 511"/>
                <a:gd name="T97" fmla="*/ 198 h 525"/>
                <a:gd name="T98" fmla="*/ 397 w 511"/>
                <a:gd name="T99" fmla="*/ 189 h 525"/>
                <a:gd name="T100" fmla="*/ 388 w 511"/>
                <a:gd name="T101" fmla="*/ 179 h 525"/>
                <a:gd name="T102" fmla="*/ 377 w 511"/>
                <a:gd name="T103" fmla="*/ 168 h 525"/>
                <a:gd name="T104" fmla="*/ 371 w 511"/>
                <a:gd name="T105" fmla="*/ 159 h 525"/>
                <a:gd name="T106" fmla="*/ 352 w 511"/>
                <a:gd name="T107" fmla="*/ 149 h 525"/>
                <a:gd name="T108" fmla="*/ 342 w 511"/>
                <a:gd name="T109" fmla="*/ 136 h 525"/>
                <a:gd name="T110" fmla="*/ 321 w 511"/>
                <a:gd name="T111" fmla="*/ 121 h 525"/>
                <a:gd name="T112" fmla="*/ 286 w 511"/>
                <a:gd name="T113" fmla="*/ 87 h 525"/>
                <a:gd name="T114" fmla="*/ 276 w 511"/>
                <a:gd name="T115" fmla="*/ 71 h 525"/>
                <a:gd name="T116" fmla="*/ 264 w 511"/>
                <a:gd name="T117" fmla="*/ 57 h 525"/>
                <a:gd name="T118" fmla="*/ 239 w 511"/>
                <a:gd name="T119" fmla="*/ 47 h 525"/>
                <a:gd name="T120" fmla="*/ 238 w 511"/>
                <a:gd name="T121" fmla="*/ 0 h 525"/>
                <a:gd name="T122" fmla="*/ 85 w 511"/>
                <a:gd name="T123" fmla="*/ 21 h 525"/>
                <a:gd name="T124" fmla="*/ 0 w 511"/>
                <a:gd name="T125" fmla="*/ 3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1" h="525">
                  <a:moveTo>
                    <a:pt x="2" y="38"/>
                  </a:moveTo>
                  <a:cubicBezTo>
                    <a:pt x="36" y="143"/>
                    <a:pt x="36" y="143"/>
                    <a:pt x="36" y="143"/>
                  </a:cubicBezTo>
                  <a:cubicBezTo>
                    <a:pt x="71" y="270"/>
                    <a:pt x="71" y="270"/>
                    <a:pt x="71" y="270"/>
                  </a:cubicBezTo>
                  <a:cubicBezTo>
                    <a:pt x="71" y="270"/>
                    <a:pt x="72" y="273"/>
                    <a:pt x="72" y="274"/>
                  </a:cubicBezTo>
                  <a:cubicBezTo>
                    <a:pt x="73" y="276"/>
                    <a:pt x="74" y="280"/>
                    <a:pt x="74" y="282"/>
                  </a:cubicBezTo>
                  <a:cubicBezTo>
                    <a:pt x="75" y="284"/>
                    <a:pt x="78" y="288"/>
                    <a:pt x="79" y="290"/>
                  </a:cubicBezTo>
                  <a:cubicBezTo>
                    <a:pt x="81" y="293"/>
                    <a:pt x="84" y="301"/>
                    <a:pt x="86" y="304"/>
                  </a:cubicBezTo>
                  <a:cubicBezTo>
                    <a:pt x="88" y="307"/>
                    <a:pt x="96" y="313"/>
                    <a:pt x="96" y="313"/>
                  </a:cubicBezTo>
                  <a:cubicBezTo>
                    <a:pt x="97" y="316"/>
                    <a:pt x="97" y="316"/>
                    <a:pt x="97" y="316"/>
                  </a:cubicBezTo>
                  <a:cubicBezTo>
                    <a:pt x="97" y="316"/>
                    <a:pt x="101" y="322"/>
                    <a:pt x="101" y="324"/>
                  </a:cubicBezTo>
                  <a:cubicBezTo>
                    <a:pt x="101" y="327"/>
                    <a:pt x="98" y="333"/>
                    <a:pt x="99" y="336"/>
                  </a:cubicBezTo>
                  <a:cubicBezTo>
                    <a:pt x="100" y="338"/>
                    <a:pt x="105" y="338"/>
                    <a:pt x="106" y="340"/>
                  </a:cubicBezTo>
                  <a:cubicBezTo>
                    <a:pt x="107" y="341"/>
                    <a:pt x="108" y="345"/>
                    <a:pt x="108" y="347"/>
                  </a:cubicBezTo>
                  <a:cubicBezTo>
                    <a:pt x="107" y="349"/>
                    <a:pt x="101" y="352"/>
                    <a:pt x="101" y="352"/>
                  </a:cubicBezTo>
                  <a:cubicBezTo>
                    <a:pt x="101" y="352"/>
                    <a:pt x="97" y="358"/>
                    <a:pt x="96" y="360"/>
                  </a:cubicBezTo>
                  <a:cubicBezTo>
                    <a:pt x="95" y="363"/>
                    <a:pt x="98" y="371"/>
                    <a:pt x="97" y="374"/>
                  </a:cubicBezTo>
                  <a:cubicBezTo>
                    <a:pt x="97" y="376"/>
                    <a:pt x="95" y="380"/>
                    <a:pt x="94" y="382"/>
                  </a:cubicBezTo>
                  <a:cubicBezTo>
                    <a:pt x="93" y="386"/>
                    <a:pt x="92" y="393"/>
                    <a:pt x="92" y="396"/>
                  </a:cubicBezTo>
                  <a:cubicBezTo>
                    <a:pt x="92" y="400"/>
                    <a:pt x="97" y="411"/>
                    <a:pt x="97" y="411"/>
                  </a:cubicBezTo>
                  <a:cubicBezTo>
                    <a:pt x="97" y="411"/>
                    <a:pt x="102" y="417"/>
                    <a:pt x="103" y="419"/>
                  </a:cubicBezTo>
                  <a:cubicBezTo>
                    <a:pt x="104" y="423"/>
                    <a:pt x="105" y="432"/>
                    <a:pt x="104" y="437"/>
                  </a:cubicBezTo>
                  <a:cubicBezTo>
                    <a:pt x="104" y="439"/>
                    <a:pt x="105" y="442"/>
                    <a:pt x="105" y="444"/>
                  </a:cubicBezTo>
                  <a:cubicBezTo>
                    <a:pt x="105" y="448"/>
                    <a:pt x="102" y="456"/>
                    <a:pt x="103" y="461"/>
                  </a:cubicBezTo>
                  <a:cubicBezTo>
                    <a:pt x="103" y="463"/>
                    <a:pt x="104" y="467"/>
                    <a:pt x="105" y="469"/>
                  </a:cubicBezTo>
                  <a:cubicBezTo>
                    <a:pt x="106" y="471"/>
                    <a:pt x="111" y="476"/>
                    <a:pt x="111" y="476"/>
                  </a:cubicBezTo>
                  <a:cubicBezTo>
                    <a:pt x="111" y="476"/>
                    <a:pt x="116" y="484"/>
                    <a:pt x="117" y="487"/>
                  </a:cubicBezTo>
                  <a:cubicBezTo>
                    <a:pt x="117" y="488"/>
                    <a:pt x="117" y="490"/>
                    <a:pt x="117" y="491"/>
                  </a:cubicBezTo>
                  <a:cubicBezTo>
                    <a:pt x="119" y="496"/>
                    <a:pt x="126" y="503"/>
                    <a:pt x="128" y="508"/>
                  </a:cubicBezTo>
                  <a:cubicBezTo>
                    <a:pt x="129" y="509"/>
                    <a:pt x="129" y="513"/>
                    <a:pt x="129" y="515"/>
                  </a:cubicBezTo>
                  <a:cubicBezTo>
                    <a:pt x="130" y="517"/>
                    <a:pt x="135" y="522"/>
                    <a:pt x="135" y="522"/>
                  </a:cubicBezTo>
                  <a:cubicBezTo>
                    <a:pt x="393" y="503"/>
                    <a:pt x="393" y="503"/>
                    <a:pt x="393" y="503"/>
                  </a:cubicBezTo>
                  <a:cubicBezTo>
                    <a:pt x="393" y="503"/>
                    <a:pt x="399" y="506"/>
                    <a:pt x="401" y="508"/>
                  </a:cubicBezTo>
                  <a:cubicBezTo>
                    <a:pt x="403" y="511"/>
                    <a:pt x="403" y="521"/>
                    <a:pt x="406" y="523"/>
                  </a:cubicBezTo>
                  <a:cubicBezTo>
                    <a:pt x="408" y="525"/>
                    <a:pt x="412" y="525"/>
                    <a:pt x="414" y="524"/>
                  </a:cubicBezTo>
                  <a:cubicBezTo>
                    <a:pt x="416" y="524"/>
                    <a:pt x="420" y="521"/>
                    <a:pt x="421" y="519"/>
                  </a:cubicBezTo>
                  <a:cubicBezTo>
                    <a:pt x="423" y="516"/>
                    <a:pt x="422" y="503"/>
                    <a:pt x="422" y="503"/>
                  </a:cubicBezTo>
                  <a:cubicBezTo>
                    <a:pt x="420" y="496"/>
                    <a:pt x="420" y="496"/>
                    <a:pt x="420" y="496"/>
                  </a:cubicBezTo>
                  <a:cubicBezTo>
                    <a:pt x="416" y="489"/>
                    <a:pt x="416" y="489"/>
                    <a:pt x="416" y="489"/>
                  </a:cubicBezTo>
                  <a:cubicBezTo>
                    <a:pt x="415" y="482"/>
                    <a:pt x="415" y="482"/>
                    <a:pt x="415" y="482"/>
                  </a:cubicBezTo>
                  <a:cubicBezTo>
                    <a:pt x="415" y="482"/>
                    <a:pt x="417" y="477"/>
                    <a:pt x="418" y="476"/>
                  </a:cubicBezTo>
                  <a:cubicBezTo>
                    <a:pt x="419" y="475"/>
                    <a:pt x="421" y="476"/>
                    <a:pt x="422" y="476"/>
                  </a:cubicBezTo>
                  <a:cubicBezTo>
                    <a:pt x="424" y="475"/>
                    <a:pt x="426" y="470"/>
                    <a:pt x="428" y="470"/>
                  </a:cubicBezTo>
                  <a:cubicBezTo>
                    <a:pt x="430" y="469"/>
                    <a:pt x="435" y="471"/>
                    <a:pt x="435" y="471"/>
                  </a:cubicBezTo>
                  <a:cubicBezTo>
                    <a:pt x="454" y="475"/>
                    <a:pt x="454" y="475"/>
                    <a:pt x="454" y="475"/>
                  </a:cubicBezTo>
                  <a:cubicBezTo>
                    <a:pt x="461" y="476"/>
                    <a:pt x="461" y="476"/>
                    <a:pt x="461" y="476"/>
                  </a:cubicBezTo>
                  <a:cubicBezTo>
                    <a:pt x="465" y="475"/>
                    <a:pt x="465" y="475"/>
                    <a:pt x="465" y="475"/>
                  </a:cubicBezTo>
                  <a:cubicBezTo>
                    <a:pt x="465" y="475"/>
                    <a:pt x="468" y="475"/>
                    <a:pt x="468" y="474"/>
                  </a:cubicBezTo>
                  <a:cubicBezTo>
                    <a:pt x="470" y="473"/>
                    <a:pt x="470" y="468"/>
                    <a:pt x="469" y="466"/>
                  </a:cubicBezTo>
                  <a:cubicBezTo>
                    <a:pt x="468" y="464"/>
                    <a:pt x="465" y="461"/>
                    <a:pt x="464" y="459"/>
                  </a:cubicBezTo>
                  <a:cubicBezTo>
                    <a:pt x="464" y="457"/>
                    <a:pt x="465" y="454"/>
                    <a:pt x="466" y="452"/>
                  </a:cubicBezTo>
                  <a:cubicBezTo>
                    <a:pt x="466" y="450"/>
                    <a:pt x="470" y="447"/>
                    <a:pt x="469" y="445"/>
                  </a:cubicBezTo>
                  <a:cubicBezTo>
                    <a:pt x="468" y="444"/>
                    <a:pt x="465" y="446"/>
                    <a:pt x="464" y="445"/>
                  </a:cubicBezTo>
                  <a:cubicBezTo>
                    <a:pt x="463" y="443"/>
                    <a:pt x="469" y="440"/>
                    <a:pt x="468" y="438"/>
                  </a:cubicBezTo>
                  <a:cubicBezTo>
                    <a:pt x="468" y="438"/>
                    <a:pt x="468" y="436"/>
                    <a:pt x="468" y="435"/>
                  </a:cubicBezTo>
                  <a:cubicBezTo>
                    <a:pt x="470" y="434"/>
                    <a:pt x="473" y="429"/>
                    <a:pt x="472" y="427"/>
                  </a:cubicBezTo>
                  <a:cubicBezTo>
                    <a:pt x="472" y="427"/>
                    <a:pt x="471" y="425"/>
                    <a:pt x="472" y="424"/>
                  </a:cubicBezTo>
                  <a:cubicBezTo>
                    <a:pt x="474" y="421"/>
                    <a:pt x="477" y="415"/>
                    <a:pt x="479" y="412"/>
                  </a:cubicBezTo>
                  <a:cubicBezTo>
                    <a:pt x="479" y="411"/>
                    <a:pt x="482" y="407"/>
                    <a:pt x="481" y="405"/>
                  </a:cubicBezTo>
                  <a:cubicBezTo>
                    <a:pt x="480" y="403"/>
                    <a:pt x="475" y="403"/>
                    <a:pt x="473" y="402"/>
                  </a:cubicBezTo>
                  <a:cubicBezTo>
                    <a:pt x="471" y="402"/>
                    <a:pt x="467" y="403"/>
                    <a:pt x="466" y="402"/>
                  </a:cubicBezTo>
                  <a:cubicBezTo>
                    <a:pt x="464" y="402"/>
                    <a:pt x="458" y="401"/>
                    <a:pt x="458" y="399"/>
                  </a:cubicBezTo>
                  <a:cubicBezTo>
                    <a:pt x="458" y="398"/>
                    <a:pt x="460" y="398"/>
                    <a:pt x="460" y="398"/>
                  </a:cubicBezTo>
                  <a:cubicBezTo>
                    <a:pt x="462" y="398"/>
                    <a:pt x="466" y="400"/>
                    <a:pt x="468" y="400"/>
                  </a:cubicBezTo>
                  <a:cubicBezTo>
                    <a:pt x="469" y="400"/>
                    <a:pt x="474" y="401"/>
                    <a:pt x="475" y="400"/>
                  </a:cubicBezTo>
                  <a:cubicBezTo>
                    <a:pt x="476" y="399"/>
                    <a:pt x="473" y="393"/>
                    <a:pt x="475" y="392"/>
                  </a:cubicBezTo>
                  <a:cubicBezTo>
                    <a:pt x="476" y="391"/>
                    <a:pt x="478" y="393"/>
                    <a:pt x="479" y="393"/>
                  </a:cubicBezTo>
                  <a:cubicBezTo>
                    <a:pt x="483" y="391"/>
                    <a:pt x="488" y="379"/>
                    <a:pt x="484" y="378"/>
                  </a:cubicBezTo>
                  <a:cubicBezTo>
                    <a:pt x="480" y="377"/>
                    <a:pt x="475" y="379"/>
                    <a:pt x="473" y="377"/>
                  </a:cubicBezTo>
                  <a:cubicBezTo>
                    <a:pt x="472" y="375"/>
                    <a:pt x="480" y="373"/>
                    <a:pt x="481" y="371"/>
                  </a:cubicBezTo>
                  <a:cubicBezTo>
                    <a:pt x="481" y="369"/>
                    <a:pt x="476" y="365"/>
                    <a:pt x="477" y="363"/>
                  </a:cubicBezTo>
                  <a:cubicBezTo>
                    <a:pt x="477" y="363"/>
                    <a:pt x="484" y="357"/>
                    <a:pt x="486" y="351"/>
                  </a:cubicBezTo>
                  <a:cubicBezTo>
                    <a:pt x="487" y="349"/>
                    <a:pt x="493" y="345"/>
                    <a:pt x="492" y="342"/>
                  </a:cubicBezTo>
                  <a:cubicBezTo>
                    <a:pt x="492" y="340"/>
                    <a:pt x="486" y="339"/>
                    <a:pt x="485" y="337"/>
                  </a:cubicBezTo>
                  <a:cubicBezTo>
                    <a:pt x="484" y="336"/>
                    <a:pt x="483" y="330"/>
                    <a:pt x="485" y="329"/>
                  </a:cubicBezTo>
                  <a:cubicBezTo>
                    <a:pt x="487" y="328"/>
                    <a:pt x="490" y="333"/>
                    <a:pt x="492" y="333"/>
                  </a:cubicBezTo>
                  <a:cubicBezTo>
                    <a:pt x="494" y="333"/>
                    <a:pt x="498" y="334"/>
                    <a:pt x="499" y="332"/>
                  </a:cubicBezTo>
                  <a:cubicBezTo>
                    <a:pt x="501" y="331"/>
                    <a:pt x="498" y="327"/>
                    <a:pt x="499" y="325"/>
                  </a:cubicBezTo>
                  <a:cubicBezTo>
                    <a:pt x="500" y="323"/>
                    <a:pt x="504" y="322"/>
                    <a:pt x="506" y="320"/>
                  </a:cubicBezTo>
                  <a:cubicBezTo>
                    <a:pt x="507" y="319"/>
                    <a:pt x="511" y="315"/>
                    <a:pt x="510" y="313"/>
                  </a:cubicBezTo>
                  <a:cubicBezTo>
                    <a:pt x="509" y="312"/>
                    <a:pt x="504" y="312"/>
                    <a:pt x="504" y="312"/>
                  </a:cubicBezTo>
                  <a:cubicBezTo>
                    <a:pt x="500" y="311"/>
                    <a:pt x="500" y="311"/>
                    <a:pt x="500" y="311"/>
                  </a:cubicBezTo>
                  <a:cubicBezTo>
                    <a:pt x="500" y="311"/>
                    <a:pt x="498" y="309"/>
                    <a:pt x="497" y="308"/>
                  </a:cubicBezTo>
                  <a:cubicBezTo>
                    <a:pt x="493" y="307"/>
                    <a:pt x="485" y="308"/>
                    <a:pt x="481" y="306"/>
                  </a:cubicBezTo>
                  <a:cubicBezTo>
                    <a:pt x="480" y="305"/>
                    <a:pt x="476" y="299"/>
                    <a:pt x="476" y="299"/>
                  </a:cubicBezTo>
                  <a:cubicBezTo>
                    <a:pt x="475" y="292"/>
                    <a:pt x="475" y="292"/>
                    <a:pt x="475" y="292"/>
                  </a:cubicBezTo>
                  <a:cubicBezTo>
                    <a:pt x="475" y="292"/>
                    <a:pt x="476" y="286"/>
                    <a:pt x="476" y="285"/>
                  </a:cubicBezTo>
                  <a:cubicBezTo>
                    <a:pt x="475" y="282"/>
                    <a:pt x="471" y="279"/>
                    <a:pt x="470" y="277"/>
                  </a:cubicBezTo>
                  <a:cubicBezTo>
                    <a:pt x="469" y="275"/>
                    <a:pt x="466" y="269"/>
                    <a:pt x="466" y="269"/>
                  </a:cubicBezTo>
                  <a:cubicBezTo>
                    <a:pt x="466" y="269"/>
                    <a:pt x="462" y="262"/>
                    <a:pt x="460" y="261"/>
                  </a:cubicBezTo>
                  <a:cubicBezTo>
                    <a:pt x="458" y="259"/>
                    <a:pt x="452" y="258"/>
                    <a:pt x="450" y="257"/>
                  </a:cubicBezTo>
                  <a:cubicBezTo>
                    <a:pt x="448" y="256"/>
                    <a:pt x="444" y="253"/>
                    <a:pt x="442" y="252"/>
                  </a:cubicBezTo>
                  <a:cubicBezTo>
                    <a:pt x="441" y="250"/>
                    <a:pt x="441" y="246"/>
                    <a:pt x="440" y="244"/>
                  </a:cubicBezTo>
                  <a:cubicBezTo>
                    <a:pt x="440" y="242"/>
                    <a:pt x="441" y="238"/>
                    <a:pt x="440" y="236"/>
                  </a:cubicBezTo>
                  <a:cubicBezTo>
                    <a:pt x="440" y="234"/>
                    <a:pt x="438" y="230"/>
                    <a:pt x="437" y="228"/>
                  </a:cubicBezTo>
                  <a:cubicBezTo>
                    <a:pt x="435" y="225"/>
                    <a:pt x="429" y="220"/>
                    <a:pt x="428" y="217"/>
                  </a:cubicBezTo>
                  <a:cubicBezTo>
                    <a:pt x="427" y="215"/>
                    <a:pt x="428" y="211"/>
                    <a:pt x="427" y="210"/>
                  </a:cubicBezTo>
                  <a:cubicBezTo>
                    <a:pt x="425" y="206"/>
                    <a:pt x="416" y="202"/>
                    <a:pt x="411" y="200"/>
                  </a:cubicBezTo>
                  <a:cubicBezTo>
                    <a:pt x="410" y="200"/>
                    <a:pt x="406" y="199"/>
                    <a:pt x="404" y="198"/>
                  </a:cubicBezTo>
                  <a:cubicBezTo>
                    <a:pt x="402" y="197"/>
                    <a:pt x="398" y="193"/>
                    <a:pt x="397" y="191"/>
                  </a:cubicBezTo>
                  <a:cubicBezTo>
                    <a:pt x="397" y="191"/>
                    <a:pt x="397" y="190"/>
                    <a:pt x="397" y="189"/>
                  </a:cubicBezTo>
                  <a:cubicBezTo>
                    <a:pt x="396" y="188"/>
                    <a:pt x="390" y="188"/>
                    <a:pt x="389" y="187"/>
                  </a:cubicBezTo>
                  <a:cubicBezTo>
                    <a:pt x="388" y="185"/>
                    <a:pt x="389" y="181"/>
                    <a:pt x="388" y="179"/>
                  </a:cubicBezTo>
                  <a:cubicBezTo>
                    <a:pt x="386" y="178"/>
                    <a:pt x="381" y="177"/>
                    <a:pt x="380" y="175"/>
                  </a:cubicBezTo>
                  <a:cubicBezTo>
                    <a:pt x="378" y="174"/>
                    <a:pt x="377" y="170"/>
                    <a:pt x="377" y="168"/>
                  </a:cubicBezTo>
                  <a:cubicBezTo>
                    <a:pt x="377" y="167"/>
                    <a:pt x="378" y="164"/>
                    <a:pt x="378" y="163"/>
                  </a:cubicBezTo>
                  <a:cubicBezTo>
                    <a:pt x="377" y="161"/>
                    <a:pt x="373" y="160"/>
                    <a:pt x="371" y="159"/>
                  </a:cubicBezTo>
                  <a:cubicBezTo>
                    <a:pt x="368" y="157"/>
                    <a:pt x="363" y="152"/>
                    <a:pt x="360" y="151"/>
                  </a:cubicBezTo>
                  <a:cubicBezTo>
                    <a:pt x="358" y="150"/>
                    <a:pt x="354" y="150"/>
                    <a:pt x="352" y="149"/>
                  </a:cubicBezTo>
                  <a:cubicBezTo>
                    <a:pt x="351" y="148"/>
                    <a:pt x="348" y="146"/>
                    <a:pt x="347" y="145"/>
                  </a:cubicBezTo>
                  <a:cubicBezTo>
                    <a:pt x="346" y="143"/>
                    <a:pt x="344" y="138"/>
                    <a:pt x="342" y="136"/>
                  </a:cubicBezTo>
                  <a:cubicBezTo>
                    <a:pt x="341" y="134"/>
                    <a:pt x="337" y="130"/>
                    <a:pt x="335" y="128"/>
                  </a:cubicBezTo>
                  <a:cubicBezTo>
                    <a:pt x="332" y="126"/>
                    <a:pt x="324" y="123"/>
                    <a:pt x="321" y="121"/>
                  </a:cubicBezTo>
                  <a:cubicBezTo>
                    <a:pt x="317" y="119"/>
                    <a:pt x="309" y="114"/>
                    <a:pt x="305" y="111"/>
                  </a:cubicBezTo>
                  <a:cubicBezTo>
                    <a:pt x="300" y="106"/>
                    <a:pt x="290" y="94"/>
                    <a:pt x="286" y="87"/>
                  </a:cubicBezTo>
                  <a:cubicBezTo>
                    <a:pt x="285" y="85"/>
                    <a:pt x="284" y="82"/>
                    <a:pt x="283" y="80"/>
                  </a:cubicBezTo>
                  <a:cubicBezTo>
                    <a:pt x="282" y="77"/>
                    <a:pt x="277" y="74"/>
                    <a:pt x="276" y="71"/>
                  </a:cubicBezTo>
                  <a:cubicBezTo>
                    <a:pt x="275" y="70"/>
                    <a:pt x="274" y="66"/>
                    <a:pt x="272" y="64"/>
                  </a:cubicBezTo>
                  <a:cubicBezTo>
                    <a:pt x="271" y="62"/>
                    <a:pt x="267" y="58"/>
                    <a:pt x="264" y="57"/>
                  </a:cubicBezTo>
                  <a:cubicBezTo>
                    <a:pt x="262" y="57"/>
                    <a:pt x="256" y="60"/>
                    <a:pt x="253" y="59"/>
                  </a:cubicBezTo>
                  <a:cubicBezTo>
                    <a:pt x="249" y="58"/>
                    <a:pt x="243" y="50"/>
                    <a:pt x="239" y="47"/>
                  </a:cubicBezTo>
                  <a:cubicBezTo>
                    <a:pt x="210" y="32"/>
                    <a:pt x="223" y="23"/>
                    <a:pt x="237" y="6"/>
                  </a:cubicBezTo>
                  <a:cubicBezTo>
                    <a:pt x="238" y="0"/>
                    <a:pt x="238" y="0"/>
                    <a:pt x="238" y="0"/>
                  </a:cubicBezTo>
                  <a:cubicBezTo>
                    <a:pt x="123" y="18"/>
                    <a:pt x="123" y="18"/>
                    <a:pt x="123" y="18"/>
                  </a:cubicBezTo>
                  <a:cubicBezTo>
                    <a:pt x="85" y="21"/>
                    <a:pt x="85" y="21"/>
                    <a:pt x="85" y="21"/>
                  </a:cubicBezTo>
                  <a:cubicBezTo>
                    <a:pt x="7" y="31"/>
                    <a:pt x="7" y="31"/>
                    <a:pt x="7" y="31"/>
                  </a:cubicBezTo>
                  <a:cubicBezTo>
                    <a:pt x="0" y="32"/>
                    <a:pt x="0" y="32"/>
                    <a:pt x="0" y="32"/>
                  </a:cubicBezTo>
                  <a:lnTo>
                    <a:pt x="2" y="38"/>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30">
              <a:extLst>
                <a:ext uri="{FF2B5EF4-FFF2-40B4-BE49-F238E27FC236}">
                  <a16:creationId xmlns:a16="http://schemas.microsoft.com/office/drawing/2014/main" id="{49E7EDDD-902B-4820-AFBB-6C96EF498993}"/>
                </a:ext>
              </a:extLst>
            </p:cNvPr>
            <p:cNvSpPr>
              <a:spLocks/>
            </p:cNvSpPr>
            <p:nvPr/>
          </p:nvSpPr>
          <p:spPr bwMode="auto">
            <a:xfrm>
              <a:off x="6686061" y="3675713"/>
              <a:ext cx="880343" cy="318379"/>
            </a:xfrm>
            <a:custGeom>
              <a:avLst/>
              <a:gdLst>
                <a:gd name="T0" fmla="*/ 778 w 792"/>
                <a:gd name="T1" fmla="*/ 1 h 287"/>
                <a:gd name="T2" fmla="*/ 634 w 792"/>
                <a:gd name="T3" fmla="*/ 24 h 287"/>
                <a:gd name="T4" fmla="*/ 561 w 792"/>
                <a:gd name="T5" fmla="*/ 35 h 287"/>
                <a:gd name="T6" fmla="*/ 460 w 792"/>
                <a:gd name="T7" fmla="*/ 44 h 287"/>
                <a:gd name="T8" fmla="*/ 344 w 792"/>
                <a:gd name="T9" fmla="*/ 55 h 287"/>
                <a:gd name="T10" fmla="*/ 221 w 792"/>
                <a:gd name="T11" fmla="*/ 69 h 287"/>
                <a:gd name="T12" fmla="*/ 196 w 792"/>
                <a:gd name="T13" fmla="*/ 66 h 287"/>
                <a:gd name="T14" fmla="*/ 199 w 792"/>
                <a:gd name="T15" fmla="*/ 83 h 287"/>
                <a:gd name="T16" fmla="*/ 71 w 792"/>
                <a:gd name="T17" fmla="*/ 100 h 287"/>
                <a:gd name="T18" fmla="*/ 67 w 792"/>
                <a:gd name="T19" fmla="*/ 99 h 287"/>
                <a:gd name="T20" fmla="*/ 58 w 792"/>
                <a:gd name="T21" fmla="*/ 103 h 287"/>
                <a:gd name="T22" fmla="*/ 56 w 792"/>
                <a:gd name="T23" fmla="*/ 118 h 287"/>
                <a:gd name="T24" fmla="*/ 58 w 792"/>
                <a:gd name="T25" fmla="*/ 128 h 287"/>
                <a:gd name="T26" fmla="*/ 49 w 792"/>
                <a:gd name="T27" fmla="*/ 138 h 287"/>
                <a:gd name="T28" fmla="*/ 47 w 792"/>
                <a:gd name="T29" fmla="*/ 162 h 287"/>
                <a:gd name="T30" fmla="*/ 50 w 792"/>
                <a:gd name="T31" fmla="*/ 172 h 287"/>
                <a:gd name="T32" fmla="*/ 43 w 792"/>
                <a:gd name="T33" fmla="*/ 178 h 287"/>
                <a:gd name="T34" fmla="*/ 34 w 792"/>
                <a:gd name="T35" fmla="*/ 192 h 287"/>
                <a:gd name="T36" fmla="*/ 28 w 792"/>
                <a:gd name="T37" fmla="*/ 199 h 287"/>
                <a:gd name="T38" fmla="*/ 33 w 792"/>
                <a:gd name="T39" fmla="*/ 207 h 287"/>
                <a:gd name="T40" fmla="*/ 22 w 792"/>
                <a:gd name="T41" fmla="*/ 217 h 287"/>
                <a:gd name="T42" fmla="*/ 25 w 792"/>
                <a:gd name="T43" fmla="*/ 227 h 287"/>
                <a:gd name="T44" fmla="*/ 21 w 792"/>
                <a:gd name="T45" fmla="*/ 226 h 287"/>
                <a:gd name="T46" fmla="*/ 10 w 792"/>
                <a:gd name="T47" fmla="*/ 238 h 287"/>
                <a:gd name="T48" fmla="*/ 17 w 792"/>
                <a:gd name="T49" fmla="*/ 240 h 287"/>
                <a:gd name="T50" fmla="*/ 20 w 792"/>
                <a:gd name="T51" fmla="*/ 265 h 287"/>
                <a:gd name="T52" fmla="*/ 12 w 792"/>
                <a:gd name="T53" fmla="*/ 270 h 287"/>
                <a:gd name="T54" fmla="*/ 1 w 792"/>
                <a:gd name="T55" fmla="*/ 281 h 287"/>
                <a:gd name="T56" fmla="*/ 3 w 792"/>
                <a:gd name="T57" fmla="*/ 287 h 287"/>
                <a:gd name="T58" fmla="*/ 202 w 792"/>
                <a:gd name="T59" fmla="*/ 270 h 287"/>
                <a:gd name="T60" fmla="*/ 206 w 792"/>
                <a:gd name="T61" fmla="*/ 268 h 287"/>
                <a:gd name="T62" fmla="*/ 532 w 792"/>
                <a:gd name="T63" fmla="*/ 234 h 287"/>
                <a:gd name="T64" fmla="*/ 571 w 792"/>
                <a:gd name="T65" fmla="*/ 201 h 287"/>
                <a:gd name="T66" fmla="*/ 595 w 792"/>
                <a:gd name="T67" fmla="*/ 177 h 287"/>
                <a:gd name="T68" fmla="*/ 617 w 792"/>
                <a:gd name="T69" fmla="*/ 156 h 287"/>
                <a:gd name="T70" fmla="*/ 639 w 792"/>
                <a:gd name="T71" fmla="*/ 152 h 287"/>
                <a:gd name="T72" fmla="*/ 674 w 792"/>
                <a:gd name="T73" fmla="*/ 121 h 287"/>
                <a:gd name="T74" fmla="*/ 687 w 792"/>
                <a:gd name="T75" fmla="*/ 113 h 287"/>
                <a:gd name="T76" fmla="*/ 695 w 792"/>
                <a:gd name="T77" fmla="*/ 101 h 287"/>
                <a:gd name="T78" fmla="*/ 700 w 792"/>
                <a:gd name="T79" fmla="*/ 92 h 287"/>
                <a:gd name="T80" fmla="*/ 713 w 792"/>
                <a:gd name="T81" fmla="*/ 92 h 287"/>
                <a:gd name="T82" fmla="*/ 722 w 792"/>
                <a:gd name="T83" fmla="*/ 92 h 287"/>
                <a:gd name="T84" fmla="*/ 732 w 792"/>
                <a:gd name="T85" fmla="*/ 77 h 287"/>
                <a:gd name="T86" fmla="*/ 756 w 792"/>
                <a:gd name="T87" fmla="*/ 71 h 287"/>
                <a:gd name="T88" fmla="*/ 768 w 792"/>
                <a:gd name="T89" fmla="*/ 62 h 287"/>
                <a:gd name="T90" fmla="*/ 785 w 792"/>
                <a:gd name="T91" fmla="*/ 37 h 287"/>
                <a:gd name="T92" fmla="*/ 789 w 792"/>
                <a:gd name="T93" fmla="*/ 21 h 287"/>
                <a:gd name="T94" fmla="*/ 792 w 792"/>
                <a:gd name="T95" fmla="*/ 2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2" h="287">
                  <a:moveTo>
                    <a:pt x="792" y="2"/>
                  </a:moveTo>
                  <a:cubicBezTo>
                    <a:pt x="791" y="1"/>
                    <a:pt x="790" y="0"/>
                    <a:pt x="789" y="1"/>
                  </a:cubicBezTo>
                  <a:cubicBezTo>
                    <a:pt x="778" y="1"/>
                    <a:pt x="778" y="1"/>
                    <a:pt x="778" y="1"/>
                  </a:cubicBezTo>
                  <a:cubicBezTo>
                    <a:pt x="749" y="9"/>
                    <a:pt x="749" y="9"/>
                    <a:pt x="749" y="9"/>
                  </a:cubicBezTo>
                  <a:cubicBezTo>
                    <a:pt x="649" y="24"/>
                    <a:pt x="649" y="24"/>
                    <a:pt x="649" y="24"/>
                  </a:cubicBezTo>
                  <a:cubicBezTo>
                    <a:pt x="634" y="24"/>
                    <a:pt x="634" y="24"/>
                    <a:pt x="634" y="24"/>
                  </a:cubicBezTo>
                  <a:cubicBezTo>
                    <a:pt x="604" y="29"/>
                    <a:pt x="604" y="29"/>
                    <a:pt x="604" y="29"/>
                  </a:cubicBezTo>
                  <a:cubicBezTo>
                    <a:pt x="594" y="32"/>
                    <a:pt x="594" y="32"/>
                    <a:pt x="594" y="32"/>
                  </a:cubicBezTo>
                  <a:cubicBezTo>
                    <a:pt x="561" y="35"/>
                    <a:pt x="561" y="35"/>
                    <a:pt x="561" y="35"/>
                  </a:cubicBezTo>
                  <a:cubicBezTo>
                    <a:pt x="532" y="39"/>
                    <a:pt x="532" y="39"/>
                    <a:pt x="532" y="39"/>
                  </a:cubicBezTo>
                  <a:cubicBezTo>
                    <a:pt x="502" y="42"/>
                    <a:pt x="502" y="42"/>
                    <a:pt x="502" y="42"/>
                  </a:cubicBezTo>
                  <a:cubicBezTo>
                    <a:pt x="460" y="44"/>
                    <a:pt x="460" y="44"/>
                    <a:pt x="460" y="44"/>
                  </a:cubicBezTo>
                  <a:cubicBezTo>
                    <a:pt x="435" y="48"/>
                    <a:pt x="435" y="48"/>
                    <a:pt x="435" y="48"/>
                  </a:cubicBezTo>
                  <a:cubicBezTo>
                    <a:pt x="389" y="53"/>
                    <a:pt x="389" y="53"/>
                    <a:pt x="389" y="53"/>
                  </a:cubicBezTo>
                  <a:cubicBezTo>
                    <a:pt x="344" y="55"/>
                    <a:pt x="344" y="55"/>
                    <a:pt x="344" y="55"/>
                  </a:cubicBezTo>
                  <a:cubicBezTo>
                    <a:pt x="297" y="61"/>
                    <a:pt x="297" y="61"/>
                    <a:pt x="297" y="61"/>
                  </a:cubicBezTo>
                  <a:cubicBezTo>
                    <a:pt x="259" y="64"/>
                    <a:pt x="259" y="64"/>
                    <a:pt x="259" y="64"/>
                  </a:cubicBezTo>
                  <a:cubicBezTo>
                    <a:pt x="221" y="69"/>
                    <a:pt x="221" y="69"/>
                    <a:pt x="221" y="69"/>
                  </a:cubicBezTo>
                  <a:cubicBezTo>
                    <a:pt x="213" y="66"/>
                    <a:pt x="213" y="66"/>
                    <a:pt x="213" y="66"/>
                  </a:cubicBezTo>
                  <a:cubicBezTo>
                    <a:pt x="212" y="66"/>
                    <a:pt x="212" y="66"/>
                    <a:pt x="212" y="66"/>
                  </a:cubicBezTo>
                  <a:cubicBezTo>
                    <a:pt x="196" y="66"/>
                    <a:pt x="196" y="66"/>
                    <a:pt x="196" y="66"/>
                  </a:cubicBezTo>
                  <a:cubicBezTo>
                    <a:pt x="195" y="66"/>
                    <a:pt x="195" y="67"/>
                    <a:pt x="194" y="67"/>
                  </a:cubicBezTo>
                  <a:cubicBezTo>
                    <a:pt x="194" y="68"/>
                    <a:pt x="193" y="69"/>
                    <a:pt x="194" y="70"/>
                  </a:cubicBezTo>
                  <a:cubicBezTo>
                    <a:pt x="199" y="83"/>
                    <a:pt x="199" y="83"/>
                    <a:pt x="199" y="83"/>
                  </a:cubicBezTo>
                  <a:cubicBezTo>
                    <a:pt x="198" y="89"/>
                    <a:pt x="198" y="89"/>
                    <a:pt x="198" y="89"/>
                  </a:cubicBezTo>
                  <a:cubicBezTo>
                    <a:pt x="73" y="99"/>
                    <a:pt x="73" y="99"/>
                    <a:pt x="73" y="99"/>
                  </a:cubicBezTo>
                  <a:cubicBezTo>
                    <a:pt x="72" y="99"/>
                    <a:pt x="72" y="100"/>
                    <a:pt x="71" y="100"/>
                  </a:cubicBezTo>
                  <a:cubicBezTo>
                    <a:pt x="69" y="101"/>
                    <a:pt x="69" y="101"/>
                    <a:pt x="69" y="101"/>
                  </a:cubicBezTo>
                  <a:cubicBezTo>
                    <a:pt x="69" y="101"/>
                    <a:pt x="69" y="101"/>
                    <a:pt x="69" y="100"/>
                  </a:cubicBezTo>
                  <a:cubicBezTo>
                    <a:pt x="68" y="100"/>
                    <a:pt x="68" y="99"/>
                    <a:pt x="67" y="99"/>
                  </a:cubicBezTo>
                  <a:cubicBezTo>
                    <a:pt x="60" y="100"/>
                    <a:pt x="60" y="100"/>
                    <a:pt x="60" y="100"/>
                  </a:cubicBezTo>
                  <a:cubicBezTo>
                    <a:pt x="60" y="100"/>
                    <a:pt x="59" y="101"/>
                    <a:pt x="58" y="101"/>
                  </a:cubicBezTo>
                  <a:cubicBezTo>
                    <a:pt x="58" y="102"/>
                    <a:pt x="58" y="102"/>
                    <a:pt x="58" y="103"/>
                  </a:cubicBezTo>
                  <a:cubicBezTo>
                    <a:pt x="60" y="111"/>
                    <a:pt x="60" y="111"/>
                    <a:pt x="60" y="111"/>
                  </a:cubicBezTo>
                  <a:cubicBezTo>
                    <a:pt x="62" y="116"/>
                    <a:pt x="62" y="116"/>
                    <a:pt x="62" y="116"/>
                  </a:cubicBezTo>
                  <a:cubicBezTo>
                    <a:pt x="56" y="118"/>
                    <a:pt x="56" y="118"/>
                    <a:pt x="56" y="118"/>
                  </a:cubicBezTo>
                  <a:cubicBezTo>
                    <a:pt x="55" y="119"/>
                    <a:pt x="55" y="119"/>
                    <a:pt x="55" y="120"/>
                  </a:cubicBezTo>
                  <a:cubicBezTo>
                    <a:pt x="54" y="120"/>
                    <a:pt x="54" y="121"/>
                    <a:pt x="55" y="122"/>
                  </a:cubicBezTo>
                  <a:cubicBezTo>
                    <a:pt x="58" y="128"/>
                    <a:pt x="58" y="128"/>
                    <a:pt x="58" y="128"/>
                  </a:cubicBezTo>
                  <a:cubicBezTo>
                    <a:pt x="50" y="134"/>
                    <a:pt x="50" y="134"/>
                    <a:pt x="50" y="134"/>
                  </a:cubicBezTo>
                  <a:cubicBezTo>
                    <a:pt x="49" y="134"/>
                    <a:pt x="49" y="135"/>
                    <a:pt x="49" y="136"/>
                  </a:cubicBezTo>
                  <a:cubicBezTo>
                    <a:pt x="49" y="136"/>
                    <a:pt x="49" y="137"/>
                    <a:pt x="49" y="138"/>
                  </a:cubicBezTo>
                  <a:cubicBezTo>
                    <a:pt x="55" y="143"/>
                    <a:pt x="55" y="143"/>
                    <a:pt x="55" y="143"/>
                  </a:cubicBezTo>
                  <a:cubicBezTo>
                    <a:pt x="52" y="149"/>
                    <a:pt x="52" y="149"/>
                    <a:pt x="52" y="149"/>
                  </a:cubicBezTo>
                  <a:cubicBezTo>
                    <a:pt x="47" y="162"/>
                    <a:pt x="47" y="162"/>
                    <a:pt x="47" y="162"/>
                  </a:cubicBezTo>
                  <a:cubicBezTo>
                    <a:pt x="46" y="162"/>
                    <a:pt x="46" y="163"/>
                    <a:pt x="47" y="164"/>
                  </a:cubicBezTo>
                  <a:cubicBezTo>
                    <a:pt x="49" y="168"/>
                    <a:pt x="49" y="168"/>
                    <a:pt x="49" y="168"/>
                  </a:cubicBezTo>
                  <a:cubicBezTo>
                    <a:pt x="50" y="172"/>
                    <a:pt x="50" y="172"/>
                    <a:pt x="50" y="172"/>
                  </a:cubicBezTo>
                  <a:cubicBezTo>
                    <a:pt x="44" y="175"/>
                    <a:pt x="44" y="175"/>
                    <a:pt x="44" y="175"/>
                  </a:cubicBezTo>
                  <a:cubicBezTo>
                    <a:pt x="44" y="175"/>
                    <a:pt x="43" y="175"/>
                    <a:pt x="43" y="176"/>
                  </a:cubicBezTo>
                  <a:cubicBezTo>
                    <a:pt x="43" y="177"/>
                    <a:pt x="43" y="177"/>
                    <a:pt x="43" y="178"/>
                  </a:cubicBezTo>
                  <a:cubicBezTo>
                    <a:pt x="46" y="184"/>
                    <a:pt x="46" y="184"/>
                    <a:pt x="46" y="184"/>
                  </a:cubicBezTo>
                  <a:cubicBezTo>
                    <a:pt x="41" y="188"/>
                    <a:pt x="41" y="188"/>
                    <a:pt x="41" y="188"/>
                  </a:cubicBezTo>
                  <a:cubicBezTo>
                    <a:pt x="34" y="192"/>
                    <a:pt x="34" y="192"/>
                    <a:pt x="34" y="192"/>
                  </a:cubicBezTo>
                  <a:cubicBezTo>
                    <a:pt x="34" y="192"/>
                    <a:pt x="34" y="192"/>
                    <a:pt x="33" y="192"/>
                  </a:cubicBezTo>
                  <a:cubicBezTo>
                    <a:pt x="29" y="197"/>
                    <a:pt x="29" y="197"/>
                    <a:pt x="29" y="197"/>
                  </a:cubicBezTo>
                  <a:cubicBezTo>
                    <a:pt x="29" y="197"/>
                    <a:pt x="28" y="198"/>
                    <a:pt x="28" y="199"/>
                  </a:cubicBezTo>
                  <a:cubicBezTo>
                    <a:pt x="28" y="200"/>
                    <a:pt x="28" y="200"/>
                    <a:pt x="28" y="200"/>
                  </a:cubicBezTo>
                  <a:cubicBezTo>
                    <a:pt x="28" y="201"/>
                    <a:pt x="29" y="201"/>
                    <a:pt x="29" y="202"/>
                  </a:cubicBezTo>
                  <a:cubicBezTo>
                    <a:pt x="33" y="207"/>
                    <a:pt x="33" y="207"/>
                    <a:pt x="33" y="207"/>
                  </a:cubicBezTo>
                  <a:cubicBezTo>
                    <a:pt x="30" y="210"/>
                    <a:pt x="30" y="210"/>
                    <a:pt x="30" y="210"/>
                  </a:cubicBezTo>
                  <a:cubicBezTo>
                    <a:pt x="26" y="215"/>
                    <a:pt x="26" y="215"/>
                    <a:pt x="26" y="215"/>
                  </a:cubicBezTo>
                  <a:cubicBezTo>
                    <a:pt x="22" y="217"/>
                    <a:pt x="22" y="217"/>
                    <a:pt x="22" y="217"/>
                  </a:cubicBezTo>
                  <a:cubicBezTo>
                    <a:pt x="21" y="218"/>
                    <a:pt x="21" y="218"/>
                    <a:pt x="21" y="219"/>
                  </a:cubicBezTo>
                  <a:cubicBezTo>
                    <a:pt x="20" y="219"/>
                    <a:pt x="21" y="220"/>
                    <a:pt x="21" y="221"/>
                  </a:cubicBezTo>
                  <a:cubicBezTo>
                    <a:pt x="25" y="227"/>
                    <a:pt x="25" y="227"/>
                    <a:pt x="25" y="227"/>
                  </a:cubicBezTo>
                  <a:cubicBezTo>
                    <a:pt x="24" y="228"/>
                    <a:pt x="24" y="228"/>
                    <a:pt x="24" y="228"/>
                  </a:cubicBezTo>
                  <a:cubicBezTo>
                    <a:pt x="24" y="227"/>
                    <a:pt x="24" y="227"/>
                    <a:pt x="24" y="227"/>
                  </a:cubicBezTo>
                  <a:cubicBezTo>
                    <a:pt x="23" y="226"/>
                    <a:pt x="22" y="225"/>
                    <a:pt x="21" y="226"/>
                  </a:cubicBezTo>
                  <a:cubicBezTo>
                    <a:pt x="13" y="229"/>
                    <a:pt x="13" y="229"/>
                    <a:pt x="13" y="229"/>
                  </a:cubicBezTo>
                  <a:cubicBezTo>
                    <a:pt x="13" y="229"/>
                    <a:pt x="12" y="230"/>
                    <a:pt x="12" y="231"/>
                  </a:cubicBezTo>
                  <a:cubicBezTo>
                    <a:pt x="10" y="238"/>
                    <a:pt x="10" y="238"/>
                    <a:pt x="10" y="238"/>
                  </a:cubicBezTo>
                  <a:cubicBezTo>
                    <a:pt x="10" y="239"/>
                    <a:pt x="11" y="240"/>
                    <a:pt x="11" y="241"/>
                  </a:cubicBezTo>
                  <a:cubicBezTo>
                    <a:pt x="12" y="241"/>
                    <a:pt x="13" y="242"/>
                    <a:pt x="14" y="241"/>
                  </a:cubicBezTo>
                  <a:cubicBezTo>
                    <a:pt x="17" y="240"/>
                    <a:pt x="17" y="240"/>
                    <a:pt x="17" y="240"/>
                  </a:cubicBezTo>
                  <a:cubicBezTo>
                    <a:pt x="16" y="246"/>
                    <a:pt x="16" y="246"/>
                    <a:pt x="16" y="246"/>
                  </a:cubicBezTo>
                  <a:cubicBezTo>
                    <a:pt x="16" y="246"/>
                    <a:pt x="16" y="246"/>
                    <a:pt x="16" y="247"/>
                  </a:cubicBezTo>
                  <a:cubicBezTo>
                    <a:pt x="20" y="265"/>
                    <a:pt x="20" y="265"/>
                    <a:pt x="20" y="265"/>
                  </a:cubicBezTo>
                  <a:cubicBezTo>
                    <a:pt x="20" y="266"/>
                    <a:pt x="20" y="266"/>
                    <a:pt x="20" y="266"/>
                  </a:cubicBezTo>
                  <a:cubicBezTo>
                    <a:pt x="14" y="268"/>
                    <a:pt x="14" y="268"/>
                    <a:pt x="14" y="268"/>
                  </a:cubicBezTo>
                  <a:cubicBezTo>
                    <a:pt x="13" y="268"/>
                    <a:pt x="12" y="269"/>
                    <a:pt x="12" y="270"/>
                  </a:cubicBezTo>
                  <a:cubicBezTo>
                    <a:pt x="9" y="276"/>
                    <a:pt x="9" y="276"/>
                    <a:pt x="9" y="276"/>
                  </a:cubicBezTo>
                  <a:cubicBezTo>
                    <a:pt x="2" y="280"/>
                    <a:pt x="2" y="280"/>
                    <a:pt x="2" y="280"/>
                  </a:cubicBezTo>
                  <a:cubicBezTo>
                    <a:pt x="2" y="280"/>
                    <a:pt x="1" y="281"/>
                    <a:pt x="1" y="281"/>
                  </a:cubicBezTo>
                  <a:cubicBezTo>
                    <a:pt x="0" y="284"/>
                    <a:pt x="0" y="284"/>
                    <a:pt x="0" y="284"/>
                  </a:cubicBezTo>
                  <a:cubicBezTo>
                    <a:pt x="0" y="284"/>
                    <a:pt x="0" y="285"/>
                    <a:pt x="1" y="286"/>
                  </a:cubicBezTo>
                  <a:cubicBezTo>
                    <a:pt x="1" y="287"/>
                    <a:pt x="2" y="287"/>
                    <a:pt x="3" y="287"/>
                  </a:cubicBezTo>
                  <a:cubicBezTo>
                    <a:pt x="3" y="287"/>
                    <a:pt x="3" y="287"/>
                    <a:pt x="3" y="287"/>
                  </a:cubicBezTo>
                  <a:cubicBezTo>
                    <a:pt x="134" y="277"/>
                    <a:pt x="134" y="277"/>
                    <a:pt x="134" y="277"/>
                  </a:cubicBezTo>
                  <a:cubicBezTo>
                    <a:pt x="202" y="270"/>
                    <a:pt x="202" y="270"/>
                    <a:pt x="202" y="270"/>
                  </a:cubicBezTo>
                  <a:cubicBezTo>
                    <a:pt x="203" y="271"/>
                    <a:pt x="203" y="271"/>
                    <a:pt x="203" y="271"/>
                  </a:cubicBezTo>
                  <a:cubicBezTo>
                    <a:pt x="204" y="271"/>
                    <a:pt x="205" y="271"/>
                    <a:pt x="206" y="270"/>
                  </a:cubicBezTo>
                  <a:cubicBezTo>
                    <a:pt x="206" y="270"/>
                    <a:pt x="207" y="269"/>
                    <a:pt x="206" y="268"/>
                  </a:cubicBezTo>
                  <a:cubicBezTo>
                    <a:pt x="341" y="257"/>
                    <a:pt x="341" y="257"/>
                    <a:pt x="341" y="257"/>
                  </a:cubicBezTo>
                  <a:cubicBezTo>
                    <a:pt x="447" y="245"/>
                    <a:pt x="447" y="245"/>
                    <a:pt x="447" y="245"/>
                  </a:cubicBezTo>
                  <a:cubicBezTo>
                    <a:pt x="532" y="234"/>
                    <a:pt x="532" y="234"/>
                    <a:pt x="532" y="234"/>
                  </a:cubicBezTo>
                  <a:cubicBezTo>
                    <a:pt x="569" y="231"/>
                    <a:pt x="569" y="231"/>
                    <a:pt x="569" y="231"/>
                  </a:cubicBezTo>
                  <a:cubicBezTo>
                    <a:pt x="570" y="231"/>
                    <a:pt x="571" y="230"/>
                    <a:pt x="571" y="229"/>
                  </a:cubicBezTo>
                  <a:cubicBezTo>
                    <a:pt x="571" y="201"/>
                    <a:pt x="571" y="201"/>
                    <a:pt x="571" y="201"/>
                  </a:cubicBezTo>
                  <a:cubicBezTo>
                    <a:pt x="575" y="200"/>
                    <a:pt x="583" y="198"/>
                    <a:pt x="585" y="196"/>
                  </a:cubicBezTo>
                  <a:cubicBezTo>
                    <a:pt x="588" y="195"/>
                    <a:pt x="592" y="191"/>
                    <a:pt x="593" y="188"/>
                  </a:cubicBezTo>
                  <a:cubicBezTo>
                    <a:pt x="594" y="186"/>
                    <a:pt x="594" y="179"/>
                    <a:pt x="595" y="177"/>
                  </a:cubicBezTo>
                  <a:cubicBezTo>
                    <a:pt x="597" y="170"/>
                    <a:pt x="597" y="170"/>
                    <a:pt x="597" y="170"/>
                  </a:cubicBezTo>
                  <a:cubicBezTo>
                    <a:pt x="603" y="164"/>
                    <a:pt x="603" y="164"/>
                    <a:pt x="603" y="164"/>
                  </a:cubicBezTo>
                  <a:cubicBezTo>
                    <a:pt x="617" y="156"/>
                    <a:pt x="617" y="156"/>
                    <a:pt x="617" y="156"/>
                  </a:cubicBezTo>
                  <a:cubicBezTo>
                    <a:pt x="632" y="155"/>
                    <a:pt x="632" y="155"/>
                    <a:pt x="632" y="155"/>
                  </a:cubicBezTo>
                  <a:cubicBezTo>
                    <a:pt x="632" y="155"/>
                    <a:pt x="632" y="155"/>
                    <a:pt x="633" y="155"/>
                  </a:cubicBezTo>
                  <a:cubicBezTo>
                    <a:pt x="639" y="152"/>
                    <a:pt x="639" y="152"/>
                    <a:pt x="639" y="152"/>
                  </a:cubicBezTo>
                  <a:cubicBezTo>
                    <a:pt x="640" y="152"/>
                    <a:pt x="640" y="151"/>
                    <a:pt x="640" y="151"/>
                  </a:cubicBezTo>
                  <a:cubicBezTo>
                    <a:pt x="661" y="131"/>
                    <a:pt x="661" y="131"/>
                    <a:pt x="661" y="131"/>
                  </a:cubicBezTo>
                  <a:cubicBezTo>
                    <a:pt x="674" y="121"/>
                    <a:pt x="674" y="121"/>
                    <a:pt x="674" y="121"/>
                  </a:cubicBezTo>
                  <a:cubicBezTo>
                    <a:pt x="681" y="121"/>
                    <a:pt x="681" y="121"/>
                    <a:pt x="681" y="121"/>
                  </a:cubicBezTo>
                  <a:cubicBezTo>
                    <a:pt x="682" y="121"/>
                    <a:pt x="682" y="121"/>
                    <a:pt x="683" y="120"/>
                  </a:cubicBezTo>
                  <a:cubicBezTo>
                    <a:pt x="687" y="113"/>
                    <a:pt x="687" y="113"/>
                    <a:pt x="687" y="113"/>
                  </a:cubicBezTo>
                  <a:cubicBezTo>
                    <a:pt x="687" y="112"/>
                    <a:pt x="687" y="112"/>
                    <a:pt x="688" y="112"/>
                  </a:cubicBezTo>
                  <a:cubicBezTo>
                    <a:pt x="690" y="99"/>
                    <a:pt x="690" y="99"/>
                    <a:pt x="690" y="99"/>
                  </a:cubicBezTo>
                  <a:cubicBezTo>
                    <a:pt x="695" y="101"/>
                    <a:pt x="695" y="101"/>
                    <a:pt x="695" y="101"/>
                  </a:cubicBezTo>
                  <a:cubicBezTo>
                    <a:pt x="696" y="101"/>
                    <a:pt x="697" y="101"/>
                    <a:pt x="697" y="100"/>
                  </a:cubicBezTo>
                  <a:cubicBezTo>
                    <a:pt x="698" y="100"/>
                    <a:pt x="698" y="99"/>
                    <a:pt x="698" y="99"/>
                  </a:cubicBezTo>
                  <a:cubicBezTo>
                    <a:pt x="700" y="92"/>
                    <a:pt x="700" y="92"/>
                    <a:pt x="700" y="92"/>
                  </a:cubicBezTo>
                  <a:cubicBezTo>
                    <a:pt x="702" y="89"/>
                    <a:pt x="702" y="89"/>
                    <a:pt x="702" y="89"/>
                  </a:cubicBezTo>
                  <a:cubicBezTo>
                    <a:pt x="707" y="86"/>
                    <a:pt x="707" y="86"/>
                    <a:pt x="707" y="86"/>
                  </a:cubicBezTo>
                  <a:cubicBezTo>
                    <a:pt x="713" y="92"/>
                    <a:pt x="713" y="92"/>
                    <a:pt x="713" y="92"/>
                  </a:cubicBezTo>
                  <a:cubicBezTo>
                    <a:pt x="713" y="93"/>
                    <a:pt x="714" y="93"/>
                    <a:pt x="715" y="93"/>
                  </a:cubicBezTo>
                  <a:cubicBezTo>
                    <a:pt x="720" y="93"/>
                    <a:pt x="720" y="93"/>
                    <a:pt x="720" y="93"/>
                  </a:cubicBezTo>
                  <a:cubicBezTo>
                    <a:pt x="720" y="93"/>
                    <a:pt x="721" y="93"/>
                    <a:pt x="722" y="92"/>
                  </a:cubicBezTo>
                  <a:cubicBezTo>
                    <a:pt x="729" y="84"/>
                    <a:pt x="729" y="84"/>
                    <a:pt x="729" y="84"/>
                  </a:cubicBezTo>
                  <a:cubicBezTo>
                    <a:pt x="729" y="84"/>
                    <a:pt x="729" y="84"/>
                    <a:pt x="729" y="83"/>
                  </a:cubicBezTo>
                  <a:cubicBezTo>
                    <a:pt x="732" y="77"/>
                    <a:pt x="732" y="77"/>
                    <a:pt x="732" y="77"/>
                  </a:cubicBezTo>
                  <a:cubicBezTo>
                    <a:pt x="738" y="72"/>
                    <a:pt x="738" y="72"/>
                    <a:pt x="738" y="72"/>
                  </a:cubicBezTo>
                  <a:cubicBezTo>
                    <a:pt x="751" y="67"/>
                    <a:pt x="751" y="67"/>
                    <a:pt x="751" y="67"/>
                  </a:cubicBezTo>
                  <a:cubicBezTo>
                    <a:pt x="756" y="71"/>
                    <a:pt x="756" y="71"/>
                    <a:pt x="756" y="71"/>
                  </a:cubicBezTo>
                  <a:cubicBezTo>
                    <a:pt x="757" y="72"/>
                    <a:pt x="759" y="71"/>
                    <a:pt x="760" y="70"/>
                  </a:cubicBezTo>
                  <a:cubicBezTo>
                    <a:pt x="767" y="62"/>
                    <a:pt x="767" y="62"/>
                    <a:pt x="767" y="62"/>
                  </a:cubicBezTo>
                  <a:cubicBezTo>
                    <a:pt x="767" y="62"/>
                    <a:pt x="767" y="62"/>
                    <a:pt x="768" y="62"/>
                  </a:cubicBezTo>
                  <a:cubicBezTo>
                    <a:pt x="772" y="46"/>
                    <a:pt x="772" y="46"/>
                    <a:pt x="772" y="46"/>
                  </a:cubicBezTo>
                  <a:cubicBezTo>
                    <a:pt x="778" y="40"/>
                    <a:pt x="778" y="40"/>
                    <a:pt x="778" y="40"/>
                  </a:cubicBezTo>
                  <a:cubicBezTo>
                    <a:pt x="785" y="37"/>
                    <a:pt x="785" y="37"/>
                    <a:pt x="785" y="37"/>
                  </a:cubicBezTo>
                  <a:cubicBezTo>
                    <a:pt x="786" y="37"/>
                    <a:pt x="786" y="36"/>
                    <a:pt x="786" y="35"/>
                  </a:cubicBezTo>
                  <a:cubicBezTo>
                    <a:pt x="789" y="22"/>
                    <a:pt x="789" y="22"/>
                    <a:pt x="789" y="22"/>
                  </a:cubicBezTo>
                  <a:cubicBezTo>
                    <a:pt x="789" y="21"/>
                    <a:pt x="789" y="21"/>
                    <a:pt x="789" y="21"/>
                  </a:cubicBezTo>
                  <a:cubicBezTo>
                    <a:pt x="789" y="14"/>
                    <a:pt x="789" y="14"/>
                    <a:pt x="789" y="14"/>
                  </a:cubicBezTo>
                  <a:cubicBezTo>
                    <a:pt x="792" y="4"/>
                    <a:pt x="792" y="4"/>
                    <a:pt x="792" y="4"/>
                  </a:cubicBezTo>
                  <a:cubicBezTo>
                    <a:pt x="792" y="3"/>
                    <a:pt x="792" y="2"/>
                    <a:pt x="792" y="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31">
              <a:extLst>
                <a:ext uri="{FF2B5EF4-FFF2-40B4-BE49-F238E27FC236}">
                  <a16:creationId xmlns:a16="http://schemas.microsoft.com/office/drawing/2014/main" id="{5A4A9C03-90D7-4FF0-839E-87711009ACF9}"/>
                </a:ext>
              </a:extLst>
            </p:cNvPr>
            <p:cNvSpPr>
              <a:spLocks/>
            </p:cNvSpPr>
            <p:nvPr/>
          </p:nvSpPr>
          <p:spPr bwMode="auto">
            <a:xfrm>
              <a:off x="7020612" y="4426682"/>
              <a:ext cx="949072" cy="719637"/>
            </a:xfrm>
            <a:custGeom>
              <a:avLst/>
              <a:gdLst>
                <a:gd name="T0" fmla="*/ 847 w 853"/>
                <a:gd name="T1" fmla="*/ 485 h 647"/>
                <a:gd name="T2" fmla="*/ 818 w 853"/>
                <a:gd name="T3" fmla="*/ 394 h 647"/>
                <a:gd name="T4" fmla="*/ 789 w 853"/>
                <a:gd name="T5" fmla="*/ 342 h 647"/>
                <a:gd name="T6" fmla="*/ 719 w 853"/>
                <a:gd name="T7" fmla="*/ 224 h 647"/>
                <a:gd name="T8" fmla="*/ 758 w 853"/>
                <a:gd name="T9" fmla="*/ 268 h 647"/>
                <a:gd name="T10" fmla="*/ 786 w 853"/>
                <a:gd name="T11" fmla="*/ 302 h 647"/>
                <a:gd name="T12" fmla="*/ 774 w 853"/>
                <a:gd name="T13" fmla="*/ 260 h 647"/>
                <a:gd name="T14" fmla="*/ 749 w 853"/>
                <a:gd name="T15" fmla="*/ 222 h 647"/>
                <a:gd name="T16" fmla="*/ 634 w 853"/>
                <a:gd name="T17" fmla="*/ 44 h 647"/>
                <a:gd name="T18" fmla="*/ 614 w 853"/>
                <a:gd name="T19" fmla="*/ 7 h 647"/>
                <a:gd name="T20" fmla="*/ 560 w 853"/>
                <a:gd name="T21" fmla="*/ 8 h 647"/>
                <a:gd name="T22" fmla="*/ 564 w 853"/>
                <a:gd name="T23" fmla="*/ 53 h 647"/>
                <a:gd name="T24" fmla="*/ 538 w 853"/>
                <a:gd name="T25" fmla="*/ 36 h 647"/>
                <a:gd name="T26" fmla="*/ 106 w 853"/>
                <a:gd name="T27" fmla="*/ 42 h 647"/>
                <a:gd name="T28" fmla="*/ 24 w 853"/>
                <a:gd name="T29" fmla="*/ 96 h 647"/>
                <a:gd name="T30" fmla="*/ 30 w 853"/>
                <a:gd name="T31" fmla="*/ 125 h 647"/>
                <a:gd name="T32" fmla="*/ 57 w 853"/>
                <a:gd name="T33" fmla="*/ 112 h 647"/>
                <a:gd name="T34" fmla="*/ 81 w 853"/>
                <a:gd name="T35" fmla="*/ 109 h 647"/>
                <a:gd name="T36" fmla="*/ 90 w 853"/>
                <a:gd name="T37" fmla="*/ 127 h 647"/>
                <a:gd name="T38" fmla="*/ 129 w 853"/>
                <a:gd name="T39" fmla="*/ 103 h 647"/>
                <a:gd name="T40" fmla="*/ 159 w 853"/>
                <a:gd name="T41" fmla="*/ 109 h 647"/>
                <a:gd name="T42" fmla="*/ 133 w 853"/>
                <a:gd name="T43" fmla="*/ 114 h 647"/>
                <a:gd name="T44" fmla="*/ 195 w 853"/>
                <a:gd name="T45" fmla="*/ 125 h 647"/>
                <a:gd name="T46" fmla="*/ 204 w 853"/>
                <a:gd name="T47" fmla="*/ 123 h 647"/>
                <a:gd name="T48" fmla="*/ 214 w 853"/>
                <a:gd name="T49" fmla="*/ 127 h 647"/>
                <a:gd name="T50" fmla="*/ 206 w 853"/>
                <a:gd name="T51" fmla="*/ 133 h 647"/>
                <a:gd name="T52" fmla="*/ 247 w 853"/>
                <a:gd name="T53" fmla="*/ 171 h 647"/>
                <a:gd name="T54" fmla="*/ 225 w 853"/>
                <a:gd name="T55" fmla="*/ 178 h 647"/>
                <a:gd name="T56" fmla="*/ 261 w 853"/>
                <a:gd name="T57" fmla="*/ 188 h 647"/>
                <a:gd name="T58" fmla="*/ 286 w 853"/>
                <a:gd name="T59" fmla="*/ 172 h 647"/>
                <a:gd name="T60" fmla="*/ 332 w 853"/>
                <a:gd name="T61" fmla="*/ 149 h 647"/>
                <a:gd name="T62" fmla="*/ 344 w 853"/>
                <a:gd name="T63" fmla="*/ 129 h 647"/>
                <a:gd name="T64" fmla="*/ 383 w 853"/>
                <a:gd name="T65" fmla="*/ 125 h 647"/>
                <a:gd name="T66" fmla="*/ 433 w 853"/>
                <a:gd name="T67" fmla="*/ 158 h 647"/>
                <a:gd name="T68" fmla="*/ 469 w 853"/>
                <a:gd name="T69" fmla="*/ 194 h 647"/>
                <a:gd name="T70" fmla="*/ 500 w 853"/>
                <a:gd name="T71" fmla="*/ 212 h 647"/>
                <a:gd name="T72" fmla="*/ 531 w 853"/>
                <a:gd name="T73" fmla="*/ 239 h 647"/>
                <a:gd name="T74" fmla="*/ 536 w 853"/>
                <a:gd name="T75" fmla="*/ 275 h 647"/>
                <a:gd name="T76" fmla="*/ 518 w 853"/>
                <a:gd name="T77" fmla="*/ 359 h 647"/>
                <a:gd name="T78" fmla="*/ 546 w 853"/>
                <a:gd name="T79" fmla="*/ 374 h 647"/>
                <a:gd name="T80" fmla="*/ 544 w 853"/>
                <a:gd name="T81" fmla="*/ 344 h 647"/>
                <a:gd name="T82" fmla="*/ 568 w 853"/>
                <a:gd name="T83" fmla="*/ 348 h 647"/>
                <a:gd name="T84" fmla="*/ 553 w 853"/>
                <a:gd name="T85" fmla="*/ 394 h 647"/>
                <a:gd name="T86" fmla="*/ 566 w 853"/>
                <a:gd name="T87" fmla="*/ 421 h 647"/>
                <a:gd name="T88" fmla="*/ 591 w 853"/>
                <a:gd name="T89" fmla="*/ 463 h 647"/>
                <a:gd name="T90" fmla="*/ 614 w 853"/>
                <a:gd name="T91" fmla="*/ 476 h 647"/>
                <a:gd name="T92" fmla="*/ 626 w 853"/>
                <a:gd name="T93" fmla="*/ 455 h 647"/>
                <a:gd name="T94" fmla="*/ 626 w 853"/>
                <a:gd name="T95" fmla="*/ 477 h 647"/>
                <a:gd name="T96" fmla="*/ 648 w 853"/>
                <a:gd name="T97" fmla="*/ 489 h 647"/>
                <a:gd name="T98" fmla="*/ 657 w 853"/>
                <a:gd name="T99" fmla="*/ 515 h 647"/>
                <a:gd name="T100" fmla="*/ 694 w 853"/>
                <a:gd name="T101" fmla="*/ 564 h 647"/>
                <a:gd name="T102" fmla="*/ 720 w 853"/>
                <a:gd name="T103" fmla="*/ 578 h 647"/>
                <a:gd name="T104" fmla="*/ 766 w 853"/>
                <a:gd name="T105" fmla="*/ 616 h 647"/>
                <a:gd name="T106" fmla="*/ 748 w 853"/>
                <a:gd name="T107" fmla="*/ 634 h 647"/>
                <a:gd name="T108" fmla="*/ 786 w 853"/>
                <a:gd name="T109" fmla="*/ 636 h 647"/>
                <a:gd name="T110" fmla="*/ 824 w 853"/>
                <a:gd name="T111" fmla="*/ 623 h 647"/>
                <a:gd name="T112" fmla="*/ 838 w 853"/>
                <a:gd name="T113" fmla="*/ 584 h 647"/>
                <a:gd name="T114" fmla="*/ 843 w 853"/>
                <a:gd name="T115" fmla="*/ 56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53" h="647">
                  <a:moveTo>
                    <a:pt x="852" y="541"/>
                  </a:moveTo>
                  <a:cubicBezTo>
                    <a:pt x="852" y="540"/>
                    <a:pt x="852" y="540"/>
                    <a:pt x="852" y="540"/>
                  </a:cubicBezTo>
                  <a:cubicBezTo>
                    <a:pt x="852" y="538"/>
                    <a:pt x="851" y="536"/>
                    <a:pt x="850" y="534"/>
                  </a:cubicBezTo>
                  <a:cubicBezTo>
                    <a:pt x="850" y="533"/>
                    <a:pt x="850" y="531"/>
                    <a:pt x="850" y="530"/>
                  </a:cubicBezTo>
                  <a:cubicBezTo>
                    <a:pt x="849" y="527"/>
                    <a:pt x="848" y="520"/>
                    <a:pt x="848" y="516"/>
                  </a:cubicBezTo>
                  <a:cubicBezTo>
                    <a:pt x="848" y="510"/>
                    <a:pt x="848" y="493"/>
                    <a:pt x="848" y="493"/>
                  </a:cubicBezTo>
                  <a:cubicBezTo>
                    <a:pt x="847" y="485"/>
                    <a:pt x="847" y="485"/>
                    <a:pt x="847" y="485"/>
                  </a:cubicBezTo>
                  <a:cubicBezTo>
                    <a:pt x="847" y="484"/>
                    <a:pt x="847" y="459"/>
                    <a:pt x="845" y="450"/>
                  </a:cubicBezTo>
                  <a:cubicBezTo>
                    <a:pt x="843" y="435"/>
                    <a:pt x="840" y="426"/>
                    <a:pt x="836" y="421"/>
                  </a:cubicBezTo>
                  <a:cubicBezTo>
                    <a:pt x="835" y="420"/>
                    <a:pt x="834" y="420"/>
                    <a:pt x="833" y="419"/>
                  </a:cubicBezTo>
                  <a:cubicBezTo>
                    <a:pt x="833" y="419"/>
                    <a:pt x="833" y="419"/>
                    <a:pt x="833" y="419"/>
                  </a:cubicBezTo>
                  <a:cubicBezTo>
                    <a:pt x="832" y="419"/>
                    <a:pt x="832" y="416"/>
                    <a:pt x="832" y="415"/>
                  </a:cubicBezTo>
                  <a:cubicBezTo>
                    <a:pt x="832" y="413"/>
                    <a:pt x="832" y="411"/>
                    <a:pt x="831" y="410"/>
                  </a:cubicBezTo>
                  <a:cubicBezTo>
                    <a:pt x="829" y="405"/>
                    <a:pt x="822" y="397"/>
                    <a:pt x="818" y="394"/>
                  </a:cubicBezTo>
                  <a:cubicBezTo>
                    <a:pt x="817" y="393"/>
                    <a:pt x="815" y="392"/>
                    <a:pt x="813" y="391"/>
                  </a:cubicBezTo>
                  <a:cubicBezTo>
                    <a:pt x="813" y="391"/>
                    <a:pt x="812" y="391"/>
                    <a:pt x="811" y="390"/>
                  </a:cubicBezTo>
                  <a:cubicBezTo>
                    <a:pt x="811" y="390"/>
                    <a:pt x="811" y="389"/>
                    <a:pt x="811" y="388"/>
                  </a:cubicBezTo>
                  <a:cubicBezTo>
                    <a:pt x="812" y="386"/>
                    <a:pt x="812" y="384"/>
                    <a:pt x="811" y="383"/>
                  </a:cubicBezTo>
                  <a:cubicBezTo>
                    <a:pt x="810" y="380"/>
                    <a:pt x="808" y="376"/>
                    <a:pt x="805" y="373"/>
                  </a:cubicBezTo>
                  <a:cubicBezTo>
                    <a:pt x="804" y="371"/>
                    <a:pt x="802" y="369"/>
                    <a:pt x="802" y="368"/>
                  </a:cubicBezTo>
                  <a:cubicBezTo>
                    <a:pt x="798" y="362"/>
                    <a:pt x="790" y="342"/>
                    <a:pt x="789" y="342"/>
                  </a:cubicBezTo>
                  <a:cubicBezTo>
                    <a:pt x="789" y="342"/>
                    <a:pt x="767" y="311"/>
                    <a:pt x="760" y="301"/>
                  </a:cubicBezTo>
                  <a:cubicBezTo>
                    <a:pt x="756" y="293"/>
                    <a:pt x="747" y="280"/>
                    <a:pt x="741" y="270"/>
                  </a:cubicBezTo>
                  <a:cubicBezTo>
                    <a:pt x="737" y="263"/>
                    <a:pt x="737" y="263"/>
                    <a:pt x="737" y="263"/>
                  </a:cubicBezTo>
                  <a:cubicBezTo>
                    <a:pt x="736" y="261"/>
                    <a:pt x="735" y="259"/>
                    <a:pt x="734" y="258"/>
                  </a:cubicBezTo>
                  <a:cubicBezTo>
                    <a:pt x="731" y="253"/>
                    <a:pt x="727" y="242"/>
                    <a:pt x="725" y="236"/>
                  </a:cubicBezTo>
                  <a:cubicBezTo>
                    <a:pt x="724" y="235"/>
                    <a:pt x="723" y="233"/>
                    <a:pt x="723" y="231"/>
                  </a:cubicBezTo>
                  <a:cubicBezTo>
                    <a:pt x="722" y="230"/>
                    <a:pt x="720" y="226"/>
                    <a:pt x="719" y="224"/>
                  </a:cubicBezTo>
                  <a:cubicBezTo>
                    <a:pt x="719" y="224"/>
                    <a:pt x="719" y="224"/>
                    <a:pt x="719" y="224"/>
                  </a:cubicBezTo>
                  <a:cubicBezTo>
                    <a:pt x="722" y="225"/>
                    <a:pt x="725" y="226"/>
                    <a:pt x="725" y="226"/>
                  </a:cubicBezTo>
                  <a:cubicBezTo>
                    <a:pt x="726" y="231"/>
                    <a:pt x="734" y="239"/>
                    <a:pt x="738" y="242"/>
                  </a:cubicBezTo>
                  <a:cubicBezTo>
                    <a:pt x="740" y="242"/>
                    <a:pt x="743" y="244"/>
                    <a:pt x="743" y="246"/>
                  </a:cubicBezTo>
                  <a:cubicBezTo>
                    <a:pt x="744" y="246"/>
                    <a:pt x="744" y="249"/>
                    <a:pt x="744" y="252"/>
                  </a:cubicBezTo>
                  <a:cubicBezTo>
                    <a:pt x="745" y="255"/>
                    <a:pt x="748" y="258"/>
                    <a:pt x="752" y="262"/>
                  </a:cubicBezTo>
                  <a:cubicBezTo>
                    <a:pt x="754" y="264"/>
                    <a:pt x="758" y="267"/>
                    <a:pt x="758" y="268"/>
                  </a:cubicBezTo>
                  <a:cubicBezTo>
                    <a:pt x="759" y="274"/>
                    <a:pt x="763" y="285"/>
                    <a:pt x="765" y="289"/>
                  </a:cubicBezTo>
                  <a:cubicBezTo>
                    <a:pt x="768" y="295"/>
                    <a:pt x="776" y="307"/>
                    <a:pt x="781" y="313"/>
                  </a:cubicBezTo>
                  <a:cubicBezTo>
                    <a:pt x="781" y="314"/>
                    <a:pt x="782" y="314"/>
                    <a:pt x="782" y="315"/>
                  </a:cubicBezTo>
                  <a:cubicBezTo>
                    <a:pt x="785" y="319"/>
                    <a:pt x="787" y="322"/>
                    <a:pt x="790" y="322"/>
                  </a:cubicBezTo>
                  <a:cubicBezTo>
                    <a:pt x="791" y="322"/>
                    <a:pt x="792" y="322"/>
                    <a:pt x="792" y="322"/>
                  </a:cubicBezTo>
                  <a:cubicBezTo>
                    <a:pt x="793" y="321"/>
                    <a:pt x="794" y="319"/>
                    <a:pt x="794" y="318"/>
                  </a:cubicBezTo>
                  <a:cubicBezTo>
                    <a:pt x="795" y="314"/>
                    <a:pt x="791" y="308"/>
                    <a:pt x="786" y="302"/>
                  </a:cubicBezTo>
                  <a:cubicBezTo>
                    <a:pt x="785" y="300"/>
                    <a:pt x="783" y="297"/>
                    <a:pt x="782" y="296"/>
                  </a:cubicBezTo>
                  <a:cubicBezTo>
                    <a:pt x="782" y="295"/>
                    <a:pt x="781" y="295"/>
                    <a:pt x="781" y="294"/>
                  </a:cubicBezTo>
                  <a:cubicBezTo>
                    <a:pt x="780" y="292"/>
                    <a:pt x="779" y="290"/>
                    <a:pt x="779" y="289"/>
                  </a:cubicBezTo>
                  <a:cubicBezTo>
                    <a:pt x="777" y="286"/>
                    <a:pt x="775" y="279"/>
                    <a:pt x="774" y="276"/>
                  </a:cubicBezTo>
                  <a:cubicBezTo>
                    <a:pt x="774" y="273"/>
                    <a:pt x="774" y="273"/>
                    <a:pt x="774" y="273"/>
                  </a:cubicBezTo>
                  <a:cubicBezTo>
                    <a:pt x="773" y="270"/>
                    <a:pt x="772" y="264"/>
                    <a:pt x="772" y="262"/>
                  </a:cubicBezTo>
                  <a:cubicBezTo>
                    <a:pt x="772" y="261"/>
                    <a:pt x="774" y="260"/>
                    <a:pt x="774" y="260"/>
                  </a:cubicBezTo>
                  <a:cubicBezTo>
                    <a:pt x="776" y="258"/>
                    <a:pt x="778" y="256"/>
                    <a:pt x="778" y="254"/>
                  </a:cubicBezTo>
                  <a:cubicBezTo>
                    <a:pt x="778" y="251"/>
                    <a:pt x="775" y="248"/>
                    <a:pt x="772" y="246"/>
                  </a:cubicBezTo>
                  <a:cubicBezTo>
                    <a:pt x="771" y="246"/>
                    <a:pt x="769" y="245"/>
                    <a:pt x="769" y="244"/>
                  </a:cubicBezTo>
                  <a:cubicBezTo>
                    <a:pt x="768" y="243"/>
                    <a:pt x="767" y="242"/>
                    <a:pt x="766" y="241"/>
                  </a:cubicBezTo>
                  <a:cubicBezTo>
                    <a:pt x="765" y="239"/>
                    <a:pt x="765" y="238"/>
                    <a:pt x="764" y="237"/>
                  </a:cubicBezTo>
                  <a:cubicBezTo>
                    <a:pt x="762" y="235"/>
                    <a:pt x="759" y="232"/>
                    <a:pt x="756" y="229"/>
                  </a:cubicBezTo>
                  <a:cubicBezTo>
                    <a:pt x="753" y="226"/>
                    <a:pt x="751" y="224"/>
                    <a:pt x="749" y="222"/>
                  </a:cubicBezTo>
                  <a:cubicBezTo>
                    <a:pt x="738" y="209"/>
                    <a:pt x="708" y="170"/>
                    <a:pt x="707" y="169"/>
                  </a:cubicBezTo>
                  <a:cubicBezTo>
                    <a:pt x="669" y="130"/>
                    <a:pt x="669" y="130"/>
                    <a:pt x="669" y="130"/>
                  </a:cubicBezTo>
                  <a:cubicBezTo>
                    <a:pt x="658" y="108"/>
                    <a:pt x="658" y="108"/>
                    <a:pt x="658" y="108"/>
                  </a:cubicBezTo>
                  <a:cubicBezTo>
                    <a:pt x="646" y="81"/>
                    <a:pt x="646" y="81"/>
                    <a:pt x="646" y="81"/>
                  </a:cubicBezTo>
                  <a:cubicBezTo>
                    <a:pt x="644" y="72"/>
                    <a:pt x="644" y="72"/>
                    <a:pt x="644" y="72"/>
                  </a:cubicBezTo>
                  <a:cubicBezTo>
                    <a:pt x="636" y="58"/>
                    <a:pt x="636" y="58"/>
                    <a:pt x="636" y="58"/>
                  </a:cubicBezTo>
                  <a:cubicBezTo>
                    <a:pt x="634" y="44"/>
                    <a:pt x="634" y="44"/>
                    <a:pt x="634" y="44"/>
                  </a:cubicBezTo>
                  <a:cubicBezTo>
                    <a:pt x="634" y="44"/>
                    <a:pt x="634" y="44"/>
                    <a:pt x="634" y="44"/>
                  </a:cubicBezTo>
                  <a:cubicBezTo>
                    <a:pt x="630" y="36"/>
                    <a:pt x="630" y="36"/>
                    <a:pt x="630" y="36"/>
                  </a:cubicBezTo>
                  <a:cubicBezTo>
                    <a:pt x="630" y="36"/>
                    <a:pt x="630" y="36"/>
                    <a:pt x="630" y="36"/>
                  </a:cubicBezTo>
                  <a:cubicBezTo>
                    <a:pt x="625" y="31"/>
                    <a:pt x="623" y="29"/>
                    <a:pt x="623" y="27"/>
                  </a:cubicBezTo>
                  <a:cubicBezTo>
                    <a:pt x="623" y="26"/>
                    <a:pt x="624" y="24"/>
                    <a:pt x="624" y="22"/>
                  </a:cubicBezTo>
                  <a:cubicBezTo>
                    <a:pt x="625" y="18"/>
                    <a:pt x="626" y="14"/>
                    <a:pt x="624" y="11"/>
                  </a:cubicBezTo>
                  <a:cubicBezTo>
                    <a:pt x="623" y="8"/>
                    <a:pt x="618" y="7"/>
                    <a:pt x="614" y="7"/>
                  </a:cubicBezTo>
                  <a:cubicBezTo>
                    <a:pt x="613" y="7"/>
                    <a:pt x="613" y="7"/>
                    <a:pt x="613" y="7"/>
                  </a:cubicBezTo>
                  <a:cubicBezTo>
                    <a:pt x="606" y="8"/>
                    <a:pt x="606" y="8"/>
                    <a:pt x="606" y="8"/>
                  </a:cubicBezTo>
                  <a:cubicBezTo>
                    <a:pt x="600" y="8"/>
                    <a:pt x="600" y="8"/>
                    <a:pt x="600" y="8"/>
                  </a:cubicBezTo>
                  <a:cubicBezTo>
                    <a:pt x="580" y="3"/>
                    <a:pt x="580" y="3"/>
                    <a:pt x="580" y="3"/>
                  </a:cubicBezTo>
                  <a:cubicBezTo>
                    <a:pt x="572" y="1"/>
                    <a:pt x="572" y="1"/>
                    <a:pt x="572" y="1"/>
                  </a:cubicBezTo>
                  <a:cubicBezTo>
                    <a:pt x="572" y="0"/>
                    <a:pt x="572" y="0"/>
                    <a:pt x="572" y="0"/>
                  </a:cubicBezTo>
                  <a:cubicBezTo>
                    <a:pt x="563" y="1"/>
                    <a:pt x="560" y="7"/>
                    <a:pt x="560" y="8"/>
                  </a:cubicBezTo>
                  <a:cubicBezTo>
                    <a:pt x="558" y="16"/>
                    <a:pt x="558" y="16"/>
                    <a:pt x="558" y="16"/>
                  </a:cubicBezTo>
                  <a:cubicBezTo>
                    <a:pt x="558" y="16"/>
                    <a:pt x="558" y="17"/>
                    <a:pt x="558" y="17"/>
                  </a:cubicBezTo>
                  <a:cubicBezTo>
                    <a:pt x="558" y="24"/>
                    <a:pt x="558" y="24"/>
                    <a:pt x="558" y="24"/>
                  </a:cubicBezTo>
                  <a:cubicBezTo>
                    <a:pt x="558" y="24"/>
                    <a:pt x="558" y="25"/>
                    <a:pt x="559" y="25"/>
                  </a:cubicBezTo>
                  <a:cubicBezTo>
                    <a:pt x="563" y="32"/>
                    <a:pt x="563" y="32"/>
                    <a:pt x="563" y="32"/>
                  </a:cubicBezTo>
                  <a:cubicBezTo>
                    <a:pt x="564" y="38"/>
                    <a:pt x="564" y="38"/>
                    <a:pt x="564" y="38"/>
                  </a:cubicBezTo>
                  <a:cubicBezTo>
                    <a:pt x="564" y="43"/>
                    <a:pt x="565" y="51"/>
                    <a:pt x="564" y="53"/>
                  </a:cubicBezTo>
                  <a:cubicBezTo>
                    <a:pt x="563" y="54"/>
                    <a:pt x="560" y="56"/>
                    <a:pt x="558" y="57"/>
                  </a:cubicBezTo>
                  <a:cubicBezTo>
                    <a:pt x="558" y="57"/>
                    <a:pt x="557" y="57"/>
                    <a:pt x="556" y="57"/>
                  </a:cubicBezTo>
                  <a:cubicBezTo>
                    <a:pt x="554" y="57"/>
                    <a:pt x="553" y="57"/>
                    <a:pt x="553" y="57"/>
                  </a:cubicBezTo>
                  <a:cubicBezTo>
                    <a:pt x="552" y="55"/>
                    <a:pt x="549" y="48"/>
                    <a:pt x="548" y="43"/>
                  </a:cubicBezTo>
                  <a:cubicBezTo>
                    <a:pt x="548" y="42"/>
                    <a:pt x="548" y="42"/>
                    <a:pt x="547" y="41"/>
                  </a:cubicBezTo>
                  <a:cubicBezTo>
                    <a:pt x="539" y="36"/>
                    <a:pt x="539" y="36"/>
                    <a:pt x="539" y="36"/>
                  </a:cubicBezTo>
                  <a:cubicBezTo>
                    <a:pt x="539" y="36"/>
                    <a:pt x="538" y="36"/>
                    <a:pt x="538" y="36"/>
                  </a:cubicBezTo>
                  <a:cubicBezTo>
                    <a:pt x="281" y="54"/>
                    <a:pt x="281" y="54"/>
                    <a:pt x="281" y="54"/>
                  </a:cubicBezTo>
                  <a:cubicBezTo>
                    <a:pt x="277" y="49"/>
                    <a:pt x="277" y="49"/>
                    <a:pt x="277" y="49"/>
                  </a:cubicBezTo>
                  <a:cubicBezTo>
                    <a:pt x="275" y="42"/>
                    <a:pt x="275" y="42"/>
                    <a:pt x="275" y="42"/>
                  </a:cubicBezTo>
                  <a:cubicBezTo>
                    <a:pt x="275" y="42"/>
                    <a:pt x="275" y="41"/>
                    <a:pt x="275" y="41"/>
                  </a:cubicBezTo>
                  <a:cubicBezTo>
                    <a:pt x="264" y="25"/>
                    <a:pt x="264" y="25"/>
                    <a:pt x="264" y="25"/>
                  </a:cubicBezTo>
                  <a:cubicBezTo>
                    <a:pt x="264" y="24"/>
                    <a:pt x="263" y="23"/>
                    <a:pt x="262" y="23"/>
                  </a:cubicBezTo>
                  <a:cubicBezTo>
                    <a:pt x="106" y="42"/>
                    <a:pt x="106" y="42"/>
                    <a:pt x="106" y="42"/>
                  </a:cubicBezTo>
                  <a:cubicBezTo>
                    <a:pt x="103" y="42"/>
                    <a:pt x="34" y="44"/>
                    <a:pt x="12" y="52"/>
                  </a:cubicBezTo>
                  <a:cubicBezTo>
                    <a:pt x="9" y="53"/>
                    <a:pt x="5" y="56"/>
                    <a:pt x="3" y="58"/>
                  </a:cubicBezTo>
                  <a:cubicBezTo>
                    <a:pt x="2" y="61"/>
                    <a:pt x="0" y="66"/>
                    <a:pt x="1" y="70"/>
                  </a:cubicBezTo>
                  <a:cubicBezTo>
                    <a:pt x="2" y="75"/>
                    <a:pt x="10" y="84"/>
                    <a:pt x="13" y="86"/>
                  </a:cubicBezTo>
                  <a:cubicBezTo>
                    <a:pt x="14" y="87"/>
                    <a:pt x="16" y="88"/>
                    <a:pt x="18" y="89"/>
                  </a:cubicBezTo>
                  <a:cubicBezTo>
                    <a:pt x="19" y="89"/>
                    <a:pt x="20" y="90"/>
                    <a:pt x="21" y="90"/>
                  </a:cubicBezTo>
                  <a:cubicBezTo>
                    <a:pt x="22" y="91"/>
                    <a:pt x="23" y="93"/>
                    <a:pt x="24" y="96"/>
                  </a:cubicBezTo>
                  <a:cubicBezTo>
                    <a:pt x="24" y="97"/>
                    <a:pt x="22" y="101"/>
                    <a:pt x="21" y="105"/>
                  </a:cubicBezTo>
                  <a:cubicBezTo>
                    <a:pt x="20" y="105"/>
                    <a:pt x="20" y="107"/>
                    <a:pt x="20" y="108"/>
                  </a:cubicBezTo>
                  <a:cubicBezTo>
                    <a:pt x="21" y="111"/>
                    <a:pt x="23" y="113"/>
                    <a:pt x="27" y="115"/>
                  </a:cubicBezTo>
                  <a:cubicBezTo>
                    <a:pt x="28" y="116"/>
                    <a:pt x="29" y="116"/>
                    <a:pt x="31" y="117"/>
                  </a:cubicBezTo>
                  <a:cubicBezTo>
                    <a:pt x="32" y="117"/>
                    <a:pt x="33" y="117"/>
                    <a:pt x="34" y="118"/>
                  </a:cubicBezTo>
                  <a:cubicBezTo>
                    <a:pt x="34" y="118"/>
                    <a:pt x="34" y="119"/>
                    <a:pt x="34" y="119"/>
                  </a:cubicBezTo>
                  <a:cubicBezTo>
                    <a:pt x="34" y="120"/>
                    <a:pt x="31" y="124"/>
                    <a:pt x="30" y="125"/>
                  </a:cubicBezTo>
                  <a:cubicBezTo>
                    <a:pt x="27" y="130"/>
                    <a:pt x="25" y="133"/>
                    <a:pt x="26" y="135"/>
                  </a:cubicBezTo>
                  <a:cubicBezTo>
                    <a:pt x="28" y="138"/>
                    <a:pt x="32" y="137"/>
                    <a:pt x="33" y="137"/>
                  </a:cubicBezTo>
                  <a:cubicBezTo>
                    <a:pt x="36" y="137"/>
                    <a:pt x="38" y="135"/>
                    <a:pt x="39" y="134"/>
                  </a:cubicBezTo>
                  <a:cubicBezTo>
                    <a:pt x="41" y="133"/>
                    <a:pt x="45" y="131"/>
                    <a:pt x="47" y="129"/>
                  </a:cubicBezTo>
                  <a:cubicBezTo>
                    <a:pt x="49" y="127"/>
                    <a:pt x="52" y="123"/>
                    <a:pt x="54" y="119"/>
                  </a:cubicBezTo>
                  <a:cubicBezTo>
                    <a:pt x="54" y="118"/>
                    <a:pt x="54" y="118"/>
                    <a:pt x="54" y="118"/>
                  </a:cubicBezTo>
                  <a:cubicBezTo>
                    <a:pt x="54" y="116"/>
                    <a:pt x="55" y="112"/>
                    <a:pt x="57" y="112"/>
                  </a:cubicBezTo>
                  <a:cubicBezTo>
                    <a:pt x="57" y="112"/>
                    <a:pt x="58" y="112"/>
                    <a:pt x="58" y="112"/>
                  </a:cubicBezTo>
                  <a:cubicBezTo>
                    <a:pt x="58" y="112"/>
                    <a:pt x="63" y="112"/>
                    <a:pt x="67" y="106"/>
                  </a:cubicBezTo>
                  <a:cubicBezTo>
                    <a:pt x="68" y="105"/>
                    <a:pt x="69" y="103"/>
                    <a:pt x="69" y="101"/>
                  </a:cubicBezTo>
                  <a:cubicBezTo>
                    <a:pt x="69" y="100"/>
                    <a:pt x="69" y="100"/>
                    <a:pt x="69" y="99"/>
                  </a:cubicBezTo>
                  <a:cubicBezTo>
                    <a:pt x="71" y="100"/>
                    <a:pt x="73" y="102"/>
                    <a:pt x="73" y="103"/>
                  </a:cubicBezTo>
                  <a:cubicBezTo>
                    <a:pt x="74" y="105"/>
                    <a:pt x="76" y="106"/>
                    <a:pt x="78" y="107"/>
                  </a:cubicBezTo>
                  <a:cubicBezTo>
                    <a:pt x="79" y="108"/>
                    <a:pt x="81" y="109"/>
                    <a:pt x="81" y="109"/>
                  </a:cubicBezTo>
                  <a:cubicBezTo>
                    <a:pt x="81" y="111"/>
                    <a:pt x="78" y="114"/>
                    <a:pt x="76" y="115"/>
                  </a:cubicBezTo>
                  <a:cubicBezTo>
                    <a:pt x="76" y="116"/>
                    <a:pt x="73" y="116"/>
                    <a:pt x="71" y="117"/>
                  </a:cubicBezTo>
                  <a:cubicBezTo>
                    <a:pt x="69" y="117"/>
                    <a:pt x="67" y="117"/>
                    <a:pt x="65" y="118"/>
                  </a:cubicBezTo>
                  <a:cubicBezTo>
                    <a:pt x="64" y="119"/>
                    <a:pt x="61" y="120"/>
                    <a:pt x="62" y="122"/>
                  </a:cubicBezTo>
                  <a:cubicBezTo>
                    <a:pt x="62" y="125"/>
                    <a:pt x="68" y="133"/>
                    <a:pt x="72" y="133"/>
                  </a:cubicBezTo>
                  <a:cubicBezTo>
                    <a:pt x="76" y="133"/>
                    <a:pt x="79" y="131"/>
                    <a:pt x="83" y="129"/>
                  </a:cubicBezTo>
                  <a:cubicBezTo>
                    <a:pt x="85" y="128"/>
                    <a:pt x="87" y="127"/>
                    <a:pt x="90" y="127"/>
                  </a:cubicBezTo>
                  <a:cubicBezTo>
                    <a:pt x="95" y="126"/>
                    <a:pt x="109" y="121"/>
                    <a:pt x="109" y="121"/>
                  </a:cubicBezTo>
                  <a:cubicBezTo>
                    <a:pt x="110" y="120"/>
                    <a:pt x="110" y="120"/>
                    <a:pt x="110" y="120"/>
                  </a:cubicBezTo>
                  <a:cubicBezTo>
                    <a:pt x="110" y="120"/>
                    <a:pt x="113" y="118"/>
                    <a:pt x="113" y="118"/>
                  </a:cubicBezTo>
                  <a:cubicBezTo>
                    <a:pt x="116" y="116"/>
                    <a:pt x="118" y="112"/>
                    <a:pt x="121" y="106"/>
                  </a:cubicBezTo>
                  <a:cubicBezTo>
                    <a:pt x="122" y="103"/>
                    <a:pt x="124" y="99"/>
                    <a:pt x="126" y="97"/>
                  </a:cubicBezTo>
                  <a:cubicBezTo>
                    <a:pt x="126" y="97"/>
                    <a:pt x="126" y="97"/>
                    <a:pt x="126" y="97"/>
                  </a:cubicBezTo>
                  <a:cubicBezTo>
                    <a:pt x="126" y="99"/>
                    <a:pt x="126" y="102"/>
                    <a:pt x="129" y="103"/>
                  </a:cubicBezTo>
                  <a:cubicBezTo>
                    <a:pt x="129" y="103"/>
                    <a:pt x="130" y="103"/>
                    <a:pt x="130" y="103"/>
                  </a:cubicBezTo>
                  <a:cubicBezTo>
                    <a:pt x="132" y="103"/>
                    <a:pt x="134" y="102"/>
                    <a:pt x="136" y="100"/>
                  </a:cubicBezTo>
                  <a:cubicBezTo>
                    <a:pt x="136" y="100"/>
                    <a:pt x="137" y="99"/>
                    <a:pt x="138" y="99"/>
                  </a:cubicBezTo>
                  <a:cubicBezTo>
                    <a:pt x="140" y="98"/>
                    <a:pt x="143" y="97"/>
                    <a:pt x="144" y="97"/>
                  </a:cubicBezTo>
                  <a:cubicBezTo>
                    <a:pt x="144" y="97"/>
                    <a:pt x="144" y="97"/>
                    <a:pt x="144" y="97"/>
                  </a:cubicBezTo>
                  <a:cubicBezTo>
                    <a:pt x="147" y="97"/>
                    <a:pt x="154" y="100"/>
                    <a:pt x="156" y="102"/>
                  </a:cubicBezTo>
                  <a:cubicBezTo>
                    <a:pt x="157" y="103"/>
                    <a:pt x="158" y="107"/>
                    <a:pt x="159" y="109"/>
                  </a:cubicBezTo>
                  <a:cubicBezTo>
                    <a:pt x="158" y="109"/>
                    <a:pt x="158" y="109"/>
                    <a:pt x="157" y="109"/>
                  </a:cubicBezTo>
                  <a:cubicBezTo>
                    <a:pt x="157" y="108"/>
                    <a:pt x="156" y="108"/>
                    <a:pt x="156" y="108"/>
                  </a:cubicBezTo>
                  <a:cubicBezTo>
                    <a:pt x="155" y="108"/>
                    <a:pt x="154" y="107"/>
                    <a:pt x="153" y="107"/>
                  </a:cubicBezTo>
                  <a:cubicBezTo>
                    <a:pt x="151" y="106"/>
                    <a:pt x="149" y="104"/>
                    <a:pt x="147" y="104"/>
                  </a:cubicBezTo>
                  <a:cubicBezTo>
                    <a:pt x="147" y="104"/>
                    <a:pt x="146" y="104"/>
                    <a:pt x="146" y="104"/>
                  </a:cubicBezTo>
                  <a:cubicBezTo>
                    <a:pt x="145" y="104"/>
                    <a:pt x="140" y="104"/>
                    <a:pt x="138" y="106"/>
                  </a:cubicBezTo>
                  <a:cubicBezTo>
                    <a:pt x="137" y="107"/>
                    <a:pt x="133" y="110"/>
                    <a:pt x="133" y="114"/>
                  </a:cubicBezTo>
                  <a:cubicBezTo>
                    <a:pt x="133" y="115"/>
                    <a:pt x="134" y="117"/>
                    <a:pt x="136" y="119"/>
                  </a:cubicBezTo>
                  <a:cubicBezTo>
                    <a:pt x="140" y="122"/>
                    <a:pt x="149" y="123"/>
                    <a:pt x="157" y="124"/>
                  </a:cubicBezTo>
                  <a:cubicBezTo>
                    <a:pt x="161" y="125"/>
                    <a:pt x="165" y="125"/>
                    <a:pt x="167" y="126"/>
                  </a:cubicBezTo>
                  <a:cubicBezTo>
                    <a:pt x="171" y="127"/>
                    <a:pt x="178" y="130"/>
                    <a:pt x="178" y="130"/>
                  </a:cubicBezTo>
                  <a:cubicBezTo>
                    <a:pt x="180" y="131"/>
                    <a:pt x="188" y="137"/>
                    <a:pt x="193" y="137"/>
                  </a:cubicBezTo>
                  <a:cubicBezTo>
                    <a:pt x="194" y="137"/>
                    <a:pt x="195" y="136"/>
                    <a:pt x="196" y="135"/>
                  </a:cubicBezTo>
                  <a:cubicBezTo>
                    <a:pt x="200" y="133"/>
                    <a:pt x="196" y="126"/>
                    <a:pt x="195" y="125"/>
                  </a:cubicBezTo>
                  <a:cubicBezTo>
                    <a:pt x="194" y="123"/>
                    <a:pt x="192" y="123"/>
                    <a:pt x="190" y="122"/>
                  </a:cubicBezTo>
                  <a:cubicBezTo>
                    <a:pt x="189" y="121"/>
                    <a:pt x="188" y="121"/>
                    <a:pt x="188" y="120"/>
                  </a:cubicBezTo>
                  <a:cubicBezTo>
                    <a:pt x="186" y="119"/>
                    <a:pt x="186" y="118"/>
                    <a:pt x="185" y="117"/>
                  </a:cubicBezTo>
                  <a:cubicBezTo>
                    <a:pt x="186" y="117"/>
                    <a:pt x="188" y="117"/>
                    <a:pt x="189" y="117"/>
                  </a:cubicBezTo>
                  <a:cubicBezTo>
                    <a:pt x="190" y="117"/>
                    <a:pt x="192" y="119"/>
                    <a:pt x="194" y="120"/>
                  </a:cubicBezTo>
                  <a:cubicBezTo>
                    <a:pt x="199" y="122"/>
                    <a:pt x="202" y="123"/>
                    <a:pt x="204" y="123"/>
                  </a:cubicBezTo>
                  <a:cubicBezTo>
                    <a:pt x="204" y="123"/>
                    <a:pt x="204" y="123"/>
                    <a:pt x="204" y="123"/>
                  </a:cubicBezTo>
                  <a:cubicBezTo>
                    <a:pt x="207" y="123"/>
                    <a:pt x="209" y="120"/>
                    <a:pt x="211" y="118"/>
                  </a:cubicBezTo>
                  <a:cubicBezTo>
                    <a:pt x="212" y="117"/>
                    <a:pt x="213" y="115"/>
                    <a:pt x="214" y="114"/>
                  </a:cubicBezTo>
                  <a:cubicBezTo>
                    <a:pt x="214" y="115"/>
                    <a:pt x="214" y="117"/>
                    <a:pt x="214" y="117"/>
                  </a:cubicBezTo>
                  <a:cubicBezTo>
                    <a:pt x="213" y="118"/>
                    <a:pt x="213" y="119"/>
                    <a:pt x="212" y="120"/>
                  </a:cubicBezTo>
                  <a:cubicBezTo>
                    <a:pt x="212" y="121"/>
                    <a:pt x="212" y="122"/>
                    <a:pt x="211" y="122"/>
                  </a:cubicBezTo>
                  <a:cubicBezTo>
                    <a:pt x="210" y="123"/>
                    <a:pt x="210" y="125"/>
                    <a:pt x="211" y="126"/>
                  </a:cubicBezTo>
                  <a:cubicBezTo>
                    <a:pt x="212" y="126"/>
                    <a:pt x="213" y="127"/>
                    <a:pt x="214" y="127"/>
                  </a:cubicBezTo>
                  <a:cubicBezTo>
                    <a:pt x="214" y="127"/>
                    <a:pt x="217" y="127"/>
                    <a:pt x="226" y="132"/>
                  </a:cubicBezTo>
                  <a:cubicBezTo>
                    <a:pt x="227" y="133"/>
                    <a:pt x="229" y="136"/>
                    <a:pt x="229" y="138"/>
                  </a:cubicBezTo>
                  <a:cubicBezTo>
                    <a:pt x="229" y="139"/>
                    <a:pt x="227" y="139"/>
                    <a:pt x="227" y="139"/>
                  </a:cubicBezTo>
                  <a:cubicBezTo>
                    <a:pt x="226" y="139"/>
                    <a:pt x="225" y="138"/>
                    <a:pt x="224" y="138"/>
                  </a:cubicBezTo>
                  <a:cubicBezTo>
                    <a:pt x="223" y="138"/>
                    <a:pt x="221" y="137"/>
                    <a:pt x="219" y="136"/>
                  </a:cubicBezTo>
                  <a:cubicBezTo>
                    <a:pt x="216" y="133"/>
                    <a:pt x="212" y="132"/>
                    <a:pt x="210" y="132"/>
                  </a:cubicBezTo>
                  <a:cubicBezTo>
                    <a:pt x="208" y="132"/>
                    <a:pt x="207" y="132"/>
                    <a:pt x="206" y="133"/>
                  </a:cubicBezTo>
                  <a:cubicBezTo>
                    <a:pt x="204" y="137"/>
                    <a:pt x="208" y="146"/>
                    <a:pt x="211" y="148"/>
                  </a:cubicBezTo>
                  <a:cubicBezTo>
                    <a:pt x="212" y="149"/>
                    <a:pt x="213" y="149"/>
                    <a:pt x="215" y="150"/>
                  </a:cubicBezTo>
                  <a:cubicBezTo>
                    <a:pt x="216" y="151"/>
                    <a:pt x="217" y="151"/>
                    <a:pt x="218" y="152"/>
                  </a:cubicBezTo>
                  <a:cubicBezTo>
                    <a:pt x="218" y="152"/>
                    <a:pt x="219" y="152"/>
                    <a:pt x="219" y="152"/>
                  </a:cubicBezTo>
                  <a:cubicBezTo>
                    <a:pt x="236" y="157"/>
                    <a:pt x="236" y="157"/>
                    <a:pt x="236" y="157"/>
                  </a:cubicBezTo>
                  <a:cubicBezTo>
                    <a:pt x="238" y="159"/>
                    <a:pt x="242" y="162"/>
                    <a:pt x="243" y="164"/>
                  </a:cubicBezTo>
                  <a:cubicBezTo>
                    <a:pt x="244" y="165"/>
                    <a:pt x="246" y="169"/>
                    <a:pt x="247" y="171"/>
                  </a:cubicBezTo>
                  <a:cubicBezTo>
                    <a:pt x="247" y="171"/>
                    <a:pt x="247" y="172"/>
                    <a:pt x="247" y="172"/>
                  </a:cubicBezTo>
                  <a:cubicBezTo>
                    <a:pt x="248" y="173"/>
                    <a:pt x="248" y="174"/>
                    <a:pt x="249" y="175"/>
                  </a:cubicBezTo>
                  <a:cubicBezTo>
                    <a:pt x="244" y="176"/>
                    <a:pt x="241" y="171"/>
                    <a:pt x="241" y="171"/>
                  </a:cubicBezTo>
                  <a:cubicBezTo>
                    <a:pt x="238" y="165"/>
                    <a:pt x="231" y="162"/>
                    <a:pt x="230" y="162"/>
                  </a:cubicBezTo>
                  <a:cubicBezTo>
                    <a:pt x="229" y="162"/>
                    <a:pt x="229" y="162"/>
                    <a:pt x="229" y="162"/>
                  </a:cubicBezTo>
                  <a:cubicBezTo>
                    <a:pt x="228" y="162"/>
                    <a:pt x="226" y="162"/>
                    <a:pt x="226" y="163"/>
                  </a:cubicBezTo>
                  <a:cubicBezTo>
                    <a:pt x="224" y="166"/>
                    <a:pt x="224" y="170"/>
                    <a:pt x="225" y="178"/>
                  </a:cubicBezTo>
                  <a:cubicBezTo>
                    <a:pt x="226" y="179"/>
                    <a:pt x="226" y="179"/>
                    <a:pt x="226" y="179"/>
                  </a:cubicBezTo>
                  <a:cubicBezTo>
                    <a:pt x="226" y="180"/>
                    <a:pt x="227" y="185"/>
                    <a:pt x="229" y="187"/>
                  </a:cubicBezTo>
                  <a:cubicBezTo>
                    <a:pt x="230" y="189"/>
                    <a:pt x="233" y="189"/>
                    <a:pt x="246" y="191"/>
                  </a:cubicBezTo>
                  <a:cubicBezTo>
                    <a:pt x="248" y="191"/>
                    <a:pt x="248" y="191"/>
                    <a:pt x="249" y="191"/>
                  </a:cubicBezTo>
                  <a:cubicBezTo>
                    <a:pt x="251" y="191"/>
                    <a:pt x="256" y="191"/>
                    <a:pt x="258" y="190"/>
                  </a:cubicBezTo>
                  <a:cubicBezTo>
                    <a:pt x="259" y="190"/>
                    <a:pt x="260" y="189"/>
                    <a:pt x="261" y="188"/>
                  </a:cubicBezTo>
                  <a:cubicBezTo>
                    <a:pt x="261" y="188"/>
                    <a:pt x="261" y="188"/>
                    <a:pt x="261" y="188"/>
                  </a:cubicBezTo>
                  <a:cubicBezTo>
                    <a:pt x="262" y="187"/>
                    <a:pt x="264" y="186"/>
                    <a:pt x="265" y="185"/>
                  </a:cubicBezTo>
                  <a:cubicBezTo>
                    <a:pt x="269" y="182"/>
                    <a:pt x="273" y="179"/>
                    <a:pt x="276" y="178"/>
                  </a:cubicBezTo>
                  <a:cubicBezTo>
                    <a:pt x="276" y="178"/>
                    <a:pt x="276" y="178"/>
                    <a:pt x="277" y="178"/>
                  </a:cubicBezTo>
                  <a:cubicBezTo>
                    <a:pt x="280" y="178"/>
                    <a:pt x="280" y="178"/>
                    <a:pt x="280" y="178"/>
                  </a:cubicBezTo>
                  <a:cubicBezTo>
                    <a:pt x="281" y="178"/>
                    <a:pt x="283" y="177"/>
                    <a:pt x="284" y="177"/>
                  </a:cubicBezTo>
                  <a:cubicBezTo>
                    <a:pt x="285" y="176"/>
                    <a:pt x="285" y="174"/>
                    <a:pt x="286" y="173"/>
                  </a:cubicBezTo>
                  <a:cubicBezTo>
                    <a:pt x="286" y="173"/>
                    <a:pt x="286" y="172"/>
                    <a:pt x="286" y="172"/>
                  </a:cubicBezTo>
                  <a:cubicBezTo>
                    <a:pt x="288" y="170"/>
                    <a:pt x="289" y="168"/>
                    <a:pt x="290" y="167"/>
                  </a:cubicBezTo>
                  <a:cubicBezTo>
                    <a:pt x="290" y="168"/>
                    <a:pt x="291" y="170"/>
                    <a:pt x="292" y="170"/>
                  </a:cubicBezTo>
                  <a:cubicBezTo>
                    <a:pt x="294" y="171"/>
                    <a:pt x="299" y="171"/>
                    <a:pt x="301" y="170"/>
                  </a:cubicBezTo>
                  <a:cubicBezTo>
                    <a:pt x="305" y="168"/>
                    <a:pt x="310" y="164"/>
                    <a:pt x="314" y="159"/>
                  </a:cubicBezTo>
                  <a:cubicBezTo>
                    <a:pt x="318" y="156"/>
                    <a:pt x="321" y="152"/>
                    <a:pt x="324" y="151"/>
                  </a:cubicBezTo>
                  <a:cubicBezTo>
                    <a:pt x="325" y="150"/>
                    <a:pt x="327" y="150"/>
                    <a:pt x="328" y="150"/>
                  </a:cubicBezTo>
                  <a:cubicBezTo>
                    <a:pt x="329" y="149"/>
                    <a:pt x="331" y="149"/>
                    <a:pt x="332" y="149"/>
                  </a:cubicBezTo>
                  <a:cubicBezTo>
                    <a:pt x="332" y="149"/>
                    <a:pt x="333" y="148"/>
                    <a:pt x="334" y="148"/>
                  </a:cubicBezTo>
                  <a:cubicBezTo>
                    <a:pt x="334" y="147"/>
                    <a:pt x="336" y="147"/>
                    <a:pt x="336" y="147"/>
                  </a:cubicBezTo>
                  <a:cubicBezTo>
                    <a:pt x="336" y="147"/>
                    <a:pt x="337" y="147"/>
                    <a:pt x="338" y="148"/>
                  </a:cubicBezTo>
                  <a:cubicBezTo>
                    <a:pt x="341" y="149"/>
                    <a:pt x="344" y="150"/>
                    <a:pt x="346" y="148"/>
                  </a:cubicBezTo>
                  <a:cubicBezTo>
                    <a:pt x="348" y="145"/>
                    <a:pt x="344" y="139"/>
                    <a:pt x="343" y="138"/>
                  </a:cubicBezTo>
                  <a:cubicBezTo>
                    <a:pt x="341" y="134"/>
                    <a:pt x="341" y="134"/>
                    <a:pt x="341" y="134"/>
                  </a:cubicBezTo>
                  <a:cubicBezTo>
                    <a:pt x="341" y="133"/>
                    <a:pt x="343" y="131"/>
                    <a:pt x="344" y="129"/>
                  </a:cubicBezTo>
                  <a:cubicBezTo>
                    <a:pt x="346" y="127"/>
                    <a:pt x="349" y="124"/>
                    <a:pt x="350" y="124"/>
                  </a:cubicBezTo>
                  <a:cubicBezTo>
                    <a:pt x="352" y="123"/>
                    <a:pt x="355" y="123"/>
                    <a:pt x="358" y="123"/>
                  </a:cubicBezTo>
                  <a:cubicBezTo>
                    <a:pt x="360" y="123"/>
                    <a:pt x="363" y="123"/>
                    <a:pt x="364" y="122"/>
                  </a:cubicBezTo>
                  <a:cubicBezTo>
                    <a:pt x="365" y="122"/>
                    <a:pt x="366" y="122"/>
                    <a:pt x="368" y="121"/>
                  </a:cubicBezTo>
                  <a:cubicBezTo>
                    <a:pt x="369" y="121"/>
                    <a:pt x="371" y="120"/>
                    <a:pt x="372" y="120"/>
                  </a:cubicBezTo>
                  <a:cubicBezTo>
                    <a:pt x="373" y="120"/>
                    <a:pt x="375" y="120"/>
                    <a:pt x="375" y="121"/>
                  </a:cubicBezTo>
                  <a:cubicBezTo>
                    <a:pt x="377" y="121"/>
                    <a:pt x="380" y="123"/>
                    <a:pt x="383" y="125"/>
                  </a:cubicBezTo>
                  <a:cubicBezTo>
                    <a:pt x="386" y="127"/>
                    <a:pt x="389" y="129"/>
                    <a:pt x="392" y="129"/>
                  </a:cubicBezTo>
                  <a:cubicBezTo>
                    <a:pt x="393" y="130"/>
                    <a:pt x="395" y="130"/>
                    <a:pt x="396" y="130"/>
                  </a:cubicBezTo>
                  <a:cubicBezTo>
                    <a:pt x="397" y="130"/>
                    <a:pt x="399" y="130"/>
                    <a:pt x="399" y="130"/>
                  </a:cubicBezTo>
                  <a:cubicBezTo>
                    <a:pt x="403" y="131"/>
                    <a:pt x="410" y="136"/>
                    <a:pt x="413" y="139"/>
                  </a:cubicBezTo>
                  <a:cubicBezTo>
                    <a:pt x="415" y="140"/>
                    <a:pt x="416" y="143"/>
                    <a:pt x="418" y="145"/>
                  </a:cubicBezTo>
                  <a:cubicBezTo>
                    <a:pt x="420" y="149"/>
                    <a:pt x="422" y="152"/>
                    <a:pt x="424" y="154"/>
                  </a:cubicBezTo>
                  <a:cubicBezTo>
                    <a:pt x="426" y="156"/>
                    <a:pt x="429" y="157"/>
                    <a:pt x="433" y="158"/>
                  </a:cubicBezTo>
                  <a:cubicBezTo>
                    <a:pt x="436" y="159"/>
                    <a:pt x="439" y="160"/>
                    <a:pt x="440" y="161"/>
                  </a:cubicBezTo>
                  <a:cubicBezTo>
                    <a:pt x="441" y="162"/>
                    <a:pt x="442" y="165"/>
                    <a:pt x="443" y="168"/>
                  </a:cubicBezTo>
                  <a:cubicBezTo>
                    <a:pt x="443" y="168"/>
                    <a:pt x="443" y="169"/>
                    <a:pt x="443" y="170"/>
                  </a:cubicBezTo>
                  <a:cubicBezTo>
                    <a:pt x="443" y="172"/>
                    <a:pt x="443" y="174"/>
                    <a:pt x="444" y="176"/>
                  </a:cubicBezTo>
                  <a:cubicBezTo>
                    <a:pt x="446" y="180"/>
                    <a:pt x="452" y="183"/>
                    <a:pt x="457" y="185"/>
                  </a:cubicBezTo>
                  <a:cubicBezTo>
                    <a:pt x="461" y="187"/>
                    <a:pt x="464" y="189"/>
                    <a:pt x="466" y="191"/>
                  </a:cubicBezTo>
                  <a:cubicBezTo>
                    <a:pt x="467" y="191"/>
                    <a:pt x="468" y="193"/>
                    <a:pt x="469" y="194"/>
                  </a:cubicBezTo>
                  <a:cubicBezTo>
                    <a:pt x="470" y="196"/>
                    <a:pt x="471" y="198"/>
                    <a:pt x="473" y="200"/>
                  </a:cubicBezTo>
                  <a:cubicBezTo>
                    <a:pt x="474" y="200"/>
                    <a:pt x="475" y="201"/>
                    <a:pt x="477" y="201"/>
                  </a:cubicBezTo>
                  <a:cubicBezTo>
                    <a:pt x="478" y="202"/>
                    <a:pt x="479" y="202"/>
                    <a:pt x="480" y="202"/>
                  </a:cubicBezTo>
                  <a:cubicBezTo>
                    <a:pt x="480" y="203"/>
                    <a:pt x="481" y="204"/>
                    <a:pt x="481" y="205"/>
                  </a:cubicBezTo>
                  <a:cubicBezTo>
                    <a:pt x="482" y="207"/>
                    <a:pt x="483" y="209"/>
                    <a:pt x="484" y="210"/>
                  </a:cubicBezTo>
                  <a:cubicBezTo>
                    <a:pt x="486" y="211"/>
                    <a:pt x="491" y="212"/>
                    <a:pt x="493" y="212"/>
                  </a:cubicBezTo>
                  <a:cubicBezTo>
                    <a:pt x="495" y="213"/>
                    <a:pt x="497" y="212"/>
                    <a:pt x="500" y="212"/>
                  </a:cubicBezTo>
                  <a:cubicBezTo>
                    <a:pt x="503" y="211"/>
                    <a:pt x="507" y="211"/>
                    <a:pt x="507" y="211"/>
                  </a:cubicBezTo>
                  <a:cubicBezTo>
                    <a:pt x="510" y="212"/>
                    <a:pt x="516" y="217"/>
                    <a:pt x="517" y="220"/>
                  </a:cubicBezTo>
                  <a:cubicBezTo>
                    <a:pt x="517" y="221"/>
                    <a:pt x="517" y="222"/>
                    <a:pt x="517" y="223"/>
                  </a:cubicBezTo>
                  <a:cubicBezTo>
                    <a:pt x="517" y="224"/>
                    <a:pt x="517" y="226"/>
                    <a:pt x="517" y="227"/>
                  </a:cubicBezTo>
                  <a:cubicBezTo>
                    <a:pt x="518" y="230"/>
                    <a:pt x="522" y="234"/>
                    <a:pt x="524" y="236"/>
                  </a:cubicBezTo>
                  <a:cubicBezTo>
                    <a:pt x="525" y="236"/>
                    <a:pt x="527" y="237"/>
                    <a:pt x="528" y="237"/>
                  </a:cubicBezTo>
                  <a:cubicBezTo>
                    <a:pt x="529" y="238"/>
                    <a:pt x="531" y="238"/>
                    <a:pt x="531" y="239"/>
                  </a:cubicBezTo>
                  <a:cubicBezTo>
                    <a:pt x="532" y="239"/>
                    <a:pt x="531" y="241"/>
                    <a:pt x="531" y="242"/>
                  </a:cubicBezTo>
                  <a:cubicBezTo>
                    <a:pt x="531" y="243"/>
                    <a:pt x="531" y="245"/>
                    <a:pt x="532" y="246"/>
                  </a:cubicBezTo>
                  <a:cubicBezTo>
                    <a:pt x="532" y="246"/>
                    <a:pt x="532" y="247"/>
                    <a:pt x="533" y="248"/>
                  </a:cubicBezTo>
                  <a:cubicBezTo>
                    <a:pt x="533" y="248"/>
                    <a:pt x="533" y="249"/>
                    <a:pt x="533" y="249"/>
                  </a:cubicBezTo>
                  <a:cubicBezTo>
                    <a:pt x="534" y="252"/>
                    <a:pt x="534" y="256"/>
                    <a:pt x="534" y="261"/>
                  </a:cubicBezTo>
                  <a:cubicBezTo>
                    <a:pt x="534" y="265"/>
                    <a:pt x="534" y="269"/>
                    <a:pt x="535" y="272"/>
                  </a:cubicBezTo>
                  <a:cubicBezTo>
                    <a:pt x="535" y="273"/>
                    <a:pt x="535" y="274"/>
                    <a:pt x="536" y="275"/>
                  </a:cubicBezTo>
                  <a:cubicBezTo>
                    <a:pt x="536" y="276"/>
                    <a:pt x="537" y="278"/>
                    <a:pt x="537" y="279"/>
                  </a:cubicBezTo>
                  <a:cubicBezTo>
                    <a:pt x="537" y="280"/>
                    <a:pt x="536" y="285"/>
                    <a:pt x="536" y="286"/>
                  </a:cubicBezTo>
                  <a:cubicBezTo>
                    <a:pt x="536" y="288"/>
                    <a:pt x="522" y="324"/>
                    <a:pt x="521" y="331"/>
                  </a:cubicBezTo>
                  <a:cubicBezTo>
                    <a:pt x="521" y="334"/>
                    <a:pt x="521" y="336"/>
                    <a:pt x="521" y="340"/>
                  </a:cubicBezTo>
                  <a:cubicBezTo>
                    <a:pt x="521" y="342"/>
                    <a:pt x="521" y="345"/>
                    <a:pt x="521" y="347"/>
                  </a:cubicBezTo>
                  <a:cubicBezTo>
                    <a:pt x="521" y="348"/>
                    <a:pt x="520" y="349"/>
                    <a:pt x="520" y="351"/>
                  </a:cubicBezTo>
                  <a:cubicBezTo>
                    <a:pt x="518" y="354"/>
                    <a:pt x="517" y="357"/>
                    <a:pt x="518" y="359"/>
                  </a:cubicBezTo>
                  <a:cubicBezTo>
                    <a:pt x="518" y="360"/>
                    <a:pt x="517" y="362"/>
                    <a:pt x="517" y="364"/>
                  </a:cubicBezTo>
                  <a:cubicBezTo>
                    <a:pt x="515" y="369"/>
                    <a:pt x="514" y="373"/>
                    <a:pt x="516" y="375"/>
                  </a:cubicBezTo>
                  <a:cubicBezTo>
                    <a:pt x="518" y="377"/>
                    <a:pt x="529" y="383"/>
                    <a:pt x="534" y="383"/>
                  </a:cubicBezTo>
                  <a:cubicBezTo>
                    <a:pt x="535" y="383"/>
                    <a:pt x="536" y="383"/>
                    <a:pt x="537" y="382"/>
                  </a:cubicBezTo>
                  <a:cubicBezTo>
                    <a:pt x="539" y="380"/>
                    <a:pt x="538" y="376"/>
                    <a:pt x="537" y="371"/>
                  </a:cubicBezTo>
                  <a:cubicBezTo>
                    <a:pt x="537" y="369"/>
                    <a:pt x="536" y="366"/>
                    <a:pt x="536" y="365"/>
                  </a:cubicBezTo>
                  <a:cubicBezTo>
                    <a:pt x="538" y="365"/>
                    <a:pt x="544" y="371"/>
                    <a:pt x="546" y="374"/>
                  </a:cubicBezTo>
                  <a:cubicBezTo>
                    <a:pt x="546" y="375"/>
                    <a:pt x="546" y="378"/>
                    <a:pt x="549" y="378"/>
                  </a:cubicBezTo>
                  <a:cubicBezTo>
                    <a:pt x="549" y="378"/>
                    <a:pt x="549" y="378"/>
                    <a:pt x="549" y="378"/>
                  </a:cubicBezTo>
                  <a:cubicBezTo>
                    <a:pt x="552" y="378"/>
                    <a:pt x="553" y="377"/>
                    <a:pt x="554" y="375"/>
                  </a:cubicBezTo>
                  <a:cubicBezTo>
                    <a:pt x="556" y="373"/>
                    <a:pt x="557" y="370"/>
                    <a:pt x="557" y="368"/>
                  </a:cubicBezTo>
                  <a:cubicBezTo>
                    <a:pt x="555" y="363"/>
                    <a:pt x="547" y="354"/>
                    <a:pt x="544" y="351"/>
                  </a:cubicBezTo>
                  <a:cubicBezTo>
                    <a:pt x="544" y="350"/>
                    <a:pt x="544" y="349"/>
                    <a:pt x="544" y="349"/>
                  </a:cubicBezTo>
                  <a:cubicBezTo>
                    <a:pt x="544" y="347"/>
                    <a:pt x="545" y="345"/>
                    <a:pt x="544" y="344"/>
                  </a:cubicBezTo>
                  <a:cubicBezTo>
                    <a:pt x="543" y="342"/>
                    <a:pt x="543" y="341"/>
                    <a:pt x="543" y="341"/>
                  </a:cubicBezTo>
                  <a:cubicBezTo>
                    <a:pt x="543" y="340"/>
                    <a:pt x="544" y="340"/>
                    <a:pt x="544" y="340"/>
                  </a:cubicBezTo>
                  <a:cubicBezTo>
                    <a:pt x="544" y="340"/>
                    <a:pt x="545" y="340"/>
                    <a:pt x="545" y="340"/>
                  </a:cubicBezTo>
                  <a:cubicBezTo>
                    <a:pt x="547" y="340"/>
                    <a:pt x="550" y="342"/>
                    <a:pt x="552" y="344"/>
                  </a:cubicBezTo>
                  <a:cubicBezTo>
                    <a:pt x="554" y="346"/>
                    <a:pt x="557" y="347"/>
                    <a:pt x="558" y="348"/>
                  </a:cubicBezTo>
                  <a:cubicBezTo>
                    <a:pt x="560" y="348"/>
                    <a:pt x="564" y="348"/>
                    <a:pt x="567" y="348"/>
                  </a:cubicBezTo>
                  <a:cubicBezTo>
                    <a:pt x="567" y="348"/>
                    <a:pt x="567" y="348"/>
                    <a:pt x="568" y="348"/>
                  </a:cubicBezTo>
                  <a:cubicBezTo>
                    <a:pt x="570" y="350"/>
                    <a:pt x="572" y="353"/>
                    <a:pt x="573" y="354"/>
                  </a:cubicBezTo>
                  <a:cubicBezTo>
                    <a:pt x="574" y="355"/>
                    <a:pt x="574" y="358"/>
                    <a:pt x="574" y="359"/>
                  </a:cubicBezTo>
                  <a:cubicBezTo>
                    <a:pt x="574" y="362"/>
                    <a:pt x="570" y="366"/>
                    <a:pt x="568" y="370"/>
                  </a:cubicBezTo>
                  <a:cubicBezTo>
                    <a:pt x="565" y="374"/>
                    <a:pt x="562" y="378"/>
                    <a:pt x="561" y="381"/>
                  </a:cubicBezTo>
                  <a:cubicBezTo>
                    <a:pt x="561" y="382"/>
                    <a:pt x="561" y="384"/>
                    <a:pt x="561" y="386"/>
                  </a:cubicBezTo>
                  <a:cubicBezTo>
                    <a:pt x="560" y="388"/>
                    <a:pt x="560" y="391"/>
                    <a:pt x="560" y="392"/>
                  </a:cubicBezTo>
                  <a:cubicBezTo>
                    <a:pt x="558" y="394"/>
                    <a:pt x="555" y="394"/>
                    <a:pt x="553" y="394"/>
                  </a:cubicBezTo>
                  <a:cubicBezTo>
                    <a:pt x="550" y="394"/>
                    <a:pt x="548" y="394"/>
                    <a:pt x="548" y="394"/>
                  </a:cubicBezTo>
                  <a:cubicBezTo>
                    <a:pt x="547" y="393"/>
                    <a:pt x="546" y="393"/>
                    <a:pt x="546" y="394"/>
                  </a:cubicBezTo>
                  <a:cubicBezTo>
                    <a:pt x="545" y="394"/>
                    <a:pt x="544" y="395"/>
                    <a:pt x="544" y="397"/>
                  </a:cubicBezTo>
                  <a:cubicBezTo>
                    <a:pt x="543" y="401"/>
                    <a:pt x="547" y="407"/>
                    <a:pt x="548" y="409"/>
                  </a:cubicBezTo>
                  <a:cubicBezTo>
                    <a:pt x="550" y="411"/>
                    <a:pt x="553" y="412"/>
                    <a:pt x="557" y="413"/>
                  </a:cubicBezTo>
                  <a:cubicBezTo>
                    <a:pt x="559" y="414"/>
                    <a:pt x="562" y="415"/>
                    <a:pt x="563" y="416"/>
                  </a:cubicBezTo>
                  <a:cubicBezTo>
                    <a:pt x="564" y="417"/>
                    <a:pt x="566" y="420"/>
                    <a:pt x="566" y="421"/>
                  </a:cubicBezTo>
                  <a:cubicBezTo>
                    <a:pt x="566" y="421"/>
                    <a:pt x="566" y="421"/>
                    <a:pt x="566" y="422"/>
                  </a:cubicBezTo>
                  <a:cubicBezTo>
                    <a:pt x="566" y="422"/>
                    <a:pt x="565" y="423"/>
                    <a:pt x="565" y="425"/>
                  </a:cubicBezTo>
                  <a:cubicBezTo>
                    <a:pt x="566" y="431"/>
                    <a:pt x="572" y="437"/>
                    <a:pt x="578" y="443"/>
                  </a:cubicBezTo>
                  <a:cubicBezTo>
                    <a:pt x="580" y="445"/>
                    <a:pt x="583" y="448"/>
                    <a:pt x="584" y="449"/>
                  </a:cubicBezTo>
                  <a:cubicBezTo>
                    <a:pt x="585" y="450"/>
                    <a:pt x="585" y="451"/>
                    <a:pt x="586" y="452"/>
                  </a:cubicBezTo>
                  <a:cubicBezTo>
                    <a:pt x="587" y="454"/>
                    <a:pt x="588" y="456"/>
                    <a:pt x="589" y="457"/>
                  </a:cubicBezTo>
                  <a:cubicBezTo>
                    <a:pt x="590" y="458"/>
                    <a:pt x="590" y="460"/>
                    <a:pt x="591" y="463"/>
                  </a:cubicBezTo>
                  <a:cubicBezTo>
                    <a:pt x="592" y="467"/>
                    <a:pt x="592" y="471"/>
                    <a:pt x="595" y="472"/>
                  </a:cubicBezTo>
                  <a:cubicBezTo>
                    <a:pt x="597" y="474"/>
                    <a:pt x="601" y="475"/>
                    <a:pt x="604" y="475"/>
                  </a:cubicBezTo>
                  <a:cubicBezTo>
                    <a:pt x="604" y="475"/>
                    <a:pt x="604" y="475"/>
                    <a:pt x="604" y="475"/>
                  </a:cubicBezTo>
                  <a:cubicBezTo>
                    <a:pt x="605" y="475"/>
                    <a:pt x="606" y="475"/>
                    <a:pt x="608" y="475"/>
                  </a:cubicBezTo>
                  <a:cubicBezTo>
                    <a:pt x="609" y="474"/>
                    <a:pt x="610" y="474"/>
                    <a:pt x="610" y="474"/>
                  </a:cubicBezTo>
                  <a:cubicBezTo>
                    <a:pt x="610" y="474"/>
                    <a:pt x="611" y="474"/>
                    <a:pt x="611" y="474"/>
                  </a:cubicBezTo>
                  <a:cubicBezTo>
                    <a:pt x="611" y="475"/>
                    <a:pt x="612" y="476"/>
                    <a:pt x="614" y="476"/>
                  </a:cubicBezTo>
                  <a:cubicBezTo>
                    <a:pt x="614" y="476"/>
                    <a:pt x="615" y="476"/>
                    <a:pt x="616" y="475"/>
                  </a:cubicBezTo>
                  <a:cubicBezTo>
                    <a:pt x="617" y="474"/>
                    <a:pt x="621" y="467"/>
                    <a:pt x="621" y="464"/>
                  </a:cubicBezTo>
                  <a:cubicBezTo>
                    <a:pt x="621" y="462"/>
                    <a:pt x="620" y="461"/>
                    <a:pt x="619" y="461"/>
                  </a:cubicBezTo>
                  <a:cubicBezTo>
                    <a:pt x="618" y="460"/>
                    <a:pt x="617" y="459"/>
                    <a:pt x="616" y="459"/>
                  </a:cubicBezTo>
                  <a:cubicBezTo>
                    <a:pt x="617" y="459"/>
                    <a:pt x="617" y="459"/>
                    <a:pt x="617" y="459"/>
                  </a:cubicBezTo>
                  <a:cubicBezTo>
                    <a:pt x="617" y="459"/>
                    <a:pt x="618" y="459"/>
                    <a:pt x="618" y="459"/>
                  </a:cubicBezTo>
                  <a:cubicBezTo>
                    <a:pt x="621" y="459"/>
                    <a:pt x="624" y="457"/>
                    <a:pt x="626" y="455"/>
                  </a:cubicBezTo>
                  <a:cubicBezTo>
                    <a:pt x="628" y="454"/>
                    <a:pt x="630" y="452"/>
                    <a:pt x="631" y="452"/>
                  </a:cubicBezTo>
                  <a:cubicBezTo>
                    <a:pt x="631" y="452"/>
                    <a:pt x="632" y="452"/>
                    <a:pt x="632" y="453"/>
                  </a:cubicBezTo>
                  <a:cubicBezTo>
                    <a:pt x="632" y="453"/>
                    <a:pt x="632" y="453"/>
                    <a:pt x="631" y="454"/>
                  </a:cubicBezTo>
                  <a:cubicBezTo>
                    <a:pt x="631" y="455"/>
                    <a:pt x="627" y="460"/>
                    <a:pt x="628" y="463"/>
                  </a:cubicBezTo>
                  <a:cubicBezTo>
                    <a:pt x="628" y="464"/>
                    <a:pt x="628" y="464"/>
                    <a:pt x="627" y="464"/>
                  </a:cubicBezTo>
                  <a:cubicBezTo>
                    <a:pt x="626" y="465"/>
                    <a:pt x="625" y="466"/>
                    <a:pt x="625" y="469"/>
                  </a:cubicBezTo>
                  <a:cubicBezTo>
                    <a:pt x="625" y="471"/>
                    <a:pt x="626" y="475"/>
                    <a:pt x="626" y="477"/>
                  </a:cubicBezTo>
                  <a:cubicBezTo>
                    <a:pt x="626" y="479"/>
                    <a:pt x="625" y="486"/>
                    <a:pt x="630" y="491"/>
                  </a:cubicBezTo>
                  <a:cubicBezTo>
                    <a:pt x="631" y="492"/>
                    <a:pt x="632" y="492"/>
                    <a:pt x="634" y="492"/>
                  </a:cubicBezTo>
                  <a:cubicBezTo>
                    <a:pt x="636" y="492"/>
                    <a:pt x="638" y="492"/>
                    <a:pt x="640" y="491"/>
                  </a:cubicBezTo>
                  <a:cubicBezTo>
                    <a:pt x="643" y="489"/>
                    <a:pt x="647" y="484"/>
                    <a:pt x="648" y="482"/>
                  </a:cubicBezTo>
                  <a:cubicBezTo>
                    <a:pt x="649" y="481"/>
                    <a:pt x="650" y="480"/>
                    <a:pt x="650" y="479"/>
                  </a:cubicBezTo>
                  <a:cubicBezTo>
                    <a:pt x="650" y="481"/>
                    <a:pt x="649" y="482"/>
                    <a:pt x="649" y="485"/>
                  </a:cubicBezTo>
                  <a:cubicBezTo>
                    <a:pt x="648" y="486"/>
                    <a:pt x="648" y="487"/>
                    <a:pt x="648" y="489"/>
                  </a:cubicBezTo>
                  <a:cubicBezTo>
                    <a:pt x="648" y="490"/>
                    <a:pt x="648" y="492"/>
                    <a:pt x="648" y="492"/>
                  </a:cubicBezTo>
                  <a:cubicBezTo>
                    <a:pt x="648" y="493"/>
                    <a:pt x="646" y="494"/>
                    <a:pt x="646" y="495"/>
                  </a:cubicBezTo>
                  <a:cubicBezTo>
                    <a:pt x="644" y="496"/>
                    <a:pt x="642" y="498"/>
                    <a:pt x="642" y="500"/>
                  </a:cubicBezTo>
                  <a:cubicBezTo>
                    <a:pt x="642" y="502"/>
                    <a:pt x="642" y="505"/>
                    <a:pt x="643" y="506"/>
                  </a:cubicBezTo>
                  <a:cubicBezTo>
                    <a:pt x="645" y="508"/>
                    <a:pt x="647" y="508"/>
                    <a:pt x="649" y="509"/>
                  </a:cubicBezTo>
                  <a:cubicBezTo>
                    <a:pt x="650" y="509"/>
                    <a:pt x="651" y="509"/>
                    <a:pt x="651" y="509"/>
                  </a:cubicBezTo>
                  <a:cubicBezTo>
                    <a:pt x="653" y="510"/>
                    <a:pt x="656" y="513"/>
                    <a:pt x="657" y="515"/>
                  </a:cubicBezTo>
                  <a:cubicBezTo>
                    <a:pt x="659" y="518"/>
                    <a:pt x="660" y="523"/>
                    <a:pt x="661" y="529"/>
                  </a:cubicBezTo>
                  <a:cubicBezTo>
                    <a:pt x="663" y="534"/>
                    <a:pt x="664" y="539"/>
                    <a:pt x="665" y="543"/>
                  </a:cubicBezTo>
                  <a:cubicBezTo>
                    <a:pt x="668" y="547"/>
                    <a:pt x="674" y="555"/>
                    <a:pt x="678" y="559"/>
                  </a:cubicBezTo>
                  <a:cubicBezTo>
                    <a:pt x="679" y="559"/>
                    <a:pt x="679" y="559"/>
                    <a:pt x="679" y="560"/>
                  </a:cubicBezTo>
                  <a:cubicBezTo>
                    <a:pt x="680" y="561"/>
                    <a:pt x="681" y="562"/>
                    <a:pt x="684" y="566"/>
                  </a:cubicBezTo>
                  <a:cubicBezTo>
                    <a:pt x="685" y="568"/>
                    <a:pt x="689" y="567"/>
                    <a:pt x="692" y="565"/>
                  </a:cubicBezTo>
                  <a:cubicBezTo>
                    <a:pt x="692" y="565"/>
                    <a:pt x="693" y="564"/>
                    <a:pt x="694" y="564"/>
                  </a:cubicBezTo>
                  <a:cubicBezTo>
                    <a:pt x="696" y="564"/>
                    <a:pt x="698" y="565"/>
                    <a:pt x="700" y="565"/>
                  </a:cubicBezTo>
                  <a:cubicBezTo>
                    <a:pt x="701" y="565"/>
                    <a:pt x="701" y="565"/>
                    <a:pt x="701" y="565"/>
                  </a:cubicBezTo>
                  <a:cubicBezTo>
                    <a:pt x="702" y="565"/>
                    <a:pt x="704" y="565"/>
                    <a:pt x="705" y="566"/>
                  </a:cubicBezTo>
                  <a:cubicBezTo>
                    <a:pt x="707" y="566"/>
                    <a:pt x="707" y="566"/>
                    <a:pt x="707" y="566"/>
                  </a:cubicBezTo>
                  <a:cubicBezTo>
                    <a:pt x="710" y="567"/>
                    <a:pt x="717" y="569"/>
                    <a:pt x="718" y="571"/>
                  </a:cubicBezTo>
                  <a:cubicBezTo>
                    <a:pt x="719" y="571"/>
                    <a:pt x="719" y="572"/>
                    <a:pt x="719" y="573"/>
                  </a:cubicBezTo>
                  <a:cubicBezTo>
                    <a:pt x="719" y="575"/>
                    <a:pt x="719" y="576"/>
                    <a:pt x="720" y="578"/>
                  </a:cubicBezTo>
                  <a:cubicBezTo>
                    <a:pt x="721" y="579"/>
                    <a:pt x="723" y="580"/>
                    <a:pt x="725" y="582"/>
                  </a:cubicBezTo>
                  <a:cubicBezTo>
                    <a:pt x="726" y="582"/>
                    <a:pt x="727" y="583"/>
                    <a:pt x="728" y="584"/>
                  </a:cubicBezTo>
                  <a:cubicBezTo>
                    <a:pt x="730" y="586"/>
                    <a:pt x="735" y="593"/>
                    <a:pt x="737" y="596"/>
                  </a:cubicBezTo>
                  <a:cubicBezTo>
                    <a:pt x="738" y="598"/>
                    <a:pt x="740" y="598"/>
                    <a:pt x="740" y="598"/>
                  </a:cubicBezTo>
                  <a:cubicBezTo>
                    <a:pt x="743" y="602"/>
                    <a:pt x="749" y="610"/>
                    <a:pt x="754" y="613"/>
                  </a:cubicBezTo>
                  <a:cubicBezTo>
                    <a:pt x="756" y="615"/>
                    <a:pt x="760" y="616"/>
                    <a:pt x="762" y="616"/>
                  </a:cubicBezTo>
                  <a:cubicBezTo>
                    <a:pt x="763" y="616"/>
                    <a:pt x="764" y="616"/>
                    <a:pt x="766" y="616"/>
                  </a:cubicBezTo>
                  <a:cubicBezTo>
                    <a:pt x="767" y="616"/>
                    <a:pt x="769" y="616"/>
                    <a:pt x="769" y="616"/>
                  </a:cubicBezTo>
                  <a:cubicBezTo>
                    <a:pt x="771" y="617"/>
                    <a:pt x="774" y="619"/>
                    <a:pt x="775" y="620"/>
                  </a:cubicBezTo>
                  <a:cubicBezTo>
                    <a:pt x="775" y="621"/>
                    <a:pt x="773" y="624"/>
                    <a:pt x="772" y="624"/>
                  </a:cubicBezTo>
                  <a:cubicBezTo>
                    <a:pt x="768" y="625"/>
                    <a:pt x="765" y="625"/>
                    <a:pt x="765" y="625"/>
                  </a:cubicBezTo>
                  <a:cubicBezTo>
                    <a:pt x="764" y="625"/>
                    <a:pt x="763" y="624"/>
                    <a:pt x="763" y="623"/>
                  </a:cubicBezTo>
                  <a:cubicBezTo>
                    <a:pt x="761" y="621"/>
                    <a:pt x="759" y="619"/>
                    <a:pt x="756" y="619"/>
                  </a:cubicBezTo>
                  <a:cubicBezTo>
                    <a:pt x="751" y="619"/>
                    <a:pt x="748" y="634"/>
                    <a:pt x="748" y="634"/>
                  </a:cubicBezTo>
                  <a:cubicBezTo>
                    <a:pt x="748" y="635"/>
                    <a:pt x="748" y="638"/>
                    <a:pt x="751" y="638"/>
                  </a:cubicBezTo>
                  <a:cubicBezTo>
                    <a:pt x="755" y="644"/>
                    <a:pt x="757" y="646"/>
                    <a:pt x="760" y="647"/>
                  </a:cubicBezTo>
                  <a:cubicBezTo>
                    <a:pt x="761" y="647"/>
                    <a:pt x="761" y="647"/>
                    <a:pt x="762" y="647"/>
                  </a:cubicBezTo>
                  <a:cubicBezTo>
                    <a:pt x="766" y="647"/>
                    <a:pt x="771" y="645"/>
                    <a:pt x="775" y="643"/>
                  </a:cubicBezTo>
                  <a:cubicBezTo>
                    <a:pt x="777" y="642"/>
                    <a:pt x="777" y="642"/>
                    <a:pt x="777" y="642"/>
                  </a:cubicBezTo>
                  <a:cubicBezTo>
                    <a:pt x="778" y="641"/>
                    <a:pt x="779" y="640"/>
                    <a:pt x="781" y="639"/>
                  </a:cubicBezTo>
                  <a:cubicBezTo>
                    <a:pt x="782" y="638"/>
                    <a:pt x="784" y="637"/>
                    <a:pt x="786" y="636"/>
                  </a:cubicBezTo>
                  <a:cubicBezTo>
                    <a:pt x="787" y="636"/>
                    <a:pt x="788" y="637"/>
                    <a:pt x="789" y="637"/>
                  </a:cubicBezTo>
                  <a:cubicBezTo>
                    <a:pt x="790" y="637"/>
                    <a:pt x="791" y="638"/>
                    <a:pt x="792" y="638"/>
                  </a:cubicBezTo>
                  <a:cubicBezTo>
                    <a:pt x="794" y="638"/>
                    <a:pt x="799" y="638"/>
                    <a:pt x="801" y="638"/>
                  </a:cubicBezTo>
                  <a:cubicBezTo>
                    <a:pt x="803" y="637"/>
                    <a:pt x="807" y="635"/>
                    <a:pt x="809" y="634"/>
                  </a:cubicBezTo>
                  <a:cubicBezTo>
                    <a:pt x="811" y="632"/>
                    <a:pt x="814" y="628"/>
                    <a:pt x="815" y="626"/>
                  </a:cubicBezTo>
                  <a:cubicBezTo>
                    <a:pt x="817" y="624"/>
                    <a:pt x="819" y="624"/>
                    <a:pt x="822" y="624"/>
                  </a:cubicBezTo>
                  <a:cubicBezTo>
                    <a:pt x="823" y="624"/>
                    <a:pt x="824" y="624"/>
                    <a:pt x="824" y="623"/>
                  </a:cubicBezTo>
                  <a:cubicBezTo>
                    <a:pt x="827" y="623"/>
                    <a:pt x="831" y="621"/>
                    <a:pt x="832" y="619"/>
                  </a:cubicBezTo>
                  <a:cubicBezTo>
                    <a:pt x="834" y="617"/>
                    <a:pt x="835" y="613"/>
                    <a:pt x="836" y="611"/>
                  </a:cubicBezTo>
                  <a:cubicBezTo>
                    <a:pt x="837" y="609"/>
                    <a:pt x="841" y="605"/>
                    <a:pt x="841" y="603"/>
                  </a:cubicBezTo>
                  <a:cubicBezTo>
                    <a:pt x="841" y="600"/>
                    <a:pt x="840" y="597"/>
                    <a:pt x="838" y="594"/>
                  </a:cubicBezTo>
                  <a:cubicBezTo>
                    <a:pt x="837" y="592"/>
                    <a:pt x="836" y="589"/>
                    <a:pt x="836" y="588"/>
                  </a:cubicBezTo>
                  <a:cubicBezTo>
                    <a:pt x="836" y="588"/>
                    <a:pt x="836" y="587"/>
                    <a:pt x="837" y="587"/>
                  </a:cubicBezTo>
                  <a:cubicBezTo>
                    <a:pt x="837" y="586"/>
                    <a:pt x="838" y="585"/>
                    <a:pt x="838" y="584"/>
                  </a:cubicBezTo>
                  <a:cubicBezTo>
                    <a:pt x="838" y="582"/>
                    <a:pt x="838" y="581"/>
                    <a:pt x="837" y="579"/>
                  </a:cubicBezTo>
                  <a:cubicBezTo>
                    <a:pt x="837" y="578"/>
                    <a:pt x="837" y="577"/>
                    <a:pt x="837" y="577"/>
                  </a:cubicBezTo>
                  <a:cubicBezTo>
                    <a:pt x="837" y="576"/>
                    <a:pt x="838" y="574"/>
                    <a:pt x="838" y="573"/>
                  </a:cubicBezTo>
                  <a:cubicBezTo>
                    <a:pt x="839" y="572"/>
                    <a:pt x="840" y="570"/>
                    <a:pt x="840" y="569"/>
                  </a:cubicBezTo>
                  <a:cubicBezTo>
                    <a:pt x="840" y="568"/>
                    <a:pt x="840" y="567"/>
                    <a:pt x="840" y="565"/>
                  </a:cubicBezTo>
                  <a:cubicBezTo>
                    <a:pt x="840" y="564"/>
                    <a:pt x="841" y="563"/>
                    <a:pt x="841" y="562"/>
                  </a:cubicBezTo>
                  <a:cubicBezTo>
                    <a:pt x="841" y="562"/>
                    <a:pt x="842" y="561"/>
                    <a:pt x="843" y="560"/>
                  </a:cubicBezTo>
                  <a:cubicBezTo>
                    <a:pt x="844" y="559"/>
                    <a:pt x="846" y="557"/>
                    <a:pt x="847" y="555"/>
                  </a:cubicBezTo>
                  <a:cubicBezTo>
                    <a:pt x="847" y="554"/>
                    <a:pt x="847" y="552"/>
                    <a:pt x="846" y="550"/>
                  </a:cubicBezTo>
                  <a:cubicBezTo>
                    <a:pt x="846" y="550"/>
                    <a:pt x="846" y="549"/>
                    <a:pt x="846" y="549"/>
                  </a:cubicBezTo>
                  <a:cubicBezTo>
                    <a:pt x="847" y="549"/>
                    <a:pt x="848" y="550"/>
                    <a:pt x="849" y="550"/>
                  </a:cubicBezTo>
                  <a:cubicBezTo>
                    <a:pt x="849" y="550"/>
                    <a:pt x="849" y="550"/>
                    <a:pt x="849" y="550"/>
                  </a:cubicBezTo>
                  <a:cubicBezTo>
                    <a:pt x="853" y="549"/>
                    <a:pt x="852" y="544"/>
                    <a:pt x="852" y="541"/>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32">
              <a:extLst>
                <a:ext uri="{FF2B5EF4-FFF2-40B4-BE49-F238E27FC236}">
                  <a16:creationId xmlns:a16="http://schemas.microsoft.com/office/drawing/2014/main" id="{8B98B2BA-9B22-41C5-9C4C-368B6FD4867F}"/>
                </a:ext>
              </a:extLst>
            </p:cNvPr>
            <p:cNvSpPr>
              <a:spLocks/>
            </p:cNvSpPr>
            <p:nvPr/>
          </p:nvSpPr>
          <p:spPr bwMode="auto">
            <a:xfrm>
              <a:off x="6907410" y="3942544"/>
              <a:ext cx="408333" cy="660004"/>
            </a:xfrm>
            <a:custGeom>
              <a:avLst/>
              <a:gdLst>
                <a:gd name="T0" fmla="*/ 360 w 367"/>
                <a:gd name="T1" fmla="*/ 445 h 594"/>
                <a:gd name="T2" fmla="*/ 352 w 367"/>
                <a:gd name="T3" fmla="*/ 431 h 594"/>
                <a:gd name="T4" fmla="*/ 354 w 367"/>
                <a:gd name="T5" fmla="*/ 415 h 594"/>
                <a:gd name="T6" fmla="*/ 355 w 367"/>
                <a:gd name="T7" fmla="*/ 406 h 594"/>
                <a:gd name="T8" fmla="*/ 352 w 367"/>
                <a:gd name="T9" fmla="*/ 388 h 594"/>
                <a:gd name="T10" fmla="*/ 342 w 367"/>
                <a:gd name="T11" fmla="*/ 367 h 594"/>
                <a:gd name="T12" fmla="*/ 346 w 367"/>
                <a:gd name="T13" fmla="*/ 346 h 594"/>
                <a:gd name="T14" fmla="*/ 346 w 367"/>
                <a:gd name="T15" fmla="*/ 331 h 594"/>
                <a:gd name="T16" fmla="*/ 357 w 367"/>
                <a:gd name="T17" fmla="*/ 319 h 594"/>
                <a:gd name="T18" fmla="*/ 351 w 367"/>
                <a:gd name="T19" fmla="*/ 307 h 594"/>
                <a:gd name="T20" fmla="*/ 349 w 367"/>
                <a:gd name="T21" fmla="*/ 301 h 594"/>
                <a:gd name="T22" fmla="*/ 346 w 367"/>
                <a:gd name="T23" fmla="*/ 286 h 594"/>
                <a:gd name="T24" fmla="*/ 340 w 367"/>
                <a:gd name="T25" fmla="*/ 278 h 594"/>
                <a:gd name="T26" fmla="*/ 330 w 367"/>
                <a:gd name="T27" fmla="*/ 260 h 594"/>
                <a:gd name="T28" fmla="*/ 325 w 367"/>
                <a:gd name="T29" fmla="*/ 252 h 594"/>
                <a:gd name="T30" fmla="*/ 322 w 367"/>
                <a:gd name="T31" fmla="*/ 244 h 594"/>
                <a:gd name="T32" fmla="*/ 285 w 367"/>
                <a:gd name="T33" fmla="*/ 113 h 594"/>
                <a:gd name="T34" fmla="*/ 247 w 367"/>
                <a:gd name="T35" fmla="*/ 0 h 594"/>
                <a:gd name="T36" fmla="*/ 4 w 367"/>
                <a:gd name="T37" fmla="*/ 23 h 594"/>
                <a:gd name="T38" fmla="*/ 1 w 367"/>
                <a:gd name="T39" fmla="*/ 31 h 594"/>
                <a:gd name="T40" fmla="*/ 13 w 367"/>
                <a:gd name="T41" fmla="*/ 39 h 594"/>
                <a:gd name="T42" fmla="*/ 30 w 367"/>
                <a:gd name="T43" fmla="*/ 566 h 594"/>
                <a:gd name="T44" fmla="*/ 32 w 367"/>
                <a:gd name="T45" fmla="*/ 572 h 594"/>
                <a:gd name="T46" fmla="*/ 40 w 367"/>
                <a:gd name="T47" fmla="*/ 570 h 594"/>
                <a:gd name="T48" fmla="*/ 54 w 367"/>
                <a:gd name="T49" fmla="*/ 573 h 594"/>
                <a:gd name="T50" fmla="*/ 64 w 367"/>
                <a:gd name="T51" fmla="*/ 573 h 594"/>
                <a:gd name="T52" fmla="*/ 67 w 367"/>
                <a:gd name="T53" fmla="*/ 536 h 594"/>
                <a:gd name="T54" fmla="*/ 74 w 367"/>
                <a:gd name="T55" fmla="*/ 535 h 594"/>
                <a:gd name="T56" fmla="*/ 78 w 367"/>
                <a:gd name="T57" fmla="*/ 547 h 594"/>
                <a:gd name="T58" fmla="*/ 75 w 367"/>
                <a:gd name="T59" fmla="*/ 554 h 594"/>
                <a:gd name="T60" fmla="*/ 90 w 367"/>
                <a:gd name="T61" fmla="*/ 568 h 594"/>
                <a:gd name="T62" fmla="*/ 92 w 367"/>
                <a:gd name="T63" fmla="*/ 567 h 594"/>
                <a:gd name="T64" fmla="*/ 93 w 367"/>
                <a:gd name="T65" fmla="*/ 575 h 594"/>
                <a:gd name="T66" fmla="*/ 85 w 367"/>
                <a:gd name="T67" fmla="*/ 577 h 594"/>
                <a:gd name="T68" fmla="*/ 73 w 367"/>
                <a:gd name="T69" fmla="*/ 586 h 594"/>
                <a:gd name="T70" fmla="*/ 81 w 367"/>
                <a:gd name="T71" fmla="*/ 594 h 594"/>
                <a:gd name="T72" fmla="*/ 105 w 367"/>
                <a:gd name="T73" fmla="*/ 587 h 594"/>
                <a:gd name="T74" fmla="*/ 114 w 367"/>
                <a:gd name="T75" fmla="*/ 583 h 594"/>
                <a:gd name="T76" fmla="*/ 117 w 367"/>
                <a:gd name="T77" fmla="*/ 570 h 594"/>
                <a:gd name="T78" fmla="*/ 128 w 367"/>
                <a:gd name="T79" fmla="*/ 562 h 594"/>
                <a:gd name="T80" fmla="*/ 131 w 367"/>
                <a:gd name="T81" fmla="*/ 548 h 594"/>
                <a:gd name="T82" fmla="*/ 129 w 367"/>
                <a:gd name="T83" fmla="*/ 542 h 594"/>
                <a:gd name="T84" fmla="*/ 130 w 367"/>
                <a:gd name="T85" fmla="*/ 538 h 594"/>
                <a:gd name="T86" fmla="*/ 126 w 367"/>
                <a:gd name="T87" fmla="*/ 522 h 594"/>
                <a:gd name="T88" fmla="*/ 118 w 367"/>
                <a:gd name="T89" fmla="*/ 518 h 594"/>
                <a:gd name="T90" fmla="*/ 110 w 367"/>
                <a:gd name="T91" fmla="*/ 497 h 594"/>
                <a:gd name="T92" fmla="*/ 119 w 367"/>
                <a:gd name="T93" fmla="*/ 492 h 594"/>
                <a:gd name="T94" fmla="*/ 364 w 367"/>
                <a:gd name="T95" fmla="*/ 464 h 594"/>
                <a:gd name="T96" fmla="*/ 367 w 367"/>
                <a:gd name="T97" fmla="*/ 45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7" h="594">
                  <a:moveTo>
                    <a:pt x="366" y="457"/>
                  </a:moveTo>
                  <a:cubicBezTo>
                    <a:pt x="360" y="445"/>
                    <a:pt x="360" y="445"/>
                    <a:pt x="360" y="445"/>
                  </a:cubicBezTo>
                  <a:cubicBezTo>
                    <a:pt x="354" y="438"/>
                    <a:pt x="354" y="438"/>
                    <a:pt x="354" y="438"/>
                  </a:cubicBezTo>
                  <a:cubicBezTo>
                    <a:pt x="352" y="431"/>
                    <a:pt x="352" y="431"/>
                    <a:pt x="352" y="431"/>
                  </a:cubicBezTo>
                  <a:cubicBezTo>
                    <a:pt x="354" y="415"/>
                    <a:pt x="354" y="415"/>
                    <a:pt x="354" y="415"/>
                  </a:cubicBezTo>
                  <a:cubicBezTo>
                    <a:pt x="354" y="415"/>
                    <a:pt x="354" y="415"/>
                    <a:pt x="354" y="415"/>
                  </a:cubicBezTo>
                  <a:cubicBezTo>
                    <a:pt x="354" y="412"/>
                    <a:pt x="354" y="409"/>
                    <a:pt x="354" y="408"/>
                  </a:cubicBezTo>
                  <a:cubicBezTo>
                    <a:pt x="354" y="408"/>
                    <a:pt x="354" y="407"/>
                    <a:pt x="355" y="406"/>
                  </a:cubicBezTo>
                  <a:cubicBezTo>
                    <a:pt x="355" y="404"/>
                    <a:pt x="356" y="402"/>
                    <a:pt x="356" y="401"/>
                  </a:cubicBezTo>
                  <a:cubicBezTo>
                    <a:pt x="356" y="397"/>
                    <a:pt x="353" y="390"/>
                    <a:pt x="352" y="388"/>
                  </a:cubicBezTo>
                  <a:cubicBezTo>
                    <a:pt x="346" y="381"/>
                    <a:pt x="346" y="381"/>
                    <a:pt x="346" y="381"/>
                  </a:cubicBezTo>
                  <a:cubicBezTo>
                    <a:pt x="342" y="367"/>
                    <a:pt x="342" y="367"/>
                    <a:pt x="342" y="367"/>
                  </a:cubicBezTo>
                  <a:cubicBezTo>
                    <a:pt x="343" y="354"/>
                    <a:pt x="343" y="354"/>
                    <a:pt x="343" y="354"/>
                  </a:cubicBezTo>
                  <a:cubicBezTo>
                    <a:pt x="346" y="346"/>
                    <a:pt x="346" y="346"/>
                    <a:pt x="346" y="346"/>
                  </a:cubicBezTo>
                  <a:cubicBezTo>
                    <a:pt x="346" y="346"/>
                    <a:pt x="347" y="345"/>
                    <a:pt x="346" y="345"/>
                  </a:cubicBezTo>
                  <a:cubicBezTo>
                    <a:pt x="346" y="331"/>
                    <a:pt x="346" y="331"/>
                    <a:pt x="346" y="331"/>
                  </a:cubicBezTo>
                  <a:cubicBezTo>
                    <a:pt x="349" y="325"/>
                    <a:pt x="349" y="325"/>
                    <a:pt x="349" y="325"/>
                  </a:cubicBezTo>
                  <a:cubicBezTo>
                    <a:pt x="352" y="324"/>
                    <a:pt x="356" y="321"/>
                    <a:pt x="357" y="319"/>
                  </a:cubicBezTo>
                  <a:cubicBezTo>
                    <a:pt x="358" y="316"/>
                    <a:pt x="357" y="311"/>
                    <a:pt x="355" y="309"/>
                  </a:cubicBezTo>
                  <a:cubicBezTo>
                    <a:pt x="354" y="308"/>
                    <a:pt x="353" y="307"/>
                    <a:pt x="351" y="307"/>
                  </a:cubicBezTo>
                  <a:cubicBezTo>
                    <a:pt x="350" y="306"/>
                    <a:pt x="349" y="306"/>
                    <a:pt x="348" y="306"/>
                  </a:cubicBezTo>
                  <a:cubicBezTo>
                    <a:pt x="348" y="305"/>
                    <a:pt x="349" y="302"/>
                    <a:pt x="349" y="301"/>
                  </a:cubicBezTo>
                  <a:cubicBezTo>
                    <a:pt x="350" y="299"/>
                    <a:pt x="350" y="297"/>
                    <a:pt x="350" y="295"/>
                  </a:cubicBezTo>
                  <a:cubicBezTo>
                    <a:pt x="350" y="293"/>
                    <a:pt x="347" y="287"/>
                    <a:pt x="346" y="286"/>
                  </a:cubicBezTo>
                  <a:cubicBezTo>
                    <a:pt x="346" y="285"/>
                    <a:pt x="345" y="283"/>
                    <a:pt x="345" y="282"/>
                  </a:cubicBezTo>
                  <a:cubicBezTo>
                    <a:pt x="343" y="281"/>
                    <a:pt x="342" y="279"/>
                    <a:pt x="340" y="278"/>
                  </a:cubicBezTo>
                  <a:cubicBezTo>
                    <a:pt x="338" y="276"/>
                    <a:pt x="336" y="275"/>
                    <a:pt x="335" y="274"/>
                  </a:cubicBezTo>
                  <a:cubicBezTo>
                    <a:pt x="334" y="272"/>
                    <a:pt x="331" y="264"/>
                    <a:pt x="330" y="260"/>
                  </a:cubicBezTo>
                  <a:cubicBezTo>
                    <a:pt x="330" y="260"/>
                    <a:pt x="330" y="259"/>
                    <a:pt x="329" y="259"/>
                  </a:cubicBezTo>
                  <a:cubicBezTo>
                    <a:pt x="328" y="257"/>
                    <a:pt x="325" y="253"/>
                    <a:pt x="325" y="252"/>
                  </a:cubicBezTo>
                  <a:cubicBezTo>
                    <a:pt x="324" y="251"/>
                    <a:pt x="323" y="247"/>
                    <a:pt x="323" y="244"/>
                  </a:cubicBezTo>
                  <a:cubicBezTo>
                    <a:pt x="323" y="244"/>
                    <a:pt x="322" y="244"/>
                    <a:pt x="322" y="244"/>
                  </a:cubicBezTo>
                  <a:cubicBezTo>
                    <a:pt x="320" y="240"/>
                    <a:pt x="320" y="240"/>
                    <a:pt x="320" y="240"/>
                  </a:cubicBezTo>
                  <a:cubicBezTo>
                    <a:pt x="285" y="113"/>
                    <a:pt x="285" y="113"/>
                    <a:pt x="285" y="113"/>
                  </a:cubicBezTo>
                  <a:cubicBezTo>
                    <a:pt x="250" y="2"/>
                    <a:pt x="250" y="2"/>
                    <a:pt x="250" y="2"/>
                  </a:cubicBezTo>
                  <a:cubicBezTo>
                    <a:pt x="249" y="1"/>
                    <a:pt x="248" y="0"/>
                    <a:pt x="247" y="0"/>
                  </a:cubicBezTo>
                  <a:cubicBezTo>
                    <a:pt x="141" y="12"/>
                    <a:pt x="141" y="12"/>
                    <a:pt x="141" y="12"/>
                  </a:cubicBezTo>
                  <a:cubicBezTo>
                    <a:pt x="4" y="23"/>
                    <a:pt x="4" y="23"/>
                    <a:pt x="4" y="23"/>
                  </a:cubicBezTo>
                  <a:cubicBezTo>
                    <a:pt x="3" y="23"/>
                    <a:pt x="3" y="24"/>
                    <a:pt x="2" y="24"/>
                  </a:cubicBezTo>
                  <a:cubicBezTo>
                    <a:pt x="2" y="24"/>
                    <a:pt x="0" y="28"/>
                    <a:pt x="1" y="31"/>
                  </a:cubicBezTo>
                  <a:cubicBezTo>
                    <a:pt x="2" y="33"/>
                    <a:pt x="4" y="35"/>
                    <a:pt x="8" y="36"/>
                  </a:cubicBezTo>
                  <a:cubicBezTo>
                    <a:pt x="13" y="39"/>
                    <a:pt x="13" y="39"/>
                    <a:pt x="13" y="39"/>
                  </a:cubicBezTo>
                  <a:cubicBezTo>
                    <a:pt x="7" y="392"/>
                    <a:pt x="7" y="392"/>
                    <a:pt x="7" y="392"/>
                  </a:cubicBezTo>
                  <a:cubicBezTo>
                    <a:pt x="30" y="566"/>
                    <a:pt x="30" y="566"/>
                    <a:pt x="30" y="566"/>
                  </a:cubicBezTo>
                  <a:cubicBezTo>
                    <a:pt x="31" y="570"/>
                    <a:pt x="31" y="570"/>
                    <a:pt x="31" y="570"/>
                  </a:cubicBezTo>
                  <a:cubicBezTo>
                    <a:pt x="31" y="571"/>
                    <a:pt x="31" y="571"/>
                    <a:pt x="32" y="572"/>
                  </a:cubicBezTo>
                  <a:cubicBezTo>
                    <a:pt x="32" y="572"/>
                    <a:pt x="33" y="572"/>
                    <a:pt x="34" y="572"/>
                  </a:cubicBezTo>
                  <a:cubicBezTo>
                    <a:pt x="36" y="571"/>
                    <a:pt x="39" y="570"/>
                    <a:pt x="40" y="570"/>
                  </a:cubicBezTo>
                  <a:cubicBezTo>
                    <a:pt x="42" y="570"/>
                    <a:pt x="46" y="571"/>
                    <a:pt x="48" y="572"/>
                  </a:cubicBezTo>
                  <a:cubicBezTo>
                    <a:pt x="51" y="573"/>
                    <a:pt x="53" y="573"/>
                    <a:pt x="54" y="573"/>
                  </a:cubicBezTo>
                  <a:cubicBezTo>
                    <a:pt x="56" y="574"/>
                    <a:pt x="56" y="574"/>
                    <a:pt x="56" y="574"/>
                  </a:cubicBezTo>
                  <a:cubicBezTo>
                    <a:pt x="58" y="574"/>
                    <a:pt x="62" y="574"/>
                    <a:pt x="64" y="573"/>
                  </a:cubicBezTo>
                  <a:cubicBezTo>
                    <a:pt x="69" y="568"/>
                    <a:pt x="67" y="549"/>
                    <a:pt x="66" y="544"/>
                  </a:cubicBezTo>
                  <a:cubicBezTo>
                    <a:pt x="66" y="543"/>
                    <a:pt x="67" y="538"/>
                    <a:pt x="67" y="536"/>
                  </a:cubicBezTo>
                  <a:cubicBezTo>
                    <a:pt x="67" y="535"/>
                    <a:pt x="68" y="532"/>
                    <a:pt x="69" y="532"/>
                  </a:cubicBezTo>
                  <a:cubicBezTo>
                    <a:pt x="70" y="532"/>
                    <a:pt x="72" y="534"/>
                    <a:pt x="74" y="535"/>
                  </a:cubicBezTo>
                  <a:cubicBezTo>
                    <a:pt x="74" y="535"/>
                    <a:pt x="76" y="538"/>
                    <a:pt x="77" y="541"/>
                  </a:cubicBezTo>
                  <a:cubicBezTo>
                    <a:pt x="78" y="543"/>
                    <a:pt x="78" y="546"/>
                    <a:pt x="78" y="547"/>
                  </a:cubicBezTo>
                  <a:cubicBezTo>
                    <a:pt x="78" y="547"/>
                    <a:pt x="78" y="548"/>
                    <a:pt x="77" y="549"/>
                  </a:cubicBezTo>
                  <a:cubicBezTo>
                    <a:pt x="76" y="551"/>
                    <a:pt x="75" y="553"/>
                    <a:pt x="75" y="554"/>
                  </a:cubicBezTo>
                  <a:cubicBezTo>
                    <a:pt x="75" y="557"/>
                    <a:pt x="78" y="561"/>
                    <a:pt x="80" y="563"/>
                  </a:cubicBezTo>
                  <a:cubicBezTo>
                    <a:pt x="81" y="565"/>
                    <a:pt x="86" y="568"/>
                    <a:pt x="90" y="568"/>
                  </a:cubicBezTo>
                  <a:cubicBezTo>
                    <a:pt x="90" y="568"/>
                    <a:pt x="90" y="568"/>
                    <a:pt x="90" y="568"/>
                  </a:cubicBezTo>
                  <a:cubicBezTo>
                    <a:pt x="90" y="568"/>
                    <a:pt x="91" y="568"/>
                    <a:pt x="92" y="567"/>
                  </a:cubicBezTo>
                  <a:cubicBezTo>
                    <a:pt x="93" y="568"/>
                    <a:pt x="94" y="571"/>
                    <a:pt x="94" y="573"/>
                  </a:cubicBezTo>
                  <a:cubicBezTo>
                    <a:pt x="94" y="573"/>
                    <a:pt x="94" y="574"/>
                    <a:pt x="93" y="575"/>
                  </a:cubicBezTo>
                  <a:cubicBezTo>
                    <a:pt x="93" y="576"/>
                    <a:pt x="90" y="577"/>
                    <a:pt x="87" y="577"/>
                  </a:cubicBezTo>
                  <a:cubicBezTo>
                    <a:pt x="86" y="577"/>
                    <a:pt x="86" y="577"/>
                    <a:pt x="85" y="577"/>
                  </a:cubicBezTo>
                  <a:cubicBezTo>
                    <a:pt x="83" y="576"/>
                    <a:pt x="80" y="576"/>
                    <a:pt x="79" y="576"/>
                  </a:cubicBezTo>
                  <a:cubicBezTo>
                    <a:pt x="76" y="578"/>
                    <a:pt x="73" y="583"/>
                    <a:pt x="73" y="586"/>
                  </a:cubicBezTo>
                  <a:cubicBezTo>
                    <a:pt x="72" y="588"/>
                    <a:pt x="72" y="590"/>
                    <a:pt x="73" y="591"/>
                  </a:cubicBezTo>
                  <a:cubicBezTo>
                    <a:pt x="74" y="593"/>
                    <a:pt x="77" y="594"/>
                    <a:pt x="81" y="594"/>
                  </a:cubicBezTo>
                  <a:cubicBezTo>
                    <a:pt x="87" y="594"/>
                    <a:pt x="97" y="590"/>
                    <a:pt x="103" y="587"/>
                  </a:cubicBezTo>
                  <a:cubicBezTo>
                    <a:pt x="105" y="587"/>
                    <a:pt x="105" y="587"/>
                    <a:pt x="105" y="587"/>
                  </a:cubicBezTo>
                  <a:cubicBezTo>
                    <a:pt x="106" y="586"/>
                    <a:pt x="107" y="586"/>
                    <a:pt x="108" y="586"/>
                  </a:cubicBezTo>
                  <a:cubicBezTo>
                    <a:pt x="110" y="585"/>
                    <a:pt x="113" y="585"/>
                    <a:pt x="114" y="583"/>
                  </a:cubicBezTo>
                  <a:cubicBezTo>
                    <a:pt x="117" y="580"/>
                    <a:pt x="118" y="574"/>
                    <a:pt x="117" y="570"/>
                  </a:cubicBezTo>
                  <a:cubicBezTo>
                    <a:pt x="117" y="570"/>
                    <a:pt x="117" y="570"/>
                    <a:pt x="117" y="570"/>
                  </a:cubicBezTo>
                  <a:cubicBezTo>
                    <a:pt x="118" y="570"/>
                    <a:pt x="118" y="570"/>
                    <a:pt x="119" y="570"/>
                  </a:cubicBezTo>
                  <a:cubicBezTo>
                    <a:pt x="122" y="569"/>
                    <a:pt x="126" y="565"/>
                    <a:pt x="128" y="562"/>
                  </a:cubicBezTo>
                  <a:cubicBezTo>
                    <a:pt x="130" y="558"/>
                    <a:pt x="132" y="553"/>
                    <a:pt x="131" y="549"/>
                  </a:cubicBezTo>
                  <a:cubicBezTo>
                    <a:pt x="131" y="549"/>
                    <a:pt x="131" y="548"/>
                    <a:pt x="131" y="548"/>
                  </a:cubicBezTo>
                  <a:cubicBezTo>
                    <a:pt x="131" y="547"/>
                    <a:pt x="132" y="546"/>
                    <a:pt x="131" y="545"/>
                  </a:cubicBezTo>
                  <a:cubicBezTo>
                    <a:pt x="131" y="544"/>
                    <a:pt x="130" y="543"/>
                    <a:pt x="129" y="542"/>
                  </a:cubicBezTo>
                  <a:cubicBezTo>
                    <a:pt x="129" y="542"/>
                    <a:pt x="128" y="541"/>
                    <a:pt x="128" y="541"/>
                  </a:cubicBezTo>
                  <a:cubicBezTo>
                    <a:pt x="128" y="540"/>
                    <a:pt x="129" y="539"/>
                    <a:pt x="130" y="538"/>
                  </a:cubicBezTo>
                  <a:cubicBezTo>
                    <a:pt x="131" y="536"/>
                    <a:pt x="132" y="533"/>
                    <a:pt x="132" y="531"/>
                  </a:cubicBezTo>
                  <a:cubicBezTo>
                    <a:pt x="131" y="528"/>
                    <a:pt x="127" y="523"/>
                    <a:pt x="126" y="522"/>
                  </a:cubicBezTo>
                  <a:cubicBezTo>
                    <a:pt x="126" y="522"/>
                    <a:pt x="125" y="522"/>
                    <a:pt x="125" y="522"/>
                  </a:cubicBezTo>
                  <a:cubicBezTo>
                    <a:pt x="122" y="521"/>
                    <a:pt x="119" y="519"/>
                    <a:pt x="118" y="518"/>
                  </a:cubicBezTo>
                  <a:cubicBezTo>
                    <a:pt x="115" y="515"/>
                    <a:pt x="108" y="508"/>
                    <a:pt x="108" y="505"/>
                  </a:cubicBezTo>
                  <a:cubicBezTo>
                    <a:pt x="107" y="503"/>
                    <a:pt x="108" y="499"/>
                    <a:pt x="110" y="497"/>
                  </a:cubicBezTo>
                  <a:cubicBezTo>
                    <a:pt x="110" y="496"/>
                    <a:pt x="114" y="493"/>
                    <a:pt x="115" y="492"/>
                  </a:cubicBezTo>
                  <a:cubicBezTo>
                    <a:pt x="116" y="492"/>
                    <a:pt x="118" y="492"/>
                    <a:pt x="119" y="492"/>
                  </a:cubicBezTo>
                  <a:cubicBezTo>
                    <a:pt x="208" y="483"/>
                    <a:pt x="208" y="483"/>
                    <a:pt x="208" y="483"/>
                  </a:cubicBezTo>
                  <a:cubicBezTo>
                    <a:pt x="364" y="464"/>
                    <a:pt x="364" y="464"/>
                    <a:pt x="364" y="464"/>
                  </a:cubicBezTo>
                  <a:cubicBezTo>
                    <a:pt x="366" y="464"/>
                    <a:pt x="367" y="463"/>
                    <a:pt x="367" y="462"/>
                  </a:cubicBezTo>
                  <a:cubicBezTo>
                    <a:pt x="367" y="458"/>
                    <a:pt x="367" y="458"/>
                    <a:pt x="367" y="458"/>
                  </a:cubicBezTo>
                  <a:cubicBezTo>
                    <a:pt x="367" y="458"/>
                    <a:pt x="367" y="457"/>
                    <a:pt x="366" y="457"/>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33">
              <a:extLst>
                <a:ext uri="{FF2B5EF4-FFF2-40B4-BE49-F238E27FC236}">
                  <a16:creationId xmlns:a16="http://schemas.microsoft.com/office/drawing/2014/main" id="{5B49049C-0FE3-4F2E-8954-D62C36376315}"/>
                </a:ext>
              </a:extLst>
            </p:cNvPr>
            <p:cNvSpPr>
              <a:spLocks/>
            </p:cNvSpPr>
            <p:nvPr/>
          </p:nvSpPr>
          <p:spPr bwMode="auto">
            <a:xfrm>
              <a:off x="7419849" y="3854611"/>
              <a:ext cx="530631" cy="405301"/>
            </a:xfrm>
            <a:custGeom>
              <a:avLst/>
              <a:gdLst>
                <a:gd name="T0" fmla="*/ 352 w 477"/>
                <a:gd name="T1" fmla="*/ 17 h 365"/>
                <a:gd name="T2" fmla="*/ 246 w 477"/>
                <a:gd name="T3" fmla="*/ 33 h 365"/>
                <a:gd name="T4" fmla="*/ 242 w 477"/>
                <a:gd name="T5" fmla="*/ 18 h 365"/>
                <a:gd name="T6" fmla="*/ 221 w 477"/>
                <a:gd name="T7" fmla="*/ 8 h 365"/>
                <a:gd name="T8" fmla="*/ 206 w 477"/>
                <a:gd name="T9" fmla="*/ 0 h 365"/>
                <a:gd name="T10" fmla="*/ 89 w 477"/>
                <a:gd name="T11" fmla="*/ 14 h 365"/>
                <a:gd name="T12" fmla="*/ 61 w 477"/>
                <a:gd name="T13" fmla="*/ 29 h 365"/>
                <a:gd name="T14" fmla="*/ 48 w 477"/>
                <a:gd name="T15" fmla="*/ 35 h 365"/>
                <a:gd name="T16" fmla="*/ 21 w 477"/>
                <a:gd name="T17" fmla="*/ 54 h 365"/>
                <a:gd name="T18" fmla="*/ 12 w 477"/>
                <a:gd name="T19" fmla="*/ 93 h 365"/>
                <a:gd name="T20" fmla="*/ 29 w 477"/>
                <a:gd name="T21" fmla="*/ 104 h 365"/>
                <a:gd name="T22" fmla="*/ 50 w 477"/>
                <a:gd name="T23" fmla="*/ 110 h 365"/>
                <a:gd name="T24" fmla="*/ 60 w 477"/>
                <a:gd name="T25" fmla="*/ 123 h 365"/>
                <a:gd name="T26" fmla="*/ 68 w 477"/>
                <a:gd name="T27" fmla="*/ 134 h 365"/>
                <a:gd name="T28" fmla="*/ 105 w 477"/>
                <a:gd name="T29" fmla="*/ 173 h 365"/>
                <a:gd name="T30" fmla="*/ 126 w 477"/>
                <a:gd name="T31" fmla="*/ 188 h 365"/>
                <a:gd name="T32" fmla="*/ 137 w 477"/>
                <a:gd name="T33" fmla="*/ 201 h 365"/>
                <a:gd name="T34" fmla="*/ 161 w 477"/>
                <a:gd name="T35" fmla="*/ 216 h 365"/>
                <a:gd name="T36" fmla="*/ 164 w 477"/>
                <a:gd name="T37" fmla="*/ 227 h 365"/>
                <a:gd name="T38" fmla="*/ 172 w 477"/>
                <a:gd name="T39" fmla="*/ 233 h 365"/>
                <a:gd name="T40" fmla="*/ 181 w 477"/>
                <a:gd name="T41" fmla="*/ 241 h 365"/>
                <a:gd name="T42" fmla="*/ 197 w 477"/>
                <a:gd name="T43" fmla="*/ 254 h 365"/>
                <a:gd name="T44" fmla="*/ 212 w 477"/>
                <a:gd name="T45" fmla="*/ 268 h 365"/>
                <a:gd name="T46" fmla="*/ 224 w 477"/>
                <a:gd name="T47" fmla="*/ 290 h 365"/>
                <a:gd name="T48" fmla="*/ 235 w 477"/>
                <a:gd name="T49" fmla="*/ 309 h 365"/>
                <a:gd name="T50" fmla="*/ 254 w 477"/>
                <a:gd name="T51" fmla="*/ 328 h 365"/>
                <a:gd name="T52" fmla="*/ 259 w 477"/>
                <a:gd name="T53" fmla="*/ 338 h 365"/>
                <a:gd name="T54" fmla="*/ 266 w 477"/>
                <a:gd name="T55" fmla="*/ 358 h 365"/>
                <a:gd name="T56" fmla="*/ 285 w 477"/>
                <a:gd name="T57" fmla="*/ 363 h 365"/>
                <a:gd name="T58" fmla="*/ 296 w 477"/>
                <a:gd name="T59" fmla="*/ 347 h 365"/>
                <a:gd name="T60" fmla="*/ 303 w 477"/>
                <a:gd name="T61" fmla="*/ 348 h 365"/>
                <a:gd name="T62" fmla="*/ 301 w 477"/>
                <a:gd name="T63" fmla="*/ 332 h 365"/>
                <a:gd name="T64" fmla="*/ 293 w 477"/>
                <a:gd name="T65" fmla="*/ 324 h 365"/>
                <a:gd name="T66" fmla="*/ 288 w 477"/>
                <a:gd name="T67" fmla="*/ 311 h 365"/>
                <a:gd name="T68" fmla="*/ 291 w 477"/>
                <a:gd name="T69" fmla="*/ 317 h 365"/>
                <a:gd name="T70" fmla="*/ 302 w 477"/>
                <a:gd name="T71" fmla="*/ 329 h 365"/>
                <a:gd name="T72" fmla="*/ 306 w 477"/>
                <a:gd name="T73" fmla="*/ 325 h 365"/>
                <a:gd name="T74" fmla="*/ 316 w 477"/>
                <a:gd name="T75" fmla="*/ 331 h 365"/>
                <a:gd name="T76" fmla="*/ 327 w 477"/>
                <a:gd name="T77" fmla="*/ 308 h 365"/>
                <a:gd name="T78" fmla="*/ 321 w 477"/>
                <a:gd name="T79" fmla="*/ 304 h 365"/>
                <a:gd name="T80" fmla="*/ 312 w 477"/>
                <a:gd name="T81" fmla="*/ 303 h 365"/>
                <a:gd name="T82" fmla="*/ 320 w 477"/>
                <a:gd name="T83" fmla="*/ 301 h 365"/>
                <a:gd name="T84" fmla="*/ 331 w 477"/>
                <a:gd name="T85" fmla="*/ 300 h 365"/>
                <a:gd name="T86" fmla="*/ 341 w 477"/>
                <a:gd name="T87" fmla="*/ 298 h 365"/>
                <a:gd name="T88" fmla="*/ 355 w 477"/>
                <a:gd name="T89" fmla="*/ 285 h 365"/>
                <a:gd name="T90" fmla="*/ 367 w 477"/>
                <a:gd name="T91" fmla="*/ 278 h 365"/>
                <a:gd name="T92" fmla="*/ 373 w 477"/>
                <a:gd name="T93" fmla="*/ 274 h 365"/>
                <a:gd name="T94" fmla="*/ 370 w 477"/>
                <a:gd name="T95" fmla="*/ 260 h 365"/>
                <a:gd name="T96" fmla="*/ 370 w 477"/>
                <a:gd name="T97" fmla="*/ 253 h 365"/>
                <a:gd name="T98" fmla="*/ 383 w 477"/>
                <a:gd name="T99" fmla="*/ 259 h 365"/>
                <a:gd name="T100" fmla="*/ 394 w 477"/>
                <a:gd name="T101" fmla="*/ 244 h 365"/>
                <a:gd name="T102" fmla="*/ 398 w 477"/>
                <a:gd name="T103" fmla="*/ 233 h 365"/>
                <a:gd name="T104" fmla="*/ 402 w 477"/>
                <a:gd name="T105" fmla="*/ 227 h 365"/>
                <a:gd name="T106" fmla="*/ 418 w 477"/>
                <a:gd name="T107" fmla="*/ 220 h 365"/>
                <a:gd name="T108" fmla="*/ 425 w 477"/>
                <a:gd name="T109" fmla="*/ 210 h 365"/>
                <a:gd name="T110" fmla="*/ 426 w 477"/>
                <a:gd name="T111" fmla="*/ 191 h 365"/>
                <a:gd name="T112" fmla="*/ 421 w 477"/>
                <a:gd name="T113" fmla="*/ 180 h 365"/>
                <a:gd name="T114" fmla="*/ 424 w 477"/>
                <a:gd name="T115" fmla="*/ 186 h 365"/>
                <a:gd name="T116" fmla="*/ 432 w 477"/>
                <a:gd name="T117" fmla="*/ 192 h 365"/>
                <a:gd name="T118" fmla="*/ 441 w 477"/>
                <a:gd name="T119" fmla="*/ 181 h 365"/>
                <a:gd name="T120" fmla="*/ 443 w 477"/>
                <a:gd name="T121" fmla="*/ 164 h 365"/>
                <a:gd name="T122" fmla="*/ 468 w 477"/>
                <a:gd name="T123" fmla="*/ 118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7" h="365">
                  <a:moveTo>
                    <a:pt x="476" y="107"/>
                  </a:moveTo>
                  <a:cubicBezTo>
                    <a:pt x="476" y="106"/>
                    <a:pt x="476" y="106"/>
                    <a:pt x="475" y="106"/>
                  </a:cubicBezTo>
                  <a:cubicBezTo>
                    <a:pt x="352" y="17"/>
                    <a:pt x="352" y="17"/>
                    <a:pt x="352" y="17"/>
                  </a:cubicBezTo>
                  <a:cubicBezTo>
                    <a:pt x="351" y="17"/>
                    <a:pt x="351" y="17"/>
                    <a:pt x="350" y="17"/>
                  </a:cubicBezTo>
                  <a:cubicBezTo>
                    <a:pt x="247" y="33"/>
                    <a:pt x="247" y="33"/>
                    <a:pt x="247" y="33"/>
                  </a:cubicBezTo>
                  <a:cubicBezTo>
                    <a:pt x="246" y="33"/>
                    <a:pt x="246" y="33"/>
                    <a:pt x="246" y="33"/>
                  </a:cubicBezTo>
                  <a:cubicBezTo>
                    <a:pt x="246" y="32"/>
                    <a:pt x="246" y="31"/>
                    <a:pt x="246" y="30"/>
                  </a:cubicBezTo>
                  <a:cubicBezTo>
                    <a:pt x="246" y="28"/>
                    <a:pt x="246" y="27"/>
                    <a:pt x="245" y="26"/>
                  </a:cubicBezTo>
                  <a:cubicBezTo>
                    <a:pt x="245" y="24"/>
                    <a:pt x="243" y="20"/>
                    <a:pt x="242" y="18"/>
                  </a:cubicBezTo>
                  <a:cubicBezTo>
                    <a:pt x="240" y="14"/>
                    <a:pt x="234" y="6"/>
                    <a:pt x="228" y="5"/>
                  </a:cubicBezTo>
                  <a:cubicBezTo>
                    <a:pt x="226" y="4"/>
                    <a:pt x="224" y="6"/>
                    <a:pt x="223" y="7"/>
                  </a:cubicBezTo>
                  <a:cubicBezTo>
                    <a:pt x="222" y="7"/>
                    <a:pt x="221" y="8"/>
                    <a:pt x="221" y="8"/>
                  </a:cubicBezTo>
                  <a:cubicBezTo>
                    <a:pt x="221" y="7"/>
                    <a:pt x="219" y="6"/>
                    <a:pt x="219" y="5"/>
                  </a:cubicBezTo>
                  <a:cubicBezTo>
                    <a:pt x="217" y="3"/>
                    <a:pt x="216" y="1"/>
                    <a:pt x="214" y="1"/>
                  </a:cubicBezTo>
                  <a:cubicBezTo>
                    <a:pt x="212" y="0"/>
                    <a:pt x="210" y="0"/>
                    <a:pt x="206" y="0"/>
                  </a:cubicBezTo>
                  <a:cubicBezTo>
                    <a:pt x="196" y="0"/>
                    <a:pt x="182" y="3"/>
                    <a:pt x="181" y="3"/>
                  </a:cubicBezTo>
                  <a:cubicBezTo>
                    <a:pt x="96" y="12"/>
                    <a:pt x="96" y="12"/>
                    <a:pt x="96" y="12"/>
                  </a:cubicBezTo>
                  <a:cubicBezTo>
                    <a:pt x="89" y="14"/>
                    <a:pt x="89" y="14"/>
                    <a:pt x="89" y="14"/>
                  </a:cubicBezTo>
                  <a:cubicBezTo>
                    <a:pt x="82" y="19"/>
                    <a:pt x="82" y="19"/>
                    <a:pt x="82" y="19"/>
                  </a:cubicBezTo>
                  <a:cubicBezTo>
                    <a:pt x="80" y="19"/>
                    <a:pt x="70" y="22"/>
                    <a:pt x="66" y="24"/>
                  </a:cubicBezTo>
                  <a:cubicBezTo>
                    <a:pt x="64" y="25"/>
                    <a:pt x="63" y="27"/>
                    <a:pt x="61" y="29"/>
                  </a:cubicBezTo>
                  <a:cubicBezTo>
                    <a:pt x="59" y="31"/>
                    <a:pt x="57" y="34"/>
                    <a:pt x="55" y="35"/>
                  </a:cubicBezTo>
                  <a:cubicBezTo>
                    <a:pt x="54" y="35"/>
                    <a:pt x="52" y="35"/>
                    <a:pt x="51" y="35"/>
                  </a:cubicBezTo>
                  <a:cubicBezTo>
                    <a:pt x="50" y="35"/>
                    <a:pt x="49" y="35"/>
                    <a:pt x="48" y="35"/>
                  </a:cubicBezTo>
                  <a:cubicBezTo>
                    <a:pt x="37" y="36"/>
                    <a:pt x="26" y="42"/>
                    <a:pt x="22" y="48"/>
                  </a:cubicBezTo>
                  <a:cubicBezTo>
                    <a:pt x="22" y="50"/>
                    <a:pt x="21" y="51"/>
                    <a:pt x="21" y="53"/>
                  </a:cubicBezTo>
                  <a:cubicBezTo>
                    <a:pt x="21" y="53"/>
                    <a:pt x="21" y="54"/>
                    <a:pt x="21" y="54"/>
                  </a:cubicBezTo>
                  <a:cubicBezTo>
                    <a:pt x="20" y="57"/>
                    <a:pt x="17" y="59"/>
                    <a:pt x="15" y="61"/>
                  </a:cubicBezTo>
                  <a:cubicBezTo>
                    <a:pt x="14" y="62"/>
                    <a:pt x="12" y="64"/>
                    <a:pt x="11" y="65"/>
                  </a:cubicBezTo>
                  <a:cubicBezTo>
                    <a:pt x="4" y="75"/>
                    <a:pt x="0" y="83"/>
                    <a:pt x="12" y="93"/>
                  </a:cubicBezTo>
                  <a:cubicBezTo>
                    <a:pt x="14" y="95"/>
                    <a:pt x="16" y="95"/>
                    <a:pt x="18" y="96"/>
                  </a:cubicBezTo>
                  <a:cubicBezTo>
                    <a:pt x="19" y="97"/>
                    <a:pt x="21" y="98"/>
                    <a:pt x="24" y="100"/>
                  </a:cubicBezTo>
                  <a:cubicBezTo>
                    <a:pt x="25" y="100"/>
                    <a:pt x="27" y="102"/>
                    <a:pt x="29" y="104"/>
                  </a:cubicBezTo>
                  <a:cubicBezTo>
                    <a:pt x="32" y="107"/>
                    <a:pt x="36" y="110"/>
                    <a:pt x="39" y="111"/>
                  </a:cubicBezTo>
                  <a:cubicBezTo>
                    <a:pt x="41" y="112"/>
                    <a:pt x="43" y="111"/>
                    <a:pt x="46" y="111"/>
                  </a:cubicBezTo>
                  <a:cubicBezTo>
                    <a:pt x="47" y="110"/>
                    <a:pt x="48" y="110"/>
                    <a:pt x="50" y="110"/>
                  </a:cubicBezTo>
                  <a:cubicBezTo>
                    <a:pt x="51" y="110"/>
                    <a:pt x="54" y="113"/>
                    <a:pt x="56" y="116"/>
                  </a:cubicBezTo>
                  <a:cubicBezTo>
                    <a:pt x="57" y="116"/>
                    <a:pt x="57" y="118"/>
                    <a:pt x="58" y="119"/>
                  </a:cubicBezTo>
                  <a:cubicBezTo>
                    <a:pt x="59" y="120"/>
                    <a:pt x="59" y="122"/>
                    <a:pt x="60" y="123"/>
                  </a:cubicBezTo>
                  <a:cubicBezTo>
                    <a:pt x="61" y="124"/>
                    <a:pt x="62" y="125"/>
                    <a:pt x="63" y="127"/>
                  </a:cubicBezTo>
                  <a:cubicBezTo>
                    <a:pt x="65" y="128"/>
                    <a:pt x="66" y="130"/>
                    <a:pt x="67" y="131"/>
                  </a:cubicBezTo>
                  <a:cubicBezTo>
                    <a:pt x="67" y="132"/>
                    <a:pt x="68" y="133"/>
                    <a:pt x="68" y="134"/>
                  </a:cubicBezTo>
                  <a:cubicBezTo>
                    <a:pt x="69" y="136"/>
                    <a:pt x="69" y="137"/>
                    <a:pt x="70" y="138"/>
                  </a:cubicBezTo>
                  <a:cubicBezTo>
                    <a:pt x="74" y="145"/>
                    <a:pt x="84" y="157"/>
                    <a:pt x="90" y="163"/>
                  </a:cubicBezTo>
                  <a:cubicBezTo>
                    <a:pt x="94" y="166"/>
                    <a:pt x="102" y="171"/>
                    <a:pt x="105" y="173"/>
                  </a:cubicBezTo>
                  <a:cubicBezTo>
                    <a:pt x="107" y="174"/>
                    <a:pt x="109" y="175"/>
                    <a:pt x="111" y="176"/>
                  </a:cubicBezTo>
                  <a:cubicBezTo>
                    <a:pt x="114" y="177"/>
                    <a:pt x="118" y="179"/>
                    <a:pt x="120" y="180"/>
                  </a:cubicBezTo>
                  <a:cubicBezTo>
                    <a:pt x="121" y="182"/>
                    <a:pt x="125" y="185"/>
                    <a:pt x="126" y="188"/>
                  </a:cubicBezTo>
                  <a:cubicBezTo>
                    <a:pt x="127" y="188"/>
                    <a:pt x="128" y="190"/>
                    <a:pt x="128" y="191"/>
                  </a:cubicBezTo>
                  <a:cubicBezTo>
                    <a:pt x="129" y="193"/>
                    <a:pt x="130" y="195"/>
                    <a:pt x="131" y="196"/>
                  </a:cubicBezTo>
                  <a:cubicBezTo>
                    <a:pt x="132" y="198"/>
                    <a:pt x="135" y="200"/>
                    <a:pt x="137" y="201"/>
                  </a:cubicBezTo>
                  <a:cubicBezTo>
                    <a:pt x="139" y="202"/>
                    <a:pt x="143" y="204"/>
                    <a:pt x="145" y="205"/>
                  </a:cubicBezTo>
                  <a:cubicBezTo>
                    <a:pt x="148" y="206"/>
                    <a:pt x="154" y="210"/>
                    <a:pt x="156" y="211"/>
                  </a:cubicBezTo>
                  <a:cubicBezTo>
                    <a:pt x="158" y="213"/>
                    <a:pt x="160" y="215"/>
                    <a:pt x="161" y="216"/>
                  </a:cubicBezTo>
                  <a:cubicBezTo>
                    <a:pt x="161" y="216"/>
                    <a:pt x="161" y="216"/>
                    <a:pt x="161" y="216"/>
                  </a:cubicBezTo>
                  <a:cubicBezTo>
                    <a:pt x="161" y="216"/>
                    <a:pt x="160" y="217"/>
                    <a:pt x="160" y="218"/>
                  </a:cubicBezTo>
                  <a:cubicBezTo>
                    <a:pt x="160" y="221"/>
                    <a:pt x="162" y="225"/>
                    <a:pt x="164" y="227"/>
                  </a:cubicBezTo>
                  <a:cubicBezTo>
                    <a:pt x="165" y="228"/>
                    <a:pt x="167" y="229"/>
                    <a:pt x="169" y="229"/>
                  </a:cubicBezTo>
                  <a:cubicBezTo>
                    <a:pt x="170" y="230"/>
                    <a:pt x="171" y="230"/>
                    <a:pt x="172" y="231"/>
                  </a:cubicBezTo>
                  <a:cubicBezTo>
                    <a:pt x="172" y="231"/>
                    <a:pt x="172" y="232"/>
                    <a:pt x="172" y="233"/>
                  </a:cubicBezTo>
                  <a:cubicBezTo>
                    <a:pt x="172" y="235"/>
                    <a:pt x="172" y="237"/>
                    <a:pt x="173" y="238"/>
                  </a:cubicBezTo>
                  <a:cubicBezTo>
                    <a:pt x="174" y="240"/>
                    <a:pt x="177" y="240"/>
                    <a:pt x="179" y="240"/>
                  </a:cubicBezTo>
                  <a:cubicBezTo>
                    <a:pt x="179" y="241"/>
                    <a:pt x="180" y="241"/>
                    <a:pt x="181" y="241"/>
                  </a:cubicBezTo>
                  <a:cubicBezTo>
                    <a:pt x="181" y="241"/>
                    <a:pt x="181" y="241"/>
                    <a:pt x="181" y="242"/>
                  </a:cubicBezTo>
                  <a:cubicBezTo>
                    <a:pt x="182" y="245"/>
                    <a:pt x="187" y="249"/>
                    <a:pt x="189" y="250"/>
                  </a:cubicBezTo>
                  <a:cubicBezTo>
                    <a:pt x="191" y="251"/>
                    <a:pt x="194" y="253"/>
                    <a:pt x="197" y="254"/>
                  </a:cubicBezTo>
                  <a:cubicBezTo>
                    <a:pt x="208" y="258"/>
                    <a:pt x="211" y="261"/>
                    <a:pt x="211" y="262"/>
                  </a:cubicBezTo>
                  <a:cubicBezTo>
                    <a:pt x="211" y="262"/>
                    <a:pt x="211" y="264"/>
                    <a:pt x="211" y="264"/>
                  </a:cubicBezTo>
                  <a:cubicBezTo>
                    <a:pt x="211" y="266"/>
                    <a:pt x="211" y="267"/>
                    <a:pt x="212" y="268"/>
                  </a:cubicBezTo>
                  <a:cubicBezTo>
                    <a:pt x="213" y="271"/>
                    <a:pt x="219" y="278"/>
                    <a:pt x="221" y="280"/>
                  </a:cubicBezTo>
                  <a:cubicBezTo>
                    <a:pt x="222" y="282"/>
                    <a:pt x="224" y="286"/>
                    <a:pt x="224" y="287"/>
                  </a:cubicBezTo>
                  <a:cubicBezTo>
                    <a:pt x="224" y="288"/>
                    <a:pt x="224" y="289"/>
                    <a:pt x="224" y="290"/>
                  </a:cubicBezTo>
                  <a:cubicBezTo>
                    <a:pt x="224" y="292"/>
                    <a:pt x="224" y="293"/>
                    <a:pt x="224" y="294"/>
                  </a:cubicBezTo>
                  <a:cubicBezTo>
                    <a:pt x="224" y="297"/>
                    <a:pt x="225" y="301"/>
                    <a:pt x="226" y="303"/>
                  </a:cubicBezTo>
                  <a:cubicBezTo>
                    <a:pt x="228" y="305"/>
                    <a:pt x="233" y="308"/>
                    <a:pt x="235" y="309"/>
                  </a:cubicBezTo>
                  <a:cubicBezTo>
                    <a:pt x="238" y="310"/>
                    <a:pt x="243" y="313"/>
                    <a:pt x="245" y="314"/>
                  </a:cubicBezTo>
                  <a:cubicBezTo>
                    <a:pt x="246" y="315"/>
                    <a:pt x="249" y="318"/>
                    <a:pt x="250" y="320"/>
                  </a:cubicBezTo>
                  <a:cubicBezTo>
                    <a:pt x="250" y="320"/>
                    <a:pt x="253" y="326"/>
                    <a:pt x="254" y="328"/>
                  </a:cubicBezTo>
                  <a:cubicBezTo>
                    <a:pt x="254" y="329"/>
                    <a:pt x="255" y="330"/>
                    <a:pt x="256" y="331"/>
                  </a:cubicBezTo>
                  <a:cubicBezTo>
                    <a:pt x="257" y="333"/>
                    <a:pt x="259" y="334"/>
                    <a:pt x="259" y="335"/>
                  </a:cubicBezTo>
                  <a:cubicBezTo>
                    <a:pt x="259" y="336"/>
                    <a:pt x="259" y="337"/>
                    <a:pt x="259" y="338"/>
                  </a:cubicBezTo>
                  <a:cubicBezTo>
                    <a:pt x="259" y="340"/>
                    <a:pt x="258" y="341"/>
                    <a:pt x="258" y="342"/>
                  </a:cubicBezTo>
                  <a:cubicBezTo>
                    <a:pt x="259" y="344"/>
                    <a:pt x="259" y="348"/>
                    <a:pt x="260" y="350"/>
                  </a:cubicBezTo>
                  <a:cubicBezTo>
                    <a:pt x="261" y="352"/>
                    <a:pt x="263" y="357"/>
                    <a:pt x="266" y="358"/>
                  </a:cubicBezTo>
                  <a:cubicBezTo>
                    <a:pt x="269" y="360"/>
                    <a:pt x="273" y="360"/>
                    <a:pt x="276" y="360"/>
                  </a:cubicBezTo>
                  <a:cubicBezTo>
                    <a:pt x="278" y="360"/>
                    <a:pt x="281" y="361"/>
                    <a:pt x="282" y="361"/>
                  </a:cubicBezTo>
                  <a:cubicBezTo>
                    <a:pt x="282" y="361"/>
                    <a:pt x="284" y="362"/>
                    <a:pt x="285" y="363"/>
                  </a:cubicBezTo>
                  <a:cubicBezTo>
                    <a:pt x="286" y="363"/>
                    <a:pt x="288" y="365"/>
                    <a:pt x="289" y="365"/>
                  </a:cubicBezTo>
                  <a:cubicBezTo>
                    <a:pt x="290" y="365"/>
                    <a:pt x="291" y="364"/>
                    <a:pt x="291" y="364"/>
                  </a:cubicBezTo>
                  <a:cubicBezTo>
                    <a:pt x="295" y="362"/>
                    <a:pt x="296" y="353"/>
                    <a:pt x="296" y="347"/>
                  </a:cubicBezTo>
                  <a:cubicBezTo>
                    <a:pt x="296" y="346"/>
                    <a:pt x="296" y="345"/>
                    <a:pt x="296" y="345"/>
                  </a:cubicBezTo>
                  <a:cubicBezTo>
                    <a:pt x="299" y="348"/>
                    <a:pt x="300" y="349"/>
                    <a:pt x="301" y="349"/>
                  </a:cubicBezTo>
                  <a:cubicBezTo>
                    <a:pt x="302" y="349"/>
                    <a:pt x="302" y="349"/>
                    <a:pt x="303" y="348"/>
                  </a:cubicBezTo>
                  <a:cubicBezTo>
                    <a:pt x="306" y="345"/>
                    <a:pt x="309" y="342"/>
                    <a:pt x="309" y="339"/>
                  </a:cubicBezTo>
                  <a:cubicBezTo>
                    <a:pt x="308" y="336"/>
                    <a:pt x="306" y="334"/>
                    <a:pt x="303" y="333"/>
                  </a:cubicBezTo>
                  <a:cubicBezTo>
                    <a:pt x="302" y="333"/>
                    <a:pt x="301" y="332"/>
                    <a:pt x="301" y="332"/>
                  </a:cubicBezTo>
                  <a:cubicBezTo>
                    <a:pt x="300" y="331"/>
                    <a:pt x="299" y="330"/>
                    <a:pt x="297" y="329"/>
                  </a:cubicBezTo>
                  <a:cubicBezTo>
                    <a:pt x="296" y="328"/>
                    <a:pt x="294" y="327"/>
                    <a:pt x="294" y="327"/>
                  </a:cubicBezTo>
                  <a:cubicBezTo>
                    <a:pt x="293" y="326"/>
                    <a:pt x="293" y="325"/>
                    <a:pt x="293" y="324"/>
                  </a:cubicBezTo>
                  <a:cubicBezTo>
                    <a:pt x="292" y="322"/>
                    <a:pt x="292" y="321"/>
                    <a:pt x="292" y="320"/>
                  </a:cubicBezTo>
                  <a:cubicBezTo>
                    <a:pt x="291" y="319"/>
                    <a:pt x="291" y="318"/>
                    <a:pt x="290" y="317"/>
                  </a:cubicBezTo>
                  <a:cubicBezTo>
                    <a:pt x="290" y="316"/>
                    <a:pt x="288" y="313"/>
                    <a:pt x="288" y="311"/>
                  </a:cubicBezTo>
                  <a:cubicBezTo>
                    <a:pt x="288" y="311"/>
                    <a:pt x="289" y="312"/>
                    <a:pt x="289" y="313"/>
                  </a:cubicBezTo>
                  <a:cubicBezTo>
                    <a:pt x="289" y="313"/>
                    <a:pt x="290" y="313"/>
                    <a:pt x="290" y="314"/>
                  </a:cubicBezTo>
                  <a:cubicBezTo>
                    <a:pt x="290" y="314"/>
                    <a:pt x="291" y="316"/>
                    <a:pt x="291" y="317"/>
                  </a:cubicBezTo>
                  <a:cubicBezTo>
                    <a:pt x="292" y="318"/>
                    <a:pt x="293" y="320"/>
                    <a:pt x="294" y="321"/>
                  </a:cubicBezTo>
                  <a:cubicBezTo>
                    <a:pt x="294" y="322"/>
                    <a:pt x="294" y="322"/>
                    <a:pt x="294" y="322"/>
                  </a:cubicBezTo>
                  <a:cubicBezTo>
                    <a:pt x="297" y="326"/>
                    <a:pt x="299" y="329"/>
                    <a:pt x="302" y="329"/>
                  </a:cubicBezTo>
                  <a:cubicBezTo>
                    <a:pt x="303" y="329"/>
                    <a:pt x="304" y="328"/>
                    <a:pt x="305" y="328"/>
                  </a:cubicBezTo>
                  <a:cubicBezTo>
                    <a:pt x="305" y="327"/>
                    <a:pt x="305" y="326"/>
                    <a:pt x="306" y="325"/>
                  </a:cubicBezTo>
                  <a:cubicBezTo>
                    <a:pt x="306" y="325"/>
                    <a:pt x="306" y="325"/>
                    <a:pt x="306" y="325"/>
                  </a:cubicBezTo>
                  <a:cubicBezTo>
                    <a:pt x="306" y="325"/>
                    <a:pt x="306" y="325"/>
                    <a:pt x="306" y="326"/>
                  </a:cubicBezTo>
                  <a:cubicBezTo>
                    <a:pt x="307" y="329"/>
                    <a:pt x="313" y="331"/>
                    <a:pt x="316" y="331"/>
                  </a:cubicBezTo>
                  <a:cubicBezTo>
                    <a:pt x="316" y="331"/>
                    <a:pt x="316" y="331"/>
                    <a:pt x="316" y="331"/>
                  </a:cubicBezTo>
                  <a:cubicBezTo>
                    <a:pt x="320" y="331"/>
                    <a:pt x="325" y="326"/>
                    <a:pt x="326" y="325"/>
                  </a:cubicBezTo>
                  <a:cubicBezTo>
                    <a:pt x="326" y="324"/>
                    <a:pt x="332" y="314"/>
                    <a:pt x="330" y="310"/>
                  </a:cubicBezTo>
                  <a:cubicBezTo>
                    <a:pt x="330" y="309"/>
                    <a:pt x="329" y="308"/>
                    <a:pt x="327" y="308"/>
                  </a:cubicBezTo>
                  <a:cubicBezTo>
                    <a:pt x="326" y="308"/>
                    <a:pt x="325" y="309"/>
                    <a:pt x="324" y="309"/>
                  </a:cubicBezTo>
                  <a:cubicBezTo>
                    <a:pt x="325" y="308"/>
                    <a:pt x="325" y="308"/>
                    <a:pt x="325" y="307"/>
                  </a:cubicBezTo>
                  <a:cubicBezTo>
                    <a:pt x="325" y="306"/>
                    <a:pt x="324" y="304"/>
                    <a:pt x="321" y="304"/>
                  </a:cubicBezTo>
                  <a:cubicBezTo>
                    <a:pt x="320" y="304"/>
                    <a:pt x="319" y="304"/>
                    <a:pt x="317" y="304"/>
                  </a:cubicBezTo>
                  <a:cubicBezTo>
                    <a:pt x="316" y="305"/>
                    <a:pt x="316" y="305"/>
                    <a:pt x="315" y="305"/>
                  </a:cubicBezTo>
                  <a:cubicBezTo>
                    <a:pt x="314" y="305"/>
                    <a:pt x="313" y="304"/>
                    <a:pt x="312" y="303"/>
                  </a:cubicBezTo>
                  <a:cubicBezTo>
                    <a:pt x="311" y="303"/>
                    <a:pt x="310" y="302"/>
                    <a:pt x="309" y="302"/>
                  </a:cubicBezTo>
                  <a:cubicBezTo>
                    <a:pt x="311" y="301"/>
                    <a:pt x="314" y="301"/>
                    <a:pt x="316" y="300"/>
                  </a:cubicBezTo>
                  <a:cubicBezTo>
                    <a:pt x="317" y="300"/>
                    <a:pt x="318" y="301"/>
                    <a:pt x="320" y="301"/>
                  </a:cubicBezTo>
                  <a:cubicBezTo>
                    <a:pt x="321" y="302"/>
                    <a:pt x="323" y="303"/>
                    <a:pt x="325" y="303"/>
                  </a:cubicBezTo>
                  <a:cubicBezTo>
                    <a:pt x="325" y="303"/>
                    <a:pt x="325" y="303"/>
                    <a:pt x="325" y="303"/>
                  </a:cubicBezTo>
                  <a:cubicBezTo>
                    <a:pt x="327" y="302"/>
                    <a:pt x="329" y="301"/>
                    <a:pt x="331" y="300"/>
                  </a:cubicBezTo>
                  <a:cubicBezTo>
                    <a:pt x="331" y="300"/>
                    <a:pt x="332" y="299"/>
                    <a:pt x="333" y="299"/>
                  </a:cubicBezTo>
                  <a:cubicBezTo>
                    <a:pt x="333" y="299"/>
                    <a:pt x="335" y="299"/>
                    <a:pt x="336" y="299"/>
                  </a:cubicBezTo>
                  <a:cubicBezTo>
                    <a:pt x="337" y="299"/>
                    <a:pt x="339" y="299"/>
                    <a:pt x="341" y="298"/>
                  </a:cubicBezTo>
                  <a:cubicBezTo>
                    <a:pt x="341" y="298"/>
                    <a:pt x="351" y="293"/>
                    <a:pt x="349" y="288"/>
                  </a:cubicBezTo>
                  <a:cubicBezTo>
                    <a:pt x="349" y="288"/>
                    <a:pt x="349" y="286"/>
                    <a:pt x="350" y="285"/>
                  </a:cubicBezTo>
                  <a:cubicBezTo>
                    <a:pt x="350" y="285"/>
                    <a:pt x="352" y="284"/>
                    <a:pt x="355" y="285"/>
                  </a:cubicBezTo>
                  <a:cubicBezTo>
                    <a:pt x="356" y="285"/>
                    <a:pt x="357" y="285"/>
                    <a:pt x="358" y="285"/>
                  </a:cubicBezTo>
                  <a:cubicBezTo>
                    <a:pt x="361" y="285"/>
                    <a:pt x="365" y="285"/>
                    <a:pt x="367" y="282"/>
                  </a:cubicBezTo>
                  <a:cubicBezTo>
                    <a:pt x="368" y="280"/>
                    <a:pt x="367" y="279"/>
                    <a:pt x="367" y="278"/>
                  </a:cubicBezTo>
                  <a:cubicBezTo>
                    <a:pt x="367" y="277"/>
                    <a:pt x="367" y="277"/>
                    <a:pt x="367" y="277"/>
                  </a:cubicBezTo>
                  <a:cubicBezTo>
                    <a:pt x="367" y="277"/>
                    <a:pt x="368" y="277"/>
                    <a:pt x="369" y="277"/>
                  </a:cubicBezTo>
                  <a:cubicBezTo>
                    <a:pt x="370" y="276"/>
                    <a:pt x="372" y="275"/>
                    <a:pt x="373" y="274"/>
                  </a:cubicBezTo>
                  <a:cubicBezTo>
                    <a:pt x="373" y="274"/>
                    <a:pt x="379" y="268"/>
                    <a:pt x="377" y="264"/>
                  </a:cubicBezTo>
                  <a:cubicBezTo>
                    <a:pt x="376" y="262"/>
                    <a:pt x="374" y="261"/>
                    <a:pt x="372" y="261"/>
                  </a:cubicBezTo>
                  <a:cubicBezTo>
                    <a:pt x="371" y="260"/>
                    <a:pt x="370" y="260"/>
                    <a:pt x="370" y="260"/>
                  </a:cubicBezTo>
                  <a:cubicBezTo>
                    <a:pt x="368" y="258"/>
                    <a:pt x="366" y="254"/>
                    <a:pt x="366" y="253"/>
                  </a:cubicBezTo>
                  <a:cubicBezTo>
                    <a:pt x="367" y="253"/>
                    <a:pt x="367" y="253"/>
                    <a:pt x="368" y="253"/>
                  </a:cubicBezTo>
                  <a:cubicBezTo>
                    <a:pt x="369" y="253"/>
                    <a:pt x="370" y="253"/>
                    <a:pt x="370" y="253"/>
                  </a:cubicBezTo>
                  <a:cubicBezTo>
                    <a:pt x="370" y="253"/>
                    <a:pt x="370" y="254"/>
                    <a:pt x="370" y="255"/>
                  </a:cubicBezTo>
                  <a:cubicBezTo>
                    <a:pt x="371" y="257"/>
                    <a:pt x="371" y="259"/>
                    <a:pt x="373" y="260"/>
                  </a:cubicBezTo>
                  <a:cubicBezTo>
                    <a:pt x="376" y="262"/>
                    <a:pt x="381" y="260"/>
                    <a:pt x="383" y="259"/>
                  </a:cubicBezTo>
                  <a:cubicBezTo>
                    <a:pt x="385" y="258"/>
                    <a:pt x="388" y="254"/>
                    <a:pt x="390" y="251"/>
                  </a:cubicBezTo>
                  <a:cubicBezTo>
                    <a:pt x="390" y="250"/>
                    <a:pt x="391" y="249"/>
                    <a:pt x="392" y="248"/>
                  </a:cubicBezTo>
                  <a:cubicBezTo>
                    <a:pt x="393" y="246"/>
                    <a:pt x="393" y="245"/>
                    <a:pt x="394" y="244"/>
                  </a:cubicBezTo>
                  <a:cubicBezTo>
                    <a:pt x="394" y="244"/>
                    <a:pt x="395" y="243"/>
                    <a:pt x="395" y="243"/>
                  </a:cubicBezTo>
                  <a:cubicBezTo>
                    <a:pt x="397" y="242"/>
                    <a:pt x="399" y="241"/>
                    <a:pt x="400" y="240"/>
                  </a:cubicBezTo>
                  <a:cubicBezTo>
                    <a:pt x="400" y="237"/>
                    <a:pt x="399" y="235"/>
                    <a:pt x="398" y="233"/>
                  </a:cubicBezTo>
                  <a:cubicBezTo>
                    <a:pt x="398" y="233"/>
                    <a:pt x="397" y="231"/>
                    <a:pt x="397" y="231"/>
                  </a:cubicBezTo>
                  <a:cubicBezTo>
                    <a:pt x="397" y="230"/>
                    <a:pt x="399" y="226"/>
                    <a:pt x="400" y="226"/>
                  </a:cubicBezTo>
                  <a:cubicBezTo>
                    <a:pt x="400" y="226"/>
                    <a:pt x="402" y="227"/>
                    <a:pt x="402" y="227"/>
                  </a:cubicBezTo>
                  <a:cubicBezTo>
                    <a:pt x="404" y="228"/>
                    <a:pt x="405" y="228"/>
                    <a:pt x="407" y="228"/>
                  </a:cubicBezTo>
                  <a:cubicBezTo>
                    <a:pt x="409" y="228"/>
                    <a:pt x="413" y="227"/>
                    <a:pt x="416" y="225"/>
                  </a:cubicBezTo>
                  <a:cubicBezTo>
                    <a:pt x="417" y="224"/>
                    <a:pt x="418" y="222"/>
                    <a:pt x="418" y="220"/>
                  </a:cubicBezTo>
                  <a:cubicBezTo>
                    <a:pt x="419" y="219"/>
                    <a:pt x="419" y="218"/>
                    <a:pt x="419" y="217"/>
                  </a:cubicBezTo>
                  <a:cubicBezTo>
                    <a:pt x="419" y="217"/>
                    <a:pt x="420" y="216"/>
                    <a:pt x="421" y="215"/>
                  </a:cubicBezTo>
                  <a:cubicBezTo>
                    <a:pt x="423" y="214"/>
                    <a:pt x="424" y="212"/>
                    <a:pt x="425" y="210"/>
                  </a:cubicBezTo>
                  <a:cubicBezTo>
                    <a:pt x="428" y="209"/>
                    <a:pt x="433" y="204"/>
                    <a:pt x="433" y="201"/>
                  </a:cubicBezTo>
                  <a:cubicBezTo>
                    <a:pt x="433" y="198"/>
                    <a:pt x="430" y="195"/>
                    <a:pt x="427" y="192"/>
                  </a:cubicBezTo>
                  <a:cubicBezTo>
                    <a:pt x="426" y="191"/>
                    <a:pt x="426" y="191"/>
                    <a:pt x="426" y="191"/>
                  </a:cubicBezTo>
                  <a:cubicBezTo>
                    <a:pt x="425" y="191"/>
                    <a:pt x="424" y="190"/>
                    <a:pt x="423" y="189"/>
                  </a:cubicBezTo>
                  <a:cubicBezTo>
                    <a:pt x="422" y="189"/>
                    <a:pt x="420" y="188"/>
                    <a:pt x="420" y="187"/>
                  </a:cubicBezTo>
                  <a:cubicBezTo>
                    <a:pt x="419" y="186"/>
                    <a:pt x="420" y="183"/>
                    <a:pt x="421" y="180"/>
                  </a:cubicBezTo>
                  <a:cubicBezTo>
                    <a:pt x="421" y="179"/>
                    <a:pt x="422" y="176"/>
                    <a:pt x="424" y="174"/>
                  </a:cubicBezTo>
                  <a:cubicBezTo>
                    <a:pt x="424" y="176"/>
                    <a:pt x="424" y="177"/>
                    <a:pt x="424" y="179"/>
                  </a:cubicBezTo>
                  <a:cubicBezTo>
                    <a:pt x="423" y="182"/>
                    <a:pt x="423" y="184"/>
                    <a:pt x="424" y="186"/>
                  </a:cubicBezTo>
                  <a:cubicBezTo>
                    <a:pt x="425" y="189"/>
                    <a:pt x="428" y="189"/>
                    <a:pt x="430" y="190"/>
                  </a:cubicBezTo>
                  <a:cubicBezTo>
                    <a:pt x="431" y="190"/>
                    <a:pt x="432" y="190"/>
                    <a:pt x="432" y="190"/>
                  </a:cubicBezTo>
                  <a:cubicBezTo>
                    <a:pt x="432" y="190"/>
                    <a:pt x="432" y="191"/>
                    <a:pt x="432" y="192"/>
                  </a:cubicBezTo>
                  <a:cubicBezTo>
                    <a:pt x="433" y="195"/>
                    <a:pt x="433" y="198"/>
                    <a:pt x="437" y="198"/>
                  </a:cubicBezTo>
                  <a:cubicBezTo>
                    <a:pt x="437" y="198"/>
                    <a:pt x="437" y="198"/>
                    <a:pt x="437" y="198"/>
                  </a:cubicBezTo>
                  <a:cubicBezTo>
                    <a:pt x="443" y="197"/>
                    <a:pt x="442" y="188"/>
                    <a:pt x="441" y="181"/>
                  </a:cubicBezTo>
                  <a:cubicBezTo>
                    <a:pt x="440" y="177"/>
                    <a:pt x="439" y="173"/>
                    <a:pt x="440" y="172"/>
                  </a:cubicBezTo>
                  <a:cubicBezTo>
                    <a:pt x="440" y="170"/>
                    <a:pt x="442" y="167"/>
                    <a:pt x="442" y="166"/>
                  </a:cubicBezTo>
                  <a:cubicBezTo>
                    <a:pt x="443" y="164"/>
                    <a:pt x="443" y="164"/>
                    <a:pt x="443" y="164"/>
                  </a:cubicBezTo>
                  <a:cubicBezTo>
                    <a:pt x="445" y="160"/>
                    <a:pt x="447" y="154"/>
                    <a:pt x="448" y="149"/>
                  </a:cubicBezTo>
                  <a:cubicBezTo>
                    <a:pt x="449" y="143"/>
                    <a:pt x="450" y="138"/>
                    <a:pt x="452" y="135"/>
                  </a:cubicBezTo>
                  <a:cubicBezTo>
                    <a:pt x="454" y="131"/>
                    <a:pt x="464" y="122"/>
                    <a:pt x="468" y="118"/>
                  </a:cubicBezTo>
                  <a:cubicBezTo>
                    <a:pt x="470" y="117"/>
                    <a:pt x="475" y="115"/>
                    <a:pt x="476" y="113"/>
                  </a:cubicBezTo>
                  <a:cubicBezTo>
                    <a:pt x="476" y="112"/>
                    <a:pt x="477" y="110"/>
                    <a:pt x="476" y="107"/>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34">
              <a:extLst>
                <a:ext uri="{FF2B5EF4-FFF2-40B4-BE49-F238E27FC236}">
                  <a16:creationId xmlns:a16="http://schemas.microsoft.com/office/drawing/2014/main" id="{5166C4B8-85F1-400E-AFB3-71B5A6C2F5F2}"/>
                </a:ext>
              </a:extLst>
            </p:cNvPr>
            <p:cNvSpPr>
              <a:spLocks/>
            </p:cNvSpPr>
            <p:nvPr/>
          </p:nvSpPr>
          <p:spPr bwMode="auto">
            <a:xfrm>
              <a:off x="7315744" y="3574640"/>
              <a:ext cx="881353" cy="402269"/>
            </a:xfrm>
            <a:custGeom>
              <a:avLst/>
              <a:gdLst>
                <a:gd name="T0" fmla="*/ 774 w 793"/>
                <a:gd name="T1" fmla="*/ 63 h 362"/>
                <a:gd name="T2" fmla="*/ 763 w 793"/>
                <a:gd name="T3" fmla="*/ 93 h 362"/>
                <a:gd name="T4" fmla="*/ 753 w 793"/>
                <a:gd name="T5" fmla="*/ 92 h 362"/>
                <a:gd name="T6" fmla="*/ 749 w 793"/>
                <a:gd name="T7" fmla="*/ 66 h 362"/>
                <a:gd name="T8" fmla="*/ 681 w 793"/>
                <a:gd name="T9" fmla="*/ 77 h 362"/>
                <a:gd name="T10" fmla="*/ 679 w 793"/>
                <a:gd name="T11" fmla="*/ 49 h 362"/>
                <a:gd name="T12" fmla="*/ 697 w 793"/>
                <a:gd name="T13" fmla="*/ 75 h 362"/>
                <a:gd name="T14" fmla="*/ 727 w 793"/>
                <a:gd name="T15" fmla="*/ 61 h 362"/>
                <a:gd name="T16" fmla="*/ 739 w 793"/>
                <a:gd name="T17" fmla="*/ 42 h 362"/>
                <a:gd name="T18" fmla="*/ 763 w 793"/>
                <a:gd name="T19" fmla="*/ 45 h 362"/>
                <a:gd name="T20" fmla="*/ 757 w 793"/>
                <a:gd name="T21" fmla="*/ 23 h 362"/>
                <a:gd name="T22" fmla="*/ 742 w 793"/>
                <a:gd name="T23" fmla="*/ 2 h 362"/>
                <a:gd name="T24" fmla="*/ 342 w 793"/>
                <a:gd name="T25" fmla="*/ 79 h 362"/>
                <a:gd name="T26" fmla="*/ 218 w 793"/>
                <a:gd name="T27" fmla="*/ 104 h 362"/>
                <a:gd name="T28" fmla="*/ 209 w 793"/>
                <a:gd name="T29" fmla="*/ 127 h 362"/>
                <a:gd name="T30" fmla="*/ 190 w 793"/>
                <a:gd name="T31" fmla="*/ 156 h 362"/>
                <a:gd name="T32" fmla="*/ 161 w 793"/>
                <a:gd name="T33" fmla="*/ 165 h 362"/>
                <a:gd name="T34" fmla="*/ 141 w 793"/>
                <a:gd name="T35" fmla="*/ 172 h 362"/>
                <a:gd name="T36" fmla="*/ 127 w 793"/>
                <a:gd name="T37" fmla="*/ 186 h 362"/>
                <a:gd name="T38" fmla="*/ 113 w 793"/>
                <a:gd name="T39" fmla="*/ 207 h 362"/>
                <a:gd name="T40" fmla="*/ 65 w 793"/>
                <a:gd name="T41" fmla="*/ 241 h 362"/>
                <a:gd name="T42" fmla="*/ 27 w 793"/>
                <a:gd name="T43" fmla="*/ 258 h 362"/>
                <a:gd name="T44" fmla="*/ 17 w 793"/>
                <a:gd name="T45" fmla="*/ 283 h 362"/>
                <a:gd name="T46" fmla="*/ 5 w 793"/>
                <a:gd name="T47" fmla="*/ 322 h 362"/>
                <a:gd name="T48" fmla="*/ 150 w 793"/>
                <a:gd name="T49" fmla="*/ 291 h 362"/>
                <a:gd name="T50" fmla="*/ 191 w 793"/>
                <a:gd name="T51" fmla="*/ 269 h 362"/>
                <a:gd name="T52" fmla="*/ 321 w 793"/>
                <a:gd name="T53" fmla="*/ 262 h 362"/>
                <a:gd name="T54" fmla="*/ 338 w 793"/>
                <a:gd name="T55" fmla="*/ 290 h 362"/>
                <a:gd name="T56" fmla="*/ 568 w 793"/>
                <a:gd name="T57" fmla="*/ 362 h 362"/>
                <a:gd name="T58" fmla="*/ 613 w 793"/>
                <a:gd name="T59" fmla="*/ 346 h 362"/>
                <a:gd name="T60" fmla="*/ 613 w 793"/>
                <a:gd name="T61" fmla="*/ 314 h 362"/>
                <a:gd name="T62" fmla="*/ 628 w 793"/>
                <a:gd name="T63" fmla="*/ 341 h 362"/>
                <a:gd name="T64" fmla="*/ 644 w 793"/>
                <a:gd name="T65" fmla="*/ 290 h 362"/>
                <a:gd name="T66" fmla="*/ 651 w 793"/>
                <a:gd name="T67" fmla="*/ 264 h 362"/>
                <a:gd name="T68" fmla="*/ 664 w 793"/>
                <a:gd name="T69" fmla="*/ 248 h 362"/>
                <a:gd name="T70" fmla="*/ 673 w 793"/>
                <a:gd name="T71" fmla="*/ 258 h 362"/>
                <a:gd name="T72" fmla="*/ 692 w 793"/>
                <a:gd name="T73" fmla="*/ 240 h 362"/>
                <a:gd name="T74" fmla="*/ 719 w 793"/>
                <a:gd name="T75" fmla="*/ 230 h 362"/>
                <a:gd name="T76" fmla="*/ 729 w 793"/>
                <a:gd name="T77" fmla="*/ 220 h 362"/>
                <a:gd name="T78" fmla="*/ 752 w 793"/>
                <a:gd name="T79" fmla="*/ 205 h 362"/>
                <a:gd name="T80" fmla="*/ 749 w 793"/>
                <a:gd name="T81" fmla="*/ 185 h 362"/>
                <a:gd name="T82" fmla="*/ 718 w 793"/>
                <a:gd name="T83" fmla="*/ 204 h 362"/>
                <a:gd name="T84" fmla="*/ 686 w 793"/>
                <a:gd name="T85" fmla="*/ 197 h 362"/>
                <a:gd name="T86" fmla="*/ 695 w 793"/>
                <a:gd name="T87" fmla="*/ 196 h 362"/>
                <a:gd name="T88" fmla="*/ 727 w 793"/>
                <a:gd name="T89" fmla="*/ 171 h 362"/>
                <a:gd name="T90" fmla="*/ 722 w 793"/>
                <a:gd name="T91" fmla="*/ 159 h 362"/>
                <a:gd name="T92" fmla="*/ 676 w 793"/>
                <a:gd name="T93" fmla="*/ 143 h 362"/>
                <a:gd name="T94" fmla="*/ 693 w 793"/>
                <a:gd name="T95" fmla="*/ 149 h 362"/>
                <a:gd name="T96" fmla="*/ 707 w 793"/>
                <a:gd name="T97" fmla="*/ 147 h 362"/>
                <a:gd name="T98" fmla="*/ 706 w 793"/>
                <a:gd name="T99" fmla="*/ 132 h 362"/>
                <a:gd name="T100" fmla="*/ 732 w 793"/>
                <a:gd name="T101" fmla="*/ 145 h 362"/>
                <a:gd name="T102" fmla="*/ 768 w 793"/>
                <a:gd name="T103" fmla="*/ 139 h 362"/>
                <a:gd name="T104" fmla="*/ 783 w 793"/>
                <a:gd name="T105" fmla="*/ 11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3" h="362">
                  <a:moveTo>
                    <a:pt x="790" y="95"/>
                  </a:moveTo>
                  <a:cubicBezTo>
                    <a:pt x="790" y="92"/>
                    <a:pt x="790" y="83"/>
                    <a:pt x="789" y="80"/>
                  </a:cubicBezTo>
                  <a:cubicBezTo>
                    <a:pt x="788" y="77"/>
                    <a:pt x="784" y="72"/>
                    <a:pt x="783" y="72"/>
                  </a:cubicBezTo>
                  <a:cubicBezTo>
                    <a:pt x="783" y="71"/>
                    <a:pt x="782" y="70"/>
                    <a:pt x="782" y="70"/>
                  </a:cubicBezTo>
                  <a:cubicBezTo>
                    <a:pt x="779" y="67"/>
                    <a:pt x="777" y="63"/>
                    <a:pt x="774" y="63"/>
                  </a:cubicBezTo>
                  <a:cubicBezTo>
                    <a:pt x="773" y="63"/>
                    <a:pt x="773" y="63"/>
                    <a:pt x="772" y="64"/>
                  </a:cubicBezTo>
                  <a:cubicBezTo>
                    <a:pt x="770" y="65"/>
                    <a:pt x="770" y="67"/>
                    <a:pt x="770" y="68"/>
                  </a:cubicBezTo>
                  <a:cubicBezTo>
                    <a:pt x="770" y="68"/>
                    <a:pt x="770" y="68"/>
                    <a:pt x="770" y="69"/>
                  </a:cubicBezTo>
                  <a:cubicBezTo>
                    <a:pt x="767" y="72"/>
                    <a:pt x="763" y="80"/>
                    <a:pt x="762" y="84"/>
                  </a:cubicBezTo>
                  <a:cubicBezTo>
                    <a:pt x="762" y="87"/>
                    <a:pt x="763" y="90"/>
                    <a:pt x="763" y="93"/>
                  </a:cubicBezTo>
                  <a:cubicBezTo>
                    <a:pt x="764" y="95"/>
                    <a:pt x="765" y="98"/>
                    <a:pt x="764" y="99"/>
                  </a:cubicBezTo>
                  <a:cubicBezTo>
                    <a:pt x="764" y="100"/>
                    <a:pt x="759" y="103"/>
                    <a:pt x="757" y="104"/>
                  </a:cubicBezTo>
                  <a:cubicBezTo>
                    <a:pt x="757" y="103"/>
                    <a:pt x="757" y="103"/>
                    <a:pt x="757" y="103"/>
                  </a:cubicBezTo>
                  <a:cubicBezTo>
                    <a:pt x="756" y="102"/>
                    <a:pt x="756" y="102"/>
                    <a:pt x="756" y="101"/>
                  </a:cubicBezTo>
                  <a:cubicBezTo>
                    <a:pt x="753" y="98"/>
                    <a:pt x="753" y="93"/>
                    <a:pt x="753" y="92"/>
                  </a:cubicBezTo>
                  <a:cubicBezTo>
                    <a:pt x="755" y="88"/>
                    <a:pt x="757" y="78"/>
                    <a:pt x="758" y="77"/>
                  </a:cubicBezTo>
                  <a:cubicBezTo>
                    <a:pt x="758" y="77"/>
                    <a:pt x="758" y="77"/>
                    <a:pt x="758" y="77"/>
                  </a:cubicBezTo>
                  <a:cubicBezTo>
                    <a:pt x="758" y="75"/>
                    <a:pt x="758" y="75"/>
                    <a:pt x="758" y="75"/>
                  </a:cubicBezTo>
                  <a:cubicBezTo>
                    <a:pt x="757" y="73"/>
                    <a:pt x="757" y="69"/>
                    <a:pt x="755" y="68"/>
                  </a:cubicBezTo>
                  <a:cubicBezTo>
                    <a:pt x="754" y="67"/>
                    <a:pt x="752" y="66"/>
                    <a:pt x="749" y="66"/>
                  </a:cubicBezTo>
                  <a:cubicBezTo>
                    <a:pt x="748" y="66"/>
                    <a:pt x="746" y="66"/>
                    <a:pt x="745" y="66"/>
                  </a:cubicBezTo>
                  <a:cubicBezTo>
                    <a:pt x="742" y="67"/>
                    <a:pt x="734" y="70"/>
                    <a:pt x="733" y="71"/>
                  </a:cubicBezTo>
                  <a:cubicBezTo>
                    <a:pt x="705" y="85"/>
                    <a:pt x="705" y="85"/>
                    <a:pt x="705" y="85"/>
                  </a:cubicBezTo>
                  <a:cubicBezTo>
                    <a:pt x="701" y="86"/>
                    <a:pt x="697" y="86"/>
                    <a:pt x="696" y="86"/>
                  </a:cubicBezTo>
                  <a:cubicBezTo>
                    <a:pt x="687" y="84"/>
                    <a:pt x="682" y="77"/>
                    <a:pt x="681" y="77"/>
                  </a:cubicBezTo>
                  <a:cubicBezTo>
                    <a:pt x="681" y="76"/>
                    <a:pt x="679" y="74"/>
                    <a:pt x="678" y="72"/>
                  </a:cubicBezTo>
                  <a:cubicBezTo>
                    <a:pt x="677" y="71"/>
                    <a:pt x="676" y="70"/>
                    <a:pt x="675" y="70"/>
                  </a:cubicBezTo>
                  <a:cubicBezTo>
                    <a:pt x="674" y="68"/>
                    <a:pt x="672" y="64"/>
                    <a:pt x="671" y="62"/>
                  </a:cubicBezTo>
                  <a:cubicBezTo>
                    <a:pt x="671" y="60"/>
                    <a:pt x="670" y="57"/>
                    <a:pt x="670" y="56"/>
                  </a:cubicBezTo>
                  <a:cubicBezTo>
                    <a:pt x="671" y="54"/>
                    <a:pt x="675" y="49"/>
                    <a:pt x="679" y="49"/>
                  </a:cubicBezTo>
                  <a:cubicBezTo>
                    <a:pt x="680" y="49"/>
                    <a:pt x="682" y="50"/>
                    <a:pt x="683" y="52"/>
                  </a:cubicBezTo>
                  <a:cubicBezTo>
                    <a:pt x="683" y="58"/>
                    <a:pt x="683" y="58"/>
                    <a:pt x="683" y="58"/>
                  </a:cubicBezTo>
                  <a:cubicBezTo>
                    <a:pt x="683" y="59"/>
                    <a:pt x="683" y="59"/>
                    <a:pt x="683" y="59"/>
                  </a:cubicBezTo>
                  <a:cubicBezTo>
                    <a:pt x="684" y="63"/>
                    <a:pt x="687" y="73"/>
                    <a:pt x="691" y="75"/>
                  </a:cubicBezTo>
                  <a:cubicBezTo>
                    <a:pt x="693" y="76"/>
                    <a:pt x="695" y="76"/>
                    <a:pt x="697" y="75"/>
                  </a:cubicBezTo>
                  <a:cubicBezTo>
                    <a:pt x="698" y="75"/>
                    <a:pt x="699" y="75"/>
                    <a:pt x="699" y="75"/>
                  </a:cubicBezTo>
                  <a:cubicBezTo>
                    <a:pt x="700" y="75"/>
                    <a:pt x="701" y="76"/>
                    <a:pt x="702" y="76"/>
                  </a:cubicBezTo>
                  <a:cubicBezTo>
                    <a:pt x="704" y="77"/>
                    <a:pt x="705" y="78"/>
                    <a:pt x="707" y="78"/>
                  </a:cubicBezTo>
                  <a:cubicBezTo>
                    <a:pt x="707" y="78"/>
                    <a:pt x="708" y="78"/>
                    <a:pt x="708" y="78"/>
                  </a:cubicBezTo>
                  <a:cubicBezTo>
                    <a:pt x="714" y="77"/>
                    <a:pt x="728" y="69"/>
                    <a:pt x="727" y="61"/>
                  </a:cubicBezTo>
                  <a:cubicBezTo>
                    <a:pt x="726" y="61"/>
                    <a:pt x="725" y="56"/>
                    <a:pt x="729" y="54"/>
                  </a:cubicBezTo>
                  <a:cubicBezTo>
                    <a:pt x="730" y="54"/>
                    <a:pt x="733" y="55"/>
                    <a:pt x="734" y="56"/>
                  </a:cubicBezTo>
                  <a:cubicBezTo>
                    <a:pt x="735" y="57"/>
                    <a:pt x="735" y="57"/>
                    <a:pt x="735" y="57"/>
                  </a:cubicBezTo>
                  <a:cubicBezTo>
                    <a:pt x="738" y="58"/>
                    <a:pt x="740" y="57"/>
                    <a:pt x="741" y="56"/>
                  </a:cubicBezTo>
                  <a:cubicBezTo>
                    <a:pt x="743" y="53"/>
                    <a:pt x="741" y="47"/>
                    <a:pt x="739" y="42"/>
                  </a:cubicBezTo>
                  <a:cubicBezTo>
                    <a:pt x="739" y="41"/>
                    <a:pt x="738" y="40"/>
                    <a:pt x="738" y="40"/>
                  </a:cubicBezTo>
                  <a:cubicBezTo>
                    <a:pt x="739" y="40"/>
                    <a:pt x="739" y="40"/>
                    <a:pt x="740" y="40"/>
                  </a:cubicBezTo>
                  <a:cubicBezTo>
                    <a:pt x="741" y="41"/>
                    <a:pt x="746" y="45"/>
                    <a:pt x="751" y="47"/>
                  </a:cubicBezTo>
                  <a:cubicBezTo>
                    <a:pt x="752" y="47"/>
                    <a:pt x="755" y="48"/>
                    <a:pt x="758" y="48"/>
                  </a:cubicBezTo>
                  <a:cubicBezTo>
                    <a:pt x="761" y="48"/>
                    <a:pt x="763" y="47"/>
                    <a:pt x="763" y="45"/>
                  </a:cubicBezTo>
                  <a:cubicBezTo>
                    <a:pt x="765" y="42"/>
                    <a:pt x="761" y="39"/>
                    <a:pt x="758" y="37"/>
                  </a:cubicBezTo>
                  <a:cubicBezTo>
                    <a:pt x="757" y="37"/>
                    <a:pt x="756" y="36"/>
                    <a:pt x="756" y="36"/>
                  </a:cubicBezTo>
                  <a:cubicBezTo>
                    <a:pt x="755" y="35"/>
                    <a:pt x="755" y="34"/>
                    <a:pt x="754" y="34"/>
                  </a:cubicBezTo>
                  <a:cubicBezTo>
                    <a:pt x="753" y="33"/>
                    <a:pt x="752" y="32"/>
                    <a:pt x="751" y="31"/>
                  </a:cubicBezTo>
                  <a:cubicBezTo>
                    <a:pt x="753" y="30"/>
                    <a:pt x="755" y="27"/>
                    <a:pt x="757" y="23"/>
                  </a:cubicBezTo>
                  <a:cubicBezTo>
                    <a:pt x="757" y="22"/>
                    <a:pt x="758" y="19"/>
                    <a:pt x="756" y="17"/>
                  </a:cubicBezTo>
                  <a:cubicBezTo>
                    <a:pt x="755" y="15"/>
                    <a:pt x="752" y="15"/>
                    <a:pt x="750" y="15"/>
                  </a:cubicBezTo>
                  <a:cubicBezTo>
                    <a:pt x="749" y="15"/>
                    <a:pt x="748" y="15"/>
                    <a:pt x="748" y="15"/>
                  </a:cubicBezTo>
                  <a:cubicBezTo>
                    <a:pt x="747" y="14"/>
                    <a:pt x="745" y="12"/>
                    <a:pt x="743" y="9"/>
                  </a:cubicBezTo>
                  <a:cubicBezTo>
                    <a:pt x="742" y="2"/>
                    <a:pt x="742" y="2"/>
                    <a:pt x="742" y="2"/>
                  </a:cubicBezTo>
                  <a:cubicBezTo>
                    <a:pt x="742" y="1"/>
                    <a:pt x="741" y="1"/>
                    <a:pt x="741" y="0"/>
                  </a:cubicBezTo>
                  <a:cubicBezTo>
                    <a:pt x="740" y="0"/>
                    <a:pt x="739" y="0"/>
                    <a:pt x="739" y="0"/>
                  </a:cubicBezTo>
                  <a:cubicBezTo>
                    <a:pt x="648" y="20"/>
                    <a:pt x="648" y="20"/>
                    <a:pt x="648" y="20"/>
                  </a:cubicBezTo>
                  <a:cubicBezTo>
                    <a:pt x="545" y="41"/>
                    <a:pt x="545" y="41"/>
                    <a:pt x="545" y="41"/>
                  </a:cubicBezTo>
                  <a:cubicBezTo>
                    <a:pt x="342" y="79"/>
                    <a:pt x="342" y="79"/>
                    <a:pt x="342" y="79"/>
                  </a:cubicBezTo>
                  <a:cubicBezTo>
                    <a:pt x="267" y="89"/>
                    <a:pt x="267" y="89"/>
                    <a:pt x="267" y="89"/>
                  </a:cubicBezTo>
                  <a:cubicBezTo>
                    <a:pt x="239" y="92"/>
                    <a:pt x="239" y="92"/>
                    <a:pt x="239" y="92"/>
                  </a:cubicBezTo>
                  <a:cubicBezTo>
                    <a:pt x="224" y="92"/>
                    <a:pt x="224" y="92"/>
                    <a:pt x="224" y="92"/>
                  </a:cubicBezTo>
                  <a:cubicBezTo>
                    <a:pt x="223" y="91"/>
                    <a:pt x="222" y="92"/>
                    <a:pt x="221" y="93"/>
                  </a:cubicBezTo>
                  <a:cubicBezTo>
                    <a:pt x="221" y="94"/>
                    <a:pt x="218" y="101"/>
                    <a:pt x="218" y="104"/>
                  </a:cubicBezTo>
                  <a:cubicBezTo>
                    <a:pt x="217" y="105"/>
                    <a:pt x="218" y="107"/>
                    <a:pt x="218" y="109"/>
                  </a:cubicBezTo>
                  <a:cubicBezTo>
                    <a:pt x="218" y="110"/>
                    <a:pt x="218" y="111"/>
                    <a:pt x="218" y="112"/>
                  </a:cubicBezTo>
                  <a:cubicBezTo>
                    <a:pt x="218" y="115"/>
                    <a:pt x="218" y="122"/>
                    <a:pt x="216" y="124"/>
                  </a:cubicBezTo>
                  <a:cubicBezTo>
                    <a:pt x="216" y="124"/>
                    <a:pt x="214" y="125"/>
                    <a:pt x="213" y="125"/>
                  </a:cubicBezTo>
                  <a:cubicBezTo>
                    <a:pt x="212" y="126"/>
                    <a:pt x="210" y="126"/>
                    <a:pt x="209" y="127"/>
                  </a:cubicBezTo>
                  <a:cubicBezTo>
                    <a:pt x="207" y="128"/>
                    <a:pt x="203" y="132"/>
                    <a:pt x="202" y="135"/>
                  </a:cubicBezTo>
                  <a:cubicBezTo>
                    <a:pt x="201" y="137"/>
                    <a:pt x="200" y="140"/>
                    <a:pt x="199" y="143"/>
                  </a:cubicBezTo>
                  <a:cubicBezTo>
                    <a:pt x="199" y="146"/>
                    <a:pt x="198" y="149"/>
                    <a:pt x="197" y="151"/>
                  </a:cubicBezTo>
                  <a:cubicBezTo>
                    <a:pt x="194" y="156"/>
                    <a:pt x="192" y="157"/>
                    <a:pt x="192" y="157"/>
                  </a:cubicBezTo>
                  <a:cubicBezTo>
                    <a:pt x="192" y="157"/>
                    <a:pt x="191" y="156"/>
                    <a:pt x="190" y="156"/>
                  </a:cubicBezTo>
                  <a:cubicBezTo>
                    <a:pt x="189" y="154"/>
                    <a:pt x="188" y="152"/>
                    <a:pt x="186" y="152"/>
                  </a:cubicBezTo>
                  <a:cubicBezTo>
                    <a:pt x="186" y="152"/>
                    <a:pt x="185" y="152"/>
                    <a:pt x="185" y="152"/>
                  </a:cubicBezTo>
                  <a:cubicBezTo>
                    <a:pt x="180" y="152"/>
                    <a:pt x="171" y="157"/>
                    <a:pt x="169" y="158"/>
                  </a:cubicBezTo>
                  <a:cubicBezTo>
                    <a:pt x="162" y="164"/>
                    <a:pt x="162" y="164"/>
                    <a:pt x="162" y="164"/>
                  </a:cubicBezTo>
                  <a:cubicBezTo>
                    <a:pt x="162" y="165"/>
                    <a:pt x="162" y="165"/>
                    <a:pt x="161" y="165"/>
                  </a:cubicBezTo>
                  <a:cubicBezTo>
                    <a:pt x="159" y="172"/>
                    <a:pt x="159" y="172"/>
                    <a:pt x="159" y="172"/>
                  </a:cubicBezTo>
                  <a:cubicBezTo>
                    <a:pt x="157" y="175"/>
                    <a:pt x="154" y="179"/>
                    <a:pt x="153" y="179"/>
                  </a:cubicBezTo>
                  <a:cubicBezTo>
                    <a:pt x="152" y="179"/>
                    <a:pt x="150" y="179"/>
                    <a:pt x="150" y="179"/>
                  </a:cubicBezTo>
                  <a:cubicBezTo>
                    <a:pt x="149" y="179"/>
                    <a:pt x="148" y="177"/>
                    <a:pt x="147" y="176"/>
                  </a:cubicBezTo>
                  <a:cubicBezTo>
                    <a:pt x="146" y="174"/>
                    <a:pt x="144" y="172"/>
                    <a:pt x="141" y="172"/>
                  </a:cubicBezTo>
                  <a:cubicBezTo>
                    <a:pt x="138" y="172"/>
                    <a:pt x="136" y="174"/>
                    <a:pt x="133" y="177"/>
                  </a:cubicBezTo>
                  <a:cubicBezTo>
                    <a:pt x="132" y="178"/>
                    <a:pt x="130" y="180"/>
                    <a:pt x="129" y="181"/>
                  </a:cubicBezTo>
                  <a:cubicBezTo>
                    <a:pt x="129" y="182"/>
                    <a:pt x="128" y="184"/>
                    <a:pt x="128" y="185"/>
                  </a:cubicBezTo>
                  <a:cubicBezTo>
                    <a:pt x="128" y="186"/>
                    <a:pt x="128" y="186"/>
                    <a:pt x="128" y="187"/>
                  </a:cubicBezTo>
                  <a:cubicBezTo>
                    <a:pt x="128" y="186"/>
                    <a:pt x="127" y="186"/>
                    <a:pt x="127" y="186"/>
                  </a:cubicBezTo>
                  <a:cubicBezTo>
                    <a:pt x="125" y="185"/>
                    <a:pt x="122" y="184"/>
                    <a:pt x="121" y="185"/>
                  </a:cubicBezTo>
                  <a:cubicBezTo>
                    <a:pt x="117" y="187"/>
                    <a:pt x="117" y="192"/>
                    <a:pt x="117" y="196"/>
                  </a:cubicBezTo>
                  <a:cubicBezTo>
                    <a:pt x="117" y="198"/>
                    <a:pt x="117" y="200"/>
                    <a:pt x="117" y="201"/>
                  </a:cubicBezTo>
                  <a:cubicBezTo>
                    <a:pt x="115" y="206"/>
                    <a:pt x="114" y="207"/>
                    <a:pt x="113" y="207"/>
                  </a:cubicBezTo>
                  <a:cubicBezTo>
                    <a:pt x="113" y="207"/>
                    <a:pt x="113" y="207"/>
                    <a:pt x="113" y="207"/>
                  </a:cubicBezTo>
                  <a:cubicBezTo>
                    <a:pt x="113" y="207"/>
                    <a:pt x="112" y="207"/>
                    <a:pt x="111" y="207"/>
                  </a:cubicBezTo>
                  <a:cubicBezTo>
                    <a:pt x="109" y="207"/>
                    <a:pt x="108" y="207"/>
                    <a:pt x="107" y="207"/>
                  </a:cubicBezTo>
                  <a:cubicBezTo>
                    <a:pt x="102" y="209"/>
                    <a:pt x="93" y="217"/>
                    <a:pt x="91" y="218"/>
                  </a:cubicBezTo>
                  <a:cubicBezTo>
                    <a:pt x="91" y="218"/>
                    <a:pt x="77" y="234"/>
                    <a:pt x="71" y="238"/>
                  </a:cubicBezTo>
                  <a:cubicBezTo>
                    <a:pt x="70" y="239"/>
                    <a:pt x="67" y="241"/>
                    <a:pt x="65" y="241"/>
                  </a:cubicBezTo>
                  <a:cubicBezTo>
                    <a:pt x="64" y="241"/>
                    <a:pt x="62" y="241"/>
                    <a:pt x="61" y="241"/>
                  </a:cubicBezTo>
                  <a:cubicBezTo>
                    <a:pt x="59" y="241"/>
                    <a:pt x="59" y="241"/>
                    <a:pt x="59" y="241"/>
                  </a:cubicBezTo>
                  <a:cubicBezTo>
                    <a:pt x="55" y="241"/>
                    <a:pt x="52" y="241"/>
                    <a:pt x="50" y="242"/>
                  </a:cubicBezTo>
                  <a:cubicBezTo>
                    <a:pt x="45" y="243"/>
                    <a:pt x="37" y="248"/>
                    <a:pt x="34" y="251"/>
                  </a:cubicBezTo>
                  <a:cubicBezTo>
                    <a:pt x="32" y="252"/>
                    <a:pt x="27" y="258"/>
                    <a:pt x="27" y="258"/>
                  </a:cubicBezTo>
                  <a:cubicBezTo>
                    <a:pt x="27" y="259"/>
                    <a:pt x="27" y="259"/>
                    <a:pt x="27" y="259"/>
                  </a:cubicBezTo>
                  <a:cubicBezTo>
                    <a:pt x="24" y="267"/>
                    <a:pt x="24" y="267"/>
                    <a:pt x="24" y="267"/>
                  </a:cubicBezTo>
                  <a:cubicBezTo>
                    <a:pt x="24" y="267"/>
                    <a:pt x="24" y="268"/>
                    <a:pt x="24" y="268"/>
                  </a:cubicBezTo>
                  <a:cubicBezTo>
                    <a:pt x="23" y="271"/>
                    <a:pt x="23" y="276"/>
                    <a:pt x="22" y="277"/>
                  </a:cubicBezTo>
                  <a:cubicBezTo>
                    <a:pt x="22" y="279"/>
                    <a:pt x="18" y="282"/>
                    <a:pt x="17" y="283"/>
                  </a:cubicBezTo>
                  <a:cubicBezTo>
                    <a:pt x="15" y="284"/>
                    <a:pt x="7" y="286"/>
                    <a:pt x="3" y="287"/>
                  </a:cubicBezTo>
                  <a:cubicBezTo>
                    <a:pt x="1" y="287"/>
                    <a:pt x="0" y="288"/>
                    <a:pt x="0" y="290"/>
                  </a:cubicBezTo>
                  <a:cubicBezTo>
                    <a:pt x="0" y="316"/>
                    <a:pt x="0" y="316"/>
                    <a:pt x="0" y="316"/>
                  </a:cubicBezTo>
                  <a:cubicBezTo>
                    <a:pt x="0" y="319"/>
                    <a:pt x="1" y="320"/>
                    <a:pt x="1" y="321"/>
                  </a:cubicBezTo>
                  <a:cubicBezTo>
                    <a:pt x="2" y="322"/>
                    <a:pt x="4" y="322"/>
                    <a:pt x="5" y="322"/>
                  </a:cubicBezTo>
                  <a:cubicBezTo>
                    <a:pt x="5" y="322"/>
                    <a:pt x="6" y="322"/>
                    <a:pt x="7" y="322"/>
                  </a:cubicBezTo>
                  <a:cubicBezTo>
                    <a:pt x="34" y="318"/>
                    <a:pt x="118" y="304"/>
                    <a:pt x="119" y="304"/>
                  </a:cubicBezTo>
                  <a:cubicBezTo>
                    <a:pt x="119" y="304"/>
                    <a:pt x="119" y="304"/>
                    <a:pt x="120" y="304"/>
                  </a:cubicBezTo>
                  <a:cubicBezTo>
                    <a:pt x="143" y="292"/>
                    <a:pt x="143" y="292"/>
                    <a:pt x="143" y="292"/>
                  </a:cubicBezTo>
                  <a:cubicBezTo>
                    <a:pt x="150" y="291"/>
                    <a:pt x="150" y="291"/>
                    <a:pt x="150" y="291"/>
                  </a:cubicBezTo>
                  <a:cubicBezTo>
                    <a:pt x="151" y="291"/>
                    <a:pt x="151" y="291"/>
                    <a:pt x="152" y="291"/>
                  </a:cubicBezTo>
                  <a:cubicBezTo>
                    <a:pt x="163" y="280"/>
                    <a:pt x="163" y="280"/>
                    <a:pt x="163" y="280"/>
                  </a:cubicBezTo>
                  <a:cubicBezTo>
                    <a:pt x="178" y="275"/>
                    <a:pt x="178" y="275"/>
                    <a:pt x="178" y="275"/>
                  </a:cubicBezTo>
                  <a:cubicBezTo>
                    <a:pt x="185" y="271"/>
                    <a:pt x="185" y="271"/>
                    <a:pt x="185" y="271"/>
                  </a:cubicBezTo>
                  <a:cubicBezTo>
                    <a:pt x="191" y="269"/>
                    <a:pt x="191" y="269"/>
                    <a:pt x="191" y="269"/>
                  </a:cubicBezTo>
                  <a:cubicBezTo>
                    <a:pt x="276" y="260"/>
                    <a:pt x="276" y="260"/>
                    <a:pt x="276" y="260"/>
                  </a:cubicBezTo>
                  <a:cubicBezTo>
                    <a:pt x="306" y="258"/>
                    <a:pt x="306" y="258"/>
                    <a:pt x="306" y="258"/>
                  </a:cubicBezTo>
                  <a:cubicBezTo>
                    <a:pt x="313" y="264"/>
                    <a:pt x="313" y="264"/>
                    <a:pt x="313" y="264"/>
                  </a:cubicBezTo>
                  <a:cubicBezTo>
                    <a:pt x="313" y="265"/>
                    <a:pt x="315" y="265"/>
                    <a:pt x="315" y="264"/>
                  </a:cubicBezTo>
                  <a:cubicBezTo>
                    <a:pt x="321" y="262"/>
                    <a:pt x="321" y="262"/>
                    <a:pt x="321" y="262"/>
                  </a:cubicBezTo>
                  <a:cubicBezTo>
                    <a:pt x="332" y="272"/>
                    <a:pt x="332" y="272"/>
                    <a:pt x="332" y="272"/>
                  </a:cubicBezTo>
                  <a:cubicBezTo>
                    <a:pt x="334" y="279"/>
                    <a:pt x="334" y="279"/>
                    <a:pt x="334" y="279"/>
                  </a:cubicBezTo>
                  <a:cubicBezTo>
                    <a:pt x="335" y="286"/>
                    <a:pt x="335" y="286"/>
                    <a:pt x="335" y="286"/>
                  </a:cubicBezTo>
                  <a:cubicBezTo>
                    <a:pt x="335" y="287"/>
                    <a:pt x="335" y="287"/>
                    <a:pt x="336" y="288"/>
                  </a:cubicBezTo>
                  <a:cubicBezTo>
                    <a:pt x="338" y="290"/>
                    <a:pt x="338" y="290"/>
                    <a:pt x="338" y="290"/>
                  </a:cubicBezTo>
                  <a:cubicBezTo>
                    <a:pt x="339" y="290"/>
                    <a:pt x="339" y="291"/>
                    <a:pt x="340" y="291"/>
                  </a:cubicBezTo>
                  <a:cubicBezTo>
                    <a:pt x="444" y="274"/>
                    <a:pt x="444" y="274"/>
                    <a:pt x="444" y="274"/>
                  </a:cubicBezTo>
                  <a:cubicBezTo>
                    <a:pt x="563" y="359"/>
                    <a:pt x="563" y="359"/>
                    <a:pt x="563" y="359"/>
                  </a:cubicBezTo>
                  <a:cubicBezTo>
                    <a:pt x="566" y="361"/>
                    <a:pt x="566" y="361"/>
                    <a:pt x="566" y="361"/>
                  </a:cubicBezTo>
                  <a:cubicBezTo>
                    <a:pt x="567" y="362"/>
                    <a:pt x="567" y="362"/>
                    <a:pt x="568" y="362"/>
                  </a:cubicBezTo>
                  <a:cubicBezTo>
                    <a:pt x="568" y="362"/>
                    <a:pt x="568" y="362"/>
                    <a:pt x="568" y="362"/>
                  </a:cubicBezTo>
                  <a:cubicBezTo>
                    <a:pt x="573" y="361"/>
                    <a:pt x="573" y="361"/>
                    <a:pt x="573" y="361"/>
                  </a:cubicBezTo>
                  <a:cubicBezTo>
                    <a:pt x="588" y="355"/>
                    <a:pt x="588" y="355"/>
                    <a:pt x="588" y="355"/>
                  </a:cubicBezTo>
                  <a:cubicBezTo>
                    <a:pt x="588" y="355"/>
                    <a:pt x="599" y="352"/>
                    <a:pt x="602" y="351"/>
                  </a:cubicBezTo>
                  <a:cubicBezTo>
                    <a:pt x="607" y="350"/>
                    <a:pt x="613" y="346"/>
                    <a:pt x="613" y="346"/>
                  </a:cubicBezTo>
                  <a:cubicBezTo>
                    <a:pt x="614" y="345"/>
                    <a:pt x="614" y="345"/>
                    <a:pt x="614" y="345"/>
                  </a:cubicBezTo>
                  <a:cubicBezTo>
                    <a:pt x="616" y="341"/>
                    <a:pt x="616" y="331"/>
                    <a:pt x="616" y="328"/>
                  </a:cubicBezTo>
                  <a:cubicBezTo>
                    <a:pt x="615" y="326"/>
                    <a:pt x="614" y="324"/>
                    <a:pt x="613" y="321"/>
                  </a:cubicBezTo>
                  <a:cubicBezTo>
                    <a:pt x="612" y="320"/>
                    <a:pt x="610" y="316"/>
                    <a:pt x="610" y="315"/>
                  </a:cubicBezTo>
                  <a:cubicBezTo>
                    <a:pt x="610" y="315"/>
                    <a:pt x="611" y="314"/>
                    <a:pt x="613" y="314"/>
                  </a:cubicBezTo>
                  <a:cubicBezTo>
                    <a:pt x="615" y="314"/>
                    <a:pt x="618" y="315"/>
                    <a:pt x="618" y="315"/>
                  </a:cubicBezTo>
                  <a:cubicBezTo>
                    <a:pt x="619" y="316"/>
                    <a:pt x="620" y="319"/>
                    <a:pt x="620" y="320"/>
                  </a:cubicBezTo>
                  <a:cubicBezTo>
                    <a:pt x="621" y="321"/>
                    <a:pt x="621" y="321"/>
                    <a:pt x="621" y="321"/>
                  </a:cubicBezTo>
                  <a:cubicBezTo>
                    <a:pt x="621" y="323"/>
                    <a:pt x="622" y="325"/>
                    <a:pt x="622" y="328"/>
                  </a:cubicBezTo>
                  <a:cubicBezTo>
                    <a:pt x="622" y="334"/>
                    <a:pt x="623" y="341"/>
                    <a:pt x="628" y="341"/>
                  </a:cubicBezTo>
                  <a:cubicBezTo>
                    <a:pt x="635" y="341"/>
                    <a:pt x="635" y="332"/>
                    <a:pt x="635" y="324"/>
                  </a:cubicBezTo>
                  <a:cubicBezTo>
                    <a:pt x="635" y="321"/>
                    <a:pt x="635" y="318"/>
                    <a:pt x="636" y="317"/>
                  </a:cubicBezTo>
                  <a:cubicBezTo>
                    <a:pt x="636" y="315"/>
                    <a:pt x="637" y="311"/>
                    <a:pt x="638" y="309"/>
                  </a:cubicBezTo>
                  <a:cubicBezTo>
                    <a:pt x="639" y="307"/>
                    <a:pt x="645" y="297"/>
                    <a:pt x="644" y="293"/>
                  </a:cubicBezTo>
                  <a:cubicBezTo>
                    <a:pt x="644" y="292"/>
                    <a:pt x="644" y="291"/>
                    <a:pt x="644" y="290"/>
                  </a:cubicBezTo>
                  <a:cubicBezTo>
                    <a:pt x="643" y="289"/>
                    <a:pt x="643" y="288"/>
                    <a:pt x="644" y="287"/>
                  </a:cubicBezTo>
                  <a:cubicBezTo>
                    <a:pt x="645" y="285"/>
                    <a:pt x="647" y="284"/>
                    <a:pt x="650" y="283"/>
                  </a:cubicBezTo>
                  <a:cubicBezTo>
                    <a:pt x="655" y="279"/>
                    <a:pt x="660" y="276"/>
                    <a:pt x="660" y="271"/>
                  </a:cubicBezTo>
                  <a:cubicBezTo>
                    <a:pt x="660" y="268"/>
                    <a:pt x="657" y="267"/>
                    <a:pt x="654" y="265"/>
                  </a:cubicBezTo>
                  <a:cubicBezTo>
                    <a:pt x="653" y="265"/>
                    <a:pt x="651" y="264"/>
                    <a:pt x="651" y="264"/>
                  </a:cubicBezTo>
                  <a:cubicBezTo>
                    <a:pt x="651" y="263"/>
                    <a:pt x="651" y="263"/>
                    <a:pt x="651" y="263"/>
                  </a:cubicBezTo>
                  <a:cubicBezTo>
                    <a:pt x="650" y="261"/>
                    <a:pt x="650" y="257"/>
                    <a:pt x="649" y="255"/>
                  </a:cubicBezTo>
                  <a:cubicBezTo>
                    <a:pt x="651" y="253"/>
                    <a:pt x="654" y="251"/>
                    <a:pt x="656" y="250"/>
                  </a:cubicBezTo>
                  <a:cubicBezTo>
                    <a:pt x="659" y="248"/>
                    <a:pt x="660" y="248"/>
                    <a:pt x="661" y="247"/>
                  </a:cubicBezTo>
                  <a:cubicBezTo>
                    <a:pt x="662" y="247"/>
                    <a:pt x="663" y="248"/>
                    <a:pt x="664" y="248"/>
                  </a:cubicBezTo>
                  <a:cubicBezTo>
                    <a:pt x="663" y="249"/>
                    <a:pt x="663" y="249"/>
                    <a:pt x="662" y="249"/>
                  </a:cubicBezTo>
                  <a:cubicBezTo>
                    <a:pt x="660" y="251"/>
                    <a:pt x="658" y="253"/>
                    <a:pt x="659" y="256"/>
                  </a:cubicBezTo>
                  <a:cubicBezTo>
                    <a:pt x="660" y="260"/>
                    <a:pt x="667" y="260"/>
                    <a:pt x="669" y="260"/>
                  </a:cubicBezTo>
                  <a:cubicBezTo>
                    <a:pt x="669" y="260"/>
                    <a:pt x="669" y="260"/>
                    <a:pt x="670" y="260"/>
                  </a:cubicBezTo>
                  <a:cubicBezTo>
                    <a:pt x="671" y="260"/>
                    <a:pt x="672" y="259"/>
                    <a:pt x="673" y="258"/>
                  </a:cubicBezTo>
                  <a:cubicBezTo>
                    <a:pt x="675" y="257"/>
                    <a:pt x="677" y="253"/>
                    <a:pt x="679" y="250"/>
                  </a:cubicBezTo>
                  <a:cubicBezTo>
                    <a:pt x="680" y="249"/>
                    <a:pt x="680" y="247"/>
                    <a:pt x="681" y="245"/>
                  </a:cubicBezTo>
                  <a:cubicBezTo>
                    <a:pt x="682" y="242"/>
                    <a:pt x="683" y="238"/>
                    <a:pt x="684" y="237"/>
                  </a:cubicBezTo>
                  <a:cubicBezTo>
                    <a:pt x="685" y="237"/>
                    <a:pt x="686" y="238"/>
                    <a:pt x="687" y="238"/>
                  </a:cubicBezTo>
                  <a:cubicBezTo>
                    <a:pt x="688" y="239"/>
                    <a:pt x="690" y="240"/>
                    <a:pt x="692" y="240"/>
                  </a:cubicBezTo>
                  <a:cubicBezTo>
                    <a:pt x="692" y="240"/>
                    <a:pt x="692" y="240"/>
                    <a:pt x="692" y="240"/>
                  </a:cubicBezTo>
                  <a:cubicBezTo>
                    <a:pt x="695" y="240"/>
                    <a:pt x="699" y="237"/>
                    <a:pt x="703" y="235"/>
                  </a:cubicBezTo>
                  <a:cubicBezTo>
                    <a:pt x="706" y="233"/>
                    <a:pt x="709" y="231"/>
                    <a:pt x="711" y="231"/>
                  </a:cubicBezTo>
                  <a:cubicBezTo>
                    <a:pt x="711" y="231"/>
                    <a:pt x="712" y="231"/>
                    <a:pt x="712" y="231"/>
                  </a:cubicBezTo>
                  <a:cubicBezTo>
                    <a:pt x="715" y="231"/>
                    <a:pt x="717" y="231"/>
                    <a:pt x="719" y="230"/>
                  </a:cubicBezTo>
                  <a:cubicBezTo>
                    <a:pt x="720" y="229"/>
                    <a:pt x="720" y="228"/>
                    <a:pt x="720" y="226"/>
                  </a:cubicBezTo>
                  <a:cubicBezTo>
                    <a:pt x="720" y="226"/>
                    <a:pt x="720" y="226"/>
                    <a:pt x="720" y="226"/>
                  </a:cubicBezTo>
                  <a:cubicBezTo>
                    <a:pt x="722" y="221"/>
                    <a:pt x="723" y="220"/>
                    <a:pt x="723" y="220"/>
                  </a:cubicBezTo>
                  <a:cubicBezTo>
                    <a:pt x="723" y="220"/>
                    <a:pt x="724" y="220"/>
                    <a:pt x="724" y="220"/>
                  </a:cubicBezTo>
                  <a:cubicBezTo>
                    <a:pt x="724" y="220"/>
                    <a:pt x="729" y="220"/>
                    <a:pt x="729" y="220"/>
                  </a:cubicBezTo>
                  <a:cubicBezTo>
                    <a:pt x="729" y="220"/>
                    <a:pt x="730" y="220"/>
                    <a:pt x="730" y="221"/>
                  </a:cubicBezTo>
                  <a:cubicBezTo>
                    <a:pt x="732" y="222"/>
                    <a:pt x="735" y="224"/>
                    <a:pt x="741" y="224"/>
                  </a:cubicBezTo>
                  <a:cubicBezTo>
                    <a:pt x="745" y="224"/>
                    <a:pt x="747" y="218"/>
                    <a:pt x="748" y="213"/>
                  </a:cubicBezTo>
                  <a:cubicBezTo>
                    <a:pt x="748" y="211"/>
                    <a:pt x="749" y="209"/>
                    <a:pt x="749" y="209"/>
                  </a:cubicBezTo>
                  <a:cubicBezTo>
                    <a:pt x="750" y="208"/>
                    <a:pt x="751" y="206"/>
                    <a:pt x="752" y="205"/>
                  </a:cubicBezTo>
                  <a:cubicBezTo>
                    <a:pt x="754" y="204"/>
                    <a:pt x="755" y="203"/>
                    <a:pt x="756" y="201"/>
                  </a:cubicBezTo>
                  <a:cubicBezTo>
                    <a:pt x="756" y="201"/>
                    <a:pt x="759" y="196"/>
                    <a:pt x="759" y="192"/>
                  </a:cubicBezTo>
                  <a:cubicBezTo>
                    <a:pt x="759" y="190"/>
                    <a:pt x="758" y="185"/>
                    <a:pt x="755" y="184"/>
                  </a:cubicBezTo>
                  <a:cubicBezTo>
                    <a:pt x="754" y="184"/>
                    <a:pt x="754" y="184"/>
                    <a:pt x="753" y="184"/>
                  </a:cubicBezTo>
                  <a:cubicBezTo>
                    <a:pt x="752" y="184"/>
                    <a:pt x="750" y="184"/>
                    <a:pt x="749" y="185"/>
                  </a:cubicBezTo>
                  <a:cubicBezTo>
                    <a:pt x="748" y="186"/>
                    <a:pt x="747" y="188"/>
                    <a:pt x="747" y="190"/>
                  </a:cubicBezTo>
                  <a:cubicBezTo>
                    <a:pt x="746" y="191"/>
                    <a:pt x="746" y="193"/>
                    <a:pt x="746" y="193"/>
                  </a:cubicBezTo>
                  <a:cubicBezTo>
                    <a:pt x="743" y="195"/>
                    <a:pt x="738" y="196"/>
                    <a:pt x="733" y="198"/>
                  </a:cubicBezTo>
                  <a:cubicBezTo>
                    <a:pt x="730" y="198"/>
                    <a:pt x="727" y="199"/>
                    <a:pt x="725" y="200"/>
                  </a:cubicBezTo>
                  <a:cubicBezTo>
                    <a:pt x="723" y="201"/>
                    <a:pt x="721" y="202"/>
                    <a:pt x="718" y="204"/>
                  </a:cubicBezTo>
                  <a:cubicBezTo>
                    <a:pt x="716" y="206"/>
                    <a:pt x="713" y="209"/>
                    <a:pt x="711" y="209"/>
                  </a:cubicBezTo>
                  <a:cubicBezTo>
                    <a:pt x="710" y="209"/>
                    <a:pt x="709" y="209"/>
                    <a:pt x="707" y="209"/>
                  </a:cubicBezTo>
                  <a:cubicBezTo>
                    <a:pt x="703" y="209"/>
                    <a:pt x="699" y="209"/>
                    <a:pt x="697" y="208"/>
                  </a:cubicBezTo>
                  <a:cubicBezTo>
                    <a:pt x="694" y="206"/>
                    <a:pt x="690" y="202"/>
                    <a:pt x="687" y="199"/>
                  </a:cubicBezTo>
                  <a:cubicBezTo>
                    <a:pt x="686" y="197"/>
                    <a:pt x="686" y="197"/>
                    <a:pt x="686" y="197"/>
                  </a:cubicBezTo>
                  <a:cubicBezTo>
                    <a:pt x="685" y="196"/>
                    <a:pt x="683" y="192"/>
                    <a:pt x="682" y="190"/>
                  </a:cubicBezTo>
                  <a:cubicBezTo>
                    <a:pt x="682" y="190"/>
                    <a:pt x="683" y="191"/>
                    <a:pt x="683" y="191"/>
                  </a:cubicBezTo>
                  <a:cubicBezTo>
                    <a:pt x="684" y="191"/>
                    <a:pt x="686" y="192"/>
                    <a:pt x="688" y="192"/>
                  </a:cubicBezTo>
                  <a:cubicBezTo>
                    <a:pt x="689" y="193"/>
                    <a:pt x="691" y="193"/>
                    <a:pt x="691" y="194"/>
                  </a:cubicBezTo>
                  <a:cubicBezTo>
                    <a:pt x="692" y="194"/>
                    <a:pt x="693" y="195"/>
                    <a:pt x="695" y="196"/>
                  </a:cubicBezTo>
                  <a:cubicBezTo>
                    <a:pt x="696" y="198"/>
                    <a:pt x="698" y="200"/>
                    <a:pt x="700" y="200"/>
                  </a:cubicBezTo>
                  <a:cubicBezTo>
                    <a:pt x="703" y="201"/>
                    <a:pt x="707" y="202"/>
                    <a:pt x="710" y="201"/>
                  </a:cubicBezTo>
                  <a:cubicBezTo>
                    <a:pt x="712" y="201"/>
                    <a:pt x="715" y="198"/>
                    <a:pt x="716" y="197"/>
                  </a:cubicBezTo>
                  <a:cubicBezTo>
                    <a:pt x="717" y="196"/>
                    <a:pt x="726" y="186"/>
                    <a:pt x="728" y="181"/>
                  </a:cubicBezTo>
                  <a:cubicBezTo>
                    <a:pt x="728" y="181"/>
                    <a:pt x="730" y="174"/>
                    <a:pt x="727" y="171"/>
                  </a:cubicBezTo>
                  <a:cubicBezTo>
                    <a:pt x="727" y="171"/>
                    <a:pt x="727" y="171"/>
                    <a:pt x="726" y="171"/>
                  </a:cubicBezTo>
                  <a:cubicBezTo>
                    <a:pt x="728" y="171"/>
                    <a:pt x="729" y="171"/>
                    <a:pt x="730" y="170"/>
                  </a:cubicBezTo>
                  <a:cubicBezTo>
                    <a:pt x="732" y="168"/>
                    <a:pt x="735" y="162"/>
                    <a:pt x="734" y="159"/>
                  </a:cubicBezTo>
                  <a:cubicBezTo>
                    <a:pt x="733" y="158"/>
                    <a:pt x="732" y="156"/>
                    <a:pt x="729" y="156"/>
                  </a:cubicBezTo>
                  <a:cubicBezTo>
                    <a:pt x="727" y="156"/>
                    <a:pt x="725" y="157"/>
                    <a:pt x="722" y="159"/>
                  </a:cubicBezTo>
                  <a:cubicBezTo>
                    <a:pt x="720" y="159"/>
                    <a:pt x="717" y="160"/>
                    <a:pt x="716" y="160"/>
                  </a:cubicBezTo>
                  <a:cubicBezTo>
                    <a:pt x="716" y="160"/>
                    <a:pt x="716" y="160"/>
                    <a:pt x="716" y="160"/>
                  </a:cubicBezTo>
                  <a:cubicBezTo>
                    <a:pt x="714" y="160"/>
                    <a:pt x="709" y="160"/>
                    <a:pt x="708" y="160"/>
                  </a:cubicBezTo>
                  <a:cubicBezTo>
                    <a:pt x="698" y="160"/>
                    <a:pt x="681" y="157"/>
                    <a:pt x="677" y="153"/>
                  </a:cubicBezTo>
                  <a:cubicBezTo>
                    <a:pt x="676" y="152"/>
                    <a:pt x="676" y="147"/>
                    <a:pt x="676" y="143"/>
                  </a:cubicBezTo>
                  <a:cubicBezTo>
                    <a:pt x="676" y="143"/>
                    <a:pt x="676" y="143"/>
                    <a:pt x="676" y="143"/>
                  </a:cubicBezTo>
                  <a:cubicBezTo>
                    <a:pt x="678" y="143"/>
                    <a:pt x="682" y="145"/>
                    <a:pt x="684" y="146"/>
                  </a:cubicBezTo>
                  <a:cubicBezTo>
                    <a:pt x="686" y="147"/>
                    <a:pt x="688" y="147"/>
                    <a:pt x="689" y="148"/>
                  </a:cubicBezTo>
                  <a:cubicBezTo>
                    <a:pt x="690" y="148"/>
                    <a:pt x="690" y="148"/>
                    <a:pt x="691" y="148"/>
                  </a:cubicBezTo>
                  <a:cubicBezTo>
                    <a:pt x="691" y="149"/>
                    <a:pt x="692" y="149"/>
                    <a:pt x="693" y="149"/>
                  </a:cubicBezTo>
                  <a:cubicBezTo>
                    <a:pt x="693" y="149"/>
                    <a:pt x="694" y="149"/>
                    <a:pt x="695" y="148"/>
                  </a:cubicBezTo>
                  <a:cubicBezTo>
                    <a:pt x="697" y="148"/>
                    <a:pt x="698" y="148"/>
                    <a:pt x="699" y="147"/>
                  </a:cubicBezTo>
                  <a:cubicBezTo>
                    <a:pt x="700" y="146"/>
                    <a:pt x="702" y="146"/>
                    <a:pt x="702" y="146"/>
                  </a:cubicBezTo>
                  <a:cubicBezTo>
                    <a:pt x="702" y="146"/>
                    <a:pt x="703" y="146"/>
                    <a:pt x="703" y="146"/>
                  </a:cubicBezTo>
                  <a:cubicBezTo>
                    <a:pt x="704" y="147"/>
                    <a:pt x="705" y="147"/>
                    <a:pt x="707" y="147"/>
                  </a:cubicBezTo>
                  <a:cubicBezTo>
                    <a:pt x="707" y="147"/>
                    <a:pt x="709" y="147"/>
                    <a:pt x="709" y="146"/>
                  </a:cubicBezTo>
                  <a:cubicBezTo>
                    <a:pt x="711" y="144"/>
                    <a:pt x="709" y="141"/>
                    <a:pt x="708" y="139"/>
                  </a:cubicBezTo>
                  <a:cubicBezTo>
                    <a:pt x="707" y="138"/>
                    <a:pt x="707" y="137"/>
                    <a:pt x="707" y="137"/>
                  </a:cubicBezTo>
                  <a:cubicBezTo>
                    <a:pt x="706" y="136"/>
                    <a:pt x="706" y="136"/>
                    <a:pt x="706" y="136"/>
                  </a:cubicBezTo>
                  <a:cubicBezTo>
                    <a:pt x="706" y="135"/>
                    <a:pt x="706" y="133"/>
                    <a:pt x="706" y="132"/>
                  </a:cubicBezTo>
                  <a:cubicBezTo>
                    <a:pt x="707" y="132"/>
                    <a:pt x="711" y="131"/>
                    <a:pt x="715" y="131"/>
                  </a:cubicBezTo>
                  <a:cubicBezTo>
                    <a:pt x="714" y="132"/>
                    <a:pt x="713" y="133"/>
                    <a:pt x="713" y="135"/>
                  </a:cubicBezTo>
                  <a:cubicBezTo>
                    <a:pt x="713" y="136"/>
                    <a:pt x="713" y="139"/>
                    <a:pt x="722" y="143"/>
                  </a:cubicBezTo>
                  <a:cubicBezTo>
                    <a:pt x="725" y="145"/>
                    <a:pt x="728" y="146"/>
                    <a:pt x="729" y="146"/>
                  </a:cubicBezTo>
                  <a:cubicBezTo>
                    <a:pt x="730" y="146"/>
                    <a:pt x="731" y="146"/>
                    <a:pt x="732" y="145"/>
                  </a:cubicBezTo>
                  <a:cubicBezTo>
                    <a:pt x="732" y="145"/>
                    <a:pt x="733" y="145"/>
                    <a:pt x="735" y="145"/>
                  </a:cubicBezTo>
                  <a:cubicBezTo>
                    <a:pt x="742" y="146"/>
                    <a:pt x="742" y="146"/>
                    <a:pt x="742" y="146"/>
                  </a:cubicBezTo>
                  <a:cubicBezTo>
                    <a:pt x="743" y="146"/>
                    <a:pt x="750" y="148"/>
                    <a:pt x="755" y="148"/>
                  </a:cubicBezTo>
                  <a:cubicBezTo>
                    <a:pt x="758" y="148"/>
                    <a:pt x="759" y="147"/>
                    <a:pt x="760" y="147"/>
                  </a:cubicBezTo>
                  <a:cubicBezTo>
                    <a:pt x="763" y="146"/>
                    <a:pt x="766" y="142"/>
                    <a:pt x="768" y="139"/>
                  </a:cubicBezTo>
                  <a:cubicBezTo>
                    <a:pt x="772" y="133"/>
                    <a:pt x="777" y="121"/>
                    <a:pt x="779" y="115"/>
                  </a:cubicBezTo>
                  <a:cubicBezTo>
                    <a:pt x="779" y="114"/>
                    <a:pt x="779" y="112"/>
                    <a:pt x="778" y="111"/>
                  </a:cubicBezTo>
                  <a:cubicBezTo>
                    <a:pt x="778" y="111"/>
                    <a:pt x="778" y="110"/>
                    <a:pt x="778" y="110"/>
                  </a:cubicBezTo>
                  <a:cubicBezTo>
                    <a:pt x="778" y="110"/>
                    <a:pt x="779" y="110"/>
                    <a:pt x="779" y="110"/>
                  </a:cubicBezTo>
                  <a:cubicBezTo>
                    <a:pt x="780" y="111"/>
                    <a:pt x="781" y="112"/>
                    <a:pt x="783" y="112"/>
                  </a:cubicBezTo>
                  <a:cubicBezTo>
                    <a:pt x="783" y="112"/>
                    <a:pt x="784" y="112"/>
                    <a:pt x="784" y="112"/>
                  </a:cubicBezTo>
                  <a:cubicBezTo>
                    <a:pt x="787" y="111"/>
                    <a:pt x="792" y="106"/>
                    <a:pt x="792" y="103"/>
                  </a:cubicBezTo>
                  <a:cubicBezTo>
                    <a:pt x="793" y="101"/>
                    <a:pt x="791" y="97"/>
                    <a:pt x="790" y="95"/>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35">
              <a:extLst>
                <a:ext uri="{FF2B5EF4-FFF2-40B4-BE49-F238E27FC236}">
                  <a16:creationId xmlns:a16="http://schemas.microsoft.com/office/drawing/2014/main" id="{867DC13A-5A9E-461C-9012-EE46814297DA}"/>
                </a:ext>
              </a:extLst>
            </p:cNvPr>
            <p:cNvSpPr>
              <a:spLocks/>
            </p:cNvSpPr>
            <p:nvPr/>
          </p:nvSpPr>
          <p:spPr bwMode="auto">
            <a:xfrm>
              <a:off x="8104111" y="3392709"/>
              <a:ext cx="48515" cy="140491"/>
            </a:xfrm>
            <a:custGeom>
              <a:avLst/>
              <a:gdLst>
                <a:gd name="T0" fmla="*/ 16 w 48"/>
                <a:gd name="T1" fmla="*/ 104 h 139"/>
                <a:gd name="T2" fmla="*/ 18 w 48"/>
                <a:gd name="T3" fmla="*/ 121 h 139"/>
                <a:gd name="T4" fmla="*/ 11 w 48"/>
                <a:gd name="T5" fmla="*/ 139 h 139"/>
                <a:gd name="T6" fmla="*/ 1 w 48"/>
                <a:gd name="T7" fmla="*/ 126 h 139"/>
                <a:gd name="T8" fmla="*/ 0 w 48"/>
                <a:gd name="T9" fmla="*/ 107 h 139"/>
                <a:gd name="T10" fmla="*/ 2 w 48"/>
                <a:gd name="T11" fmla="*/ 104 h 139"/>
                <a:gd name="T12" fmla="*/ 1 w 48"/>
                <a:gd name="T13" fmla="*/ 95 h 139"/>
                <a:gd name="T14" fmla="*/ 2 w 48"/>
                <a:gd name="T15" fmla="*/ 76 h 139"/>
                <a:gd name="T16" fmla="*/ 8 w 48"/>
                <a:gd name="T17" fmla="*/ 60 h 139"/>
                <a:gd name="T18" fmla="*/ 10 w 48"/>
                <a:gd name="T19" fmla="*/ 41 h 139"/>
                <a:gd name="T20" fmla="*/ 18 w 48"/>
                <a:gd name="T21" fmla="*/ 41 h 139"/>
                <a:gd name="T22" fmla="*/ 19 w 48"/>
                <a:gd name="T23" fmla="*/ 31 h 139"/>
                <a:gd name="T24" fmla="*/ 11 w 48"/>
                <a:gd name="T25" fmla="*/ 24 h 139"/>
                <a:gd name="T26" fmla="*/ 19 w 48"/>
                <a:gd name="T27" fmla="*/ 16 h 139"/>
                <a:gd name="T28" fmla="*/ 28 w 48"/>
                <a:gd name="T29" fmla="*/ 7 h 139"/>
                <a:gd name="T30" fmla="*/ 48 w 48"/>
                <a:gd name="T31" fmla="*/ 0 h 139"/>
                <a:gd name="T32" fmla="*/ 45 w 48"/>
                <a:gd name="T33" fmla="*/ 13 h 139"/>
                <a:gd name="T34" fmla="*/ 46 w 48"/>
                <a:gd name="T35" fmla="*/ 22 h 139"/>
                <a:gd name="T36" fmla="*/ 39 w 48"/>
                <a:gd name="T37" fmla="*/ 35 h 139"/>
                <a:gd name="T38" fmla="*/ 36 w 48"/>
                <a:gd name="T39" fmla="*/ 54 h 139"/>
                <a:gd name="T40" fmla="*/ 37 w 48"/>
                <a:gd name="T41" fmla="*/ 72 h 139"/>
                <a:gd name="T42" fmla="*/ 34 w 48"/>
                <a:gd name="T43" fmla="*/ 82 h 139"/>
                <a:gd name="T44" fmla="*/ 34 w 48"/>
                <a:gd name="T45" fmla="*/ 83 h 139"/>
                <a:gd name="T46" fmla="*/ 25 w 48"/>
                <a:gd name="T47" fmla="*/ 76 h 139"/>
                <a:gd name="T48" fmla="*/ 23 w 48"/>
                <a:gd name="T49" fmla="*/ 85 h 139"/>
                <a:gd name="T50" fmla="*/ 18 w 48"/>
                <a:gd name="T51" fmla="*/ 95 h 139"/>
                <a:gd name="T52" fmla="*/ 16 w 48"/>
                <a:gd name="T53" fmla="*/ 104 h 139"/>
                <a:gd name="T54" fmla="*/ 16 w 48"/>
                <a:gd name="T55" fmla="*/ 10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39">
                  <a:moveTo>
                    <a:pt x="16" y="104"/>
                  </a:moveTo>
                  <a:lnTo>
                    <a:pt x="18" y="121"/>
                  </a:lnTo>
                  <a:lnTo>
                    <a:pt x="11" y="139"/>
                  </a:lnTo>
                  <a:lnTo>
                    <a:pt x="1" y="126"/>
                  </a:lnTo>
                  <a:lnTo>
                    <a:pt x="0" y="107"/>
                  </a:lnTo>
                  <a:lnTo>
                    <a:pt x="2" y="104"/>
                  </a:lnTo>
                  <a:lnTo>
                    <a:pt x="1" y="95"/>
                  </a:lnTo>
                  <a:lnTo>
                    <a:pt x="2" y="76"/>
                  </a:lnTo>
                  <a:lnTo>
                    <a:pt x="8" y="60"/>
                  </a:lnTo>
                  <a:lnTo>
                    <a:pt x="10" y="41"/>
                  </a:lnTo>
                  <a:lnTo>
                    <a:pt x="18" y="41"/>
                  </a:lnTo>
                  <a:lnTo>
                    <a:pt x="19" y="31"/>
                  </a:lnTo>
                  <a:lnTo>
                    <a:pt x="11" y="24"/>
                  </a:lnTo>
                  <a:lnTo>
                    <a:pt x="19" y="16"/>
                  </a:lnTo>
                  <a:lnTo>
                    <a:pt x="28" y="7"/>
                  </a:lnTo>
                  <a:lnTo>
                    <a:pt x="48" y="0"/>
                  </a:lnTo>
                  <a:lnTo>
                    <a:pt x="45" y="13"/>
                  </a:lnTo>
                  <a:lnTo>
                    <a:pt x="46" y="22"/>
                  </a:lnTo>
                  <a:lnTo>
                    <a:pt x="39" y="35"/>
                  </a:lnTo>
                  <a:lnTo>
                    <a:pt x="36" y="54"/>
                  </a:lnTo>
                  <a:lnTo>
                    <a:pt x="37" y="72"/>
                  </a:lnTo>
                  <a:lnTo>
                    <a:pt x="34" y="82"/>
                  </a:lnTo>
                  <a:lnTo>
                    <a:pt x="34" y="83"/>
                  </a:lnTo>
                  <a:lnTo>
                    <a:pt x="25" y="76"/>
                  </a:lnTo>
                  <a:lnTo>
                    <a:pt x="23" y="85"/>
                  </a:lnTo>
                  <a:lnTo>
                    <a:pt x="18" y="95"/>
                  </a:lnTo>
                  <a:lnTo>
                    <a:pt x="16" y="104"/>
                  </a:lnTo>
                  <a:lnTo>
                    <a:pt x="16" y="104"/>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36">
              <a:extLst>
                <a:ext uri="{FF2B5EF4-FFF2-40B4-BE49-F238E27FC236}">
                  <a16:creationId xmlns:a16="http://schemas.microsoft.com/office/drawing/2014/main" id="{E05D5598-C937-4061-90EA-8A1E6C916FBD}"/>
                </a:ext>
              </a:extLst>
            </p:cNvPr>
            <p:cNvSpPr>
              <a:spLocks/>
            </p:cNvSpPr>
            <p:nvPr/>
          </p:nvSpPr>
          <p:spPr bwMode="auto">
            <a:xfrm>
              <a:off x="7353141" y="3252218"/>
              <a:ext cx="806560" cy="462913"/>
            </a:xfrm>
            <a:custGeom>
              <a:avLst/>
              <a:gdLst>
                <a:gd name="T0" fmla="*/ 675 w 725"/>
                <a:gd name="T1" fmla="*/ 254 h 417"/>
                <a:gd name="T2" fmla="*/ 638 w 725"/>
                <a:gd name="T3" fmla="*/ 251 h 417"/>
                <a:gd name="T4" fmla="*/ 622 w 725"/>
                <a:gd name="T5" fmla="*/ 243 h 417"/>
                <a:gd name="T6" fmla="*/ 588 w 725"/>
                <a:gd name="T7" fmla="*/ 239 h 417"/>
                <a:gd name="T8" fmla="*/ 583 w 725"/>
                <a:gd name="T9" fmla="*/ 229 h 417"/>
                <a:gd name="T10" fmla="*/ 611 w 725"/>
                <a:gd name="T11" fmla="*/ 232 h 417"/>
                <a:gd name="T12" fmla="*/ 625 w 725"/>
                <a:gd name="T13" fmla="*/ 235 h 417"/>
                <a:gd name="T14" fmla="*/ 651 w 725"/>
                <a:gd name="T15" fmla="*/ 246 h 417"/>
                <a:gd name="T16" fmla="*/ 673 w 725"/>
                <a:gd name="T17" fmla="*/ 238 h 417"/>
                <a:gd name="T18" fmla="*/ 659 w 725"/>
                <a:gd name="T19" fmla="*/ 232 h 417"/>
                <a:gd name="T20" fmla="*/ 614 w 725"/>
                <a:gd name="T21" fmla="*/ 200 h 417"/>
                <a:gd name="T22" fmla="*/ 656 w 725"/>
                <a:gd name="T23" fmla="*/ 211 h 417"/>
                <a:gd name="T24" fmla="*/ 664 w 725"/>
                <a:gd name="T25" fmla="*/ 211 h 417"/>
                <a:gd name="T26" fmla="*/ 653 w 725"/>
                <a:gd name="T27" fmla="*/ 183 h 417"/>
                <a:gd name="T28" fmla="*/ 630 w 725"/>
                <a:gd name="T29" fmla="*/ 184 h 417"/>
                <a:gd name="T30" fmla="*/ 604 w 725"/>
                <a:gd name="T31" fmla="*/ 164 h 417"/>
                <a:gd name="T32" fmla="*/ 584 w 725"/>
                <a:gd name="T33" fmla="*/ 144 h 417"/>
                <a:gd name="T34" fmla="*/ 581 w 725"/>
                <a:gd name="T35" fmla="*/ 133 h 417"/>
                <a:gd name="T36" fmla="*/ 605 w 725"/>
                <a:gd name="T37" fmla="*/ 153 h 417"/>
                <a:gd name="T38" fmla="*/ 633 w 725"/>
                <a:gd name="T39" fmla="*/ 171 h 417"/>
                <a:gd name="T40" fmla="*/ 653 w 725"/>
                <a:gd name="T41" fmla="*/ 155 h 417"/>
                <a:gd name="T42" fmla="*/ 635 w 725"/>
                <a:gd name="T43" fmla="*/ 133 h 417"/>
                <a:gd name="T44" fmla="*/ 625 w 725"/>
                <a:gd name="T45" fmla="*/ 127 h 417"/>
                <a:gd name="T46" fmla="*/ 601 w 725"/>
                <a:gd name="T47" fmla="*/ 120 h 417"/>
                <a:gd name="T48" fmla="*/ 576 w 725"/>
                <a:gd name="T49" fmla="*/ 109 h 417"/>
                <a:gd name="T50" fmla="*/ 556 w 725"/>
                <a:gd name="T51" fmla="*/ 106 h 417"/>
                <a:gd name="T52" fmla="*/ 545 w 725"/>
                <a:gd name="T53" fmla="*/ 94 h 417"/>
                <a:gd name="T54" fmla="*/ 557 w 725"/>
                <a:gd name="T55" fmla="*/ 69 h 417"/>
                <a:gd name="T56" fmla="*/ 560 w 725"/>
                <a:gd name="T57" fmla="*/ 48 h 417"/>
                <a:gd name="T58" fmla="*/ 540 w 725"/>
                <a:gd name="T59" fmla="*/ 31 h 417"/>
                <a:gd name="T60" fmla="*/ 513 w 725"/>
                <a:gd name="T61" fmla="*/ 20 h 417"/>
                <a:gd name="T62" fmla="*/ 480 w 725"/>
                <a:gd name="T63" fmla="*/ 12 h 417"/>
                <a:gd name="T64" fmla="*/ 426 w 725"/>
                <a:gd name="T65" fmla="*/ 6 h 417"/>
                <a:gd name="T66" fmla="*/ 425 w 725"/>
                <a:gd name="T67" fmla="*/ 37 h 417"/>
                <a:gd name="T68" fmla="*/ 410 w 725"/>
                <a:gd name="T69" fmla="*/ 65 h 417"/>
                <a:gd name="T70" fmla="*/ 389 w 725"/>
                <a:gd name="T71" fmla="*/ 82 h 417"/>
                <a:gd name="T72" fmla="*/ 375 w 725"/>
                <a:gd name="T73" fmla="*/ 105 h 417"/>
                <a:gd name="T74" fmla="*/ 358 w 725"/>
                <a:gd name="T75" fmla="*/ 133 h 417"/>
                <a:gd name="T76" fmla="*/ 329 w 725"/>
                <a:gd name="T77" fmla="*/ 124 h 417"/>
                <a:gd name="T78" fmla="*/ 322 w 725"/>
                <a:gd name="T79" fmla="*/ 159 h 417"/>
                <a:gd name="T80" fmla="*/ 311 w 725"/>
                <a:gd name="T81" fmla="*/ 196 h 417"/>
                <a:gd name="T82" fmla="*/ 298 w 725"/>
                <a:gd name="T83" fmla="*/ 243 h 417"/>
                <a:gd name="T84" fmla="*/ 292 w 725"/>
                <a:gd name="T85" fmla="*/ 259 h 417"/>
                <a:gd name="T86" fmla="*/ 255 w 725"/>
                <a:gd name="T87" fmla="*/ 276 h 417"/>
                <a:gd name="T88" fmla="*/ 237 w 725"/>
                <a:gd name="T89" fmla="*/ 290 h 417"/>
                <a:gd name="T90" fmla="*/ 197 w 725"/>
                <a:gd name="T91" fmla="*/ 300 h 417"/>
                <a:gd name="T92" fmla="*/ 152 w 725"/>
                <a:gd name="T93" fmla="*/ 294 h 417"/>
                <a:gd name="T94" fmla="*/ 82 w 725"/>
                <a:gd name="T95" fmla="*/ 341 h 417"/>
                <a:gd name="T96" fmla="*/ 72 w 725"/>
                <a:gd name="T97" fmla="*/ 362 h 417"/>
                <a:gd name="T98" fmla="*/ 51 w 725"/>
                <a:gd name="T99" fmla="*/ 385 h 417"/>
                <a:gd name="T100" fmla="*/ 18 w 725"/>
                <a:gd name="T101" fmla="*/ 399 h 417"/>
                <a:gd name="T102" fmla="*/ 179 w 725"/>
                <a:gd name="T103" fmla="*/ 387 h 417"/>
                <a:gd name="T104" fmla="*/ 615 w 725"/>
                <a:gd name="T105" fmla="*/ 315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5" h="417">
                  <a:moveTo>
                    <a:pt x="724" y="288"/>
                  </a:moveTo>
                  <a:cubicBezTo>
                    <a:pt x="710" y="265"/>
                    <a:pt x="710" y="265"/>
                    <a:pt x="710" y="265"/>
                  </a:cubicBezTo>
                  <a:cubicBezTo>
                    <a:pt x="704" y="256"/>
                    <a:pt x="704" y="256"/>
                    <a:pt x="704" y="256"/>
                  </a:cubicBezTo>
                  <a:cubicBezTo>
                    <a:pt x="703" y="255"/>
                    <a:pt x="703" y="255"/>
                    <a:pt x="702" y="255"/>
                  </a:cubicBezTo>
                  <a:cubicBezTo>
                    <a:pt x="681" y="256"/>
                    <a:pt x="681" y="256"/>
                    <a:pt x="681" y="256"/>
                  </a:cubicBezTo>
                  <a:cubicBezTo>
                    <a:pt x="680" y="255"/>
                    <a:pt x="677" y="254"/>
                    <a:pt x="675" y="254"/>
                  </a:cubicBezTo>
                  <a:cubicBezTo>
                    <a:pt x="674" y="254"/>
                    <a:pt x="673" y="254"/>
                    <a:pt x="672" y="255"/>
                  </a:cubicBezTo>
                  <a:cubicBezTo>
                    <a:pt x="670" y="256"/>
                    <a:pt x="669" y="261"/>
                    <a:pt x="669" y="264"/>
                  </a:cubicBezTo>
                  <a:cubicBezTo>
                    <a:pt x="668" y="264"/>
                    <a:pt x="668" y="264"/>
                    <a:pt x="668" y="264"/>
                  </a:cubicBezTo>
                  <a:cubicBezTo>
                    <a:pt x="667" y="263"/>
                    <a:pt x="663" y="262"/>
                    <a:pt x="661" y="263"/>
                  </a:cubicBezTo>
                  <a:cubicBezTo>
                    <a:pt x="657" y="262"/>
                    <a:pt x="646" y="259"/>
                    <a:pt x="642" y="257"/>
                  </a:cubicBezTo>
                  <a:cubicBezTo>
                    <a:pt x="641" y="256"/>
                    <a:pt x="639" y="252"/>
                    <a:pt x="638" y="251"/>
                  </a:cubicBezTo>
                  <a:cubicBezTo>
                    <a:pt x="638" y="250"/>
                    <a:pt x="638" y="250"/>
                    <a:pt x="638" y="250"/>
                  </a:cubicBezTo>
                  <a:cubicBezTo>
                    <a:pt x="637" y="249"/>
                    <a:pt x="637" y="248"/>
                    <a:pt x="637" y="248"/>
                  </a:cubicBezTo>
                  <a:cubicBezTo>
                    <a:pt x="636" y="245"/>
                    <a:pt x="636" y="242"/>
                    <a:pt x="634" y="241"/>
                  </a:cubicBezTo>
                  <a:cubicBezTo>
                    <a:pt x="632" y="240"/>
                    <a:pt x="629" y="242"/>
                    <a:pt x="627" y="243"/>
                  </a:cubicBezTo>
                  <a:cubicBezTo>
                    <a:pt x="626" y="243"/>
                    <a:pt x="625" y="244"/>
                    <a:pt x="625" y="244"/>
                  </a:cubicBezTo>
                  <a:cubicBezTo>
                    <a:pt x="624" y="244"/>
                    <a:pt x="623" y="243"/>
                    <a:pt x="622" y="243"/>
                  </a:cubicBezTo>
                  <a:cubicBezTo>
                    <a:pt x="620" y="242"/>
                    <a:pt x="619" y="241"/>
                    <a:pt x="617" y="241"/>
                  </a:cubicBezTo>
                  <a:cubicBezTo>
                    <a:pt x="616" y="241"/>
                    <a:pt x="615" y="242"/>
                    <a:pt x="613" y="242"/>
                  </a:cubicBezTo>
                  <a:cubicBezTo>
                    <a:pt x="613" y="242"/>
                    <a:pt x="611" y="243"/>
                    <a:pt x="611" y="243"/>
                  </a:cubicBezTo>
                  <a:cubicBezTo>
                    <a:pt x="609" y="242"/>
                    <a:pt x="606" y="241"/>
                    <a:pt x="603" y="241"/>
                  </a:cubicBezTo>
                  <a:cubicBezTo>
                    <a:pt x="601" y="240"/>
                    <a:pt x="599" y="239"/>
                    <a:pt x="597" y="239"/>
                  </a:cubicBezTo>
                  <a:cubicBezTo>
                    <a:pt x="595" y="238"/>
                    <a:pt x="591" y="239"/>
                    <a:pt x="588" y="239"/>
                  </a:cubicBezTo>
                  <a:cubicBezTo>
                    <a:pt x="586" y="239"/>
                    <a:pt x="584" y="239"/>
                    <a:pt x="582" y="239"/>
                  </a:cubicBezTo>
                  <a:cubicBezTo>
                    <a:pt x="578" y="239"/>
                    <a:pt x="576" y="238"/>
                    <a:pt x="575" y="237"/>
                  </a:cubicBezTo>
                  <a:cubicBezTo>
                    <a:pt x="575" y="237"/>
                    <a:pt x="574" y="236"/>
                    <a:pt x="575" y="233"/>
                  </a:cubicBezTo>
                  <a:cubicBezTo>
                    <a:pt x="575" y="230"/>
                    <a:pt x="576" y="227"/>
                    <a:pt x="577" y="227"/>
                  </a:cubicBezTo>
                  <a:cubicBezTo>
                    <a:pt x="577" y="227"/>
                    <a:pt x="578" y="227"/>
                    <a:pt x="579" y="228"/>
                  </a:cubicBezTo>
                  <a:cubicBezTo>
                    <a:pt x="580" y="228"/>
                    <a:pt x="582" y="229"/>
                    <a:pt x="583" y="229"/>
                  </a:cubicBezTo>
                  <a:cubicBezTo>
                    <a:pt x="585" y="229"/>
                    <a:pt x="588" y="228"/>
                    <a:pt x="590" y="227"/>
                  </a:cubicBezTo>
                  <a:cubicBezTo>
                    <a:pt x="592" y="226"/>
                    <a:pt x="595" y="226"/>
                    <a:pt x="597" y="226"/>
                  </a:cubicBezTo>
                  <a:cubicBezTo>
                    <a:pt x="597" y="226"/>
                    <a:pt x="597" y="226"/>
                    <a:pt x="597" y="226"/>
                  </a:cubicBezTo>
                  <a:cubicBezTo>
                    <a:pt x="598" y="226"/>
                    <a:pt x="599" y="227"/>
                    <a:pt x="600" y="228"/>
                  </a:cubicBezTo>
                  <a:cubicBezTo>
                    <a:pt x="602" y="230"/>
                    <a:pt x="603" y="231"/>
                    <a:pt x="605" y="232"/>
                  </a:cubicBezTo>
                  <a:cubicBezTo>
                    <a:pt x="607" y="233"/>
                    <a:pt x="610" y="233"/>
                    <a:pt x="611" y="232"/>
                  </a:cubicBezTo>
                  <a:cubicBezTo>
                    <a:pt x="613" y="230"/>
                    <a:pt x="612" y="228"/>
                    <a:pt x="612" y="226"/>
                  </a:cubicBezTo>
                  <a:cubicBezTo>
                    <a:pt x="613" y="227"/>
                    <a:pt x="613" y="227"/>
                    <a:pt x="613" y="227"/>
                  </a:cubicBezTo>
                  <a:cubicBezTo>
                    <a:pt x="614" y="228"/>
                    <a:pt x="615" y="230"/>
                    <a:pt x="616" y="230"/>
                  </a:cubicBezTo>
                  <a:cubicBezTo>
                    <a:pt x="617" y="231"/>
                    <a:pt x="617" y="231"/>
                    <a:pt x="617" y="231"/>
                  </a:cubicBezTo>
                  <a:cubicBezTo>
                    <a:pt x="620" y="233"/>
                    <a:pt x="622" y="235"/>
                    <a:pt x="625" y="235"/>
                  </a:cubicBezTo>
                  <a:cubicBezTo>
                    <a:pt x="625" y="235"/>
                    <a:pt x="625" y="235"/>
                    <a:pt x="625" y="235"/>
                  </a:cubicBezTo>
                  <a:cubicBezTo>
                    <a:pt x="627" y="235"/>
                    <a:pt x="628" y="233"/>
                    <a:pt x="630" y="231"/>
                  </a:cubicBezTo>
                  <a:cubicBezTo>
                    <a:pt x="630" y="231"/>
                    <a:pt x="631" y="230"/>
                    <a:pt x="632" y="230"/>
                  </a:cubicBezTo>
                  <a:cubicBezTo>
                    <a:pt x="632" y="230"/>
                    <a:pt x="633" y="232"/>
                    <a:pt x="633" y="233"/>
                  </a:cubicBezTo>
                  <a:cubicBezTo>
                    <a:pt x="634" y="234"/>
                    <a:pt x="635" y="236"/>
                    <a:pt x="636" y="236"/>
                  </a:cubicBezTo>
                  <a:cubicBezTo>
                    <a:pt x="637" y="238"/>
                    <a:pt x="641" y="242"/>
                    <a:pt x="643" y="243"/>
                  </a:cubicBezTo>
                  <a:cubicBezTo>
                    <a:pt x="645" y="244"/>
                    <a:pt x="649" y="246"/>
                    <a:pt x="651" y="246"/>
                  </a:cubicBezTo>
                  <a:cubicBezTo>
                    <a:pt x="653" y="250"/>
                    <a:pt x="657" y="255"/>
                    <a:pt x="660" y="255"/>
                  </a:cubicBezTo>
                  <a:cubicBezTo>
                    <a:pt x="662" y="255"/>
                    <a:pt x="663" y="253"/>
                    <a:pt x="664" y="251"/>
                  </a:cubicBezTo>
                  <a:cubicBezTo>
                    <a:pt x="664" y="251"/>
                    <a:pt x="665" y="250"/>
                    <a:pt x="665" y="250"/>
                  </a:cubicBezTo>
                  <a:cubicBezTo>
                    <a:pt x="665" y="250"/>
                    <a:pt x="666" y="250"/>
                    <a:pt x="666" y="250"/>
                  </a:cubicBezTo>
                  <a:cubicBezTo>
                    <a:pt x="668" y="249"/>
                    <a:pt x="669" y="249"/>
                    <a:pt x="670" y="248"/>
                  </a:cubicBezTo>
                  <a:cubicBezTo>
                    <a:pt x="673" y="246"/>
                    <a:pt x="673" y="241"/>
                    <a:pt x="673" y="238"/>
                  </a:cubicBezTo>
                  <a:cubicBezTo>
                    <a:pt x="673" y="236"/>
                    <a:pt x="672" y="235"/>
                    <a:pt x="670" y="235"/>
                  </a:cubicBezTo>
                  <a:cubicBezTo>
                    <a:pt x="669" y="235"/>
                    <a:pt x="669" y="235"/>
                    <a:pt x="668" y="236"/>
                  </a:cubicBezTo>
                  <a:cubicBezTo>
                    <a:pt x="668" y="236"/>
                    <a:pt x="667" y="236"/>
                    <a:pt x="667" y="236"/>
                  </a:cubicBezTo>
                  <a:cubicBezTo>
                    <a:pt x="666" y="235"/>
                    <a:pt x="664" y="235"/>
                    <a:pt x="662" y="234"/>
                  </a:cubicBezTo>
                  <a:cubicBezTo>
                    <a:pt x="662" y="234"/>
                    <a:pt x="660" y="234"/>
                    <a:pt x="660" y="234"/>
                  </a:cubicBezTo>
                  <a:cubicBezTo>
                    <a:pt x="660" y="233"/>
                    <a:pt x="660" y="232"/>
                    <a:pt x="659" y="232"/>
                  </a:cubicBezTo>
                  <a:cubicBezTo>
                    <a:pt x="659" y="229"/>
                    <a:pt x="659" y="227"/>
                    <a:pt x="657" y="226"/>
                  </a:cubicBezTo>
                  <a:cubicBezTo>
                    <a:pt x="654" y="225"/>
                    <a:pt x="641" y="223"/>
                    <a:pt x="639" y="223"/>
                  </a:cubicBezTo>
                  <a:cubicBezTo>
                    <a:pt x="636" y="223"/>
                    <a:pt x="628" y="220"/>
                    <a:pt x="625" y="217"/>
                  </a:cubicBezTo>
                  <a:cubicBezTo>
                    <a:pt x="624" y="217"/>
                    <a:pt x="623" y="215"/>
                    <a:pt x="622" y="214"/>
                  </a:cubicBezTo>
                  <a:cubicBezTo>
                    <a:pt x="621" y="212"/>
                    <a:pt x="620" y="211"/>
                    <a:pt x="619" y="210"/>
                  </a:cubicBezTo>
                  <a:cubicBezTo>
                    <a:pt x="616" y="208"/>
                    <a:pt x="614" y="203"/>
                    <a:pt x="614" y="200"/>
                  </a:cubicBezTo>
                  <a:cubicBezTo>
                    <a:pt x="615" y="200"/>
                    <a:pt x="617" y="201"/>
                    <a:pt x="619" y="202"/>
                  </a:cubicBezTo>
                  <a:cubicBezTo>
                    <a:pt x="621" y="203"/>
                    <a:pt x="624" y="206"/>
                    <a:pt x="626" y="208"/>
                  </a:cubicBezTo>
                  <a:cubicBezTo>
                    <a:pt x="629" y="211"/>
                    <a:pt x="631" y="213"/>
                    <a:pt x="633" y="215"/>
                  </a:cubicBezTo>
                  <a:cubicBezTo>
                    <a:pt x="635" y="216"/>
                    <a:pt x="635" y="216"/>
                    <a:pt x="635" y="216"/>
                  </a:cubicBezTo>
                  <a:cubicBezTo>
                    <a:pt x="639" y="218"/>
                    <a:pt x="646" y="223"/>
                    <a:pt x="651" y="221"/>
                  </a:cubicBezTo>
                  <a:cubicBezTo>
                    <a:pt x="654" y="220"/>
                    <a:pt x="656" y="214"/>
                    <a:pt x="656" y="211"/>
                  </a:cubicBezTo>
                  <a:cubicBezTo>
                    <a:pt x="656" y="208"/>
                    <a:pt x="654" y="207"/>
                    <a:pt x="652" y="206"/>
                  </a:cubicBezTo>
                  <a:cubicBezTo>
                    <a:pt x="651" y="205"/>
                    <a:pt x="650" y="205"/>
                    <a:pt x="650" y="204"/>
                  </a:cubicBezTo>
                  <a:cubicBezTo>
                    <a:pt x="650" y="204"/>
                    <a:pt x="650" y="204"/>
                    <a:pt x="651" y="204"/>
                  </a:cubicBezTo>
                  <a:cubicBezTo>
                    <a:pt x="652" y="204"/>
                    <a:pt x="655" y="205"/>
                    <a:pt x="656" y="205"/>
                  </a:cubicBezTo>
                  <a:cubicBezTo>
                    <a:pt x="656" y="206"/>
                    <a:pt x="657" y="207"/>
                    <a:pt x="658" y="207"/>
                  </a:cubicBezTo>
                  <a:cubicBezTo>
                    <a:pt x="660" y="209"/>
                    <a:pt x="661" y="211"/>
                    <a:pt x="664" y="211"/>
                  </a:cubicBezTo>
                  <a:cubicBezTo>
                    <a:pt x="664" y="211"/>
                    <a:pt x="665" y="211"/>
                    <a:pt x="665" y="211"/>
                  </a:cubicBezTo>
                  <a:cubicBezTo>
                    <a:pt x="668" y="210"/>
                    <a:pt x="668" y="205"/>
                    <a:pt x="668" y="202"/>
                  </a:cubicBezTo>
                  <a:cubicBezTo>
                    <a:pt x="668" y="196"/>
                    <a:pt x="667" y="188"/>
                    <a:pt x="663" y="186"/>
                  </a:cubicBezTo>
                  <a:cubicBezTo>
                    <a:pt x="662" y="185"/>
                    <a:pt x="660" y="185"/>
                    <a:pt x="658" y="186"/>
                  </a:cubicBezTo>
                  <a:cubicBezTo>
                    <a:pt x="657" y="186"/>
                    <a:pt x="656" y="186"/>
                    <a:pt x="656" y="186"/>
                  </a:cubicBezTo>
                  <a:cubicBezTo>
                    <a:pt x="655" y="186"/>
                    <a:pt x="654" y="184"/>
                    <a:pt x="653" y="183"/>
                  </a:cubicBezTo>
                  <a:cubicBezTo>
                    <a:pt x="653" y="183"/>
                    <a:pt x="652" y="182"/>
                    <a:pt x="652" y="182"/>
                  </a:cubicBezTo>
                  <a:cubicBezTo>
                    <a:pt x="651" y="181"/>
                    <a:pt x="650" y="181"/>
                    <a:pt x="649" y="181"/>
                  </a:cubicBezTo>
                  <a:cubicBezTo>
                    <a:pt x="647" y="181"/>
                    <a:pt x="645" y="182"/>
                    <a:pt x="642" y="182"/>
                  </a:cubicBezTo>
                  <a:cubicBezTo>
                    <a:pt x="640" y="183"/>
                    <a:pt x="638" y="183"/>
                    <a:pt x="637" y="183"/>
                  </a:cubicBezTo>
                  <a:cubicBezTo>
                    <a:pt x="636" y="183"/>
                    <a:pt x="634" y="183"/>
                    <a:pt x="632" y="184"/>
                  </a:cubicBezTo>
                  <a:cubicBezTo>
                    <a:pt x="632" y="184"/>
                    <a:pt x="631" y="184"/>
                    <a:pt x="630" y="184"/>
                  </a:cubicBezTo>
                  <a:cubicBezTo>
                    <a:pt x="629" y="184"/>
                    <a:pt x="625" y="181"/>
                    <a:pt x="624" y="179"/>
                  </a:cubicBezTo>
                  <a:cubicBezTo>
                    <a:pt x="624" y="179"/>
                    <a:pt x="624" y="178"/>
                    <a:pt x="624" y="178"/>
                  </a:cubicBezTo>
                  <a:cubicBezTo>
                    <a:pt x="623" y="177"/>
                    <a:pt x="623" y="176"/>
                    <a:pt x="622" y="175"/>
                  </a:cubicBezTo>
                  <a:cubicBezTo>
                    <a:pt x="620" y="173"/>
                    <a:pt x="616" y="171"/>
                    <a:pt x="613" y="170"/>
                  </a:cubicBezTo>
                  <a:cubicBezTo>
                    <a:pt x="610" y="169"/>
                    <a:pt x="608" y="168"/>
                    <a:pt x="606" y="167"/>
                  </a:cubicBezTo>
                  <a:cubicBezTo>
                    <a:pt x="606" y="167"/>
                    <a:pt x="605" y="165"/>
                    <a:pt x="604" y="164"/>
                  </a:cubicBezTo>
                  <a:cubicBezTo>
                    <a:pt x="603" y="162"/>
                    <a:pt x="602" y="160"/>
                    <a:pt x="601" y="159"/>
                  </a:cubicBezTo>
                  <a:cubicBezTo>
                    <a:pt x="599" y="158"/>
                    <a:pt x="598" y="158"/>
                    <a:pt x="596" y="157"/>
                  </a:cubicBezTo>
                  <a:cubicBezTo>
                    <a:pt x="594" y="157"/>
                    <a:pt x="593" y="156"/>
                    <a:pt x="593" y="156"/>
                  </a:cubicBezTo>
                  <a:cubicBezTo>
                    <a:pt x="592" y="155"/>
                    <a:pt x="590" y="153"/>
                    <a:pt x="589" y="152"/>
                  </a:cubicBezTo>
                  <a:cubicBezTo>
                    <a:pt x="588" y="151"/>
                    <a:pt x="588" y="150"/>
                    <a:pt x="587" y="149"/>
                  </a:cubicBezTo>
                  <a:cubicBezTo>
                    <a:pt x="586" y="147"/>
                    <a:pt x="585" y="145"/>
                    <a:pt x="584" y="144"/>
                  </a:cubicBezTo>
                  <a:cubicBezTo>
                    <a:pt x="582" y="143"/>
                    <a:pt x="580" y="141"/>
                    <a:pt x="576" y="140"/>
                  </a:cubicBezTo>
                  <a:cubicBezTo>
                    <a:pt x="574" y="138"/>
                    <a:pt x="570" y="137"/>
                    <a:pt x="569" y="135"/>
                  </a:cubicBezTo>
                  <a:cubicBezTo>
                    <a:pt x="569" y="134"/>
                    <a:pt x="568" y="131"/>
                    <a:pt x="568" y="130"/>
                  </a:cubicBezTo>
                  <a:cubicBezTo>
                    <a:pt x="568" y="130"/>
                    <a:pt x="569" y="130"/>
                    <a:pt x="571" y="130"/>
                  </a:cubicBezTo>
                  <a:cubicBezTo>
                    <a:pt x="572" y="130"/>
                    <a:pt x="573" y="130"/>
                    <a:pt x="573" y="130"/>
                  </a:cubicBezTo>
                  <a:cubicBezTo>
                    <a:pt x="576" y="131"/>
                    <a:pt x="580" y="132"/>
                    <a:pt x="581" y="133"/>
                  </a:cubicBezTo>
                  <a:cubicBezTo>
                    <a:pt x="583" y="134"/>
                    <a:pt x="587" y="137"/>
                    <a:pt x="589" y="139"/>
                  </a:cubicBezTo>
                  <a:cubicBezTo>
                    <a:pt x="590" y="140"/>
                    <a:pt x="590" y="141"/>
                    <a:pt x="591" y="142"/>
                  </a:cubicBezTo>
                  <a:cubicBezTo>
                    <a:pt x="593" y="144"/>
                    <a:pt x="594" y="146"/>
                    <a:pt x="596" y="147"/>
                  </a:cubicBezTo>
                  <a:cubicBezTo>
                    <a:pt x="597" y="148"/>
                    <a:pt x="598" y="149"/>
                    <a:pt x="600" y="149"/>
                  </a:cubicBezTo>
                  <a:cubicBezTo>
                    <a:pt x="601" y="150"/>
                    <a:pt x="602" y="150"/>
                    <a:pt x="603" y="150"/>
                  </a:cubicBezTo>
                  <a:cubicBezTo>
                    <a:pt x="603" y="151"/>
                    <a:pt x="604" y="152"/>
                    <a:pt x="605" y="153"/>
                  </a:cubicBezTo>
                  <a:cubicBezTo>
                    <a:pt x="607" y="155"/>
                    <a:pt x="608" y="157"/>
                    <a:pt x="610" y="158"/>
                  </a:cubicBezTo>
                  <a:cubicBezTo>
                    <a:pt x="611" y="159"/>
                    <a:pt x="612" y="159"/>
                    <a:pt x="613" y="159"/>
                  </a:cubicBezTo>
                  <a:cubicBezTo>
                    <a:pt x="614" y="159"/>
                    <a:pt x="615" y="159"/>
                    <a:pt x="615" y="159"/>
                  </a:cubicBezTo>
                  <a:cubicBezTo>
                    <a:pt x="617" y="160"/>
                    <a:pt x="619" y="162"/>
                    <a:pt x="622" y="164"/>
                  </a:cubicBezTo>
                  <a:cubicBezTo>
                    <a:pt x="625" y="167"/>
                    <a:pt x="627" y="170"/>
                    <a:pt x="630" y="171"/>
                  </a:cubicBezTo>
                  <a:cubicBezTo>
                    <a:pt x="631" y="171"/>
                    <a:pt x="632" y="171"/>
                    <a:pt x="633" y="171"/>
                  </a:cubicBezTo>
                  <a:cubicBezTo>
                    <a:pt x="636" y="171"/>
                    <a:pt x="636" y="171"/>
                    <a:pt x="636" y="171"/>
                  </a:cubicBezTo>
                  <a:cubicBezTo>
                    <a:pt x="636" y="171"/>
                    <a:pt x="636" y="171"/>
                    <a:pt x="636" y="171"/>
                  </a:cubicBezTo>
                  <a:cubicBezTo>
                    <a:pt x="636" y="172"/>
                    <a:pt x="637" y="172"/>
                    <a:pt x="637" y="173"/>
                  </a:cubicBezTo>
                  <a:cubicBezTo>
                    <a:pt x="639" y="175"/>
                    <a:pt x="645" y="178"/>
                    <a:pt x="648" y="176"/>
                  </a:cubicBezTo>
                  <a:cubicBezTo>
                    <a:pt x="651" y="175"/>
                    <a:pt x="653" y="171"/>
                    <a:pt x="654" y="164"/>
                  </a:cubicBezTo>
                  <a:cubicBezTo>
                    <a:pt x="654" y="161"/>
                    <a:pt x="654" y="157"/>
                    <a:pt x="653" y="155"/>
                  </a:cubicBezTo>
                  <a:cubicBezTo>
                    <a:pt x="653" y="154"/>
                    <a:pt x="652" y="153"/>
                    <a:pt x="651" y="152"/>
                  </a:cubicBezTo>
                  <a:cubicBezTo>
                    <a:pt x="653" y="153"/>
                    <a:pt x="654" y="152"/>
                    <a:pt x="655" y="152"/>
                  </a:cubicBezTo>
                  <a:cubicBezTo>
                    <a:pt x="658" y="149"/>
                    <a:pt x="657" y="143"/>
                    <a:pt x="655" y="140"/>
                  </a:cubicBezTo>
                  <a:cubicBezTo>
                    <a:pt x="653" y="137"/>
                    <a:pt x="647" y="135"/>
                    <a:pt x="640" y="134"/>
                  </a:cubicBezTo>
                  <a:cubicBezTo>
                    <a:pt x="638" y="134"/>
                    <a:pt x="638" y="134"/>
                    <a:pt x="638" y="134"/>
                  </a:cubicBezTo>
                  <a:cubicBezTo>
                    <a:pt x="637" y="133"/>
                    <a:pt x="636" y="133"/>
                    <a:pt x="635" y="133"/>
                  </a:cubicBezTo>
                  <a:cubicBezTo>
                    <a:pt x="634" y="133"/>
                    <a:pt x="634" y="133"/>
                    <a:pt x="633" y="133"/>
                  </a:cubicBezTo>
                  <a:cubicBezTo>
                    <a:pt x="633" y="133"/>
                    <a:pt x="633" y="133"/>
                    <a:pt x="633" y="133"/>
                  </a:cubicBezTo>
                  <a:cubicBezTo>
                    <a:pt x="633" y="133"/>
                    <a:pt x="633" y="132"/>
                    <a:pt x="632" y="131"/>
                  </a:cubicBezTo>
                  <a:cubicBezTo>
                    <a:pt x="631" y="129"/>
                    <a:pt x="628" y="129"/>
                    <a:pt x="626" y="130"/>
                  </a:cubicBezTo>
                  <a:cubicBezTo>
                    <a:pt x="626" y="130"/>
                    <a:pt x="626" y="130"/>
                    <a:pt x="626" y="130"/>
                  </a:cubicBezTo>
                  <a:cubicBezTo>
                    <a:pt x="626" y="129"/>
                    <a:pt x="626" y="128"/>
                    <a:pt x="625" y="127"/>
                  </a:cubicBezTo>
                  <a:cubicBezTo>
                    <a:pt x="624" y="125"/>
                    <a:pt x="622" y="124"/>
                    <a:pt x="620" y="123"/>
                  </a:cubicBezTo>
                  <a:cubicBezTo>
                    <a:pt x="620" y="123"/>
                    <a:pt x="618" y="122"/>
                    <a:pt x="618" y="122"/>
                  </a:cubicBezTo>
                  <a:cubicBezTo>
                    <a:pt x="618" y="121"/>
                    <a:pt x="618" y="121"/>
                    <a:pt x="618" y="121"/>
                  </a:cubicBezTo>
                  <a:cubicBezTo>
                    <a:pt x="617" y="120"/>
                    <a:pt x="617" y="118"/>
                    <a:pt x="616" y="117"/>
                  </a:cubicBezTo>
                  <a:cubicBezTo>
                    <a:pt x="613" y="116"/>
                    <a:pt x="609" y="117"/>
                    <a:pt x="606" y="118"/>
                  </a:cubicBezTo>
                  <a:cubicBezTo>
                    <a:pt x="604" y="119"/>
                    <a:pt x="602" y="120"/>
                    <a:pt x="601" y="120"/>
                  </a:cubicBezTo>
                  <a:cubicBezTo>
                    <a:pt x="600" y="119"/>
                    <a:pt x="599" y="119"/>
                    <a:pt x="598" y="118"/>
                  </a:cubicBezTo>
                  <a:cubicBezTo>
                    <a:pt x="597" y="118"/>
                    <a:pt x="595" y="118"/>
                    <a:pt x="593" y="119"/>
                  </a:cubicBezTo>
                  <a:cubicBezTo>
                    <a:pt x="592" y="119"/>
                    <a:pt x="591" y="119"/>
                    <a:pt x="590" y="119"/>
                  </a:cubicBezTo>
                  <a:cubicBezTo>
                    <a:pt x="590" y="119"/>
                    <a:pt x="590" y="119"/>
                    <a:pt x="590" y="119"/>
                  </a:cubicBezTo>
                  <a:cubicBezTo>
                    <a:pt x="589" y="119"/>
                    <a:pt x="588" y="118"/>
                    <a:pt x="587" y="118"/>
                  </a:cubicBezTo>
                  <a:cubicBezTo>
                    <a:pt x="582" y="115"/>
                    <a:pt x="577" y="111"/>
                    <a:pt x="576" y="109"/>
                  </a:cubicBezTo>
                  <a:cubicBezTo>
                    <a:pt x="576" y="108"/>
                    <a:pt x="576" y="107"/>
                    <a:pt x="576" y="106"/>
                  </a:cubicBezTo>
                  <a:cubicBezTo>
                    <a:pt x="576" y="104"/>
                    <a:pt x="577" y="102"/>
                    <a:pt x="575" y="100"/>
                  </a:cubicBezTo>
                  <a:cubicBezTo>
                    <a:pt x="574" y="99"/>
                    <a:pt x="573" y="99"/>
                    <a:pt x="570" y="99"/>
                  </a:cubicBezTo>
                  <a:cubicBezTo>
                    <a:pt x="568" y="99"/>
                    <a:pt x="566" y="99"/>
                    <a:pt x="565" y="100"/>
                  </a:cubicBezTo>
                  <a:cubicBezTo>
                    <a:pt x="563" y="100"/>
                    <a:pt x="561" y="102"/>
                    <a:pt x="559" y="104"/>
                  </a:cubicBezTo>
                  <a:cubicBezTo>
                    <a:pt x="557" y="105"/>
                    <a:pt x="556" y="106"/>
                    <a:pt x="556" y="106"/>
                  </a:cubicBezTo>
                  <a:cubicBezTo>
                    <a:pt x="554" y="107"/>
                    <a:pt x="552" y="108"/>
                    <a:pt x="551" y="108"/>
                  </a:cubicBezTo>
                  <a:cubicBezTo>
                    <a:pt x="551" y="108"/>
                    <a:pt x="550" y="108"/>
                    <a:pt x="549" y="108"/>
                  </a:cubicBezTo>
                  <a:cubicBezTo>
                    <a:pt x="547" y="108"/>
                    <a:pt x="546" y="108"/>
                    <a:pt x="546" y="108"/>
                  </a:cubicBezTo>
                  <a:cubicBezTo>
                    <a:pt x="545" y="108"/>
                    <a:pt x="544" y="106"/>
                    <a:pt x="544" y="105"/>
                  </a:cubicBezTo>
                  <a:cubicBezTo>
                    <a:pt x="545" y="105"/>
                    <a:pt x="546" y="104"/>
                    <a:pt x="547" y="103"/>
                  </a:cubicBezTo>
                  <a:cubicBezTo>
                    <a:pt x="548" y="102"/>
                    <a:pt x="547" y="99"/>
                    <a:pt x="545" y="94"/>
                  </a:cubicBezTo>
                  <a:cubicBezTo>
                    <a:pt x="545" y="86"/>
                    <a:pt x="545" y="78"/>
                    <a:pt x="546" y="75"/>
                  </a:cubicBezTo>
                  <a:cubicBezTo>
                    <a:pt x="546" y="76"/>
                    <a:pt x="547" y="76"/>
                    <a:pt x="547" y="76"/>
                  </a:cubicBezTo>
                  <a:cubicBezTo>
                    <a:pt x="548" y="77"/>
                    <a:pt x="548" y="78"/>
                    <a:pt x="550" y="78"/>
                  </a:cubicBezTo>
                  <a:cubicBezTo>
                    <a:pt x="551" y="78"/>
                    <a:pt x="553" y="77"/>
                    <a:pt x="554" y="77"/>
                  </a:cubicBezTo>
                  <a:cubicBezTo>
                    <a:pt x="555" y="76"/>
                    <a:pt x="557" y="74"/>
                    <a:pt x="557" y="72"/>
                  </a:cubicBezTo>
                  <a:cubicBezTo>
                    <a:pt x="557" y="71"/>
                    <a:pt x="557" y="70"/>
                    <a:pt x="557" y="69"/>
                  </a:cubicBezTo>
                  <a:cubicBezTo>
                    <a:pt x="557" y="69"/>
                    <a:pt x="556" y="69"/>
                    <a:pt x="556" y="69"/>
                  </a:cubicBezTo>
                  <a:cubicBezTo>
                    <a:pt x="557" y="68"/>
                    <a:pt x="558" y="67"/>
                    <a:pt x="559" y="67"/>
                  </a:cubicBezTo>
                  <a:cubicBezTo>
                    <a:pt x="561" y="65"/>
                    <a:pt x="563" y="64"/>
                    <a:pt x="564" y="62"/>
                  </a:cubicBezTo>
                  <a:cubicBezTo>
                    <a:pt x="564" y="59"/>
                    <a:pt x="562" y="55"/>
                    <a:pt x="561" y="52"/>
                  </a:cubicBezTo>
                  <a:cubicBezTo>
                    <a:pt x="561" y="48"/>
                    <a:pt x="561" y="48"/>
                    <a:pt x="561" y="48"/>
                  </a:cubicBezTo>
                  <a:cubicBezTo>
                    <a:pt x="561" y="48"/>
                    <a:pt x="561" y="48"/>
                    <a:pt x="560" y="48"/>
                  </a:cubicBezTo>
                  <a:cubicBezTo>
                    <a:pt x="557" y="40"/>
                    <a:pt x="557" y="40"/>
                    <a:pt x="557" y="40"/>
                  </a:cubicBezTo>
                  <a:cubicBezTo>
                    <a:pt x="557" y="39"/>
                    <a:pt x="556" y="39"/>
                    <a:pt x="556" y="39"/>
                  </a:cubicBezTo>
                  <a:cubicBezTo>
                    <a:pt x="555" y="38"/>
                    <a:pt x="551" y="36"/>
                    <a:pt x="549" y="35"/>
                  </a:cubicBezTo>
                  <a:cubicBezTo>
                    <a:pt x="548" y="34"/>
                    <a:pt x="547" y="34"/>
                    <a:pt x="545" y="34"/>
                  </a:cubicBezTo>
                  <a:cubicBezTo>
                    <a:pt x="545" y="34"/>
                    <a:pt x="543" y="34"/>
                    <a:pt x="543" y="33"/>
                  </a:cubicBezTo>
                  <a:cubicBezTo>
                    <a:pt x="542" y="33"/>
                    <a:pt x="541" y="32"/>
                    <a:pt x="540" y="31"/>
                  </a:cubicBezTo>
                  <a:cubicBezTo>
                    <a:pt x="539" y="31"/>
                    <a:pt x="538" y="30"/>
                    <a:pt x="537" y="29"/>
                  </a:cubicBezTo>
                  <a:cubicBezTo>
                    <a:pt x="536" y="29"/>
                    <a:pt x="531" y="26"/>
                    <a:pt x="528" y="25"/>
                  </a:cubicBezTo>
                  <a:cubicBezTo>
                    <a:pt x="527" y="25"/>
                    <a:pt x="525" y="25"/>
                    <a:pt x="523" y="26"/>
                  </a:cubicBezTo>
                  <a:cubicBezTo>
                    <a:pt x="521" y="26"/>
                    <a:pt x="519" y="26"/>
                    <a:pt x="518" y="26"/>
                  </a:cubicBezTo>
                  <a:cubicBezTo>
                    <a:pt x="516" y="26"/>
                    <a:pt x="513" y="23"/>
                    <a:pt x="512" y="23"/>
                  </a:cubicBezTo>
                  <a:cubicBezTo>
                    <a:pt x="512" y="22"/>
                    <a:pt x="513" y="21"/>
                    <a:pt x="513" y="20"/>
                  </a:cubicBezTo>
                  <a:cubicBezTo>
                    <a:pt x="513" y="19"/>
                    <a:pt x="514" y="17"/>
                    <a:pt x="514" y="16"/>
                  </a:cubicBezTo>
                  <a:cubicBezTo>
                    <a:pt x="513" y="13"/>
                    <a:pt x="511" y="9"/>
                    <a:pt x="510" y="7"/>
                  </a:cubicBezTo>
                  <a:cubicBezTo>
                    <a:pt x="508" y="5"/>
                    <a:pt x="504" y="2"/>
                    <a:pt x="501" y="2"/>
                  </a:cubicBezTo>
                  <a:cubicBezTo>
                    <a:pt x="499" y="1"/>
                    <a:pt x="495" y="0"/>
                    <a:pt x="491" y="0"/>
                  </a:cubicBezTo>
                  <a:cubicBezTo>
                    <a:pt x="487" y="0"/>
                    <a:pt x="485" y="1"/>
                    <a:pt x="483" y="2"/>
                  </a:cubicBezTo>
                  <a:cubicBezTo>
                    <a:pt x="481" y="4"/>
                    <a:pt x="481" y="8"/>
                    <a:pt x="480" y="12"/>
                  </a:cubicBezTo>
                  <a:cubicBezTo>
                    <a:pt x="480" y="14"/>
                    <a:pt x="480" y="16"/>
                    <a:pt x="480" y="17"/>
                  </a:cubicBezTo>
                  <a:cubicBezTo>
                    <a:pt x="480" y="18"/>
                    <a:pt x="478" y="20"/>
                    <a:pt x="477" y="22"/>
                  </a:cubicBezTo>
                  <a:cubicBezTo>
                    <a:pt x="442" y="3"/>
                    <a:pt x="442" y="3"/>
                    <a:pt x="442" y="3"/>
                  </a:cubicBezTo>
                  <a:cubicBezTo>
                    <a:pt x="440" y="2"/>
                    <a:pt x="438" y="1"/>
                    <a:pt x="437" y="1"/>
                  </a:cubicBezTo>
                  <a:cubicBezTo>
                    <a:pt x="437" y="1"/>
                    <a:pt x="436" y="1"/>
                    <a:pt x="436" y="1"/>
                  </a:cubicBezTo>
                  <a:cubicBezTo>
                    <a:pt x="433" y="1"/>
                    <a:pt x="428" y="3"/>
                    <a:pt x="426" y="6"/>
                  </a:cubicBezTo>
                  <a:cubicBezTo>
                    <a:pt x="425" y="8"/>
                    <a:pt x="426" y="10"/>
                    <a:pt x="427" y="12"/>
                  </a:cubicBezTo>
                  <a:cubicBezTo>
                    <a:pt x="427" y="13"/>
                    <a:pt x="427" y="14"/>
                    <a:pt x="427" y="14"/>
                  </a:cubicBezTo>
                  <a:cubicBezTo>
                    <a:pt x="427" y="15"/>
                    <a:pt x="427" y="16"/>
                    <a:pt x="426" y="17"/>
                  </a:cubicBezTo>
                  <a:cubicBezTo>
                    <a:pt x="425" y="19"/>
                    <a:pt x="425" y="20"/>
                    <a:pt x="424" y="22"/>
                  </a:cubicBezTo>
                  <a:cubicBezTo>
                    <a:pt x="424" y="24"/>
                    <a:pt x="425" y="26"/>
                    <a:pt x="425" y="29"/>
                  </a:cubicBezTo>
                  <a:cubicBezTo>
                    <a:pt x="425" y="32"/>
                    <a:pt x="426" y="35"/>
                    <a:pt x="425" y="37"/>
                  </a:cubicBezTo>
                  <a:cubicBezTo>
                    <a:pt x="425" y="37"/>
                    <a:pt x="424" y="39"/>
                    <a:pt x="423" y="40"/>
                  </a:cubicBezTo>
                  <a:cubicBezTo>
                    <a:pt x="422" y="42"/>
                    <a:pt x="421" y="43"/>
                    <a:pt x="420" y="44"/>
                  </a:cubicBezTo>
                  <a:cubicBezTo>
                    <a:pt x="420" y="46"/>
                    <a:pt x="419" y="48"/>
                    <a:pt x="418" y="51"/>
                  </a:cubicBezTo>
                  <a:cubicBezTo>
                    <a:pt x="417" y="53"/>
                    <a:pt x="416" y="57"/>
                    <a:pt x="415" y="58"/>
                  </a:cubicBezTo>
                  <a:cubicBezTo>
                    <a:pt x="414" y="61"/>
                    <a:pt x="412" y="64"/>
                    <a:pt x="411" y="65"/>
                  </a:cubicBezTo>
                  <a:cubicBezTo>
                    <a:pt x="411" y="65"/>
                    <a:pt x="410" y="65"/>
                    <a:pt x="410" y="65"/>
                  </a:cubicBezTo>
                  <a:cubicBezTo>
                    <a:pt x="408" y="65"/>
                    <a:pt x="408" y="65"/>
                    <a:pt x="408" y="65"/>
                  </a:cubicBezTo>
                  <a:cubicBezTo>
                    <a:pt x="406" y="65"/>
                    <a:pt x="405" y="65"/>
                    <a:pt x="404" y="65"/>
                  </a:cubicBezTo>
                  <a:cubicBezTo>
                    <a:pt x="401" y="67"/>
                    <a:pt x="400" y="71"/>
                    <a:pt x="399" y="75"/>
                  </a:cubicBezTo>
                  <a:cubicBezTo>
                    <a:pt x="399" y="77"/>
                    <a:pt x="398" y="80"/>
                    <a:pt x="397" y="81"/>
                  </a:cubicBezTo>
                  <a:cubicBezTo>
                    <a:pt x="397" y="81"/>
                    <a:pt x="394" y="82"/>
                    <a:pt x="391" y="82"/>
                  </a:cubicBezTo>
                  <a:cubicBezTo>
                    <a:pt x="391" y="82"/>
                    <a:pt x="390" y="82"/>
                    <a:pt x="389" y="82"/>
                  </a:cubicBezTo>
                  <a:cubicBezTo>
                    <a:pt x="387" y="81"/>
                    <a:pt x="384" y="81"/>
                    <a:pt x="382" y="82"/>
                  </a:cubicBezTo>
                  <a:cubicBezTo>
                    <a:pt x="380" y="83"/>
                    <a:pt x="379" y="87"/>
                    <a:pt x="378" y="90"/>
                  </a:cubicBezTo>
                  <a:cubicBezTo>
                    <a:pt x="378" y="91"/>
                    <a:pt x="378" y="91"/>
                    <a:pt x="378" y="91"/>
                  </a:cubicBezTo>
                  <a:cubicBezTo>
                    <a:pt x="378" y="92"/>
                    <a:pt x="378" y="94"/>
                    <a:pt x="378" y="96"/>
                  </a:cubicBezTo>
                  <a:cubicBezTo>
                    <a:pt x="377" y="98"/>
                    <a:pt x="377" y="100"/>
                    <a:pt x="377" y="101"/>
                  </a:cubicBezTo>
                  <a:cubicBezTo>
                    <a:pt x="377" y="102"/>
                    <a:pt x="376" y="103"/>
                    <a:pt x="375" y="105"/>
                  </a:cubicBezTo>
                  <a:cubicBezTo>
                    <a:pt x="375" y="106"/>
                    <a:pt x="374" y="107"/>
                    <a:pt x="373" y="109"/>
                  </a:cubicBezTo>
                  <a:cubicBezTo>
                    <a:pt x="373" y="111"/>
                    <a:pt x="372" y="114"/>
                    <a:pt x="372" y="117"/>
                  </a:cubicBezTo>
                  <a:cubicBezTo>
                    <a:pt x="371" y="120"/>
                    <a:pt x="371" y="123"/>
                    <a:pt x="370" y="124"/>
                  </a:cubicBezTo>
                  <a:cubicBezTo>
                    <a:pt x="369" y="128"/>
                    <a:pt x="368" y="130"/>
                    <a:pt x="368" y="131"/>
                  </a:cubicBezTo>
                  <a:cubicBezTo>
                    <a:pt x="367" y="131"/>
                    <a:pt x="363" y="133"/>
                    <a:pt x="362" y="133"/>
                  </a:cubicBezTo>
                  <a:cubicBezTo>
                    <a:pt x="361" y="133"/>
                    <a:pt x="359" y="133"/>
                    <a:pt x="358" y="133"/>
                  </a:cubicBezTo>
                  <a:cubicBezTo>
                    <a:pt x="353" y="133"/>
                    <a:pt x="350" y="132"/>
                    <a:pt x="349" y="132"/>
                  </a:cubicBezTo>
                  <a:cubicBezTo>
                    <a:pt x="349" y="131"/>
                    <a:pt x="349" y="131"/>
                    <a:pt x="349" y="131"/>
                  </a:cubicBezTo>
                  <a:cubicBezTo>
                    <a:pt x="349" y="130"/>
                    <a:pt x="349" y="129"/>
                    <a:pt x="348" y="128"/>
                  </a:cubicBezTo>
                  <a:cubicBezTo>
                    <a:pt x="347" y="126"/>
                    <a:pt x="343" y="121"/>
                    <a:pt x="340" y="121"/>
                  </a:cubicBezTo>
                  <a:cubicBezTo>
                    <a:pt x="339" y="120"/>
                    <a:pt x="338" y="120"/>
                    <a:pt x="338" y="120"/>
                  </a:cubicBezTo>
                  <a:cubicBezTo>
                    <a:pt x="335" y="120"/>
                    <a:pt x="331" y="121"/>
                    <a:pt x="329" y="124"/>
                  </a:cubicBezTo>
                  <a:cubicBezTo>
                    <a:pt x="327" y="126"/>
                    <a:pt x="328" y="131"/>
                    <a:pt x="328" y="135"/>
                  </a:cubicBezTo>
                  <a:cubicBezTo>
                    <a:pt x="328" y="137"/>
                    <a:pt x="329" y="139"/>
                    <a:pt x="328" y="140"/>
                  </a:cubicBezTo>
                  <a:cubicBezTo>
                    <a:pt x="328" y="142"/>
                    <a:pt x="328" y="146"/>
                    <a:pt x="327" y="147"/>
                  </a:cubicBezTo>
                  <a:cubicBezTo>
                    <a:pt x="327" y="147"/>
                    <a:pt x="327" y="148"/>
                    <a:pt x="326" y="148"/>
                  </a:cubicBezTo>
                  <a:cubicBezTo>
                    <a:pt x="326" y="148"/>
                    <a:pt x="325" y="149"/>
                    <a:pt x="325" y="150"/>
                  </a:cubicBezTo>
                  <a:cubicBezTo>
                    <a:pt x="323" y="152"/>
                    <a:pt x="323" y="155"/>
                    <a:pt x="322" y="159"/>
                  </a:cubicBezTo>
                  <a:cubicBezTo>
                    <a:pt x="321" y="161"/>
                    <a:pt x="321" y="164"/>
                    <a:pt x="320" y="165"/>
                  </a:cubicBezTo>
                  <a:cubicBezTo>
                    <a:pt x="320" y="166"/>
                    <a:pt x="319" y="167"/>
                    <a:pt x="318" y="168"/>
                  </a:cubicBezTo>
                  <a:cubicBezTo>
                    <a:pt x="317" y="170"/>
                    <a:pt x="316" y="171"/>
                    <a:pt x="315" y="173"/>
                  </a:cubicBezTo>
                  <a:cubicBezTo>
                    <a:pt x="314" y="174"/>
                    <a:pt x="314" y="176"/>
                    <a:pt x="314" y="179"/>
                  </a:cubicBezTo>
                  <a:cubicBezTo>
                    <a:pt x="314" y="180"/>
                    <a:pt x="314" y="180"/>
                    <a:pt x="314" y="181"/>
                  </a:cubicBezTo>
                  <a:cubicBezTo>
                    <a:pt x="314" y="185"/>
                    <a:pt x="312" y="192"/>
                    <a:pt x="311" y="196"/>
                  </a:cubicBezTo>
                  <a:cubicBezTo>
                    <a:pt x="310" y="197"/>
                    <a:pt x="308" y="199"/>
                    <a:pt x="307" y="201"/>
                  </a:cubicBezTo>
                  <a:cubicBezTo>
                    <a:pt x="306" y="203"/>
                    <a:pt x="304" y="204"/>
                    <a:pt x="304" y="205"/>
                  </a:cubicBezTo>
                  <a:cubicBezTo>
                    <a:pt x="302" y="208"/>
                    <a:pt x="297" y="216"/>
                    <a:pt x="295" y="221"/>
                  </a:cubicBezTo>
                  <a:cubicBezTo>
                    <a:pt x="294" y="226"/>
                    <a:pt x="292" y="232"/>
                    <a:pt x="293" y="236"/>
                  </a:cubicBezTo>
                  <a:cubicBezTo>
                    <a:pt x="293" y="238"/>
                    <a:pt x="294" y="239"/>
                    <a:pt x="296" y="241"/>
                  </a:cubicBezTo>
                  <a:cubicBezTo>
                    <a:pt x="297" y="242"/>
                    <a:pt x="298" y="243"/>
                    <a:pt x="298" y="243"/>
                  </a:cubicBezTo>
                  <a:cubicBezTo>
                    <a:pt x="298" y="244"/>
                    <a:pt x="297" y="245"/>
                    <a:pt x="296" y="245"/>
                  </a:cubicBezTo>
                  <a:cubicBezTo>
                    <a:pt x="295" y="247"/>
                    <a:pt x="293" y="248"/>
                    <a:pt x="292" y="250"/>
                  </a:cubicBezTo>
                  <a:cubicBezTo>
                    <a:pt x="292" y="252"/>
                    <a:pt x="293" y="254"/>
                    <a:pt x="294" y="255"/>
                  </a:cubicBezTo>
                  <a:cubicBezTo>
                    <a:pt x="294" y="256"/>
                    <a:pt x="294" y="257"/>
                    <a:pt x="295" y="257"/>
                  </a:cubicBezTo>
                  <a:cubicBezTo>
                    <a:pt x="294" y="257"/>
                    <a:pt x="294" y="257"/>
                    <a:pt x="294" y="257"/>
                  </a:cubicBezTo>
                  <a:cubicBezTo>
                    <a:pt x="292" y="259"/>
                    <a:pt x="292" y="259"/>
                    <a:pt x="292" y="259"/>
                  </a:cubicBezTo>
                  <a:cubicBezTo>
                    <a:pt x="289" y="262"/>
                    <a:pt x="284" y="266"/>
                    <a:pt x="281" y="267"/>
                  </a:cubicBezTo>
                  <a:cubicBezTo>
                    <a:pt x="280" y="267"/>
                    <a:pt x="279" y="267"/>
                    <a:pt x="278" y="266"/>
                  </a:cubicBezTo>
                  <a:cubicBezTo>
                    <a:pt x="276" y="266"/>
                    <a:pt x="274" y="265"/>
                    <a:pt x="273" y="266"/>
                  </a:cubicBezTo>
                  <a:cubicBezTo>
                    <a:pt x="270" y="266"/>
                    <a:pt x="267" y="269"/>
                    <a:pt x="264" y="272"/>
                  </a:cubicBezTo>
                  <a:cubicBezTo>
                    <a:pt x="262" y="275"/>
                    <a:pt x="260" y="277"/>
                    <a:pt x="258" y="278"/>
                  </a:cubicBezTo>
                  <a:cubicBezTo>
                    <a:pt x="258" y="278"/>
                    <a:pt x="256" y="277"/>
                    <a:pt x="255" y="276"/>
                  </a:cubicBezTo>
                  <a:cubicBezTo>
                    <a:pt x="251" y="274"/>
                    <a:pt x="248" y="273"/>
                    <a:pt x="246" y="275"/>
                  </a:cubicBezTo>
                  <a:cubicBezTo>
                    <a:pt x="244" y="276"/>
                    <a:pt x="244" y="279"/>
                    <a:pt x="245" y="281"/>
                  </a:cubicBezTo>
                  <a:cubicBezTo>
                    <a:pt x="245" y="282"/>
                    <a:pt x="245" y="283"/>
                    <a:pt x="245" y="283"/>
                  </a:cubicBezTo>
                  <a:cubicBezTo>
                    <a:pt x="244" y="288"/>
                    <a:pt x="243" y="289"/>
                    <a:pt x="243" y="289"/>
                  </a:cubicBezTo>
                  <a:cubicBezTo>
                    <a:pt x="243" y="289"/>
                    <a:pt x="241" y="289"/>
                    <a:pt x="240" y="289"/>
                  </a:cubicBezTo>
                  <a:cubicBezTo>
                    <a:pt x="239" y="290"/>
                    <a:pt x="238" y="290"/>
                    <a:pt x="237" y="290"/>
                  </a:cubicBezTo>
                  <a:cubicBezTo>
                    <a:pt x="235" y="291"/>
                    <a:pt x="233" y="292"/>
                    <a:pt x="230" y="294"/>
                  </a:cubicBezTo>
                  <a:cubicBezTo>
                    <a:pt x="227" y="295"/>
                    <a:pt x="223" y="297"/>
                    <a:pt x="221" y="298"/>
                  </a:cubicBezTo>
                  <a:cubicBezTo>
                    <a:pt x="219" y="298"/>
                    <a:pt x="216" y="299"/>
                    <a:pt x="215" y="299"/>
                  </a:cubicBezTo>
                  <a:cubicBezTo>
                    <a:pt x="214" y="299"/>
                    <a:pt x="212" y="297"/>
                    <a:pt x="210" y="297"/>
                  </a:cubicBezTo>
                  <a:cubicBezTo>
                    <a:pt x="207" y="295"/>
                    <a:pt x="204" y="293"/>
                    <a:pt x="201" y="294"/>
                  </a:cubicBezTo>
                  <a:cubicBezTo>
                    <a:pt x="199" y="295"/>
                    <a:pt x="198" y="297"/>
                    <a:pt x="197" y="300"/>
                  </a:cubicBezTo>
                  <a:cubicBezTo>
                    <a:pt x="197" y="300"/>
                    <a:pt x="196" y="302"/>
                    <a:pt x="196" y="302"/>
                  </a:cubicBezTo>
                  <a:cubicBezTo>
                    <a:pt x="194" y="305"/>
                    <a:pt x="187" y="310"/>
                    <a:pt x="183" y="311"/>
                  </a:cubicBezTo>
                  <a:cubicBezTo>
                    <a:pt x="183" y="311"/>
                    <a:pt x="183" y="311"/>
                    <a:pt x="183" y="311"/>
                  </a:cubicBezTo>
                  <a:cubicBezTo>
                    <a:pt x="181" y="311"/>
                    <a:pt x="177" y="310"/>
                    <a:pt x="174" y="309"/>
                  </a:cubicBezTo>
                  <a:cubicBezTo>
                    <a:pt x="170" y="307"/>
                    <a:pt x="163" y="303"/>
                    <a:pt x="159" y="301"/>
                  </a:cubicBezTo>
                  <a:cubicBezTo>
                    <a:pt x="158" y="299"/>
                    <a:pt x="153" y="295"/>
                    <a:pt x="152" y="294"/>
                  </a:cubicBezTo>
                  <a:cubicBezTo>
                    <a:pt x="146" y="287"/>
                    <a:pt x="146" y="287"/>
                    <a:pt x="146" y="287"/>
                  </a:cubicBezTo>
                  <a:cubicBezTo>
                    <a:pt x="148" y="281"/>
                    <a:pt x="147" y="280"/>
                    <a:pt x="147" y="279"/>
                  </a:cubicBezTo>
                  <a:cubicBezTo>
                    <a:pt x="146" y="279"/>
                    <a:pt x="145" y="278"/>
                    <a:pt x="144" y="278"/>
                  </a:cubicBezTo>
                  <a:cubicBezTo>
                    <a:pt x="143" y="278"/>
                    <a:pt x="139" y="278"/>
                    <a:pt x="114" y="312"/>
                  </a:cubicBezTo>
                  <a:cubicBezTo>
                    <a:pt x="111" y="314"/>
                    <a:pt x="93" y="326"/>
                    <a:pt x="88" y="332"/>
                  </a:cubicBezTo>
                  <a:cubicBezTo>
                    <a:pt x="86" y="334"/>
                    <a:pt x="83" y="338"/>
                    <a:pt x="82" y="341"/>
                  </a:cubicBezTo>
                  <a:cubicBezTo>
                    <a:pt x="82" y="342"/>
                    <a:pt x="82" y="344"/>
                    <a:pt x="82" y="345"/>
                  </a:cubicBezTo>
                  <a:cubicBezTo>
                    <a:pt x="82" y="346"/>
                    <a:pt x="82" y="348"/>
                    <a:pt x="81" y="348"/>
                  </a:cubicBezTo>
                  <a:cubicBezTo>
                    <a:pt x="81" y="349"/>
                    <a:pt x="79" y="350"/>
                    <a:pt x="78" y="351"/>
                  </a:cubicBezTo>
                  <a:cubicBezTo>
                    <a:pt x="76" y="352"/>
                    <a:pt x="74" y="353"/>
                    <a:pt x="73" y="355"/>
                  </a:cubicBezTo>
                  <a:cubicBezTo>
                    <a:pt x="72" y="356"/>
                    <a:pt x="72" y="358"/>
                    <a:pt x="72" y="360"/>
                  </a:cubicBezTo>
                  <a:cubicBezTo>
                    <a:pt x="72" y="361"/>
                    <a:pt x="72" y="362"/>
                    <a:pt x="72" y="362"/>
                  </a:cubicBezTo>
                  <a:cubicBezTo>
                    <a:pt x="71" y="364"/>
                    <a:pt x="69" y="367"/>
                    <a:pt x="67" y="368"/>
                  </a:cubicBezTo>
                  <a:cubicBezTo>
                    <a:pt x="66" y="369"/>
                    <a:pt x="65" y="370"/>
                    <a:pt x="63" y="370"/>
                  </a:cubicBezTo>
                  <a:cubicBezTo>
                    <a:pt x="62" y="371"/>
                    <a:pt x="61" y="371"/>
                    <a:pt x="60" y="372"/>
                  </a:cubicBezTo>
                  <a:cubicBezTo>
                    <a:pt x="57" y="374"/>
                    <a:pt x="53" y="376"/>
                    <a:pt x="52" y="378"/>
                  </a:cubicBezTo>
                  <a:cubicBezTo>
                    <a:pt x="51" y="380"/>
                    <a:pt x="51" y="381"/>
                    <a:pt x="51" y="383"/>
                  </a:cubicBezTo>
                  <a:cubicBezTo>
                    <a:pt x="51" y="384"/>
                    <a:pt x="51" y="385"/>
                    <a:pt x="51" y="385"/>
                  </a:cubicBezTo>
                  <a:cubicBezTo>
                    <a:pt x="49" y="387"/>
                    <a:pt x="45" y="388"/>
                    <a:pt x="41" y="389"/>
                  </a:cubicBezTo>
                  <a:cubicBezTo>
                    <a:pt x="38" y="390"/>
                    <a:pt x="35" y="391"/>
                    <a:pt x="33" y="392"/>
                  </a:cubicBezTo>
                  <a:cubicBezTo>
                    <a:pt x="32" y="392"/>
                    <a:pt x="31" y="394"/>
                    <a:pt x="30" y="395"/>
                  </a:cubicBezTo>
                  <a:cubicBezTo>
                    <a:pt x="29" y="396"/>
                    <a:pt x="27" y="397"/>
                    <a:pt x="26" y="397"/>
                  </a:cubicBezTo>
                  <a:cubicBezTo>
                    <a:pt x="26" y="398"/>
                    <a:pt x="24" y="398"/>
                    <a:pt x="23" y="398"/>
                  </a:cubicBezTo>
                  <a:cubicBezTo>
                    <a:pt x="21" y="398"/>
                    <a:pt x="20" y="398"/>
                    <a:pt x="18" y="399"/>
                  </a:cubicBezTo>
                  <a:cubicBezTo>
                    <a:pt x="10" y="402"/>
                    <a:pt x="0" y="408"/>
                    <a:pt x="3" y="413"/>
                  </a:cubicBezTo>
                  <a:cubicBezTo>
                    <a:pt x="4" y="416"/>
                    <a:pt x="6" y="417"/>
                    <a:pt x="10" y="417"/>
                  </a:cubicBezTo>
                  <a:cubicBezTo>
                    <a:pt x="18" y="417"/>
                    <a:pt x="32" y="411"/>
                    <a:pt x="34" y="410"/>
                  </a:cubicBezTo>
                  <a:cubicBezTo>
                    <a:pt x="49" y="410"/>
                    <a:pt x="49" y="410"/>
                    <a:pt x="49" y="410"/>
                  </a:cubicBezTo>
                  <a:cubicBezTo>
                    <a:pt x="150" y="394"/>
                    <a:pt x="150" y="394"/>
                    <a:pt x="150" y="394"/>
                  </a:cubicBezTo>
                  <a:cubicBezTo>
                    <a:pt x="179" y="387"/>
                    <a:pt x="179" y="387"/>
                    <a:pt x="179" y="387"/>
                  </a:cubicBezTo>
                  <a:cubicBezTo>
                    <a:pt x="190" y="387"/>
                    <a:pt x="190" y="387"/>
                    <a:pt x="190" y="387"/>
                  </a:cubicBezTo>
                  <a:cubicBezTo>
                    <a:pt x="205" y="387"/>
                    <a:pt x="205" y="387"/>
                    <a:pt x="205" y="387"/>
                  </a:cubicBezTo>
                  <a:cubicBezTo>
                    <a:pt x="234" y="384"/>
                    <a:pt x="234" y="384"/>
                    <a:pt x="234" y="384"/>
                  </a:cubicBezTo>
                  <a:cubicBezTo>
                    <a:pt x="308" y="374"/>
                    <a:pt x="308" y="374"/>
                    <a:pt x="308" y="374"/>
                  </a:cubicBezTo>
                  <a:cubicBezTo>
                    <a:pt x="512" y="336"/>
                    <a:pt x="512" y="336"/>
                    <a:pt x="512" y="336"/>
                  </a:cubicBezTo>
                  <a:cubicBezTo>
                    <a:pt x="615" y="315"/>
                    <a:pt x="615" y="315"/>
                    <a:pt x="615" y="315"/>
                  </a:cubicBezTo>
                  <a:cubicBezTo>
                    <a:pt x="706" y="295"/>
                    <a:pt x="706" y="295"/>
                    <a:pt x="706" y="295"/>
                  </a:cubicBezTo>
                  <a:cubicBezTo>
                    <a:pt x="720" y="292"/>
                    <a:pt x="720" y="292"/>
                    <a:pt x="720" y="292"/>
                  </a:cubicBezTo>
                  <a:cubicBezTo>
                    <a:pt x="723" y="291"/>
                    <a:pt x="723" y="291"/>
                    <a:pt x="723" y="291"/>
                  </a:cubicBezTo>
                  <a:cubicBezTo>
                    <a:pt x="723" y="291"/>
                    <a:pt x="724" y="291"/>
                    <a:pt x="724" y="290"/>
                  </a:cubicBezTo>
                  <a:cubicBezTo>
                    <a:pt x="725" y="289"/>
                    <a:pt x="724" y="288"/>
                    <a:pt x="724" y="288"/>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37">
              <a:extLst>
                <a:ext uri="{FF2B5EF4-FFF2-40B4-BE49-F238E27FC236}">
                  <a16:creationId xmlns:a16="http://schemas.microsoft.com/office/drawing/2014/main" id="{1EA69CE5-91DA-4377-9474-381D33E0E0E2}"/>
                </a:ext>
              </a:extLst>
            </p:cNvPr>
            <p:cNvSpPr>
              <a:spLocks/>
            </p:cNvSpPr>
            <p:nvPr/>
          </p:nvSpPr>
          <p:spPr bwMode="auto">
            <a:xfrm>
              <a:off x="7429956" y="3134974"/>
              <a:ext cx="464934" cy="467966"/>
            </a:xfrm>
            <a:custGeom>
              <a:avLst/>
              <a:gdLst>
                <a:gd name="T0" fmla="*/ 410 w 418"/>
                <a:gd name="T1" fmla="*/ 97 h 421"/>
                <a:gd name="T2" fmla="*/ 404 w 418"/>
                <a:gd name="T3" fmla="*/ 82 h 421"/>
                <a:gd name="T4" fmla="*/ 387 w 418"/>
                <a:gd name="T5" fmla="*/ 79 h 421"/>
                <a:gd name="T6" fmla="*/ 370 w 418"/>
                <a:gd name="T7" fmla="*/ 71 h 421"/>
                <a:gd name="T8" fmla="*/ 354 w 418"/>
                <a:gd name="T9" fmla="*/ 82 h 421"/>
                <a:gd name="T10" fmla="*/ 344 w 418"/>
                <a:gd name="T11" fmla="*/ 97 h 421"/>
                <a:gd name="T12" fmla="*/ 318 w 418"/>
                <a:gd name="T13" fmla="*/ 90 h 421"/>
                <a:gd name="T14" fmla="*/ 305 w 418"/>
                <a:gd name="T15" fmla="*/ 113 h 421"/>
                <a:gd name="T16" fmla="*/ 290 w 418"/>
                <a:gd name="T17" fmla="*/ 116 h 421"/>
                <a:gd name="T18" fmla="*/ 269 w 418"/>
                <a:gd name="T19" fmla="*/ 144 h 421"/>
                <a:gd name="T20" fmla="*/ 254 w 418"/>
                <a:gd name="T21" fmla="*/ 91 h 421"/>
                <a:gd name="T22" fmla="*/ 142 w 418"/>
                <a:gd name="T23" fmla="*/ 1 h 421"/>
                <a:gd name="T24" fmla="*/ 131 w 418"/>
                <a:gd name="T25" fmla="*/ 13 h 421"/>
                <a:gd name="T26" fmla="*/ 138 w 418"/>
                <a:gd name="T27" fmla="*/ 50 h 421"/>
                <a:gd name="T28" fmla="*/ 135 w 418"/>
                <a:gd name="T29" fmla="*/ 88 h 421"/>
                <a:gd name="T30" fmla="*/ 133 w 418"/>
                <a:gd name="T31" fmla="*/ 98 h 421"/>
                <a:gd name="T32" fmla="*/ 129 w 418"/>
                <a:gd name="T33" fmla="*/ 126 h 421"/>
                <a:gd name="T34" fmla="*/ 98 w 418"/>
                <a:gd name="T35" fmla="*/ 162 h 421"/>
                <a:gd name="T36" fmla="*/ 76 w 418"/>
                <a:gd name="T37" fmla="*/ 169 h 421"/>
                <a:gd name="T38" fmla="*/ 63 w 418"/>
                <a:gd name="T39" fmla="*/ 188 h 421"/>
                <a:gd name="T40" fmla="*/ 58 w 418"/>
                <a:gd name="T41" fmla="*/ 206 h 421"/>
                <a:gd name="T42" fmla="*/ 53 w 418"/>
                <a:gd name="T43" fmla="*/ 214 h 421"/>
                <a:gd name="T44" fmla="*/ 36 w 418"/>
                <a:gd name="T45" fmla="*/ 220 h 421"/>
                <a:gd name="T46" fmla="*/ 31 w 418"/>
                <a:gd name="T47" fmla="*/ 237 h 421"/>
                <a:gd name="T48" fmla="*/ 32 w 418"/>
                <a:gd name="T49" fmla="*/ 252 h 421"/>
                <a:gd name="T50" fmla="*/ 25 w 418"/>
                <a:gd name="T51" fmla="*/ 278 h 421"/>
                <a:gd name="T52" fmla="*/ 2 w 418"/>
                <a:gd name="T53" fmla="*/ 289 h 421"/>
                <a:gd name="T54" fmla="*/ 4 w 418"/>
                <a:gd name="T55" fmla="*/ 301 h 421"/>
                <a:gd name="T56" fmla="*/ 17 w 418"/>
                <a:gd name="T57" fmla="*/ 340 h 421"/>
                <a:gd name="T58" fmla="*/ 43 w 418"/>
                <a:gd name="T59" fmla="*/ 375 h 421"/>
                <a:gd name="T60" fmla="*/ 72 w 418"/>
                <a:gd name="T61" fmla="*/ 388 h 421"/>
                <a:gd name="T62" fmla="*/ 88 w 418"/>
                <a:gd name="T63" fmla="*/ 410 h 421"/>
                <a:gd name="T64" fmla="*/ 115 w 418"/>
                <a:gd name="T65" fmla="*/ 421 h 421"/>
                <a:gd name="T66" fmla="*/ 134 w 418"/>
                <a:gd name="T67" fmla="*/ 404 h 421"/>
                <a:gd name="T68" fmla="*/ 153 w 418"/>
                <a:gd name="T69" fmla="*/ 408 h 421"/>
                <a:gd name="T70" fmla="*/ 181 w 418"/>
                <a:gd name="T71" fmla="*/ 390 h 421"/>
                <a:gd name="T72" fmla="*/ 192 w 418"/>
                <a:gd name="T73" fmla="*/ 387 h 421"/>
                <a:gd name="T74" fmla="*/ 228 w 418"/>
                <a:gd name="T75" fmla="*/ 366 h 421"/>
                <a:gd name="T76" fmla="*/ 234 w 418"/>
                <a:gd name="T77" fmla="*/ 350 h 421"/>
                <a:gd name="T78" fmla="*/ 239 w 418"/>
                <a:gd name="T79" fmla="*/ 313 h 421"/>
                <a:gd name="T80" fmla="*/ 251 w 418"/>
                <a:gd name="T81" fmla="*/ 279 h 421"/>
                <a:gd name="T82" fmla="*/ 262 w 418"/>
                <a:gd name="T83" fmla="*/ 255 h 421"/>
                <a:gd name="T84" fmla="*/ 269 w 418"/>
                <a:gd name="T85" fmla="*/ 231 h 421"/>
                <a:gd name="T86" fmla="*/ 293 w 418"/>
                <a:gd name="T87" fmla="*/ 243 h 421"/>
                <a:gd name="T88" fmla="*/ 306 w 418"/>
                <a:gd name="T89" fmla="*/ 231 h 421"/>
                <a:gd name="T90" fmla="*/ 313 w 418"/>
                <a:gd name="T91" fmla="*/ 207 h 421"/>
                <a:gd name="T92" fmla="*/ 323 w 418"/>
                <a:gd name="T93" fmla="*/ 192 h 421"/>
                <a:gd name="T94" fmla="*/ 343 w 418"/>
                <a:gd name="T95" fmla="*/ 174 h 421"/>
                <a:gd name="T96" fmla="*/ 356 w 418"/>
                <a:gd name="T97" fmla="*/ 151 h 421"/>
                <a:gd name="T98" fmla="*/ 363 w 418"/>
                <a:gd name="T99" fmla="*/ 120 h 421"/>
                <a:gd name="T100" fmla="*/ 407 w 418"/>
                <a:gd name="T101" fmla="*/ 133 h 421"/>
                <a:gd name="T102" fmla="*/ 418 w 418"/>
                <a:gd name="T103" fmla="*/ 109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18" h="421">
                  <a:moveTo>
                    <a:pt x="418" y="108"/>
                  </a:moveTo>
                  <a:cubicBezTo>
                    <a:pt x="417" y="104"/>
                    <a:pt x="417" y="104"/>
                    <a:pt x="417" y="104"/>
                  </a:cubicBezTo>
                  <a:cubicBezTo>
                    <a:pt x="416" y="104"/>
                    <a:pt x="416" y="103"/>
                    <a:pt x="416" y="103"/>
                  </a:cubicBezTo>
                  <a:cubicBezTo>
                    <a:pt x="410" y="97"/>
                    <a:pt x="410" y="97"/>
                    <a:pt x="410" y="97"/>
                  </a:cubicBezTo>
                  <a:cubicBezTo>
                    <a:pt x="409" y="90"/>
                    <a:pt x="409" y="90"/>
                    <a:pt x="409" y="90"/>
                  </a:cubicBezTo>
                  <a:cubicBezTo>
                    <a:pt x="409" y="89"/>
                    <a:pt x="409" y="88"/>
                    <a:pt x="407" y="88"/>
                  </a:cubicBezTo>
                  <a:cubicBezTo>
                    <a:pt x="403" y="87"/>
                    <a:pt x="403" y="87"/>
                    <a:pt x="403" y="87"/>
                  </a:cubicBezTo>
                  <a:cubicBezTo>
                    <a:pt x="404" y="82"/>
                    <a:pt x="404" y="82"/>
                    <a:pt x="404" y="82"/>
                  </a:cubicBezTo>
                  <a:cubicBezTo>
                    <a:pt x="405" y="81"/>
                    <a:pt x="404" y="80"/>
                    <a:pt x="404" y="79"/>
                  </a:cubicBezTo>
                  <a:cubicBezTo>
                    <a:pt x="403" y="78"/>
                    <a:pt x="403" y="78"/>
                    <a:pt x="403" y="78"/>
                  </a:cubicBezTo>
                  <a:cubicBezTo>
                    <a:pt x="402" y="78"/>
                    <a:pt x="402" y="78"/>
                    <a:pt x="401" y="78"/>
                  </a:cubicBezTo>
                  <a:cubicBezTo>
                    <a:pt x="387" y="79"/>
                    <a:pt x="387" y="79"/>
                    <a:pt x="387" y="79"/>
                  </a:cubicBezTo>
                  <a:cubicBezTo>
                    <a:pt x="380" y="75"/>
                    <a:pt x="380" y="75"/>
                    <a:pt x="380" y="75"/>
                  </a:cubicBezTo>
                  <a:cubicBezTo>
                    <a:pt x="380" y="74"/>
                    <a:pt x="380" y="74"/>
                    <a:pt x="380" y="74"/>
                  </a:cubicBezTo>
                  <a:cubicBezTo>
                    <a:pt x="372" y="71"/>
                    <a:pt x="372" y="71"/>
                    <a:pt x="372" y="71"/>
                  </a:cubicBezTo>
                  <a:cubicBezTo>
                    <a:pt x="371" y="71"/>
                    <a:pt x="370" y="71"/>
                    <a:pt x="370" y="71"/>
                  </a:cubicBezTo>
                  <a:cubicBezTo>
                    <a:pt x="364" y="74"/>
                    <a:pt x="364" y="74"/>
                    <a:pt x="364" y="74"/>
                  </a:cubicBezTo>
                  <a:cubicBezTo>
                    <a:pt x="364" y="75"/>
                    <a:pt x="363" y="75"/>
                    <a:pt x="363" y="76"/>
                  </a:cubicBezTo>
                  <a:cubicBezTo>
                    <a:pt x="360" y="82"/>
                    <a:pt x="360" y="82"/>
                    <a:pt x="360" y="82"/>
                  </a:cubicBezTo>
                  <a:cubicBezTo>
                    <a:pt x="354" y="82"/>
                    <a:pt x="354" y="82"/>
                    <a:pt x="354" y="82"/>
                  </a:cubicBezTo>
                  <a:cubicBezTo>
                    <a:pt x="353" y="82"/>
                    <a:pt x="352" y="82"/>
                    <a:pt x="352" y="83"/>
                  </a:cubicBezTo>
                  <a:cubicBezTo>
                    <a:pt x="345" y="91"/>
                    <a:pt x="345" y="91"/>
                    <a:pt x="345" y="91"/>
                  </a:cubicBezTo>
                  <a:cubicBezTo>
                    <a:pt x="345" y="91"/>
                    <a:pt x="345" y="92"/>
                    <a:pt x="345" y="92"/>
                  </a:cubicBezTo>
                  <a:cubicBezTo>
                    <a:pt x="344" y="97"/>
                    <a:pt x="344" y="97"/>
                    <a:pt x="344" y="97"/>
                  </a:cubicBezTo>
                  <a:cubicBezTo>
                    <a:pt x="334" y="99"/>
                    <a:pt x="334" y="99"/>
                    <a:pt x="334" y="99"/>
                  </a:cubicBezTo>
                  <a:cubicBezTo>
                    <a:pt x="328" y="97"/>
                    <a:pt x="328" y="97"/>
                    <a:pt x="328" y="97"/>
                  </a:cubicBezTo>
                  <a:cubicBezTo>
                    <a:pt x="321" y="91"/>
                    <a:pt x="321" y="91"/>
                    <a:pt x="321" y="91"/>
                  </a:cubicBezTo>
                  <a:cubicBezTo>
                    <a:pt x="320" y="90"/>
                    <a:pt x="319" y="90"/>
                    <a:pt x="318" y="90"/>
                  </a:cubicBezTo>
                  <a:cubicBezTo>
                    <a:pt x="316" y="91"/>
                    <a:pt x="316" y="91"/>
                    <a:pt x="316" y="91"/>
                  </a:cubicBezTo>
                  <a:cubicBezTo>
                    <a:pt x="315" y="91"/>
                    <a:pt x="314" y="92"/>
                    <a:pt x="314" y="93"/>
                  </a:cubicBezTo>
                  <a:cubicBezTo>
                    <a:pt x="314" y="99"/>
                    <a:pt x="314" y="99"/>
                    <a:pt x="314" y="99"/>
                  </a:cubicBezTo>
                  <a:cubicBezTo>
                    <a:pt x="305" y="113"/>
                    <a:pt x="305" y="113"/>
                    <a:pt x="305" y="113"/>
                  </a:cubicBezTo>
                  <a:cubicBezTo>
                    <a:pt x="299" y="112"/>
                    <a:pt x="299" y="112"/>
                    <a:pt x="299" y="112"/>
                  </a:cubicBezTo>
                  <a:cubicBezTo>
                    <a:pt x="299" y="112"/>
                    <a:pt x="298" y="112"/>
                    <a:pt x="298" y="112"/>
                  </a:cubicBezTo>
                  <a:cubicBezTo>
                    <a:pt x="291" y="115"/>
                    <a:pt x="291" y="115"/>
                    <a:pt x="291" y="115"/>
                  </a:cubicBezTo>
                  <a:cubicBezTo>
                    <a:pt x="291" y="115"/>
                    <a:pt x="290" y="115"/>
                    <a:pt x="290" y="116"/>
                  </a:cubicBezTo>
                  <a:cubicBezTo>
                    <a:pt x="287" y="123"/>
                    <a:pt x="287" y="123"/>
                    <a:pt x="287" y="123"/>
                  </a:cubicBezTo>
                  <a:cubicBezTo>
                    <a:pt x="280" y="131"/>
                    <a:pt x="280" y="131"/>
                    <a:pt x="280" y="131"/>
                  </a:cubicBezTo>
                  <a:cubicBezTo>
                    <a:pt x="276" y="138"/>
                    <a:pt x="276" y="138"/>
                    <a:pt x="276" y="138"/>
                  </a:cubicBezTo>
                  <a:cubicBezTo>
                    <a:pt x="269" y="144"/>
                    <a:pt x="269" y="144"/>
                    <a:pt x="269" y="144"/>
                  </a:cubicBezTo>
                  <a:cubicBezTo>
                    <a:pt x="266" y="148"/>
                    <a:pt x="266" y="148"/>
                    <a:pt x="266" y="148"/>
                  </a:cubicBezTo>
                  <a:cubicBezTo>
                    <a:pt x="257" y="93"/>
                    <a:pt x="257" y="93"/>
                    <a:pt x="257" y="93"/>
                  </a:cubicBezTo>
                  <a:cubicBezTo>
                    <a:pt x="256" y="92"/>
                    <a:pt x="256" y="91"/>
                    <a:pt x="256" y="91"/>
                  </a:cubicBezTo>
                  <a:cubicBezTo>
                    <a:pt x="255" y="91"/>
                    <a:pt x="254" y="91"/>
                    <a:pt x="254" y="91"/>
                  </a:cubicBezTo>
                  <a:cubicBezTo>
                    <a:pt x="165" y="107"/>
                    <a:pt x="165" y="107"/>
                    <a:pt x="165" y="107"/>
                  </a:cubicBezTo>
                  <a:cubicBezTo>
                    <a:pt x="146" y="3"/>
                    <a:pt x="146" y="3"/>
                    <a:pt x="146" y="3"/>
                  </a:cubicBezTo>
                  <a:cubicBezTo>
                    <a:pt x="146" y="2"/>
                    <a:pt x="145" y="1"/>
                    <a:pt x="145" y="1"/>
                  </a:cubicBezTo>
                  <a:cubicBezTo>
                    <a:pt x="144" y="0"/>
                    <a:pt x="143" y="0"/>
                    <a:pt x="142" y="1"/>
                  </a:cubicBezTo>
                  <a:cubicBezTo>
                    <a:pt x="138" y="4"/>
                    <a:pt x="138" y="4"/>
                    <a:pt x="138" y="4"/>
                  </a:cubicBezTo>
                  <a:cubicBezTo>
                    <a:pt x="135" y="4"/>
                    <a:pt x="135" y="4"/>
                    <a:pt x="135" y="4"/>
                  </a:cubicBezTo>
                  <a:cubicBezTo>
                    <a:pt x="134" y="4"/>
                    <a:pt x="133" y="5"/>
                    <a:pt x="133" y="6"/>
                  </a:cubicBezTo>
                  <a:cubicBezTo>
                    <a:pt x="131" y="13"/>
                    <a:pt x="131" y="13"/>
                    <a:pt x="131" y="13"/>
                  </a:cubicBezTo>
                  <a:cubicBezTo>
                    <a:pt x="130" y="14"/>
                    <a:pt x="130" y="15"/>
                    <a:pt x="131" y="15"/>
                  </a:cubicBezTo>
                  <a:cubicBezTo>
                    <a:pt x="136" y="21"/>
                    <a:pt x="136" y="21"/>
                    <a:pt x="136" y="21"/>
                  </a:cubicBezTo>
                  <a:cubicBezTo>
                    <a:pt x="140" y="43"/>
                    <a:pt x="140" y="43"/>
                    <a:pt x="140" y="43"/>
                  </a:cubicBezTo>
                  <a:cubicBezTo>
                    <a:pt x="138" y="50"/>
                    <a:pt x="138" y="50"/>
                    <a:pt x="138" y="50"/>
                  </a:cubicBezTo>
                  <a:cubicBezTo>
                    <a:pt x="134" y="73"/>
                    <a:pt x="134" y="73"/>
                    <a:pt x="134" y="73"/>
                  </a:cubicBezTo>
                  <a:cubicBezTo>
                    <a:pt x="134" y="73"/>
                    <a:pt x="134" y="73"/>
                    <a:pt x="134" y="73"/>
                  </a:cubicBezTo>
                  <a:cubicBezTo>
                    <a:pt x="135" y="81"/>
                    <a:pt x="135" y="81"/>
                    <a:pt x="135" y="81"/>
                  </a:cubicBezTo>
                  <a:cubicBezTo>
                    <a:pt x="135" y="88"/>
                    <a:pt x="135" y="88"/>
                    <a:pt x="135" y="88"/>
                  </a:cubicBezTo>
                  <a:cubicBezTo>
                    <a:pt x="133" y="89"/>
                    <a:pt x="133" y="89"/>
                    <a:pt x="133" y="89"/>
                  </a:cubicBezTo>
                  <a:cubicBezTo>
                    <a:pt x="132" y="89"/>
                    <a:pt x="132" y="89"/>
                    <a:pt x="132" y="90"/>
                  </a:cubicBezTo>
                  <a:cubicBezTo>
                    <a:pt x="131" y="90"/>
                    <a:pt x="131" y="91"/>
                    <a:pt x="131" y="91"/>
                  </a:cubicBezTo>
                  <a:cubicBezTo>
                    <a:pt x="133" y="98"/>
                    <a:pt x="133" y="98"/>
                    <a:pt x="133" y="98"/>
                  </a:cubicBezTo>
                  <a:cubicBezTo>
                    <a:pt x="131" y="105"/>
                    <a:pt x="131" y="105"/>
                    <a:pt x="131" y="105"/>
                  </a:cubicBezTo>
                  <a:cubicBezTo>
                    <a:pt x="131" y="105"/>
                    <a:pt x="131" y="105"/>
                    <a:pt x="131" y="106"/>
                  </a:cubicBezTo>
                  <a:cubicBezTo>
                    <a:pt x="132" y="113"/>
                    <a:pt x="132" y="113"/>
                    <a:pt x="132" y="113"/>
                  </a:cubicBezTo>
                  <a:cubicBezTo>
                    <a:pt x="129" y="126"/>
                    <a:pt x="129" y="126"/>
                    <a:pt x="129" y="126"/>
                  </a:cubicBezTo>
                  <a:cubicBezTo>
                    <a:pt x="120" y="135"/>
                    <a:pt x="120" y="135"/>
                    <a:pt x="120" y="135"/>
                  </a:cubicBezTo>
                  <a:cubicBezTo>
                    <a:pt x="120" y="135"/>
                    <a:pt x="120" y="135"/>
                    <a:pt x="120" y="135"/>
                  </a:cubicBezTo>
                  <a:cubicBezTo>
                    <a:pt x="111" y="150"/>
                    <a:pt x="111" y="150"/>
                    <a:pt x="111" y="150"/>
                  </a:cubicBezTo>
                  <a:cubicBezTo>
                    <a:pt x="98" y="162"/>
                    <a:pt x="98" y="162"/>
                    <a:pt x="98" y="162"/>
                  </a:cubicBezTo>
                  <a:cubicBezTo>
                    <a:pt x="86" y="157"/>
                    <a:pt x="86" y="157"/>
                    <a:pt x="86" y="157"/>
                  </a:cubicBezTo>
                  <a:cubicBezTo>
                    <a:pt x="85" y="157"/>
                    <a:pt x="84" y="157"/>
                    <a:pt x="83" y="158"/>
                  </a:cubicBezTo>
                  <a:cubicBezTo>
                    <a:pt x="77" y="167"/>
                    <a:pt x="77" y="167"/>
                    <a:pt x="77" y="167"/>
                  </a:cubicBezTo>
                  <a:cubicBezTo>
                    <a:pt x="76" y="168"/>
                    <a:pt x="76" y="168"/>
                    <a:pt x="76" y="169"/>
                  </a:cubicBezTo>
                  <a:cubicBezTo>
                    <a:pt x="76" y="175"/>
                    <a:pt x="76" y="175"/>
                    <a:pt x="76" y="175"/>
                  </a:cubicBezTo>
                  <a:cubicBezTo>
                    <a:pt x="67" y="180"/>
                    <a:pt x="67" y="180"/>
                    <a:pt x="67" y="180"/>
                  </a:cubicBezTo>
                  <a:cubicBezTo>
                    <a:pt x="66" y="180"/>
                    <a:pt x="66" y="180"/>
                    <a:pt x="66" y="181"/>
                  </a:cubicBezTo>
                  <a:cubicBezTo>
                    <a:pt x="63" y="188"/>
                    <a:pt x="63" y="188"/>
                    <a:pt x="63" y="188"/>
                  </a:cubicBezTo>
                  <a:cubicBezTo>
                    <a:pt x="63" y="188"/>
                    <a:pt x="63" y="189"/>
                    <a:pt x="63" y="189"/>
                  </a:cubicBezTo>
                  <a:cubicBezTo>
                    <a:pt x="63" y="196"/>
                    <a:pt x="63" y="196"/>
                    <a:pt x="63" y="196"/>
                  </a:cubicBezTo>
                  <a:cubicBezTo>
                    <a:pt x="58" y="204"/>
                    <a:pt x="58" y="204"/>
                    <a:pt x="58" y="204"/>
                  </a:cubicBezTo>
                  <a:cubicBezTo>
                    <a:pt x="57" y="204"/>
                    <a:pt x="57" y="206"/>
                    <a:pt x="58" y="206"/>
                  </a:cubicBezTo>
                  <a:cubicBezTo>
                    <a:pt x="63" y="212"/>
                    <a:pt x="63" y="212"/>
                    <a:pt x="63" y="212"/>
                  </a:cubicBezTo>
                  <a:cubicBezTo>
                    <a:pt x="59" y="218"/>
                    <a:pt x="59" y="218"/>
                    <a:pt x="59" y="218"/>
                  </a:cubicBezTo>
                  <a:cubicBezTo>
                    <a:pt x="58" y="222"/>
                    <a:pt x="58" y="222"/>
                    <a:pt x="58" y="222"/>
                  </a:cubicBezTo>
                  <a:cubicBezTo>
                    <a:pt x="53" y="214"/>
                    <a:pt x="53" y="214"/>
                    <a:pt x="53" y="214"/>
                  </a:cubicBezTo>
                  <a:cubicBezTo>
                    <a:pt x="52" y="214"/>
                    <a:pt x="52" y="214"/>
                    <a:pt x="52" y="213"/>
                  </a:cubicBezTo>
                  <a:cubicBezTo>
                    <a:pt x="44" y="211"/>
                    <a:pt x="44" y="211"/>
                    <a:pt x="44" y="211"/>
                  </a:cubicBezTo>
                  <a:cubicBezTo>
                    <a:pt x="43" y="210"/>
                    <a:pt x="42" y="211"/>
                    <a:pt x="41" y="212"/>
                  </a:cubicBezTo>
                  <a:cubicBezTo>
                    <a:pt x="36" y="220"/>
                    <a:pt x="36" y="220"/>
                    <a:pt x="36" y="220"/>
                  </a:cubicBezTo>
                  <a:cubicBezTo>
                    <a:pt x="33" y="227"/>
                    <a:pt x="33" y="227"/>
                    <a:pt x="33" y="227"/>
                  </a:cubicBezTo>
                  <a:cubicBezTo>
                    <a:pt x="33" y="227"/>
                    <a:pt x="33" y="228"/>
                    <a:pt x="33" y="228"/>
                  </a:cubicBezTo>
                  <a:cubicBezTo>
                    <a:pt x="33" y="235"/>
                    <a:pt x="33" y="235"/>
                    <a:pt x="33" y="235"/>
                  </a:cubicBezTo>
                  <a:cubicBezTo>
                    <a:pt x="31" y="237"/>
                    <a:pt x="31" y="237"/>
                    <a:pt x="31" y="237"/>
                  </a:cubicBezTo>
                  <a:cubicBezTo>
                    <a:pt x="31" y="238"/>
                    <a:pt x="31" y="238"/>
                    <a:pt x="31" y="238"/>
                  </a:cubicBezTo>
                  <a:cubicBezTo>
                    <a:pt x="29" y="246"/>
                    <a:pt x="29" y="246"/>
                    <a:pt x="29" y="246"/>
                  </a:cubicBezTo>
                  <a:cubicBezTo>
                    <a:pt x="29" y="247"/>
                    <a:pt x="29" y="248"/>
                    <a:pt x="29" y="248"/>
                  </a:cubicBezTo>
                  <a:cubicBezTo>
                    <a:pt x="32" y="252"/>
                    <a:pt x="32" y="252"/>
                    <a:pt x="32" y="252"/>
                  </a:cubicBezTo>
                  <a:cubicBezTo>
                    <a:pt x="33" y="264"/>
                    <a:pt x="33" y="264"/>
                    <a:pt x="33" y="264"/>
                  </a:cubicBezTo>
                  <a:cubicBezTo>
                    <a:pt x="26" y="268"/>
                    <a:pt x="26" y="268"/>
                    <a:pt x="26" y="268"/>
                  </a:cubicBezTo>
                  <a:cubicBezTo>
                    <a:pt x="26" y="269"/>
                    <a:pt x="25" y="270"/>
                    <a:pt x="25" y="271"/>
                  </a:cubicBezTo>
                  <a:cubicBezTo>
                    <a:pt x="25" y="278"/>
                    <a:pt x="25" y="278"/>
                    <a:pt x="25" y="278"/>
                  </a:cubicBezTo>
                  <a:cubicBezTo>
                    <a:pt x="20" y="284"/>
                    <a:pt x="20" y="284"/>
                    <a:pt x="20" y="284"/>
                  </a:cubicBezTo>
                  <a:cubicBezTo>
                    <a:pt x="11" y="288"/>
                    <a:pt x="11" y="288"/>
                    <a:pt x="11" y="288"/>
                  </a:cubicBezTo>
                  <a:cubicBezTo>
                    <a:pt x="5" y="289"/>
                    <a:pt x="5" y="289"/>
                    <a:pt x="5" y="289"/>
                  </a:cubicBezTo>
                  <a:cubicBezTo>
                    <a:pt x="4" y="289"/>
                    <a:pt x="3" y="289"/>
                    <a:pt x="2" y="289"/>
                  </a:cubicBezTo>
                  <a:cubicBezTo>
                    <a:pt x="1" y="290"/>
                    <a:pt x="0" y="291"/>
                    <a:pt x="1" y="292"/>
                  </a:cubicBezTo>
                  <a:cubicBezTo>
                    <a:pt x="1" y="297"/>
                    <a:pt x="1" y="297"/>
                    <a:pt x="1" y="297"/>
                  </a:cubicBezTo>
                  <a:cubicBezTo>
                    <a:pt x="1" y="297"/>
                    <a:pt x="2" y="298"/>
                    <a:pt x="2" y="298"/>
                  </a:cubicBezTo>
                  <a:cubicBezTo>
                    <a:pt x="4" y="301"/>
                    <a:pt x="4" y="301"/>
                    <a:pt x="4" y="301"/>
                  </a:cubicBezTo>
                  <a:cubicBezTo>
                    <a:pt x="5" y="308"/>
                    <a:pt x="5" y="308"/>
                    <a:pt x="5" y="308"/>
                  </a:cubicBezTo>
                  <a:cubicBezTo>
                    <a:pt x="1" y="322"/>
                    <a:pt x="1" y="322"/>
                    <a:pt x="1" y="322"/>
                  </a:cubicBezTo>
                  <a:cubicBezTo>
                    <a:pt x="1" y="323"/>
                    <a:pt x="1" y="324"/>
                    <a:pt x="2" y="324"/>
                  </a:cubicBezTo>
                  <a:cubicBezTo>
                    <a:pt x="17" y="340"/>
                    <a:pt x="17" y="340"/>
                    <a:pt x="17" y="340"/>
                  </a:cubicBezTo>
                  <a:cubicBezTo>
                    <a:pt x="19" y="347"/>
                    <a:pt x="19" y="347"/>
                    <a:pt x="19" y="347"/>
                  </a:cubicBezTo>
                  <a:cubicBezTo>
                    <a:pt x="20" y="347"/>
                    <a:pt x="20" y="348"/>
                    <a:pt x="20" y="348"/>
                  </a:cubicBezTo>
                  <a:cubicBezTo>
                    <a:pt x="27" y="355"/>
                    <a:pt x="27" y="355"/>
                    <a:pt x="27" y="355"/>
                  </a:cubicBezTo>
                  <a:cubicBezTo>
                    <a:pt x="43" y="375"/>
                    <a:pt x="43" y="375"/>
                    <a:pt x="43" y="375"/>
                  </a:cubicBezTo>
                  <a:cubicBezTo>
                    <a:pt x="43" y="375"/>
                    <a:pt x="43" y="376"/>
                    <a:pt x="43" y="376"/>
                  </a:cubicBezTo>
                  <a:cubicBezTo>
                    <a:pt x="59" y="387"/>
                    <a:pt x="59" y="387"/>
                    <a:pt x="59" y="387"/>
                  </a:cubicBezTo>
                  <a:cubicBezTo>
                    <a:pt x="59" y="387"/>
                    <a:pt x="59" y="387"/>
                    <a:pt x="60" y="387"/>
                  </a:cubicBezTo>
                  <a:cubicBezTo>
                    <a:pt x="72" y="388"/>
                    <a:pt x="72" y="388"/>
                    <a:pt x="72" y="388"/>
                  </a:cubicBezTo>
                  <a:cubicBezTo>
                    <a:pt x="72" y="392"/>
                    <a:pt x="72" y="392"/>
                    <a:pt x="72" y="392"/>
                  </a:cubicBezTo>
                  <a:cubicBezTo>
                    <a:pt x="72" y="393"/>
                    <a:pt x="72" y="394"/>
                    <a:pt x="73" y="394"/>
                  </a:cubicBezTo>
                  <a:cubicBezTo>
                    <a:pt x="79" y="402"/>
                    <a:pt x="79" y="402"/>
                    <a:pt x="79" y="402"/>
                  </a:cubicBezTo>
                  <a:cubicBezTo>
                    <a:pt x="88" y="410"/>
                    <a:pt x="88" y="410"/>
                    <a:pt x="88" y="410"/>
                  </a:cubicBezTo>
                  <a:cubicBezTo>
                    <a:pt x="103" y="418"/>
                    <a:pt x="103" y="418"/>
                    <a:pt x="103" y="418"/>
                  </a:cubicBezTo>
                  <a:cubicBezTo>
                    <a:pt x="103" y="419"/>
                    <a:pt x="103" y="419"/>
                    <a:pt x="104" y="419"/>
                  </a:cubicBezTo>
                  <a:cubicBezTo>
                    <a:pt x="114" y="421"/>
                    <a:pt x="114" y="421"/>
                    <a:pt x="114" y="421"/>
                  </a:cubicBezTo>
                  <a:cubicBezTo>
                    <a:pt x="115" y="421"/>
                    <a:pt x="115" y="421"/>
                    <a:pt x="115" y="421"/>
                  </a:cubicBezTo>
                  <a:cubicBezTo>
                    <a:pt x="115" y="421"/>
                    <a:pt x="116" y="421"/>
                    <a:pt x="116" y="420"/>
                  </a:cubicBezTo>
                  <a:cubicBezTo>
                    <a:pt x="131" y="410"/>
                    <a:pt x="131" y="410"/>
                    <a:pt x="131" y="410"/>
                  </a:cubicBezTo>
                  <a:cubicBezTo>
                    <a:pt x="131" y="410"/>
                    <a:pt x="131" y="410"/>
                    <a:pt x="132" y="409"/>
                  </a:cubicBezTo>
                  <a:cubicBezTo>
                    <a:pt x="134" y="404"/>
                    <a:pt x="134" y="404"/>
                    <a:pt x="134" y="404"/>
                  </a:cubicBezTo>
                  <a:cubicBezTo>
                    <a:pt x="144" y="408"/>
                    <a:pt x="144" y="408"/>
                    <a:pt x="144" y="408"/>
                  </a:cubicBezTo>
                  <a:cubicBezTo>
                    <a:pt x="145" y="409"/>
                    <a:pt x="145" y="409"/>
                    <a:pt x="145" y="409"/>
                  </a:cubicBezTo>
                  <a:cubicBezTo>
                    <a:pt x="153" y="408"/>
                    <a:pt x="153" y="408"/>
                    <a:pt x="153" y="408"/>
                  </a:cubicBezTo>
                  <a:cubicBezTo>
                    <a:pt x="153" y="408"/>
                    <a:pt x="153" y="408"/>
                    <a:pt x="153" y="408"/>
                  </a:cubicBezTo>
                  <a:cubicBezTo>
                    <a:pt x="170" y="400"/>
                    <a:pt x="170" y="400"/>
                    <a:pt x="170" y="400"/>
                  </a:cubicBezTo>
                  <a:cubicBezTo>
                    <a:pt x="177" y="398"/>
                    <a:pt x="177" y="398"/>
                    <a:pt x="177" y="398"/>
                  </a:cubicBezTo>
                  <a:cubicBezTo>
                    <a:pt x="178" y="397"/>
                    <a:pt x="178" y="397"/>
                    <a:pt x="179" y="396"/>
                  </a:cubicBezTo>
                  <a:cubicBezTo>
                    <a:pt x="181" y="390"/>
                    <a:pt x="181" y="390"/>
                    <a:pt x="181" y="390"/>
                  </a:cubicBezTo>
                  <a:cubicBezTo>
                    <a:pt x="181" y="389"/>
                    <a:pt x="181" y="389"/>
                    <a:pt x="181" y="389"/>
                  </a:cubicBezTo>
                  <a:cubicBezTo>
                    <a:pt x="181" y="385"/>
                    <a:pt x="181" y="385"/>
                    <a:pt x="181" y="385"/>
                  </a:cubicBezTo>
                  <a:cubicBezTo>
                    <a:pt x="189" y="388"/>
                    <a:pt x="189" y="388"/>
                    <a:pt x="189" y="388"/>
                  </a:cubicBezTo>
                  <a:cubicBezTo>
                    <a:pt x="190" y="388"/>
                    <a:pt x="191" y="388"/>
                    <a:pt x="192" y="387"/>
                  </a:cubicBezTo>
                  <a:cubicBezTo>
                    <a:pt x="205" y="376"/>
                    <a:pt x="205" y="376"/>
                    <a:pt x="205" y="376"/>
                  </a:cubicBezTo>
                  <a:cubicBezTo>
                    <a:pt x="212" y="377"/>
                    <a:pt x="212" y="377"/>
                    <a:pt x="212" y="377"/>
                  </a:cubicBezTo>
                  <a:cubicBezTo>
                    <a:pt x="212" y="377"/>
                    <a:pt x="213" y="377"/>
                    <a:pt x="214" y="376"/>
                  </a:cubicBezTo>
                  <a:cubicBezTo>
                    <a:pt x="228" y="366"/>
                    <a:pt x="228" y="366"/>
                    <a:pt x="228" y="366"/>
                  </a:cubicBezTo>
                  <a:cubicBezTo>
                    <a:pt x="230" y="365"/>
                    <a:pt x="230" y="365"/>
                    <a:pt x="230" y="365"/>
                  </a:cubicBezTo>
                  <a:cubicBezTo>
                    <a:pt x="231" y="364"/>
                    <a:pt x="231" y="363"/>
                    <a:pt x="231" y="362"/>
                  </a:cubicBezTo>
                  <a:cubicBezTo>
                    <a:pt x="229" y="356"/>
                    <a:pt x="229" y="356"/>
                    <a:pt x="229" y="356"/>
                  </a:cubicBezTo>
                  <a:cubicBezTo>
                    <a:pt x="234" y="350"/>
                    <a:pt x="234" y="350"/>
                    <a:pt x="234" y="350"/>
                  </a:cubicBezTo>
                  <a:cubicBezTo>
                    <a:pt x="234" y="349"/>
                    <a:pt x="234" y="348"/>
                    <a:pt x="234" y="347"/>
                  </a:cubicBezTo>
                  <a:cubicBezTo>
                    <a:pt x="229" y="340"/>
                    <a:pt x="229" y="340"/>
                    <a:pt x="229" y="340"/>
                  </a:cubicBezTo>
                  <a:cubicBezTo>
                    <a:pt x="231" y="328"/>
                    <a:pt x="231" y="328"/>
                    <a:pt x="231" y="328"/>
                  </a:cubicBezTo>
                  <a:cubicBezTo>
                    <a:pt x="239" y="313"/>
                    <a:pt x="239" y="313"/>
                    <a:pt x="239" y="313"/>
                  </a:cubicBezTo>
                  <a:cubicBezTo>
                    <a:pt x="246" y="303"/>
                    <a:pt x="246" y="303"/>
                    <a:pt x="246" y="303"/>
                  </a:cubicBezTo>
                  <a:cubicBezTo>
                    <a:pt x="246" y="303"/>
                    <a:pt x="246" y="302"/>
                    <a:pt x="246" y="302"/>
                  </a:cubicBezTo>
                  <a:cubicBezTo>
                    <a:pt x="250" y="287"/>
                    <a:pt x="250" y="287"/>
                    <a:pt x="250" y="287"/>
                  </a:cubicBezTo>
                  <a:cubicBezTo>
                    <a:pt x="251" y="279"/>
                    <a:pt x="251" y="279"/>
                    <a:pt x="251" y="279"/>
                  </a:cubicBezTo>
                  <a:cubicBezTo>
                    <a:pt x="255" y="273"/>
                    <a:pt x="255" y="273"/>
                    <a:pt x="255" y="273"/>
                  </a:cubicBezTo>
                  <a:cubicBezTo>
                    <a:pt x="256" y="272"/>
                    <a:pt x="256" y="272"/>
                    <a:pt x="256" y="272"/>
                  </a:cubicBezTo>
                  <a:cubicBezTo>
                    <a:pt x="260" y="257"/>
                    <a:pt x="260" y="257"/>
                    <a:pt x="260" y="257"/>
                  </a:cubicBezTo>
                  <a:cubicBezTo>
                    <a:pt x="262" y="255"/>
                    <a:pt x="262" y="255"/>
                    <a:pt x="262" y="255"/>
                  </a:cubicBezTo>
                  <a:cubicBezTo>
                    <a:pt x="263" y="255"/>
                    <a:pt x="263" y="254"/>
                    <a:pt x="263" y="254"/>
                  </a:cubicBezTo>
                  <a:cubicBezTo>
                    <a:pt x="265" y="245"/>
                    <a:pt x="265" y="245"/>
                    <a:pt x="265" y="245"/>
                  </a:cubicBezTo>
                  <a:cubicBezTo>
                    <a:pt x="265" y="232"/>
                    <a:pt x="265" y="232"/>
                    <a:pt x="265" y="232"/>
                  </a:cubicBezTo>
                  <a:cubicBezTo>
                    <a:pt x="269" y="231"/>
                    <a:pt x="269" y="231"/>
                    <a:pt x="269" y="231"/>
                  </a:cubicBezTo>
                  <a:cubicBezTo>
                    <a:pt x="275" y="236"/>
                    <a:pt x="275" y="236"/>
                    <a:pt x="275" y="236"/>
                  </a:cubicBezTo>
                  <a:cubicBezTo>
                    <a:pt x="275" y="239"/>
                    <a:pt x="275" y="239"/>
                    <a:pt x="275" y="239"/>
                  </a:cubicBezTo>
                  <a:cubicBezTo>
                    <a:pt x="276" y="240"/>
                    <a:pt x="276" y="240"/>
                    <a:pt x="278" y="241"/>
                  </a:cubicBezTo>
                  <a:cubicBezTo>
                    <a:pt x="293" y="243"/>
                    <a:pt x="293" y="243"/>
                    <a:pt x="293" y="243"/>
                  </a:cubicBezTo>
                  <a:cubicBezTo>
                    <a:pt x="293" y="243"/>
                    <a:pt x="294" y="243"/>
                    <a:pt x="294" y="243"/>
                  </a:cubicBezTo>
                  <a:cubicBezTo>
                    <a:pt x="301" y="240"/>
                    <a:pt x="301" y="240"/>
                    <a:pt x="301" y="240"/>
                  </a:cubicBezTo>
                  <a:cubicBezTo>
                    <a:pt x="302" y="239"/>
                    <a:pt x="302" y="239"/>
                    <a:pt x="302" y="238"/>
                  </a:cubicBezTo>
                  <a:cubicBezTo>
                    <a:pt x="306" y="231"/>
                    <a:pt x="306" y="231"/>
                    <a:pt x="306" y="231"/>
                  </a:cubicBezTo>
                  <a:cubicBezTo>
                    <a:pt x="306" y="231"/>
                    <a:pt x="306" y="231"/>
                    <a:pt x="306" y="231"/>
                  </a:cubicBezTo>
                  <a:cubicBezTo>
                    <a:pt x="309" y="215"/>
                    <a:pt x="309" y="215"/>
                    <a:pt x="309" y="215"/>
                  </a:cubicBezTo>
                  <a:cubicBezTo>
                    <a:pt x="313" y="208"/>
                    <a:pt x="313" y="208"/>
                    <a:pt x="313" y="208"/>
                  </a:cubicBezTo>
                  <a:cubicBezTo>
                    <a:pt x="313" y="208"/>
                    <a:pt x="313" y="208"/>
                    <a:pt x="313" y="207"/>
                  </a:cubicBezTo>
                  <a:cubicBezTo>
                    <a:pt x="314" y="197"/>
                    <a:pt x="314" y="197"/>
                    <a:pt x="314" y="197"/>
                  </a:cubicBezTo>
                  <a:cubicBezTo>
                    <a:pt x="316" y="192"/>
                    <a:pt x="316" y="192"/>
                    <a:pt x="316" y="192"/>
                  </a:cubicBezTo>
                  <a:cubicBezTo>
                    <a:pt x="322" y="192"/>
                    <a:pt x="322" y="192"/>
                    <a:pt x="322" y="192"/>
                  </a:cubicBezTo>
                  <a:cubicBezTo>
                    <a:pt x="323" y="192"/>
                    <a:pt x="323" y="192"/>
                    <a:pt x="323" y="192"/>
                  </a:cubicBezTo>
                  <a:cubicBezTo>
                    <a:pt x="331" y="190"/>
                    <a:pt x="331" y="190"/>
                    <a:pt x="331" y="190"/>
                  </a:cubicBezTo>
                  <a:cubicBezTo>
                    <a:pt x="331" y="190"/>
                    <a:pt x="332" y="189"/>
                    <a:pt x="332" y="189"/>
                  </a:cubicBezTo>
                  <a:cubicBezTo>
                    <a:pt x="338" y="175"/>
                    <a:pt x="338" y="175"/>
                    <a:pt x="338" y="175"/>
                  </a:cubicBezTo>
                  <a:cubicBezTo>
                    <a:pt x="343" y="174"/>
                    <a:pt x="343" y="174"/>
                    <a:pt x="343" y="174"/>
                  </a:cubicBezTo>
                  <a:cubicBezTo>
                    <a:pt x="344" y="174"/>
                    <a:pt x="344" y="174"/>
                    <a:pt x="345" y="173"/>
                  </a:cubicBezTo>
                  <a:cubicBezTo>
                    <a:pt x="351" y="166"/>
                    <a:pt x="351" y="166"/>
                    <a:pt x="351" y="166"/>
                  </a:cubicBezTo>
                  <a:cubicBezTo>
                    <a:pt x="351" y="166"/>
                    <a:pt x="351" y="166"/>
                    <a:pt x="351" y="165"/>
                  </a:cubicBezTo>
                  <a:cubicBezTo>
                    <a:pt x="356" y="151"/>
                    <a:pt x="356" y="151"/>
                    <a:pt x="356" y="151"/>
                  </a:cubicBezTo>
                  <a:cubicBezTo>
                    <a:pt x="361" y="144"/>
                    <a:pt x="361" y="144"/>
                    <a:pt x="361" y="144"/>
                  </a:cubicBezTo>
                  <a:cubicBezTo>
                    <a:pt x="361" y="143"/>
                    <a:pt x="361" y="143"/>
                    <a:pt x="361" y="142"/>
                  </a:cubicBezTo>
                  <a:cubicBezTo>
                    <a:pt x="360" y="127"/>
                    <a:pt x="360" y="127"/>
                    <a:pt x="360" y="127"/>
                  </a:cubicBezTo>
                  <a:cubicBezTo>
                    <a:pt x="363" y="120"/>
                    <a:pt x="363" y="120"/>
                    <a:pt x="363" y="120"/>
                  </a:cubicBezTo>
                  <a:cubicBezTo>
                    <a:pt x="363" y="120"/>
                    <a:pt x="363" y="119"/>
                    <a:pt x="363" y="119"/>
                  </a:cubicBezTo>
                  <a:cubicBezTo>
                    <a:pt x="362" y="113"/>
                    <a:pt x="362" y="113"/>
                    <a:pt x="362" y="113"/>
                  </a:cubicBezTo>
                  <a:cubicBezTo>
                    <a:pt x="367" y="111"/>
                    <a:pt x="367" y="111"/>
                    <a:pt x="367" y="111"/>
                  </a:cubicBezTo>
                  <a:cubicBezTo>
                    <a:pt x="407" y="133"/>
                    <a:pt x="407" y="133"/>
                    <a:pt x="407" y="133"/>
                  </a:cubicBezTo>
                  <a:cubicBezTo>
                    <a:pt x="408" y="133"/>
                    <a:pt x="410" y="133"/>
                    <a:pt x="411" y="132"/>
                  </a:cubicBezTo>
                  <a:cubicBezTo>
                    <a:pt x="416" y="124"/>
                    <a:pt x="416" y="124"/>
                    <a:pt x="416" y="124"/>
                  </a:cubicBezTo>
                  <a:cubicBezTo>
                    <a:pt x="416" y="124"/>
                    <a:pt x="416" y="123"/>
                    <a:pt x="416" y="123"/>
                  </a:cubicBezTo>
                  <a:cubicBezTo>
                    <a:pt x="418" y="109"/>
                    <a:pt x="418" y="109"/>
                    <a:pt x="418" y="109"/>
                  </a:cubicBezTo>
                  <a:cubicBezTo>
                    <a:pt x="418" y="109"/>
                    <a:pt x="418" y="109"/>
                    <a:pt x="418" y="108"/>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38">
              <a:extLst>
                <a:ext uri="{FF2B5EF4-FFF2-40B4-BE49-F238E27FC236}">
                  <a16:creationId xmlns:a16="http://schemas.microsoft.com/office/drawing/2014/main" id="{30FC787F-CDDA-4B34-880F-E44B6823EDED}"/>
                </a:ext>
              </a:extLst>
            </p:cNvPr>
            <p:cNvSpPr>
              <a:spLocks/>
            </p:cNvSpPr>
            <p:nvPr/>
          </p:nvSpPr>
          <p:spPr bwMode="auto">
            <a:xfrm>
              <a:off x="7155038" y="2962140"/>
              <a:ext cx="437645" cy="501320"/>
            </a:xfrm>
            <a:custGeom>
              <a:avLst/>
              <a:gdLst>
                <a:gd name="T0" fmla="*/ 383 w 393"/>
                <a:gd name="T1" fmla="*/ 164 h 450"/>
                <a:gd name="T2" fmla="*/ 386 w 393"/>
                <a:gd name="T3" fmla="*/ 164 h 450"/>
                <a:gd name="T4" fmla="*/ 366 w 393"/>
                <a:gd name="T5" fmla="*/ 2 h 450"/>
                <a:gd name="T6" fmla="*/ 319 w 393"/>
                <a:gd name="T7" fmla="*/ 26 h 450"/>
                <a:gd name="T8" fmla="*/ 289 w 393"/>
                <a:gd name="T9" fmla="*/ 51 h 450"/>
                <a:gd name="T10" fmla="*/ 255 w 393"/>
                <a:gd name="T11" fmla="*/ 76 h 450"/>
                <a:gd name="T12" fmla="*/ 247 w 393"/>
                <a:gd name="T13" fmla="*/ 75 h 450"/>
                <a:gd name="T14" fmla="*/ 229 w 393"/>
                <a:gd name="T15" fmla="*/ 82 h 450"/>
                <a:gd name="T16" fmla="*/ 219 w 393"/>
                <a:gd name="T17" fmla="*/ 88 h 450"/>
                <a:gd name="T18" fmla="*/ 207 w 393"/>
                <a:gd name="T19" fmla="*/ 96 h 450"/>
                <a:gd name="T20" fmla="*/ 193 w 393"/>
                <a:gd name="T21" fmla="*/ 90 h 450"/>
                <a:gd name="T22" fmla="*/ 172 w 393"/>
                <a:gd name="T23" fmla="*/ 94 h 450"/>
                <a:gd name="T24" fmla="*/ 169 w 393"/>
                <a:gd name="T25" fmla="*/ 89 h 450"/>
                <a:gd name="T26" fmla="*/ 181 w 393"/>
                <a:gd name="T27" fmla="*/ 81 h 450"/>
                <a:gd name="T28" fmla="*/ 160 w 393"/>
                <a:gd name="T29" fmla="*/ 79 h 450"/>
                <a:gd name="T30" fmla="*/ 149 w 393"/>
                <a:gd name="T31" fmla="*/ 75 h 450"/>
                <a:gd name="T32" fmla="*/ 140 w 393"/>
                <a:gd name="T33" fmla="*/ 75 h 450"/>
                <a:gd name="T34" fmla="*/ 119 w 393"/>
                <a:gd name="T35" fmla="*/ 69 h 450"/>
                <a:gd name="T36" fmla="*/ 2 w 393"/>
                <a:gd name="T37" fmla="*/ 88 h 450"/>
                <a:gd name="T38" fmla="*/ 36 w 393"/>
                <a:gd name="T39" fmla="*/ 396 h 450"/>
                <a:gd name="T40" fmla="*/ 49 w 393"/>
                <a:gd name="T41" fmla="*/ 392 h 450"/>
                <a:gd name="T42" fmla="*/ 56 w 393"/>
                <a:gd name="T43" fmla="*/ 397 h 450"/>
                <a:gd name="T44" fmla="*/ 85 w 393"/>
                <a:gd name="T45" fmla="*/ 400 h 450"/>
                <a:gd name="T46" fmla="*/ 90 w 393"/>
                <a:gd name="T47" fmla="*/ 410 h 450"/>
                <a:gd name="T48" fmla="*/ 111 w 393"/>
                <a:gd name="T49" fmla="*/ 426 h 450"/>
                <a:gd name="T50" fmla="*/ 125 w 393"/>
                <a:gd name="T51" fmla="*/ 424 h 450"/>
                <a:gd name="T52" fmla="*/ 144 w 393"/>
                <a:gd name="T53" fmla="*/ 437 h 450"/>
                <a:gd name="T54" fmla="*/ 157 w 393"/>
                <a:gd name="T55" fmla="*/ 432 h 450"/>
                <a:gd name="T56" fmla="*/ 165 w 393"/>
                <a:gd name="T57" fmla="*/ 429 h 450"/>
                <a:gd name="T58" fmla="*/ 176 w 393"/>
                <a:gd name="T59" fmla="*/ 432 h 450"/>
                <a:gd name="T60" fmla="*/ 190 w 393"/>
                <a:gd name="T61" fmla="*/ 433 h 450"/>
                <a:gd name="T62" fmla="*/ 201 w 393"/>
                <a:gd name="T63" fmla="*/ 427 h 450"/>
                <a:gd name="T64" fmla="*/ 211 w 393"/>
                <a:gd name="T65" fmla="*/ 417 h 450"/>
                <a:gd name="T66" fmla="*/ 221 w 393"/>
                <a:gd name="T67" fmla="*/ 426 h 450"/>
                <a:gd name="T68" fmla="*/ 236 w 393"/>
                <a:gd name="T69" fmla="*/ 435 h 450"/>
                <a:gd name="T70" fmla="*/ 248 w 393"/>
                <a:gd name="T71" fmla="*/ 448 h 450"/>
                <a:gd name="T72" fmla="*/ 251 w 393"/>
                <a:gd name="T73" fmla="*/ 450 h 450"/>
                <a:gd name="T74" fmla="*/ 277 w 393"/>
                <a:gd name="T75" fmla="*/ 434 h 450"/>
                <a:gd name="T76" fmla="*/ 280 w 393"/>
                <a:gd name="T77" fmla="*/ 425 h 450"/>
                <a:gd name="T78" fmla="*/ 282 w 393"/>
                <a:gd name="T79" fmla="*/ 403 h 450"/>
                <a:gd name="T80" fmla="*/ 283 w 393"/>
                <a:gd name="T81" fmla="*/ 394 h 450"/>
                <a:gd name="T82" fmla="*/ 285 w 393"/>
                <a:gd name="T83" fmla="*/ 383 h 450"/>
                <a:gd name="T84" fmla="*/ 291 w 393"/>
                <a:gd name="T85" fmla="*/ 370 h 450"/>
                <a:gd name="T86" fmla="*/ 306 w 393"/>
                <a:gd name="T87" fmla="*/ 385 h 450"/>
                <a:gd name="T88" fmla="*/ 311 w 393"/>
                <a:gd name="T89" fmla="*/ 375 h 450"/>
                <a:gd name="T90" fmla="*/ 312 w 393"/>
                <a:gd name="T91" fmla="*/ 362 h 450"/>
                <a:gd name="T92" fmla="*/ 315 w 393"/>
                <a:gd name="T93" fmla="*/ 353 h 450"/>
                <a:gd name="T94" fmla="*/ 317 w 393"/>
                <a:gd name="T95" fmla="*/ 339 h 450"/>
                <a:gd name="T96" fmla="*/ 328 w 393"/>
                <a:gd name="T97" fmla="*/ 327 h 450"/>
                <a:gd name="T98" fmla="*/ 338 w 393"/>
                <a:gd name="T99" fmla="*/ 319 h 450"/>
                <a:gd name="T100" fmla="*/ 361 w 393"/>
                <a:gd name="T101" fmla="*/ 309 h 450"/>
                <a:gd name="T102" fmla="*/ 371 w 393"/>
                <a:gd name="T103" fmla="*/ 293 h 450"/>
                <a:gd name="T104" fmla="*/ 384 w 393"/>
                <a:gd name="T105" fmla="*/ 268 h 450"/>
                <a:gd name="T106" fmla="*/ 384 w 393"/>
                <a:gd name="T107" fmla="*/ 258 h 450"/>
                <a:gd name="T108" fmla="*/ 383 w 393"/>
                <a:gd name="T109" fmla="*/ 248 h 450"/>
                <a:gd name="T110" fmla="*/ 387 w 393"/>
                <a:gd name="T111" fmla="*/ 236 h 450"/>
                <a:gd name="T112" fmla="*/ 393 w 393"/>
                <a:gd name="T113" fmla="*/ 19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3" h="450">
                  <a:moveTo>
                    <a:pt x="384" y="171"/>
                  </a:moveTo>
                  <a:cubicBezTo>
                    <a:pt x="384" y="170"/>
                    <a:pt x="383" y="169"/>
                    <a:pt x="382" y="168"/>
                  </a:cubicBezTo>
                  <a:cubicBezTo>
                    <a:pt x="382" y="167"/>
                    <a:pt x="383" y="165"/>
                    <a:pt x="383" y="164"/>
                  </a:cubicBezTo>
                  <a:cubicBezTo>
                    <a:pt x="383" y="164"/>
                    <a:pt x="384" y="164"/>
                    <a:pt x="384" y="164"/>
                  </a:cubicBezTo>
                  <a:cubicBezTo>
                    <a:pt x="384" y="164"/>
                    <a:pt x="385" y="164"/>
                    <a:pt x="385" y="164"/>
                  </a:cubicBezTo>
                  <a:cubicBezTo>
                    <a:pt x="385" y="164"/>
                    <a:pt x="386" y="164"/>
                    <a:pt x="386" y="164"/>
                  </a:cubicBezTo>
                  <a:cubicBezTo>
                    <a:pt x="388" y="163"/>
                    <a:pt x="391" y="161"/>
                    <a:pt x="392" y="160"/>
                  </a:cubicBezTo>
                  <a:cubicBezTo>
                    <a:pt x="393" y="159"/>
                    <a:pt x="393" y="158"/>
                    <a:pt x="393" y="158"/>
                  </a:cubicBezTo>
                  <a:cubicBezTo>
                    <a:pt x="366" y="2"/>
                    <a:pt x="366" y="2"/>
                    <a:pt x="366" y="2"/>
                  </a:cubicBezTo>
                  <a:cubicBezTo>
                    <a:pt x="366" y="1"/>
                    <a:pt x="366" y="0"/>
                    <a:pt x="365" y="0"/>
                  </a:cubicBezTo>
                  <a:cubicBezTo>
                    <a:pt x="364" y="0"/>
                    <a:pt x="363" y="0"/>
                    <a:pt x="363" y="0"/>
                  </a:cubicBezTo>
                  <a:cubicBezTo>
                    <a:pt x="319" y="26"/>
                    <a:pt x="319" y="26"/>
                    <a:pt x="319" y="26"/>
                  </a:cubicBezTo>
                  <a:cubicBezTo>
                    <a:pt x="303" y="37"/>
                    <a:pt x="303" y="37"/>
                    <a:pt x="303" y="37"/>
                  </a:cubicBezTo>
                  <a:cubicBezTo>
                    <a:pt x="296" y="43"/>
                    <a:pt x="296" y="43"/>
                    <a:pt x="296" y="43"/>
                  </a:cubicBezTo>
                  <a:cubicBezTo>
                    <a:pt x="289" y="51"/>
                    <a:pt x="289" y="51"/>
                    <a:pt x="289" y="51"/>
                  </a:cubicBezTo>
                  <a:cubicBezTo>
                    <a:pt x="281" y="62"/>
                    <a:pt x="281" y="62"/>
                    <a:pt x="281" y="62"/>
                  </a:cubicBezTo>
                  <a:cubicBezTo>
                    <a:pt x="278" y="66"/>
                    <a:pt x="271" y="73"/>
                    <a:pt x="268" y="74"/>
                  </a:cubicBezTo>
                  <a:cubicBezTo>
                    <a:pt x="265" y="75"/>
                    <a:pt x="259" y="76"/>
                    <a:pt x="255" y="76"/>
                  </a:cubicBezTo>
                  <a:cubicBezTo>
                    <a:pt x="254" y="76"/>
                    <a:pt x="254" y="76"/>
                    <a:pt x="254" y="76"/>
                  </a:cubicBezTo>
                  <a:cubicBezTo>
                    <a:pt x="253" y="76"/>
                    <a:pt x="252" y="76"/>
                    <a:pt x="251" y="76"/>
                  </a:cubicBezTo>
                  <a:cubicBezTo>
                    <a:pt x="250" y="75"/>
                    <a:pt x="248" y="75"/>
                    <a:pt x="247" y="75"/>
                  </a:cubicBezTo>
                  <a:cubicBezTo>
                    <a:pt x="247" y="75"/>
                    <a:pt x="246" y="75"/>
                    <a:pt x="246" y="75"/>
                  </a:cubicBezTo>
                  <a:cubicBezTo>
                    <a:pt x="242" y="75"/>
                    <a:pt x="236" y="79"/>
                    <a:pt x="230" y="82"/>
                  </a:cubicBezTo>
                  <a:cubicBezTo>
                    <a:pt x="229" y="82"/>
                    <a:pt x="229" y="82"/>
                    <a:pt x="229" y="82"/>
                  </a:cubicBezTo>
                  <a:cubicBezTo>
                    <a:pt x="228" y="83"/>
                    <a:pt x="227" y="84"/>
                    <a:pt x="226" y="85"/>
                  </a:cubicBezTo>
                  <a:cubicBezTo>
                    <a:pt x="224" y="86"/>
                    <a:pt x="223" y="87"/>
                    <a:pt x="222" y="87"/>
                  </a:cubicBezTo>
                  <a:cubicBezTo>
                    <a:pt x="221" y="88"/>
                    <a:pt x="220" y="88"/>
                    <a:pt x="219" y="88"/>
                  </a:cubicBezTo>
                  <a:cubicBezTo>
                    <a:pt x="217" y="89"/>
                    <a:pt x="215" y="90"/>
                    <a:pt x="214" y="90"/>
                  </a:cubicBezTo>
                  <a:cubicBezTo>
                    <a:pt x="213" y="91"/>
                    <a:pt x="212" y="92"/>
                    <a:pt x="211" y="93"/>
                  </a:cubicBezTo>
                  <a:cubicBezTo>
                    <a:pt x="210" y="94"/>
                    <a:pt x="208" y="96"/>
                    <a:pt x="207" y="96"/>
                  </a:cubicBezTo>
                  <a:cubicBezTo>
                    <a:pt x="206" y="96"/>
                    <a:pt x="203" y="95"/>
                    <a:pt x="202" y="94"/>
                  </a:cubicBezTo>
                  <a:cubicBezTo>
                    <a:pt x="201" y="94"/>
                    <a:pt x="200" y="93"/>
                    <a:pt x="198" y="93"/>
                  </a:cubicBezTo>
                  <a:cubicBezTo>
                    <a:pt x="197" y="91"/>
                    <a:pt x="195" y="90"/>
                    <a:pt x="193" y="90"/>
                  </a:cubicBezTo>
                  <a:cubicBezTo>
                    <a:pt x="191" y="89"/>
                    <a:pt x="187" y="89"/>
                    <a:pt x="184" y="89"/>
                  </a:cubicBezTo>
                  <a:cubicBezTo>
                    <a:pt x="181" y="89"/>
                    <a:pt x="178" y="89"/>
                    <a:pt x="176" y="90"/>
                  </a:cubicBezTo>
                  <a:cubicBezTo>
                    <a:pt x="175" y="91"/>
                    <a:pt x="173" y="92"/>
                    <a:pt x="172" y="94"/>
                  </a:cubicBezTo>
                  <a:cubicBezTo>
                    <a:pt x="171" y="95"/>
                    <a:pt x="170" y="96"/>
                    <a:pt x="169" y="96"/>
                  </a:cubicBezTo>
                  <a:cubicBezTo>
                    <a:pt x="169" y="97"/>
                    <a:pt x="166" y="97"/>
                    <a:pt x="165" y="97"/>
                  </a:cubicBezTo>
                  <a:cubicBezTo>
                    <a:pt x="166" y="95"/>
                    <a:pt x="168" y="90"/>
                    <a:pt x="169" y="89"/>
                  </a:cubicBezTo>
                  <a:cubicBezTo>
                    <a:pt x="170" y="89"/>
                    <a:pt x="172" y="89"/>
                    <a:pt x="173" y="89"/>
                  </a:cubicBezTo>
                  <a:cubicBezTo>
                    <a:pt x="177" y="88"/>
                    <a:pt x="181" y="88"/>
                    <a:pt x="182" y="85"/>
                  </a:cubicBezTo>
                  <a:cubicBezTo>
                    <a:pt x="183" y="83"/>
                    <a:pt x="181" y="81"/>
                    <a:pt x="181" y="81"/>
                  </a:cubicBezTo>
                  <a:cubicBezTo>
                    <a:pt x="179" y="78"/>
                    <a:pt x="171" y="71"/>
                    <a:pt x="168" y="71"/>
                  </a:cubicBezTo>
                  <a:cubicBezTo>
                    <a:pt x="165" y="71"/>
                    <a:pt x="164" y="74"/>
                    <a:pt x="162" y="76"/>
                  </a:cubicBezTo>
                  <a:cubicBezTo>
                    <a:pt x="161" y="77"/>
                    <a:pt x="161" y="78"/>
                    <a:pt x="160" y="79"/>
                  </a:cubicBezTo>
                  <a:cubicBezTo>
                    <a:pt x="158" y="79"/>
                    <a:pt x="155" y="78"/>
                    <a:pt x="154" y="77"/>
                  </a:cubicBezTo>
                  <a:cubicBezTo>
                    <a:pt x="153" y="77"/>
                    <a:pt x="152" y="76"/>
                    <a:pt x="152" y="76"/>
                  </a:cubicBezTo>
                  <a:cubicBezTo>
                    <a:pt x="151" y="76"/>
                    <a:pt x="150" y="75"/>
                    <a:pt x="149" y="75"/>
                  </a:cubicBezTo>
                  <a:cubicBezTo>
                    <a:pt x="146" y="73"/>
                    <a:pt x="144" y="75"/>
                    <a:pt x="143" y="76"/>
                  </a:cubicBezTo>
                  <a:cubicBezTo>
                    <a:pt x="143" y="76"/>
                    <a:pt x="143" y="76"/>
                    <a:pt x="143" y="76"/>
                  </a:cubicBezTo>
                  <a:cubicBezTo>
                    <a:pt x="142" y="76"/>
                    <a:pt x="141" y="75"/>
                    <a:pt x="140" y="75"/>
                  </a:cubicBezTo>
                  <a:cubicBezTo>
                    <a:pt x="138" y="74"/>
                    <a:pt x="137" y="73"/>
                    <a:pt x="135" y="73"/>
                  </a:cubicBezTo>
                  <a:cubicBezTo>
                    <a:pt x="132" y="72"/>
                    <a:pt x="123" y="71"/>
                    <a:pt x="120" y="70"/>
                  </a:cubicBezTo>
                  <a:cubicBezTo>
                    <a:pt x="119" y="69"/>
                    <a:pt x="119" y="69"/>
                    <a:pt x="119" y="69"/>
                  </a:cubicBezTo>
                  <a:cubicBezTo>
                    <a:pt x="118" y="68"/>
                    <a:pt x="117" y="67"/>
                    <a:pt x="116" y="68"/>
                  </a:cubicBezTo>
                  <a:cubicBezTo>
                    <a:pt x="81" y="75"/>
                    <a:pt x="81" y="75"/>
                    <a:pt x="81" y="75"/>
                  </a:cubicBezTo>
                  <a:cubicBezTo>
                    <a:pt x="2" y="88"/>
                    <a:pt x="2" y="88"/>
                    <a:pt x="2" y="88"/>
                  </a:cubicBezTo>
                  <a:cubicBezTo>
                    <a:pt x="1" y="88"/>
                    <a:pt x="0" y="89"/>
                    <a:pt x="0" y="91"/>
                  </a:cubicBezTo>
                  <a:cubicBezTo>
                    <a:pt x="14" y="199"/>
                    <a:pt x="14" y="199"/>
                    <a:pt x="14" y="199"/>
                  </a:cubicBezTo>
                  <a:cubicBezTo>
                    <a:pt x="14" y="206"/>
                    <a:pt x="23" y="364"/>
                    <a:pt x="36" y="396"/>
                  </a:cubicBezTo>
                  <a:cubicBezTo>
                    <a:pt x="37" y="398"/>
                    <a:pt x="38" y="398"/>
                    <a:pt x="39" y="398"/>
                  </a:cubicBezTo>
                  <a:cubicBezTo>
                    <a:pt x="41" y="398"/>
                    <a:pt x="43" y="397"/>
                    <a:pt x="45" y="395"/>
                  </a:cubicBezTo>
                  <a:cubicBezTo>
                    <a:pt x="46" y="394"/>
                    <a:pt x="48" y="392"/>
                    <a:pt x="49" y="392"/>
                  </a:cubicBezTo>
                  <a:cubicBezTo>
                    <a:pt x="49" y="392"/>
                    <a:pt x="50" y="393"/>
                    <a:pt x="51" y="394"/>
                  </a:cubicBezTo>
                  <a:cubicBezTo>
                    <a:pt x="52" y="395"/>
                    <a:pt x="54" y="397"/>
                    <a:pt x="56" y="397"/>
                  </a:cubicBezTo>
                  <a:cubicBezTo>
                    <a:pt x="56" y="397"/>
                    <a:pt x="56" y="397"/>
                    <a:pt x="56" y="397"/>
                  </a:cubicBezTo>
                  <a:cubicBezTo>
                    <a:pt x="59" y="397"/>
                    <a:pt x="61" y="396"/>
                    <a:pt x="63" y="395"/>
                  </a:cubicBezTo>
                  <a:cubicBezTo>
                    <a:pt x="65" y="394"/>
                    <a:pt x="67" y="393"/>
                    <a:pt x="68" y="393"/>
                  </a:cubicBezTo>
                  <a:cubicBezTo>
                    <a:pt x="73" y="394"/>
                    <a:pt x="82" y="397"/>
                    <a:pt x="85" y="400"/>
                  </a:cubicBezTo>
                  <a:cubicBezTo>
                    <a:pt x="85" y="401"/>
                    <a:pt x="86" y="403"/>
                    <a:pt x="87" y="404"/>
                  </a:cubicBezTo>
                  <a:cubicBezTo>
                    <a:pt x="87" y="406"/>
                    <a:pt x="88" y="407"/>
                    <a:pt x="89" y="408"/>
                  </a:cubicBezTo>
                  <a:cubicBezTo>
                    <a:pt x="90" y="410"/>
                    <a:pt x="90" y="410"/>
                    <a:pt x="90" y="410"/>
                  </a:cubicBezTo>
                  <a:cubicBezTo>
                    <a:pt x="92" y="414"/>
                    <a:pt x="97" y="422"/>
                    <a:pt x="101" y="424"/>
                  </a:cubicBezTo>
                  <a:cubicBezTo>
                    <a:pt x="103" y="425"/>
                    <a:pt x="106" y="426"/>
                    <a:pt x="110" y="426"/>
                  </a:cubicBezTo>
                  <a:cubicBezTo>
                    <a:pt x="110" y="426"/>
                    <a:pt x="111" y="426"/>
                    <a:pt x="111" y="426"/>
                  </a:cubicBezTo>
                  <a:cubicBezTo>
                    <a:pt x="113" y="426"/>
                    <a:pt x="116" y="426"/>
                    <a:pt x="118" y="425"/>
                  </a:cubicBezTo>
                  <a:cubicBezTo>
                    <a:pt x="121" y="425"/>
                    <a:pt x="123" y="424"/>
                    <a:pt x="125" y="424"/>
                  </a:cubicBezTo>
                  <a:cubicBezTo>
                    <a:pt x="125" y="424"/>
                    <a:pt x="125" y="424"/>
                    <a:pt x="125" y="424"/>
                  </a:cubicBezTo>
                  <a:cubicBezTo>
                    <a:pt x="127" y="425"/>
                    <a:pt x="128" y="425"/>
                    <a:pt x="129" y="425"/>
                  </a:cubicBezTo>
                  <a:cubicBezTo>
                    <a:pt x="130" y="426"/>
                    <a:pt x="133" y="428"/>
                    <a:pt x="135" y="430"/>
                  </a:cubicBezTo>
                  <a:cubicBezTo>
                    <a:pt x="138" y="433"/>
                    <a:pt x="141" y="436"/>
                    <a:pt x="144" y="437"/>
                  </a:cubicBezTo>
                  <a:cubicBezTo>
                    <a:pt x="145" y="438"/>
                    <a:pt x="147" y="438"/>
                    <a:pt x="147" y="438"/>
                  </a:cubicBezTo>
                  <a:cubicBezTo>
                    <a:pt x="149" y="438"/>
                    <a:pt x="152" y="437"/>
                    <a:pt x="154" y="436"/>
                  </a:cubicBezTo>
                  <a:cubicBezTo>
                    <a:pt x="156" y="435"/>
                    <a:pt x="157" y="434"/>
                    <a:pt x="157" y="432"/>
                  </a:cubicBezTo>
                  <a:cubicBezTo>
                    <a:pt x="158" y="431"/>
                    <a:pt x="159" y="429"/>
                    <a:pt x="159" y="429"/>
                  </a:cubicBezTo>
                  <a:cubicBezTo>
                    <a:pt x="159" y="429"/>
                    <a:pt x="160" y="429"/>
                    <a:pt x="163" y="429"/>
                  </a:cubicBezTo>
                  <a:cubicBezTo>
                    <a:pt x="164" y="429"/>
                    <a:pt x="164" y="429"/>
                    <a:pt x="165" y="429"/>
                  </a:cubicBezTo>
                  <a:cubicBezTo>
                    <a:pt x="166" y="429"/>
                    <a:pt x="166" y="429"/>
                    <a:pt x="166" y="429"/>
                  </a:cubicBezTo>
                  <a:cubicBezTo>
                    <a:pt x="168" y="429"/>
                    <a:pt x="172" y="429"/>
                    <a:pt x="173" y="430"/>
                  </a:cubicBezTo>
                  <a:cubicBezTo>
                    <a:pt x="174" y="430"/>
                    <a:pt x="175" y="432"/>
                    <a:pt x="176" y="432"/>
                  </a:cubicBezTo>
                  <a:cubicBezTo>
                    <a:pt x="177" y="434"/>
                    <a:pt x="179" y="436"/>
                    <a:pt x="182" y="437"/>
                  </a:cubicBezTo>
                  <a:cubicBezTo>
                    <a:pt x="184" y="437"/>
                    <a:pt x="185" y="436"/>
                    <a:pt x="187" y="434"/>
                  </a:cubicBezTo>
                  <a:cubicBezTo>
                    <a:pt x="188" y="434"/>
                    <a:pt x="189" y="433"/>
                    <a:pt x="190" y="433"/>
                  </a:cubicBezTo>
                  <a:cubicBezTo>
                    <a:pt x="190" y="433"/>
                    <a:pt x="191" y="433"/>
                    <a:pt x="192" y="433"/>
                  </a:cubicBezTo>
                  <a:cubicBezTo>
                    <a:pt x="194" y="433"/>
                    <a:pt x="196" y="434"/>
                    <a:pt x="197" y="433"/>
                  </a:cubicBezTo>
                  <a:cubicBezTo>
                    <a:pt x="199" y="432"/>
                    <a:pt x="200" y="430"/>
                    <a:pt x="201" y="427"/>
                  </a:cubicBezTo>
                  <a:cubicBezTo>
                    <a:pt x="201" y="426"/>
                    <a:pt x="202" y="425"/>
                    <a:pt x="202" y="425"/>
                  </a:cubicBezTo>
                  <a:cubicBezTo>
                    <a:pt x="204" y="423"/>
                    <a:pt x="208" y="420"/>
                    <a:pt x="210" y="418"/>
                  </a:cubicBezTo>
                  <a:cubicBezTo>
                    <a:pt x="211" y="417"/>
                    <a:pt x="211" y="417"/>
                    <a:pt x="211" y="417"/>
                  </a:cubicBezTo>
                  <a:cubicBezTo>
                    <a:pt x="212" y="416"/>
                    <a:pt x="215" y="414"/>
                    <a:pt x="216" y="414"/>
                  </a:cubicBezTo>
                  <a:cubicBezTo>
                    <a:pt x="217" y="415"/>
                    <a:pt x="218" y="418"/>
                    <a:pt x="218" y="420"/>
                  </a:cubicBezTo>
                  <a:cubicBezTo>
                    <a:pt x="219" y="423"/>
                    <a:pt x="220" y="425"/>
                    <a:pt x="221" y="426"/>
                  </a:cubicBezTo>
                  <a:cubicBezTo>
                    <a:pt x="222" y="428"/>
                    <a:pt x="226" y="433"/>
                    <a:pt x="229" y="434"/>
                  </a:cubicBezTo>
                  <a:cubicBezTo>
                    <a:pt x="230" y="435"/>
                    <a:pt x="232" y="435"/>
                    <a:pt x="234" y="435"/>
                  </a:cubicBezTo>
                  <a:cubicBezTo>
                    <a:pt x="234" y="435"/>
                    <a:pt x="236" y="435"/>
                    <a:pt x="236" y="435"/>
                  </a:cubicBezTo>
                  <a:cubicBezTo>
                    <a:pt x="238" y="436"/>
                    <a:pt x="240" y="439"/>
                    <a:pt x="242" y="440"/>
                  </a:cubicBezTo>
                  <a:cubicBezTo>
                    <a:pt x="243" y="441"/>
                    <a:pt x="243" y="441"/>
                    <a:pt x="243" y="441"/>
                  </a:cubicBezTo>
                  <a:cubicBezTo>
                    <a:pt x="244" y="442"/>
                    <a:pt x="247" y="446"/>
                    <a:pt x="248" y="448"/>
                  </a:cubicBezTo>
                  <a:cubicBezTo>
                    <a:pt x="249" y="449"/>
                    <a:pt x="249" y="449"/>
                    <a:pt x="249" y="449"/>
                  </a:cubicBezTo>
                  <a:cubicBezTo>
                    <a:pt x="250" y="449"/>
                    <a:pt x="250" y="450"/>
                    <a:pt x="251" y="450"/>
                  </a:cubicBezTo>
                  <a:cubicBezTo>
                    <a:pt x="251" y="450"/>
                    <a:pt x="251" y="450"/>
                    <a:pt x="251" y="450"/>
                  </a:cubicBezTo>
                  <a:cubicBezTo>
                    <a:pt x="259" y="448"/>
                    <a:pt x="259" y="448"/>
                    <a:pt x="259" y="448"/>
                  </a:cubicBezTo>
                  <a:cubicBezTo>
                    <a:pt x="260" y="448"/>
                    <a:pt x="268" y="445"/>
                    <a:pt x="270" y="443"/>
                  </a:cubicBezTo>
                  <a:cubicBezTo>
                    <a:pt x="272" y="441"/>
                    <a:pt x="276" y="437"/>
                    <a:pt x="277" y="434"/>
                  </a:cubicBezTo>
                  <a:cubicBezTo>
                    <a:pt x="277" y="433"/>
                    <a:pt x="277" y="431"/>
                    <a:pt x="277" y="429"/>
                  </a:cubicBezTo>
                  <a:cubicBezTo>
                    <a:pt x="277" y="429"/>
                    <a:pt x="277" y="427"/>
                    <a:pt x="277" y="427"/>
                  </a:cubicBezTo>
                  <a:cubicBezTo>
                    <a:pt x="277" y="426"/>
                    <a:pt x="279" y="426"/>
                    <a:pt x="280" y="425"/>
                  </a:cubicBezTo>
                  <a:cubicBezTo>
                    <a:pt x="282" y="424"/>
                    <a:pt x="284" y="424"/>
                    <a:pt x="285" y="422"/>
                  </a:cubicBezTo>
                  <a:cubicBezTo>
                    <a:pt x="287" y="416"/>
                    <a:pt x="284" y="405"/>
                    <a:pt x="283" y="405"/>
                  </a:cubicBezTo>
                  <a:cubicBezTo>
                    <a:pt x="283" y="404"/>
                    <a:pt x="282" y="403"/>
                    <a:pt x="282" y="403"/>
                  </a:cubicBezTo>
                  <a:cubicBezTo>
                    <a:pt x="281" y="402"/>
                    <a:pt x="281" y="401"/>
                    <a:pt x="281" y="401"/>
                  </a:cubicBezTo>
                  <a:cubicBezTo>
                    <a:pt x="281" y="400"/>
                    <a:pt x="281" y="397"/>
                    <a:pt x="283" y="395"/>
                  </a:cubicBezTo>
                  <a:cubicBezTo>
                    <a:pt x="283" y="395"/>
                    <a:pt x="283" y="394"/>
                    <a:pt x="283" y="394"/>
                  </a:cubicBezTo>
                  <a:cubicBezTo>
                    <a:pt x="284" y="393"/>
                    <a:pt x="285" y="393"/>
                    <a:pt x="285" y="392"/>
                  </a:cubicBezTo>
                  <a:cubicBezTo>
                    <a:pt x="285" y="390"/>
                    <a:pt x="285" y="388"/>
                    <a:pt x="285" y="386"/>
                  </a:cubicBezTo>
                  <a:cubicBezTo>
                    <a:pt x="285" y="385"/>
                    <a:pt x="285" y="384"/>
                    <a:pt x="285" y="383"/>
                  </a:cubicBezTo>
                  <a:cubicBezTo>
                    <a:pt x="285" y="382"/>
                    <a:pt x="287" y="379"/>
                    <a:pt x="288" y="377"/>
                  </a:cubicBezTo>
                  <a:cubicBezTo>
                    <a:pt x="288" y="376"/>
                    <a:pt x="288" y="376"/>
                    <a:pt x="289" y="375"/>
                  </a:cubicBezTo>
                  <a:cubicBezTo>
                    <a:pt x="289" y="374"/>
                    <a:pt x="290" y="371"/>
                    <a:pt x="291" y="370"/>
                  </a:cubicBezTo>
                  <a:cubicBezTo>
                    <a:pt x="292" y="370"/>
                    <a:pt x="295" y="372"/>
                    <a:pt x="296" y="373"/>
                  </a:cubicBezTo>
                  <a:cubicBezTo>
                    <a:pt x="297" y="373"/>
                    <a:pt x="298" y="376"/>
                    <a:pt x="298" y="377"/>
                  </a:cubicBezTo>
                  <a:cubicBezTo>
                    <a:pt x="300" y="381"/>
                    <a:pt x="302" y="385"/>
                    <a:pt x="306" y="385"/>
                  </a:cubicBezTo>
                  <a:cubicBezTo>
                    <a:pt x="306" y="385"/>
                    <a:pt x="306" y="385"/>
                    <a:pt x="306" y="385"/>
                  </a:cubicBezTo>
                  <a:cubicBezTo>
                    <a:pt x="309" y="384"/>
                    <a:pt x="310" y="381"/>
                    <a:pt x="310" y="378"/>
                  </a:cubicBezTo>
                  <a:cubicBezTo>
                    <a:pt x="310" y="377"/>
                    <a:pt x="311" y="376"/>
                    <a:pt x="311" y="375"/>
                  </a:cubicBezTo>
                  <a:cubicBezTo>
                    <a:pt x="311" y="375"/>
                    <a:pt x="312" y="374"/>
                    <a:pt x="312" y="373"/>
                  </a:cubicBezTo>
                  <a:cubicBezTo>
                    <a:pt x="314" y="371"/>
                    <a:pt x="316" y="369"/>
                    <a:pt x="315" y="367"/>
                  </a:cubicBezTo>
                  <a:cubicBezTo>
                    <a:pt x="315" y="365"/>
                    <a:pt x="313" y="363"/>
                    <a:pt x="312" y="362"/>
                  </a:cubicBezTo>
                  <a:cubicBezTo>
                    <a:pt x="311" y="361"/>
                    <a:pt x="310" y="360"/>
                    <a:pt x="310" y="360"/>
                  </a:cubicBezTo>
                  <a:cubicBezTo>
                    <a:pt x="310" y="359"/>
                    <a:pt x="311" y="358"/>
                    <a:pt x="312" y="357"/>
                  </a:cubicBezTo>
                  <a:cubicBezTo>
                    <a:pt x="313" y="356"/>
                    <a:pt x="314" y="354"/>
                    <a:pt x="315" y="353"/>
                  </a:cubicBezTo>
                  <a:cubicBezTo>
                    <a:pt x="315" y="351"/>
                    <a:pt x="315" y="349"/>
                    <a:pt x="315" y="348"/>
                  </a:cubicBezTo>
                  <a:cubicBezTo>
                    <a:pt x="315" y="346"/>
                    <a:pt x="314" y="345"/>
                    <a:pt x="315" y="345"/>
                  </a:cubicBezTo>
                  <a:cubicBezTo>
                    <a:pt x="315" y="343"/>
                    <a:pt x="316" y="339"/>
                    <a:pt x="317" y="339"/>
                  </a:cubicBezTo>
                  <a:cubicBezTo>
                    <a:pt x="317" y="338"/>
                    <a:pt x="320" y="337"/>
                    <a:pt x="321" y="337"/>
                  </a:cubicBezTo>
                  <a:cubicBezTo>
                    <a:pt x="324" y="336"/>
                    <a:pt x="327" y="334"/>
                    <a:pt x="328" y="332"/>
                  </a:cubicBezTo>
                  <a:cubicBezTo>
                    <a:pt x="329" y="331"/>
                    <a:pt x="329" y="329"/>
                    <a:pt x="328" y="327"/>
                  </a:cubicBezTo>
                  <a:cubicBezTo>
                    <a:pt x="328" y="326"/>
                    <a:pt x="328" y="325"/>
                    <a:pt x="328" y="325"/>
                  </a:cubicBezTo>
                  <a:cubicBezTo>
                    <a:pt x="329" y="322"/>
                    <a:pt x="332" y="317"/>
                    <a:pt x="333" y="317"/>
                  </a:cubicBezTo>
                  <a:cubicBezTo>
                    <a:pt x="334" y="317"/>
                    <a:pt x="336" y="318"/>
                    <a:pt x="338" y="319"/>
                  </a:cubicBezTo>
                  <a:cubicBezTo>
                    <a:pt x="340" y="321"/>
                    <a:pt x="342" y="322"/>
                    <a:pt x="345" y="322"/>
                  </a:cubicBezTo>
                  <a:cubicBezTo>
                    <a:pt x="345" y="322"/>
                    <a:pt x="346" y="322"/>
                    <a:pt x="346" y="322"/>
                  </a:cubicBezTo>
                  <a:cubicBezTo>
                    <a:pt x="351" y="321"/>
                    <a:pt x="356" y="315"/>
                    <a:pt x="361" y="309"/>
                  </a:cubicBezTo>
                  <a:cubicBezTo>
                    <a:pt x="362" y="308"/>
                    <a:pt x="362" y="308"/>
                    <a:pt x="362" y="308"/>
                  </a:cubicBezTo>
                  <a:cubicBezTo>
                    <a:pt x="363" y="306"/>
                    <a:pt x="365" y="303"/>
                    <a:pt x="367" y="300"/>
                  </a:cubicBezTo>
                  <a:cubicBezTo>
                    <a:pt x="368" y="297"/>
                    <a:pt x="370" y="295"/>
                    <a:pt x="371" y="293"/>
                  </a:cubicBezTo>
                  <a:cubicBezTo>
                    <a:pt x="372" y="292"/>
                    <a:pt x="373" y="291"/>
                    <a:pt x="375" y="290"/>
                  </a:cubicBezTo>
                  <a:cubicBezTo>
                    <a:pt x="377" y="288"/>
                    <a:pt x="380" y="286"/>
                    <a:pt x="381" y="284"/>
                  </a:cubicBezTo>
                  <a:cubicBezTo>
                    <a:pt x="383" y="279"/>
                    <a:pt x="384" y="269"/>
                    <a:pt x="384" y="268"/>
                  </a:cubicBezTo>
                  <a:cubicBezTo>
                    <a:pt x="384" y="267"/>
                    <a:pt x="384" y="266"/>
                    <a:pt x="383" y="264"/>
                  </a:cubicBezTo>
                  <a:cubicBezTo>
                    <a:pt x="383" y="263"/>
                    <a:pt x="383" y="261"/>
                    <a:pt x="383" y="261"/>
                  </a:cubicBezTo>
                  <a:cubicBezTo>
                    <a:pt x="383" y="260"/>
                    <a:pt x="383" y="259"/>
                    <a:pt x="384" y="258"/>
                  </a:cubicBezTo>
                  <a:cubicBezTo>
                    <a:pt x="384" y="256"/>
                    <a:pt x="385" y="254"/>
                    <a:pt x="385" y="253"/>
                  </a:cubicBezTo>
                  <a:cubicBezTo>
                    <a:pt x="385" y="252"/>
                    <a:pt x="384" y="251"/>
                    <a:pt x="384" y="249"/>
                  </a:cubicBezTo>
                  <a:cubicBezTo>
                    <a:pt x="383" y="249"/>
                    <a:pt x="383" y="249"/>
                    <a:pt x="383" y="248"/>
                  </a:cubicBezTo>
                  <a:cubicBezTo>
                    <a:pt x="384" y="248"/>
                    <a:pt x="385" y="248"/>
                    <a:pt x="386" y="247"/>
                  </a:cubicBezTo>
                  <a:cubicBezTo>
                    <a:pt x="388" y="245"/>
                    <a:pt x="388" y="241"/>
                    <a:pt x="388" y="237"/>
                  </a:cubicBezTo>
                  <a:cubicBezTo>
                    <a:pt x="387" y="236"/>
                    <a:pt x="387" y="236"/>
                    <a:pt x="387" y="236"/>
                  </a:cubicBezTo>
                  <a:cubicBezTo>
                    <a:pt x="387" y="234"/>
                    <a:pt x="386" y="229"/>
                    <a:pt x="386" y="228"/>
                  </a:cubicBezTo>
                  <a:cubicBezTo>
                    <a:pt x="390" y="206"/>
                    <a:pt x="390" y="206"/>
                    <a:pt x="390" y="206"/>
                  </a:cubicBezTo>
                  <a:cubicBezTo>
                    <a:pt x="390" y="205"/>
                    <a:pt x="392" y="200"/>
                    <a:pt x="393" y="198"/>
                  </a:cubicBezTo>
                  <a:cubicBezTo>
                    <a:pt x="393" y="192"/>
                    <a:pt x="390" y="180"/>
                    <a:pt x="387" y="174"/>
                  </a:cubicBezTo>
                  <a:cubicBezTo>
                    <a:pt x="387" y="173"/>
                    <a:pt x="386" y="172"/>
                    <a:pt x="384" y="171"/>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39">
              <a:extLst>
                <a:ext uri="{FF2B5EF4-FFF2-40B4-BE49-F238E27FC236}">
                  <a16:creationId xmlns:a16="http://schemas.microsoft.com/office/drawing/2014/main" id="{EDB62FE9-93E3-4F14-9AD3-F22120392C86}"/>
                </a:ext>
              </a:extLst>
            </p:cNvPr>
            <p:cNvSpPr>
              <a:spLocks/>
            </p:cNvSpPr>
            <p:nvPr/>
          </p:nvSpPr>
          <p:spPr bwMode="auto">
            <a:xfrm>
              <a:off x="6885174" y="3053105"/>
              <a:ext cx="323432" cy="557921"/>
            </a:xfrm>
            <a:custGeom>
              <a:avLst/>
              <a:gdLst>
                <a:gd name="T0" fmla="*/ 283 w 291"/>
                <a:gd name="T1" fmla="*/ 334 h 502"/>
                <a:gd name="T2" fmla="*/ 283 w 291"/>
                <a:gd name="T3" fmla="*/ 321 h 502"/>
                <a:gd name="T4" fmla="*/ 284 w 291"/>
                <a:gd name="T5" fmla="*/ 314 h 502"/>
                <a:gd name="T6" fmla="*/ 247 w 291"/>
                <a:gd name="T7" fmla="*/ 7 h 502"/>
                <a:gd name="T8" fmla="*/ 115 w 291"/>
                <a:gd name="T9" fmla="*/ 15 h 502"/>
                <a:gd name="T10" fmla="*/ 68 w 291"/>
                <a:gd name="T11" fmla="*/ 20 h 502"/>
                <a:gd name="T12" fmla="*/ 31 w 291"/>
                <a:gd name="T13" fmla="*/ 41 h 502"/>
                <a:gd name="T14" fmla="*/ 9 w 291"/>
                <a:gd name="T15" fmla="*/ 31 h 502"/>
                <a:gd name="T16" fmla="*/ 34 w 291"/>
                <a:gd name="T17" fmla="*/ 310 h 502"/>
                <a:gd name="T18" fmla="*/ 30 w 291"/>
                <a:gd name="T19" fmla="*/ 326 h 502"/>
                <a:gd name="T20" fmla="*/ 27 w 291"/>
                <a:gd name="T21" fmla="*/ 342 h 502"/>
                <a:gd name="T22" fmla="*/ 39 w 291"/>
                <a:gd name="T23" fmla="*/ 359 h 502"/>
                <a:gd name="T24" fmla="*/ 40 w 291"/>
                <a:gd name="T25" fmla="*/ 375 h 502"/>
                <a:gd name="T26" fmla="*/ 40 w 291"/>
                <a:gd name="T27" fmla="*/ 389 h 502"/>
                <a:gd name="T28" fmla="*/ 31 w 291"/>
                <a:gd name="T29" fmla="*/ 412 h 502"/>
                <a:gd name="T30" fmla="*/ 13 w 291"/>
                <a:gd name="T31" fmla="*/ 437 h 502"/>
                <a:gd name="T32" fmla="*/ 8 w 291"/>
                <a:gd name="T33" fmla="*/ 453 h 502"/>
                <a:gd name="T34" fmla="*/ 4 w 291"/>
                <a:gd name="T35" fmla="*/ 476 h 502"/>
                <a:gd name="T36" fmla="*/ 0 w 291"/>
                <a:gd name="T37" fmla="*/ 490 h 502"/>
                <a:gd name="T38" fmla="*/ 13 w 291"/>
                <a:gd name="T39" fmla="*/ 502 h 502"/>
                <a:gd name="T40" fmla="*/ 21 w 291"/>
                <a:gd name="T41" fmla="*/ 487 h 502"/>
                <a:gd name="T42" fmla="*/ 33 w 291"/>
                <a:gd name="T43" fmla="*/ 489 h 502"/>
                <a:gd name="T44" fmla="*/ 38 w 291"/>
                <a:gd name="T45" fmla="*/ 486 h 502"/>
                <a:gd name="T46" fmla="*/ 50 w 291"/>
                <a:gd name="T47" fmla="*/ 488 h 502"/>
                <a:gd name="T48" fmla="*/ 52 w 291"/>
                <a:gd name="T49" fmla="*/ 482 h 502"/>
                <a:gd name="T50" fmla="*/ 64 w 291"/>
                <a:gd name="T51" fmla="*/ 478 h 502"/>
                <a:gd name="T52" fmla="*/ 94 w 291"/>
                <a:gd name="T53" fmla="*/ 493 h 502"/>
                <a:gd name="T54" fmla="*/ 100 w 291"/>
                <a:gd name="T55" fmla="*/ 481 h 502"/>
                <a:gd name="T56" fmla="*/ 108 w 291"/>
                <a:gd name="T57" fmla="*/ 474 h 502"/>
                <a:gd name="T58" fmla="*/ 116 w 291"/>
                <a:gd name="T59" fmla="*/ 467 h 502"/>
                <a:gd name="T60" fmla="*/ 126 w 291"/>
                <a:gd name="T61" fmla="*/ 476 h 502"/>
                <a:gd name="T62" fmla="*/ 137 w 291"/>
                <a:gd name="T63" fmla="*/ 481 h 502"/>
                <a:gd name="T64" fmla="*/ 141 w 291"/>
                <a:gd name="T65" fmla="*/ 472 h 502"/>
                <a:gd name="T66" fmla="*/ 145 w 291"/>
                <a:gd name="T67" fmla="*/ 459 h 502"/>
                <a:gd name="T68" fmla="*/ 152 w 291"/>
                <a:gd name="T69" fmla="*/ 450 h 502"/>
                <a:gd name="T70" fmla="*/ 157 w 291"/>
                <a:gd name="T71" fmla="*/ 439 h 502"/>
                <a:gd name="T72" fmla="*/ 166 w 291"/>
                <a:gd name="T73" fmla="*/ 453 h 502"/>
                <a:gd name="T74" fmla="*/ 199 w 291"/>
                <a:gd name="T75" fmla="*/ 453 h 502"/>
                <a:gd name="T76" fmla="*/ 201 w 291"/>
                <a:gd name="T77" fmla="*/ 436 h 502"/>
                <a:gd name="T78" fmla="*/ 212 w 291"/>
                <a:gd name="T79" fmla="*/ 423 h 502"/>
                <a:gd name="T80" fmla="*/ 223 w 291"/>
                <a:gd name="T81" fmla="*/ 401 h 502"/>
                <a:gd name="T82" fmla="*/ 236 w 291"/>
                <a:gd name="T83" fmla="*/ 389 h 502"/>
                <a:gd name="T84" fmla="*/ 236 w 291"/>
                <a:gd name="T85" fmla="*/ 371 h 502"/>
                <a:gd name="T86" fmla="*/ 237 w 291"/>
                <a:gd name="T87" fmla="*/ 365 h 502"/>
                <a:gd name="T88" fmla="*/ 247 w 291"/>
                <a:gd name="T89" fmla="*/ 362 h 502"/>
                <a:gd name="T90" fmla="*/ 266 w 291"/>
                <a:gd name="T91" fmla="*/ 361 h 502"/>
                <a:gd name="T92" fmla="*/ 288 w 291"/>
                <a:gd name="T93" fmla="*/ 351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1" h="502">
                  <a:moveTo>
                    <a:pt x="290" y="342"/>
                  </a:moveTo>
                  <a:cubicBezTo>
                    <a:pt x="289" y="340"/>
                    <a:pt x="288" y="338"/>
                    <a:pt x="286" y="337"/>
                  </a:cubicBezTo>
                  <a:cubicBezTo>
                    <a:pt x="285" y="336"/>
                    <a:pt x="283" y="335"/>
                    <a:pt x="283" y="334"/>
                  </a:cubicBezTo>
                  <a:cubicBezTo>
                    <a:pt x="283" y="334"/>
                    <a:pt x="284" y="333"/>
                    <a:pt x="284" y="332"/>
                  </a:cubicBezTo>
                  <a:cubicBezTo>
                    <a:pt x="285" y="330"/>
                    <a:pt x="286" y="329"/>
                    <a:pt x="286" y="327"/>
                  </a:cubicBezTo>
                  <a:cubicBezTo>
                    <a:pt x="286" y="325"/>
                    <a:pt x="284" y="323"/>
                    <a:pt x="283" y="321"/>
                  </a:cubicBezTo>
                  <a:cubicBezTo>
                    <a:pt x="282" y="320"/>
                    <a:pt x="281" y="319"/>
                    <a:pt x="281" y="319"/>
                  </a:cubicBezTo>
                  <a:cubicBezTo>
                    <a:pt x="281" y="318"/>
                    <a:pt x="282" y="317"/>
                    <a:pt x="283" y="316"/>
                  </a:cubicBezTo>
                  <a:cubicBezTo>
                    <a:pt x="284" y="316"/>
                    <a:pt x="284" y="315"/>
                    <a:pt x="284" y="314"/>
                  </a:cubicBezTo>
                  <a:cubicBezTo>
                    <a:pt x="262" y="118"/>
                    <a:pt x="262" y="118"/>
                    <a:pt x="262" y="118"/>
                  </a:cubicBezTo>
                  <a:cubicBezTo>
                    <a:pt x="248" y="9"/>
                    <a:pt x="248" y="9"/>
                    <a:pt x="248" y="9"/>
                  </a:cubicBezTo>
                  <a:cubicBezTo>
                    <a:pt x="248" y="8"/>
                    <a:pt x="248" y="8"/>
                    <a:pt x="247" y="7"/>
                  </a:cubicBezTo>
                  <a:cubicBezTo>
                    <a:pt x="239" y="1"/>
                    <a:pt x="239" y="1"/>
                    <a:pt x="239" y="1"/>
                  </a:cubicBezTo>
                  <a:cubicBezTo>
                    <a:pt x="238" y="0"/>
                    <a:pt x="237" y="0"/>
                    <a:pt x="237" y="0"/>
                  </a:cubicBezTo>
                  <a:cubicBezTo>
                    <a:pt x="115" y="15"/>
                    <a:pt x="115" y="15"/>
                    <a:pt x="115" y="15"/>
                  </a:cubicBezTo>
                  <a:cubicBezTo>
                    <a:pt x="73" y="20"/>
                    <a:pt x="73" y="20"/>
                    <a:pt x="73" y="20"/>
                  </a:cubicBezTo>
                  <a:cubicBezTo>
                    <a:pt x="69" y="20"/>
                    <a:pt x="69" y="20"/>
                    <a:pt x="69" y="20"/>
                  </a:cubicBezTo>
                  <a:cubicBezTo>
                    <a:pt x="69" y="20"/>
                    <a:pt x="68" y="20"/>
                    <a:pt x="68" y="20"/>
                  </a:cubicBezTo>
                  <a:cubicBezTo>
                    <a:pt x="53" y="31"/>
                    <a:pt x="53" y="31"/>
                    <a:pt x="53" y="31"/>
                  </a:cubicBezTo>
                  <a:cubicBezTo>
                    <a:pt x="38" y="39"/>
                    <a:pt x="38" y="39"/>
                    <a:pt x="38" y="39"/>
                  </a:cubicBezTo>
                  <a:cubicBezTo>
                    <a:pt x="31" y="41"/>
                    <a:pt x="31" y="41"/>
                    <a:pt x="31" y="41"/>
                  </a:cubicBezTo>
                  <a:cubicBezTo>
                    <a:pt x="22" y="39"/>
                    <a:pt x="22" y="39"/>
                    <a:pt x="22" y="39"/>
                  </a:cubicBezTo>
                  <a:cubicBezTo>
                    <a:pt x="12" y="32"/>
                    <a:pt x="12" y="32"/>
                    <a:pt x="12" y="32"/>
                  </a:cubicBezTo>
                  <a:cubicBezTo>
                    <a:pt x="11" y="31"/>
                    <a:pt x="10" y="31"/>
                    <a:pt x="9" y="31"/>
                  </a:cubicBezTo>
                  <a:cubicBezTo>
                    <a:pt x="9" y="32"/>
                    <a:pt x="8" y="33"/>
                    <a:pt x="8" y="34"/>
                  </a:cubicBezTo>
                  <a:cubicBezTo>
                    <a:pt x="8" y="38"/>
                    <a:pt x="8" y="38"/>
                    <a:pt x="8" y="38"/>
                  </a:cubicBezTo>
                  <a:cubicBezTo>
                    <a:pt x="34" y="310"/>
                    <a:pt x="34" y="310"/>
                    <a:pt x="34" y="310"/>
                  </a:cubicBezTo>
                  <a:cubicBezTo>
                    <a:pt x="31" y="312"/>
                    <a:pt x="27" y="315"/>
                    <a:pt x="27" y="318"/>
                  </a:cubicBezTo>
                  <a:cubicBezTo>
                    <a:pt x="27" y="320"/>
                    <a:pt x="28" y="322"/>
                    <a:pt x="29" y="324"/>
                  </a:cubicBezTo>
                  <a:cubicBezTo>
                    <a:pt x="30" y="324"/>
                    <a:pt x="30" y="326"/>
                    <a:pt x="30" y="326"/>
                  </a:cubicBezTo>
                  <a:cubicBezTo>
                    <a:pt x="30" y="326"/>
                    <a:pt x="29" y="328"/>
                    <a:pt x="29" y="329"/>
                  </a:cubicBezTo>
                  <a:cubicBezTo>
                    <a:pt x="28" y="330"/>
                    <a:pt x="27" y="332"/>
                    <a:pt x="26" y="333"/>
                  </a:cubicBezTo>
                  <a:cubicBezTo>
                    <a:pt x="26" y="336"/>
                    <a:pt x="26" y="340"/>
                    <a:pt x="27" y="342"/>
                  </a:cubicBezTo>
                  <a:cubicBezTo>
                    <a:pt x="28" y="345"/>
                    <a:pt x="31" y="350"/>
                    <a:pt x="33" y="353"/>
                  </a:cubicBezTo>
                  <a:cubicBezTo>
                    <a:pt x="34" y="353"/>
                    <a:pt x="35" y="354"/>
                    <a:pt x="36" y="355"/>
                  </a:cubicBezTo>
                  <a:cubicBezTo>
                    <a:pt x="37" y="356"/>
                    <a:pt x="39" y="358"/>
                    <a:pt x="39" y="359"/>
                  </a:cubicBezTo>
                  <a:cubicBezTo>
                    <a:pt x="39" y="359"/>
                    <a:pt x="39" y="361"/>
                    <a:pt x="39" y="362"/>
                  </a:cubicBezTo>
                  <a:cubicBezTo>
                    <a:pt x="38" y="364"/>
                    <a:pt x="38" y="365"/>
                    <a:pt x="38" y="366"/>
                  </a:cubicBezTo>
                  <a:cubicBezTo>
                    <a:pt x="38" y="369"/>
                    <a:pt x="39" y="372"/>
                    <a:pt x="40" y="375"/>
                  </a:cubicBezTo>
                  <a:cubicBezTo>
                    <a:pt x="41" y="378"/>
                    <a:pt x="43" y="380"/>
                    <a:pt x="43" y="382"/>
                  </a:cubicBezTo>
                  <a:cubicBezTo>
                    <a:pt x="43" y="383"/>
                    <a:pt x="42" y="387"/>
                    <a:pt x="41" y="388"/>
                  </a:cubicBezTo>
                  <a:cubicBezTo>
                    <a:pt x="41" y="388"/>
                    <a:pt x="40" y="388"/>
                    <a:pt x="40" y="389"/>
                  </a:cubicBezTo>
                  <a:cubicBezTo>
                    <a:pt x="37" y="392"/>
                    <a:pt x="33" y="400"/>
                    <a:pt x="31" y="404"/>
                  </a:cubicBezTo>
                  <a:cubicBezTo>
                    <a:pt x="31" y="406"/>
                    <a:pt x="31" y="407"/>
                    <a:pt x="31" y="409"/>
                  </a:cubicBezTo>
                  <a:cubicBezTo>
                    <a:pt x="31" y="410"/>
                    <a:pt x="31" y="412"/>
                    <a:pt x="31" y="412"/>
                  </a:cubicBezTo>
                  <a:cubicBezTo>
                    <a:pt x="29" y="416"/>
                    <a:pt x="24" y="424"/>
                    <a:pt x="22" y="428"/>
                  </a:cubicBezTo>
                  <a:cubicBezTo>
                    <a:pt x="20" y="429"/>
                    <a:pt x="18" y="433"/>
                    <a:pt x="16" y="434"/>
                  </a:cubicBezTo>
                  <a:cubicBezTo>
                    <a:pt x="15" y="435"/>
                    <a:pt x="14" y="436"/>
                    <a:pt x="13" y="437"/>
                  </a:cubicBezTo>
                  <a:cubicBezTo>
                    <a:pt x="11" y="438"/>
                    <a:pt x="9" y="440"/>
                    <a:pt x="8" y="441"/>
                  </a:cubicBezTo>
                  <a:cubicBezTo>
                    <a:pt x="7" y="444"/>
                    <a:pt x="6" y="449"/>
                    <a:pt x="7" y="451"/>
                  </a:cubicBezTo>
                  <a:cubicBezTo>
                    <a:pt x="7" y="452"/>
                    <a:pt x="8" y="453"/>
                    <a:pt x="8" y="453"/>
                  </a:cubicBezTo>
                  <a:cubicBezTo>
                    <a:pt x="9" y="456"/>
                    <a:pt x="8" y="463"/>
                    <a:pt x="7" y="465"/>
                  </a:cubicBezTo>
                  <a:cubicBezTo>
                    <a:pt x="6" y="465"/>
                    <a:pt x="5" y="466"/>
                    <a:pt x="5" y="467"/>
                  </a:cubicBezTo>
                  <a:cubicBezTo>
                    <a:pt x="3" y="469"/>
                    <a:pt x="4" y="473"/>
                    <a:pt x="4" y="476"/>
                  </a:cubicBezTo>
                  <a:cubicBezTo>
                    <a:pt x="4" y="478"/>
                    <a:pt x="4" y="481"/>
                    <a:pt x="4" y="482"/>
                  </a:cubicBezTo>
                  <a:cubicBezTo>
                    <a:pt x="4" y="482"/>
                    <a:pt x="3" y="483"/>
                    <a:pt x="3" y="484"/>
                  </a:cubicBezTo>
                  <a:cubicBezTo>
                    <a:pt x="1" y="486"/>
                    <a:pt x="0" y="488"/>
                    <a:pt x="0" y="490"/>
                  </a:cubicBezTo>
                  <a:cubicBezTo>
                    <a:pt x="0" y="492"/>
                    <a:pt x="2" y="493"/>
                    <a:pt x="3" y="495"/>
                  </a:cubicBezTo>
                  <a:cubicBezTo>
                    <a:pt x="4" y="496"/>
                    <a:pt x="5" y="497"/>
                    <a:pt x="5" y="497"/>
                  </a:cubicBezTo>
                  <a:cubicBezTo>
                    <a:pt x="5" y="500"/>
                    <a:pt x="8" y="502"/>
                    <a:pt x="13" y="502"/>
                  </a:cubicBezTo>
                  <a:cubicBezTo>
                    <a:pt x="14" y="502"/>
                    <a:pt x="15" y="502"/>
                    <a:pt x="17" y="501"/>
                  </a:cubicBezTo>
                  <a:cubicBezTo>
                    <a:pt x="20" y="500"/>
                    <a:pt x="22" y="495"/>
                    <a:pt x="22" y="492"/>
                  </a:cubicBezTo>
                  <a:cubicBezTo>
                    <a:pt x="23" y="490"/>
                    <a:pt x="22" y="489"/>
                    <a:pt x="21" y="487"/>
                  </a:cubicBezTo>
                  <a:cubicBezTo>
                    <a:pt x="20" y="487"/>
                    <a:pt x="20" y="486"/>
                    <a:pt x="20" y="486"/>
                  </a:cubicBezTo>
                  <a:cubicBezTo>
                    <a:pt x="21" y="486"/>
                    <a:pt x="23" y="487"/>
                    <a:pt x="25" y="488"/>
                  </a:cubicBezTo>
                  <a:cubicBezTo>
                    <a:pt x="28" y="489"/>
                    <a:pt x="31" y="489"/>
                    <a:pt x="33" y="489"/>
                  </a:cubicBezTo>
                  <a:cubicBezTo>
                    <a:pt x="34" y="489"/>
                    <a:pt x="36" y="488"/>
                    <a:pt x="37" y="486"/>
                  </a:cubicBezTo>
                  <a:cubicBezTo>
                    <a:pt x="37" y="486"/>
                    <a:pt x="37" y="486"/>
                    <a:pt x="38" y="486"/>
                  </a:cubicBezTo>
                  <a:cubicBezTo>
                    <a:pt x="38" y="486"/>
                    <a:pt x="38" y="486"/>
                    <a:pt x="38" y="486"/>
                  </a:cubicBezTo>
                  <a:cubicBezTo>
                    <a:pt x="38" y="488"/>
                    <a:pt x="37" y="491"/>
                    <a:pt x="40" y="492"/>
                  </a:cubicBezTo>
                  <a:cubicBezTo>
                    <a:pt x="40" y="493"/>
                    <a:pt x="41" y="493"/>
                    <a:pt x="42" y="493"/>
                  </a:cubicBezTo>
                  <a:cubicBezTo>
                    <a:pt x="45" y="493"/>
                    <a:pt x="49" y="491"/>
                    <a:pt x="50" y="488"/>
                  </a:cubicBezTo>
                  <a:cubicBezTo>
                    <a:pt x="51" y="486"/>
                    <a:pt x="50" y="484"/>
                    <a:pt x="49" y="483"/>
                  </a:cubicBezTo>
                  <a:cubicBezTo>
                    <a:pt x="49" y="482"/>
                    <a:pt x="49" y="482"/>
                    <a:pt x="49" y="482"/>
                  </a:cubicBezTo>
                  <a:cubicBezTo>
                    <a:pt x="50" y="482"/>
                    <a:pt x="51" y="482"/>
                    <a:pt x="52" y="482"/>
                  </a:cubicBezTo>
                  <a:cubicBezTo>
                    <a:pt x="54" y="482"/>
                    <a:pt x="56" y="482"/>
                    <a:pt x="57" y="482"/>
                  </a:cubicBezTo>
                  <a:cubicBezTo>
                    <a:pt x="58" y="482"/>
                    <a:pt x="59" y="481"/>
                    <a:pt x="60" y="480"/>
                  </a:cubicBezTo>
                  <a:cubicBezTo>
                    <a:pt x="61" y="479"/>
                    <a:pt x="63" y="478"/>
                    <a:pt x="64" y="478"/>
                  </a:cubicBezTo>
                  <a:cubicBezTo>
                    <a:pt x="69" y="478"/>
                    <a:pt x="80" y="483"/>
                    <a:pt x="85" y="487"/>
                  </a:cubicBezTo>
                  <a:cubicBezTo>
                    <a:pt x="85" y="487"/>
                    <a:pt x="86" y="488"/>
                    <a:pt x="87" y="488"/>
                  </a:cubicBezTo>
                  <a:cubicBezTo>
                    <a:pt x="89" y="491"/>
                    <a:pt x="91" y="493"/>
                    <a:pt x="94" y="493"/>
                  </a:cubicBezTo>
                  <a:cubicBezTo>
                    <a:pt x="97" y="492"/>
                    <a:pt x="99" y="488"/>
                    <a:pt x="100" y="484"/>
                  </a:cubicBezTo>
                  <a:cubicBezTo>
                    <a:pt x="100" y="483"/>
                    <a:pt x="100" y="482"/>
                    <a:pt x="100" y="481"/>
                  </a:cubicBezTo>
                  <a:cubicBezTo>
                    <a:pt x="100" y="481"/>
                    <a:pt x="100" y="481"/>
                    <a:pt x="100" y="481"/>
                  </a:cubicBezTo>
                  <a:cubicBezTo>
                    <a:pt x="100" y="481"/>
                    <a:pt x="100" y="481"/>
                    <a:pt x="100" y="481"/>
                  </a:cubicBezTo>
                  <a:cubicBezTo>
                    <a:pt x="101" y="479"/>
                    <a:pt x="103" y="476"/>
                    <a:pt x="104" y="475"/>
                  </a:cubicBezTo>
                  <a:cubicBezTo>
                    <a:pt x="105" y="475"/>
                    <a:pt x="107" y="474"/>
                    <a:pt x="108" y="474"/>
                  </a:cubicBezTo>
                  <a:cubicBezTo>
                    <a:pt x="109" y="473"/>
                    <a:pt x="110" y="473"/>
                    <a:pt x="111" y="472"/>
                  </a:cubicBezTo>
                  <a:cubicBezTo>
                    <a:pt x="113" y="472"/>
                    <a:pt x="113" y="470"/>
                    <a:pt x="114" y="469"/>
                  </a:cubicBezTo>
                  <a:cubicBezTo>
                    <a:pt x="115" y="469"/>
                    <a:pt x="116" y="468"/>
                    <a:pt x="116" y="467"/>
                  </a:cubicBezTo>
                  <a:cubicBezTo>
                    <a:pt x="117" y="468"/>
                    <a:pt x="118" y="469"/>
                    <a:pt x="118" y="470"/>
                  </a:cubicBezTo>
                  <a:cubicBezTo>
                    <a:pt x="119" y="472"/>
                    <a:pt x="120" y="473"/>
                    <a:pt x="121" y="474"/>
                  </a:cubicBezTo>
                  <a:cubicBezTo>
                    <a:pt x="122" y="475"/>
                    <a:pt x="124" y="476"/>
                    <a:pt x="126" y="476"/>
                  </a:cubicBezTo>
                  <a:cubicBezTo>
                    <a:pt x="127" y="476"/>
                    <a:pt x="128" y="476"/>
                    <a:pt x="129" y="476"/>
                  </a:cubicBezTo>
                  <a:cubicBezTo>
                    <a:pt x="129" y="476"/>
                    <a:pt x="130" y="477"/>
                    <a:pt x="131" y="478"/>
                  </a:cubicBezTo>
                  <a:cubicBezTo>
                    <a:pt x="133" y="480"/>
                    <a:pt x="135" y="481"/>
                    <a:pt x="137" y="481"/>
                  </a:cubicBezTo>
                  <a:cubicBezTo>
                    <a:pt x="137" y="481"/>
                    <a:pt x="138" y="481"/>
                    <a:pt x="139" y="481"/>
                  </a:cubicBezTo>
                  <a:cubicBezTo>
                    <a:pt x="141" y="480"/>
                    <a:pt x="141" y="477"/>
                    <a:pt x="141" y="474"/>
                  </a:cubicBezTo>
                  <a:cubicBezTo>
                    <a:pt x="141" y="473"/>
                    <a:pt x="141" y="472"/>
                    <a:pt x="141" y="472"/>
                  </a:cubicBezTo>
                  <a:cubicBezTo>
                    <a:pt x="142" y="471"/>
                    <a:pt x="143" y="470"/>
                    <a:pt x="143" y="469"/>
                  </a:cubicBezTo>
                  <a:cubicBezTo>
                    <a:pt x="145" y="468"/>
                    <a:pt x="147" y="466"/>
                    <a:pt x="147" y="464"/>
                  </a:cubicBezTo>
                  <a:cubicBezTo>
                    <a:pt x="148" y="462"/>
                    <a:pt x="147" y="460"/>
                    <a:pt x="145" y="459"/>
                  </a:cubicBezTo>
                  <a:cubicBezTo>
                    <a:pt x="145" y="458"/>
                    <a:pt x="145" y="457"/>
                    <a:pt x="144" y="457"/>
                  </a:cubicBezTo>
                  <a:cubicBezTo>
                    <a:pt x="145" y="456"/>
                    <a:pt x="147" y="453"/>
                    <a:pt x="149" y="451"/>
                  </a:cubicBezTo>
                  <a:cubicBezTo>
                    <a:pt x="150" y="451"/>
                    <a:pt x="151" y="450"/>
                    <a:pt x="152" y="450"/>
                  </a:cubicBezTo>
                  <a:cubicBezTo>
                    <a:pt x="155" y="449"/>
                    <a:pt x="157" y="448"/>
                    <a:pt x="158" y="445"/>
                  </a:cubicBezTo>
                  <a:cubicBezTo>
                    <a:pt x="159" y="443"/>
                    <a:pt x="158" y="442"/>
                    <a:pt x="157" y="440"/>
                  </a:cubicBezTo>
                  <a:cubicBezTo>
                    <a:pt x="157" y="440"/>
                    <a:pt x="157" y="440"/>
                    <a:pt x="157" y="439"/>
                  </a:cubicBezTo>
                  <a:cubicBezTo>
                    <a:pt x="158" y="440"/>
                    <a:pt x="159" y="441"/>
                    <a:pt x="160" y="442"/>
                  </a:cubicBezTo>
                  <a:cubicBezTo>
                    <a:pt x="160" y="442"/>
                    <a:pt x="161" y="445"/>
                    <a:pt x="162" y="446"/>
                  </a:cubicBezTo>
                  <a:cubicBezTo>
                    <a:pt x="163" y="449"/>
                    <a:pt x="164" y="452"/>
                    <a:pt x="166" y="453"/>
                  </a:cubicBezTo>
                  <a:cubicBezTo>
                    <a:pt x="168" y="455"/>
                    <a:pt x="173" y="456"/>
                    <a:pt x="174" y="457"/>
                  </a:cubicBezTo>
                  <a:cubicBezTo>
                    <a:pt x="176" y="457"/>
                    <a:pt x="186" y="459"/>
                    <a:pt x="191" y="458"/>
                  </a:cubicBezTo>
                  <a:cubicBezTo>
                    <a:pt x="193" y="458"/>
                    <a:pt x="198" y="455"/>
                    <a:pt x="199" y="453"/>
                  </a:cubicBezTo>
                  <a:cubicBezTo>
                    <a:pt x="201" y="451"/>
                    <a:pt x="201" y="447"/>
                    <a:pt x="201" y="444"/>
                  </a:cubicBezTo>
                  <a:cubicBezTo>
                    <a:pt x="201" y="442"/>
                    <a:pt x="201" y="441"/>
                    <a:pt x="201" y="439"/>
                  </a:cubicBezTo>
                  <a:cubicBezTo>
                    <a:pt x="201" y="438"/>
                    <a:pt x="201" y="436"/>
                    <a:pt x="201" y="436"/>
                  </a:cubicBezTo>
                  <a:cubicBezTo>
                    <a:pt x="202" y="425"/>
                    <a:pt x="204" y="423"/>
                    <a:pt x="204" y="423"/>
                  </a:cubicBezTo>
                  <a:cubicBezTo>
                    <a:pt x="205" y="423"/>
                    <a:pt x="206" y="423"/>
                    <a:pt x="207" y="423"/>
                  </a:cubicBezTo>
                  <a:cubicBezTo>
                    <a:pt x="209" y="423"/>
                    <a:pt x="210" y="424"/>
                    <a:pt x="212" y="423"/>
                  </a:cubicBezTo>
                  <a:cubicBezTo>
                    <a:pt x="215" y="422"/>
                    <a:pt x="219" y="418"/>
                    <a:pt x="221" y="416"/>
                  </a:cubicBezTo>
                  <a:cubicBezTo>
                    <a:pt x="222" y="414"/>
                    <a:pt x="222" y="411"/>
                    <a:pt x="222" y="407"/>
                  </a:cubicBezTo>
                  <a:cubicBezTo>
                    <a:pt x="222" y="405"/>
                    <a:pt x="222" y="402"/>
                    <a:pt x="223" y="401"/>
                  </a:cubicBezTo>
                  <a:cubicBezTo>
                    <a:pt x="223" y="400"/>
                    <a:pt x="225" y="400"/>
                    <a:pt x="226" y="399"/>
                  </a:cubicBezTo>
                  <a:cubicBezTo>
                    <a:pt x="227" y="398"/>
                    <a:pt x="229" y="398"/>
                    <a:pt x="230" y="397"/>
                  </a:cubicBezTo>
                  <a:cubicBezTo>
                    <a:pt x="232" y="395"/>
                    <a:pt x="235" y="391"/>
                    <a:pt x="236" y="389"/>
                  </a:cubicBezTo>
                  <a:cubicBezTo>
                    <a:pt x="237" y="387"/>
                    <a:pt x="239" y="382"/>
                    <a:pt x="239" y="380"/>
                  </a:cubicBezTo>
                  <a:cubicBezTo>
                    <a:pt x="239" y="378"/>
                    <a:pt x="238" y="376"/>
                    <a:pt x="237" y="374"/>
                  </a:cubicBezTo>
                  <a:cubicBezTo>
                    <a:pt x="237" y="373"/>
                    <a:pt x="236" y="372"/>
                    <a:pt x="236" y="371"/>
                  </a:cubicBezTo>
                  <a:cubicBezTo>
                    <a:pt x="236" y="370"/>
                    <a:pt x="236" y="370"/>
                    <a:pt x="236" y="369"/>
                  </a:cubicBezTo>
                  <a:cubicBezTo>
                    <a:pt x="235" y="368"/>
                    <a:pt x="235" y="366"/>
                    <a:pt x="235" y="365"/>
                  </a:cubicBezTo>
                  <a:cubicBezTo>
                    <a:pt x="235" y="365"/>
                    <a:pt x="236" y="365"/>
                    <a:pt x="237" y="365"/>
                  </a:cubicBezTo>
                  <a:cubicBezTo>
                    <a:pt x="238" y="365"/>
                    <a:pt x="240" y="365"/>
                    <a:pt x="241" y="365"/>
                  </a:cubicBezTo>
                  <a:cubicBezTo>
                    <a:pt x="242" y="365"/>
                    <a:pt x="243" y="364"/>
                    <a:pt x="244" y="364"/>
                  </a:cubicBezTo>
                  <a:cubicBezTo>
                    <a:pt x="245" y="363"/>
                    <a:pt x="246" y="362"/>
                    <a:pt x="247" y="362"/>
                  </a:cubicBezTo>
                  <a:cubicBezTo>
                    <a:pt x="247" y="362"/>
                    <a:pt x="249" y="364"/>
                    <a:pt x="250" y="364"/>
                  </a:cubicBezTo>
                  <a:cubicBezTo>
                    <a:pt x="251" y="366"/>
                    <a:pt x="253" y="368"/>
                    <a:pt x="256" y="368"/>
                  </a:cubicBezTo>
                  <a:cubicBezTo>
                    <a:pt x="260" y="368"/>
                    <a:pt x="263" y="364"/>
                    <a:pt x="266" y="361"/>
                  </a:cubicBezTo>
                  <a:cubicBezTo>
                    <a:pt x="268" y="359"/>
                    <a:pt x="270" y="357"/>
                    <a:pt x="271" y="356"/>
                  </a:cubicBezTo>
                  <a:cubicBezTo>
                    <a:pt x="273" y="356"/>
                    <a:pt x="275" y="355"/>
                    <a:pt x="277" y="355"/>
                  </a:cubicBezTo>
                  <a:cubicBezTo>
                    <a:pt x="281" y="354"/>
                    <a:pt x="286" y="354"/>
                    <a:pt x="288" y="351"/>
                  </a:cubicBezTo>
                  <a:cubicBezTo>
                    <a:pt x="290" y="349"/>
                    <a:pt x="291" y="344"/>
                    <a:pt x="290" y="34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40">
              <a:extLst>
                <a:ext uri="{FF2B5EF4-FFF2-40B4-BE49-F238E27FC236}">
                  <a16:creationId xmlns:a16="http://schemas.microsoft.com/office/drawing/2014/main" id="{1FC387CB-36AE-4BAC-AB8B-DE8863A8B399}"/>
                </a:ext>
              </a:extLst>
            </p:cNvPr>
            <p:cNvSpPr>
              <a:spLocks/>
            </p:cNvSpPr>
            <p:nvPr/>
          </p:nvSpPr>
          <p:spPr bwMode="auto">
            <a:xfrm>
              <a:off x="6572860" y="2384004"/>
              <a:ext cx="598350" cy="269864"/>
            </a:xfrm>
            <a:custGeom>
              <a:avLst/>
              <a:gdLst>
                <a:gd name="T0" fmla="*/ 525 w 538"/>
                <a:gd name="T1" fmla="*/ 91 h 242"/>
                <a:gd name="T2" fmla="*/ 515 w 538"/>
                <a:gd name="T3" fmla="*/ 79 h 242"/>
                <a:gd name="T4" fmla="*/ 505 w 538"/>
                <a:gd name="T5" fmla="*/ 60 h 242"/>
                <a:gd name="T6" fmla="*/ 486 w 538"/>
                <a:gd name="T7" fmla="*/ 45 h 242"/>
                <a:gd name="T8" fmla="*/ 471 w 538"/>
                <a:gd name="T9" fmla="*/ 50 h 242"/>
                <a:gd name="T10" fmla="*/ 438 w 538"/>
                <a:gd name="T11" fmla="*/ 48 h 242"/>
                <a:gd name="T12" fmla="*/ 420 w 538"/>
                <a:gd name="T13" fmla="*/ 22 h 242"/>
                <a:gd name="T14" fmla="*/ 361 w 538"/>
                <a:gd name="T15" fmla="*/ 37 h 242"/>
                <a:gd name="T16" fmla="*/ 340 w 538"/>
                <a:gd name="T17" fmla="*/ 44 h 242"/>
                <a:gd name="T18" fmla="*/ 307 w 538"/>
                <a:gd name="T19" fmla="*/ 74 h 242"/>
                <a:gd name="T20" fmla="*/ 287 w 538"/>
                <a:gd name="T21" fmla="*/ 71 h 242"/>
                <a:gd name="T22" fmla="*/ 255 w 538"/>
                <a:gd name="T23" fmla="*/ 72 h 242"/>
                <a:gd name="T24" fmla="*/ 230 w 538"/>
                <a:gd name="T25" fmla="*/ 47 h 242"/>
                <a:gd name="T26" fmla="*/ 211 w 538"/>
                <a:gd name="T27" fmla="*/ 31 h 242"/>
                <a:gd name="T28" fmla="*/ 185 w 538"/>
                <a:gd name="T29" fmla="*/ 29 h 242"/>
                <a:gd name="T30" fmla="*/ 175 w 538"/>
                <a:gd name="T31" fmla="*/ 26 h 242"/>
                <a:gd name="T32" fmla="*/ 158 w 538"/>
                <a:gd name="T33" fmla="*/ 44 h 242"/>
                <a:gd name="T34" fmla="*/ 146 w 538"/>
                <a:gd name="T35" fmla="*/ 11 h 242"/>
                <a:gd name="T36" fmla="*/ 135 w 538"/>
                <a:gd name="T37" fmla="*/ 0 h 242"/>
                <a:gd name="T38" fmla="*/ 98 w 538"/>
                <a:gd name="T39" fmla="*/ 32 h 242"/>
                <a:gd name="T40" fmla="*/ 76 w 538"/>
                <a:gd name="T41" fmla="*/ 47 h 242"/>
                <a:gd name="T42" fmla="*/ 52 w 538"/>
                <a:gd name="T43" fmla="*/ 50 h 242"/>
                <a:gd name="T44" fmla="*/ 8 w 538"/>
                <a:gd name="T45" fmla="*/ 80 h 242"/>
                <a:gd name="T46" fmla="*/ 4 w 538"/>
                <a:gd name="T47" fmla="*/ 92 h 242"/>
                <a:gd name="T48" fmla="*/ 28 w 538"/>
                <a:gd name="T49" fmla="*/ 115 h 242"/>
                <a:gd name="T50" fmla="*/ 136 w 538"/>
                <a:gd name="T51" fmla="*/ 142 h 242"/>
                <a:gd name="T52" fmla="*/ 160 w 538"/>
                <a:gd name="T53" fmla="*/ 142 h 242"/>
                <a:gd name="T54" fmla="*/ 194 w 538"/>
                <a:gd name="T55" fmla="*/ 163 h 242"/>
                <a:gd name="T56" fmla="*/ 219 w 538"/>
                <a:gd name="T57" fmla="*/ 174 h 242"/>
                <a:gd name="T58" fmla="*/ 221 w 538"/>
                <a:gd name="T59" fmla="*/ 198 h 242"/>
                <a:gd name="T60" fmla="*/ 224 w 538"/>
                <a:gd name="T61" fmla="*/ 214 h 242"/>
                <a:gd name="T62" fmla="*/ 231 w 538"/>
                <a:gd name="T63" fmla="*/ 225 h 242"/>
                <a:gd name="T64" fmla="*/ 242 w 538"/>
                <a:gd name="T65" fmla="*/ 241 h 242"/>
                <a:gd name="T66" fmla="*/ 249 w 538"/>
                <a:gd name="T67" fmla="*/ 239 h 242"/>
                <a:gd name="T68" fmla="*/ 271 w 538"/>
                <a:gd name="T69" fmla="*/ 184 h 242"/>
                <a:gd name="T70" fmla="*/ 285 w 538"/>
                <a:gd name="T71" fmla="*/ 153 h 242"/>
                <a:gd name="T72" fmla="*/ 293 w 538"/>
                <a:gd name="T73" fmla="*/ 166 h 242"/>
                <a:gd name="T74" fmla="*/ 304 w 538"/>
                <a:gd name="T75" fmla="*/ 154 h 242"/>
                <a:gd name="T76" fmla="*/ 320 w 538"/>
                <a:gd name="T77" fmla="*/ 150 h 242"/>
                <a:gd name="T78" fmla="*/ 310 w 538"/>
                <a:gd name="T79" fmla="*/ 168 h 242"/>
                <a:gd name="T80" fmla="*/ 326 w 538"/>
                <a:gd name="T81" fmla="*/ 161 h 242"/>
                <a:gd name="T82" fmla="*/ 342 w 538"/>
                <a:gd name="T83" fmla="*/ 139 h 242"/>
                <a:gd name="T84" fmla="*/ 365 w 538"/>
                <a:gd name="T85" fmla="*/ 129 h 242"/>
                <a:gd name="T86" fmla="*/ 389 w 538"/>
                <a:gd name="T87" fmla="*/ 124 h 242"/>
                <a:gd name="T88" fmla="*/ 416 w 538"/>
                <a:gd name="T89" fmla="*/ 106 h 242"/>
                <a:gd name="T90" fmla="*/ 445 w 538"/>
                <a:gd name="T91" fmla="*/ 113 h 242"/>
                <a:gd name="T92" fmla="*/ 470 w 538"/>
                <a:gd name="T93" fmla="*/ 128 h 242"/>
                <a:gd name="T94" fmla="*/ 478 w 538"/>
                <a:gd name="T95" fmla="*/ 106 h 242"/>
                <a:gd name="T96" fmla="*/ 528 w 538"/>
                <a:gd name="T97" fmla="*/ 108 h 242"/>
                <a:gd name="T98" fmla="*/ 538 w 538"/>
                <a:gd name="T99" fmla="*/ 10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8" h="242">
                  <a:moveTo>
                    <a:pt x="538" y="102"/>
                  </a:moveTo>
                  <a:cubicBezTo>
                    <a:pt x="533" y="95"/>
                    <a:pt x="533" y="95"/>
                    <a:pt x="533" y="95"/>
                  </a:cubicBezTo>
                  <a:cubicBezTo>
                    <a:pt x="533" y="94"/>
                    <a:pt x="533" y="94"/>
                    <a:pt x="532" y="94"/>
                  </a:cubicBezTo>
                  <a:cubicBezTo>
                    <a:pt x="525" y="91"/>
                    <a:pt x="525" y="91"/>
                    <a:pt x="525" y="91"/>
                  </a:cubicBezTo>
                  <a:cubicBezTo>
                    <a:pt x="525" y="85"/>
                    <a:pt x="525" y="85"/>
                    <a:pt x="525" y="85"/>
                  </a:cubicBezTo>
                  <a:cubicBezTo>
                    <a:pt x="525" y="84"/>
                    <a:pt x="524" y="83"/>
                    <a:pt x="524" y="83"/>
                  </a:cubicBezTo>
                  <a:cubicBezTo>
                    <a:pt x="516" y="79"/>
                    <a:pt x="516" y="79"/>
                    <a:pt x="516" y="79"/>
                  </a:cubicBezTo>
                  <a:cubicBezTo>
                    <a:pt x="516" y="79"/>
                    <a:pt x="516" y="79"/>
                    <a:pt x="515" y="79"/>
                  </a:cubicBezTo>
                  <a:cubicBezTo>
                    <a:pt x="514" y="79"/>
                    <a:pt x="514" y="79"/>
                    <a:pt x="514" y="79"/>
                  </a:cubicBezTo>
                  <a:cubicBezTo>
                    <a:pt x="508" y="75"/>
                    <a:pt x="508" y="75"/>
                    <a:pt x="508" y="75"/>
                  </a:cubicBezTo>
                  <a:cubicBezTo>
                    <a:pt x="507" y="68"/>
                    <a:pt x="507" y="68"/>
                    <a:pt x="507" y="68"/>
                  </a:cubicBezTo>
                  <a:cubicBezTo>
                    <a:pt x="505" y="60"/>
                    <a:pt x="505" y="60"/>
                    <a:pt x="505" y="60"/>
                  </a:cubicBezTo>
                  <a:cubicBezTo>
                    <a:pt x="500" y="52"/>
                    <a:pt x="500" y="52"/>
                    <a:pt x="500" y="52"/>
                  </a:cubicBezTo>
                  <a:cubicBezTo>
                    <a:pt x="494" y="45"/>
                    <a:pt x="494" y="45"/>
                    <a:pt x="494" y="45"/>
                  </a:cubicBezTo>
                  <a:cubicBezTo>
                    <a:pt x="493" y="44"/>
                    <a:pt x="492" y="44"/>
                    <a:pt x="491" y="44"/>
                  </a:cubicBezTo>
                  <a:cubicBezTo>
                    <a:pt x="486" y="45"/>
                    <a:pt x="486" y="45"/>
                    <a:pt x="486" y="45"/>
                  </a:cubicBezTo>
                  <a:cubicBezTo>
                    <a:pt x="485" y="45"/>
                    <a:pt x="485" y="46"/>
                    <a:pt x="485" y="46"/>
                  </a:cubicBezTo>
                  <a:cubicBezTo>
                    <a:pt x="480" y="53"/>
                    <a:pt x="480" y="53"/>
                    <a:pt x="480" y="53"/>
                  </a:cubicBezTo>
                  <a:cubicBezTo>
                    <a:pt x="475" y="55"/>
                    <a:pt x="475" y="55"/>
                    <a:pt x="475" y="55"/>
                  </a:cubicBezTo>
                  <a:cubicBezTo>
                    <a:pt x="471" y="50"/>
                    <a:pt x="471" y="50"/>
                    <a:pt x="471" y="50"/>
                  </a:cubicBezTo>
                  <a:cubicBezTo>
                    <a:pt x="470" y="49"/>
                    <a:pt x="469" y="49"/>
                    <a:pt x="468" y="49"/>
                  </a:cubicBezTo>
                  <a:cubicBezTo>
                    <a:pt x="454" y="54"/>
                    <a:pt x="454" y="54"/>
                    <a:pt x="454" y="54"/>
                  </a:cubicBezTo>
                  <a:cubicBezTo>
                    <a:pt x="441" y="53"/>
                    <a:pt x="441" y="53"/>
                    <a:pt x="441" y="53"/>
                  </a:cubicBezTo>
                  <a:cubicBezTo>
                    <a:pt x="438" y="48"/>
                    <a:pt x="438" y="48"/>
                    <a:pt x="438" y="48"/>
                  </a:cubicBezTo>
                  <a:cubicBezTo>
                    <a:pt x="438" y="22"/>
                    <a:pt x="438" y="22"/>
                    <a:pt x="438" y="22"/>
                  </a:cubicBezTo>
                  <a:cubicBezTo>
                    <a:pt x="438" y="21"/>
                    <a:pt x="437" y="20"/>
                    <a:pt x="437" y="20"/>
                  </a:cubicBezTo>
                  <a:cubicBezTo>
                    <a:pt x="436" y="19"/>
                    <a:pt x="435" y="19"/>
                    <a:pt x="435" y="19"/>
                  </a:cubicBezTo>
                  <a:cubicBezTo>
                    <a:pt x="420" y="22"/>
                    <a:pt x="420" y="22"/>
                    <a:pt x="420" y="22"/>
                  </a:cubicBezTo>
                  <a:cubicBezTo>
                    <a:pt x="412" y="25"/>
                    <a:pt x="412" y="25"/>
                    <a:pt x="412" y="25"/>
                  </a:cubicBezTo>
                  <a:cubicBezTo>
                    <a:pt x="398" y="33"/>
                    <a:pt x="398" y="33"/>
                    <a:pt x="398" y="33"/>
                  </a:cubicBezTo>
                  <a:cubicBezTo>
                    <a:pt x="392" y="35"/>
                    <a:pt x="392" y="35"/>
                    <a:pt x="392" y="35"/>
                  </a:cubicBezTo>
                  <a:cubicBezTo>
                    <a:pt x="361" y="37"/>
                    <a:pt x="361" y="37"/>
                    <a:pt x="361" y="37"/>
                  </a:cubicBezTo>
                  <a:cubicBezTo>
                    <a:pt x="361" y="37"/>
                    <a:pt x="361" y="37"/>
                    <a:pt x="361" y="37"/>
                  </a:cubicBezTo>
                  <a:cubicBezTo>
                    <a:pt x="354" y="40"/>
                    <a:pt x="354" y="40"/>
                    <a:pt x="354" y="40"/>
                  </a:cubicBezTo>
                  <a:cubicBezTo>
                    <a:pt x="341" y="43"/>
                    <a:pt x="341" y="43"/>
                    <a:pt x="341" y="43"/>
                  </a:cubicBezTo>
                  <a:cubicBezTo>
                    <a:pt x="340" y="43"/>
                    <a:pt x="340" y="43"/>
                    <a:pt x="340" y="44"/>
                  </a:cubicBezTo>
                  <a:cubicBezTo>
                    <a:pt x="333" y="51"/>
                    <a:pt x="333" y="51"/>
                    <a:pt x="333" y="51"/>
                  </a:cubicBezTo>
                  <a:cubicBezTo>
                    <a:pt x="318" y="60"/>
                    <a:pt x="318" y="60"/>
                    <a:pt x="318" y="60"/>
                  </a:cubicBezTo>
                  <a:cubicBezTo>
                    <a:pt x="317" y="60"/>
                    <a:pt x="317" y="60"/>
                    <a:pt x="317" y="61"/>
                  </a:cubicBezTo>
                  <a:cubicBezTo>
                    <a:pt x="307" y="74"/>
                    <a:pt x="307" y="74"/>
                    <a:pt x="307" y="74"/>
                  </a:cubicBezTo>
                  <a:cubicBezTo>
                    <a:pt x="302" y="72"/>
                    <a:pt x="302" y="72"/>
                    <a:pt x="302" y="72"/>
                  </a:cubicBezTo>
                  <a:cubicBezTo>
                    <a:pt x="302" y="72"/>
                    <a:pt x="301" y="72"/>
                    <a:pt x="301" y="72"/>
                  </a:cubicBezTo>
                  <a:cubicBezTo>
                    <a:pt x="294" y="73"/>
                    <a:pt x="294" y="73"/>
                    <a:pt x="294" y="73"/>
                  </a:cubicBezTo>
                  <a:cubicBezTo>
                    <a:pt x="287" y="71"/>
                    <a:pt x="287" y="71"/>
                    <a:pt x="287" y="71"/>
                  </a:cubicBezTo>
                  <a:cubicBezTo>
                    <a:pt x="280" y="65"/>
                    <a:pt x="280" y="65"/>
                    <a:pt x="280" y="65"/>
                  </a:cubicBezTo>
                  <a:cubicBezTo>
                    <a:pt x="280" y="65"/>
                    <a:pt x="279" y="64"/>
                    <a:pt x="278" y="65"/>
                  </a:cubicBezTo>
                  <a:cubicBezTo>
                    <a:pt x="261" y="71"/>
                    <a:pt x="261" y="71"/>
                    <a:pt x="261" y="71"/>
                  </a:cubicBezTo>
                  <a:cubicBezTo>
                    <a:pt x="255" y="72"/>
                    <a:pt x="255" y="72"/>
                    <a:pt x="255" y="72"/>
                  </a:cubicBezTo>
                  <a:cubicBezTo>
                    <a:pt x="248" y="69"/>
                    <a:pt x="248" y="69"/>
                    <a:pt x="248" y="69"/>
                  </a:cubicBezTo>
                  <a:cubicBezTo>
                    <a:pt x="244" y="62"/>
                    <a:pt x="244" y="62"/>
                    <a:pt x="244" y="62"/>
                  </a:cubicBezTo>
                  <a:cubicBezTo>
                    <a:pt x="244" y="61"/>
                    <a:pt x="244" y="61"/>
                    <a:pt x="244" y="61"/>
                  </a:cubicBezTo>
                  <a:cubicBezTo>
                    <a:pt x="230" y="47"/>
                    <a:pt x="230" y="47"/>
                    <a:pt x="230" y="47"/>
                  </a:cubicBezTo>
                  <a:cubicBezTo>
                    <a:pt x="226" y="39"/>
                    <a:pt x="226" y="39"/>
                    <a:pt x="226" y="39"/>
                  </a:cubicBezTo>
                  <a:cubicBezTo>
                    <a:pt x="226" y="39"/>
                    <a:pt x="225" y="38"/>
                    <a:pt x="224" y="38"/>
                  </a:cubicBezTo>
                  <a:cubicBezTo>
                    <a:pt x="218" y="37"/>
                    <a:pt x="218" y="37"/>
                    <a:pt x="218" y="37"/>
                  </a:cubicBezTo>
                  <a:cubicBezTo>
                    <a:pt x="211" y="31"/>
                    <a:pt x="211" y="31"/>
                    <a:pt x="211" y="31"/>
                  </a:cubicBezTo>
                  <a:cubicBezTo>
                    <a:pt x="211" y="30"/>
                    <a:pt x="210" y="30"/>
                    <a:pt x="210" y="30"/>
                  </a:cubicBezTo>
                  <a:cubicBezTo>
                    <a:pt x="201" y="29"/>
                    <a:pt x="201" y="29"/>
                    <a:pt x="201" y="29"/>
                  </a:cubicBezTo>
                  <a:cubicBezTo>
                    <a:pt x="186" y="29"/>
                    <a:pt x="186" y="29"/>
                    <a:pt x="186" y="29"/>
                  </a:cubicBezTo>
                  <a:cubicBezTo>
                    <a:pt x="186" y="29"/>
                    <a:pt x="186" y="29"/>
                    <a:pt x="185" y="29"/>
                  </a:cubicBezTo>
                  <a:cubicBezTo>
                    <a:pt x="178" y="32"/>
                    <a:pt x="178" y="32"/>
                    <a:pt x="178" y="32"/>
                  </a:cubicBezTo>
                  <a:cubicBezTo>
                    <a:pt x="179" y="29"/>
                    <a:pt x="179" y="29"/>
                    <a:pt x="179" y="29"/>
                  </a:cubicBezTo>
                  <a:cubicBezTo>
                    <a:pt x="180" y="28"/>
                    <a:pt x="179" y="27"/>
                    <a:pt x="178" y="26"/>
                  </a:cubicBezTo>
                  <a:cubicBezTo>
                    <a:pt x="177" y="25"/>
                    <a:pt x="176" y="26"/>
                    <a:pt x="175" y="26"/>
                  </a:cubicBezTo>
                  <a:cubicBezTo>
                    <a:pt x="168" y="33"/>
                    <a:pt x="168" y="33"/>
                    <a:pt x="168" y="33"/>
                  </a:cubicBezTo>
                  <a:cubicBezTo>
                    <a:pt x="161" y="38"/>
                    <a:pt x="161" y="38"/>
                    <a:pt x="161" y="38"/>
                  </a:cubicBezTo>
                  <a:cubicBezTo>
                    <a:pt x="161" y="38"/>
                    <a:pt x="160" y="38"/>
                    <a:pt x="160" y="39"/>
                  </a:cubicBezTo>
                  <a:cubicBezTo>
                    <a:pt x="158" y="44"/>
                    <a:pt x="158" y="44"/>
                    <a:pt x="158" y="44"/>
                  </a:cubicBezTo>
                  <a:cubicBezTo>
                    <a:pt x="158" y="42"/>
                    <a:pt x="158" y="42"/>
                    <a:pt x="158" y="42"/>
                  </a:cubicBezTo>
                  <a:cubicBezTo>
                    <a:pt x="159" y="28"/>
                    <a:pt x="159" y="28"/>
                    <a:pt x="159" y="28"/>
                  </a:cubicBezTo>
                  <a:cubicBezTo>
                    <a:pt x="159" y="27"/>
                    <a:pt x="159" y="26"/>
                    <a:pt x="159" y="26"/>
                  </a:cubicBezTo>
                  <a:cubicBezTo>
                    <a:pt x="146" y="11"/>
                    <a:pt x="146" y="11"/>
                    <a:pt x="146" y="11"/>
                  </a:cubicBezTo>
                  <a:cubicBezTo>
                    <a:pt x="146" y="11"/>
                    <a:pt x="146" y="10"/>
                    <a:pt x="146" y="10"/>
                  </a:cubicBezTo>
                  <a:cubicBezTo>
                    <a:pt x="141" y="8"/>
                    <a:pt x="141" y="8"/>
                    <a:pt x="141" y="8"/>
                  </a:cubicBezTo>
                  <a:cubicBezTo>
                    <a:pt x="136" y="1"/>
                    <a:pt x="136" y="1"/>
                    <a:pt x="136" y="1"/>
                  </a:cubicBezTo>
                  <a:cubicBezTo>
                    <a:pt x="136" y="0"/>
                    <a:pt x="135" y="0"/>
                    <a:pt x="135" y="0"/>
                  </a:cubicBezTo>
                  <a:cubicBezTo>
                    <a:pt x="134" y="0"/>
                    <a:pt x="133" y="0"/>
                    <a:pt x="132" y="1"/>
                  </a:cubicBezTo>
                  <a:cubicBezTo>
                    <a:pt x="116" y="19"/>
                    <a:pt x="116" y="19"/>
                    <a:pt x="116" y="19"/>
                  </a:cubicBezTo>
                  <a:cubicBezTo>
                    <a:pt x="112" y="25"/>
                    <a:pt x="112" y="25"/>
                    <a:pt x="112" y="25"/>
                  </a:cubicBezTo>
                  <a:cubicBezTo>
                    <a:pt x="98" y="32"/>
                    <a:pt x="98" y="32"/>
                    <a:pt x="98" y="32"/>
                  </a:cubicBezTo>
                  <a:cubicBezTo>
                    <a:pt x="98" y="32"/>
                    <a:pt x="97" y="32"/>
                    <a:pt x="97" y="32"/>
                  </a:cubicBezTo>
                  <a:cubicBezTo>
                    <a:pt x="90" y="40"/>
                    <a:pt x="90" y="40"/>
                    <a:pt x="90" y="40"/>
                  </a:cubicBezTo>
                  <a:cubicBezTo>
                    <a:pt x="83" y="45"/>
                    <a:pt x="83" y="45"/>
                    <a:pt x="83" y="45"/>
                  </a:cubicBezTo>
                  <a:cubicBezTo>
                    <a:pt x="76" y="47"/>
                    <a:pt x="76" y="47"/>
                    <a:pt x="76" y="47"/>
                  </a:cubicBezTo>
                  <a:cubicBezTo>
                    <a:pt x="68" y="48"/>
                    <a:pt x="68" y="48"/>
                    <a:pt x="68" y="48"/>
                  </a:cubicBezTo>
                  <a:cubicBezTo>
                    <a:pt x="61" y="50"/>
                    <a:pt x="61" y="50"/>
                    <a:pt x="61" y="50"/>
                  </a:cubicBezTo>
                  <a:cubicBezTo>
                    <a:pt x="54" y="50"/>
                    <a:pt x="54" y="50"/>
                    <a:pt x="54" y="50"/>
                  </a:cubicBezTo>
                  <a:cubicBezTo>
                    <a:pt x="53" y="50"/>
                    <a:pt x="53" y="50"/>
                    <a:pt x="52" y="50"/>
                  </a:cubicBezTo>
                  <a:cubicBezTo>
                    <a:pt x="44" y="55"/>
                    <a:pt x="44" y="55"/>
                    <a:pt x="44" y="55"/>
                  </a:cubicBezTo>
                  <a:cubicBezTo>
                    <a:pt x="44" y="55"/>
                    <a:pt x="44" y="55"/>
                    <a:pt x="44" y="55"/>
                  </a:cubicBezTo>
                  <a:cubicBezTo>
                    <a:pt x="30" y="70"/>
                    <a:pt x="30" y="70"/>
                    <a:pt x="30" y="70"/>
                  </a:cubicBezTo>
                  <a:cubicBezTo>
                    <a:pt x="8" y="80"/>
                    <a:pt x="8" y="80"/>
                    <a:pt x="8" y="80"/>
                  </a:cubicBezTo>
                  <a:cubicBezTo>
                    <a:pt x="1" y="84"/>
                    <a:pt x="1" y="84"/>
                    <a:pt x="1" y="84"/>
                  </a:cubicBezTo>
                  <a:cubicBezTo>
                    <a:pt x="0" y="85"/>
                    <a:pt x="0" y="86"/>
                    <a:pt x="0" y="86"/>
                  </a:cubicBezTo>
                  <a:cubicBezTo>
                    <a:pt x="0" y="87"/>
                    <a:pt x="0" y="88"/>
                    <a:pt x="1" y="88"/>
                  </a:cubicBezTo>
                  <a:cubicBezTo>
                    <a:pt x="4" y="92"/>
                    <a:pt x="4" y="92"/>
                    <a:pt x="4" y="92"/>
                  </a:cubicBezTo>
                  <a:cubicBezTo>
                    <a:pt x="4" y="92"/>
                    <a:pt x="5" y="92"/>
                    <a:pt x="5" y="93"/>
                  </a:cubicBezTo>
                  <a:cubicBezTo>
                    <a:pt x="13" y="95"/>
                    <a:pt x="13" y="95"/>
                    <a:pt x="13" y="95"/>
                  </a:cubicBezTo>
                  <a:cubicBezTo>
                    <a:pt x="19" y="101"/>
                    <a:pt x="19" y="101"/>
                    <a:pt x="19" y="101"/>
                  </a:cubicBezTo>
                  <a:cubicBezTo>
                    <a:pt x="28" y="115"/>
                    <a:pt x="28" y="115"/>
                    <a:pt x="28" y="115"/>
                  </a:cubicBezTo>
                  <a:cubicBezTo>
                    <a:pt x="28" y="115"/>
                    <a:pt x="29" y="116"/>
                    <a:pt x="29" y="116"/>
                  </a:cubicBezTo>
                  <a:cubicBezTo>
                    <a:pt x="108" y="131"/>
                    <a:pt x="108" y="131"/>
                    <a:pt x="108" y="131"/>
                  </a:cubicBezTo>
                  <a:cubicBezTo>
                    <a:pt x="134" y="142"/>
                    <a:pt x="134" y="142"/>
                    <a:pt x="134" y="142"/>
                  </a:cubicBezTo>
                  <a:cubicBezTo>
                    <a:pt x="135" y="142"/>
                    <a:pt x="135" y="143"/>
                    <a:pt x="136" y="142"/>
                  </a:cubicBezTo>
                  <a:cubicBezTo>
                    <a:pt x="138" y="142"/>
                    <a:pt x="138" y="142"/>
                    <a:pt x="138" y="142"/>
                  </a:cubicBezTo>
                  <a:cubicBezTo>
                    <a:pt x="153" y="144"/>
                    <a:pt x="153" y="144"/>
                    <a:pt x="153" y="144"/>
                  </a:cubicBezTo>
                  <a:cubicBezTo>
                    <a:pt x="153" y="144"/>
                    <a:pt x="154" y="144"/>
                    <a:pt x="154" y="144"/>
                  </a:cubicBezTo>
                  <a:cubicBezTo>
                    <a:pt x="160" y="142"/>
                    <a:pt x="160" y="142"/>
                    <a:pt x="160" y="142"/>
                  </a:cubicBezTo>
                  <a:cubicBezTo>
                    <a:pt x="168" y="145"/>
                    <a:pt x="168" y="145"/>
                    <a:pt x="168" y="145"/>
                  </a:cubicBezTo>
                  <a:cubicBezTo>
                    <a:pt x="187" y="147"/>
                    <a:pt x="187" y="147"/>
                    <a:pt x="187" y="147"/>
                  </a:cubicBezTo>
                  <a:cubicBezTo>
                    <a:pt x="193" y="150"/>
                    <a:pt x="193" y="150"/>
                    <a:pt x="193" y="150"/>
                  </a:cubicBezTo>
                  <a:cubicBezTo>
                    <a:pt x="194" y="163"/>
                    <a:pt x="194" y="163"/>
                    <a:pt x="194" y="163"/>
                  </a:cubicBezTo>
                  <a:cubicBezTo>
                    <a:pt x="194" y="164"/>
                    <a:pt x="195" y="165"/>
                    <a:pt x="196" y="165"/>
                  </a:cubicBezTo>
                  <a:cubicBezTo>
                    <a:pt x="203" y="165"/>
                    <a:pt x="203" y="165"/>
                    <a:pt x="203" y="165"/>
                  </a:cubicBezTo>
                  <a:cubicBezTo>
                    <a:pt x="214" y="169"/>
                    <a:pt x="214" y="169"/>
                    <a:pt x="214" y="169"/>
                  </a:cubicBezTo>
                  <a:cubicBezTo>
                    <a:pt x="219" y="174"/>
                    <a:pt x="219" y="174"/>
                    <a:pt x="219" y="174"/>
                  </a:cubicBezTo>
                  <a:cubicBezTo>
                    <a:pt x="219" y="174"/>
                    <a:pt x="219" y="174"/>
                    <a:pt x="219" y="174"/>
                  </a:cubicBezTo>
                  <a:cubicBezTo>
                    <a:pt x="218" y="175"/>
                    <a:pt x="218" y="176"/>
                    <a:pt x="219" y="177"/>
                  </a:cubicBezTo>
                  <a:cubicBezTo>
                    <a:pt x="222" y="184"/>
                    <a:pt x="222" y="184"/>
                    <a:pt x="222" y="184"/>
                  </a:cubicBezTo>
                  <a:cubicBezTo>
                    <a:pt x="221" y="198"/>
                    <a:pt x="221" y="198"/>
                    <a:pt x="221" y="198"/>
                  </a:cubicBezTo>
                  <a:cubicBezTo>
                    <a:pt x="218" y="205"/>
                    <a:pt x="218" y="205"/>
                    <a:pt x="218" y="205"/>
                  </a:cubicBezTo>
                  <a:cubicBezTo>
                    <a:pt x="218" y="205"/>
                    <a:pt x="218" y="206"/>
                    <a:pt x="218" y="207"/>
                  </a:cubicBezTo>
                  <a:cubicBezTo>
                    <a:pt x="221" y="213"/>
                    <a:pt x="221" y="213"/>
                    <a:pt x="221" y="213"/>
                  </a:cubicBezTo>
                  <a:cubicBezTo>
                    <a:pt x="221" y="214"/>
                    <a:pt x="223" y="215"/>
                    <a:pt x="224" y="214"/>
                  </a:cubicBezTo>
                  <a:cubicBezTo>
                    <a:pt x="231" y="212"/>
                    <a:pt x="231" y="212"/>
                    <a:pt x="231" y="212"/>
                  </a:cubicBezTo>
                  <a:cubicBezTo>
                    <a:pt x="235" y="212"/>
                    <a:pt x="235" y="212"/>
                    <a:pt x="235" y="212"/>
                  </a:cubicBezTo>
                  <a:cubicBezTo>
                    <a:pt x="231" y="224"/>
                    <a:pt x="231" y="224"/>
                    <a:pt x="231" y="224"/>
                  </a:cubicBezTo>
                  <a:cubicBezTo>
                    <a:pt x="231" y="224"/>
                    <a:pt x="231" y="224"/>
                    <a:pt x="231" y="225"/>
                  </a:cubicBezTo>
                  <a:cubicBezTo>
                    <a:pt x="232" y="232"/>
                    <a:pt x="232" y="232"/>
                    <a:pt x="232" y="232"/>
                  </a:cubicBezTo>
                  <a:cubicBezTo>
                    <a:pt x="232" y="232"/>
                    <a:pt x="232" y="233"/>
                    <a:pt x="233" y="233"/>
                  </a:cubicBezTo>
                  <a:cubicBezTo>
                    <a:pt x="240" y="240"/>
                    <a:pt x="240" y="240"/>
                    <a:pt x="240" y="240"/>
                  </a:cubicBezTo>
                  <a:cubicBezTo>
                    <a:pt x="241" y="240"/>
                    <a:pt x="241" y="241"/>
                    <a:pt x="242" y="241"/>
                  </a:cubicBezTo>
                  <a:cubicBezTo>
                    <a:pt x="245" y="242"/>
                    <a:pt x="245" y="242"/>
                    <a:pt x="245" y="242"/>
                  </a:cubicBezTo>
                  <a:cubicBezTo>
                    <a:pt x="246" y="242"/>
                    <a:pt x="246" y="242"/>
                    <a:pt x="246" y="242"/>
                  </a:cubicBezTo>
                  <a:cubicBezTo>
                    <a:pt x="247" y="242"/>
                    <a:pt x="247" y="242"/>
                    <a:pt x="248" y="241"/>
                  </a:cubicBezTo>
                  <a:cubicBezTo>
                    <a:pt x="248" y="241"/>
                    <a:pt x="249" y="240"/>
                    <a:pt x="249" y="239"/>
                  </a:cubicBezTo>
                  <a:cubicBezTo>
                    <a:pt x="248" y="233"/>
                    <a:pt x="248" y="233"/>
                    <a:pt x="248" y="233"/>
                  </a:cubicBezTo>
                  <a:cubicBezTo>
                    <a:pt x="256" y="221"/>
                    <a:pt x="256" y="221"/>
                    <a:pt x="256" y="221"/>
                  </a:cubicBezTo>
                  <a:cubicBezTo>
                    <a:pt x="267" y="198"/>
                    <a:pt x="267" y="198"/>
                    <a:pt x="267" y="198"/>
                  </a:cubicBezTo>
                  <a:cubicBezTo>
                    <a:pt x="271" y="184"/>
                    <a:pt x="271" y="184"/>
                    <a:pt x="271" y="184"/>
                  </a:cubicBezTo>
                  <a:cubicBezTo>
                    <a:pt x="275" y="176"/>
                    <a:pt x="275" y="176"/>
                    <a:pt x="275" y="176"/>
                  </a:cubicBezTo>
                  <a:cubicBezTo>
                    <a:pt x="281" y="168"/>
                    <a:pt x="281" y="168"/>
                    <a:pt x="281" y="168"/>
                  </a:cubicBezTo>
                  <a:cubicBezTo>
                    <a:pt x="282" y="168"/>
                    <a:pt x="282" y="168"/>
                    <a:pt x="282" y="167"/>
                  </a:cubicBezTo>
                  <a:cubicBezTo>
                    <a:pt x="285" y="153"/>
                    <a:pt x="285" y="153"/>
                    <a:pt x="285" y="153"/>
                  </a:cubicBezTo>
                  <a:cubicBezTo>
                    <a:pt x="285" y="153"/>
                    <a:pt x="285" y="153"/>
                    <a:pt x="285" y="153"/>
                  </a:cubicBezTo>
                  <a:cubicBezTo>
                    <a:pt x="287" y="158"/>
                    <a:pt x="287" y="158"/>
                    <a:pt x="287" y="158"/>
                  </a:cubicBezTo>
                  <a:cubicBezTo>
                    <a:pt x="291" y="165"/>
                    <a:pt x="291" y="165"/>
                    <a:pt x="291" y="165"/>
                  </a:cubicBezTo>
                  <a:cubicBezTo>
                    <a:pt x="291" y="166"/>
                    <a:pt x="292" y="166"/>
                    <a:pt x="293" y="166"/>
                  </a:cubicBezTo>
                  <a:cubicBezTo>
                    <a:pt x="293" y="166"/>
                    <a:pt x="294" y="166"/>
                    <a:pt x="295" y="166"/>
                  </a:cubicBezTo>
                  <a:cubicBezTo>
                    <a:pt x="302" y="159"/>
                    <a:pt x="302" y="159"/>
                    <a:pt x="302" y="159"/>
                  </a:cubicBezTo>
                  <a:cubicBezTo>
                    <a:pt x="302" y="159"/>
                    <a:pt x="302" y="158"/>
                    <a:pt x="303" y="158"/>
                  </a:cubicBezTo>
                  <a:cubicBezTo>
                    <a:pt x="304" y="154"/>
                    <a:pt x="304" y="154"/>
                    <a:pt x="304" y="154"/>
                  </a:cubicBezTo>
                  <a:cubicBezTo>
                    <a:pt x="310" y="147"/>
                    <a:pt x="310" y="147"/>
                    <a:pt x="310" y="147"/>
                  </a:cubicBezTo>
                  <a:cubicBezTo>
                    <a:pt x="316" y="145"/>
                    <a:pt x="316" y="145"/>
                    <a:pt x="316" y="145"/>
                  </a:cubicBezTo>
                  <a:cubicBezTo>
                    <a:pt x="321" y="146"/>
                    <a:pt x="321" y="146"/>
                    <a:pt x="321" y="146"/>
                  </a:cubicBezTo>
                  <a:cubicBezTo>
                    <a:pt x="320" y="150"/>
                    <a:pt x="320" y="150"/>
                    <a:pt x="320" y="150"/>
                  </a:cubicBezTo>
                  <a:cubicBezTo>
                    <a:pt x="314" y="155"/>
                    <a:pt x="314" y="155"/>
                    <a:pt x="314" y="155"/>
                  </a:cubicBezTo>
                  <a:cubicBezTo>
                    <a:pt x="313" y="156"/>
                    <a:pt x="313" y="156"/>
                    <a:pt x="313" y="156"/>
                  </a:cubicBezTo>
                  <a:cubicBezTo>
                    <a:pt x="309" y="166"/>
                    <a:pt x="309" y="166"/>
                    <a:pt x="309" y="166"/>
                  </a:cubicBezTo>
                  <a:cubicBezTo>
                    <a:pt x="309" y="166"/>
                    <a:pt x="309" y="167"/>
                    <a:pt x="310" y="168"/>
                  </a:cubicBezTo>
                  <a:cubicBezTo>
                    <a:pt x="310" y="169"/>
                    <a:pt x="311" y="169"/>
                    <a:pt x="312" y="169"/>
                  </a:cubicBezTo>
                  <a:cubicBezTo>
                    <a:pt x="319" y="170"/>
                    <a:pt x="319" y="170"/>
                    <a:pt x="319" y="170"/>
                  </a:cubicBezTo>
                  <a:cubicBezTo>
                    <a:pt x="320" y="170"/>
                    <a:pt x="321" y="170"/>
                    <a:pt x="321" y="169"/>
                  </a:cubicBezTo>
                  <a:cubicBezTo>
                    <a:pt x="326" y="161"/>
                    <a:pt x="326" y="161"/>
                    <a:pt x="326" y="161"/>
                  </a:cubicBezTo>
                  <a:cubicBezTo>
                    <a:pt x="333" y="154"/>
                    <a:pt x="333" y="154"/>
                    <a:pt x="333" y="154"/>
                  </a:cubicBezTo>
                  <a:cubicBezTo>
                    <a:pt x="341" y="148"/>
                    <a:pt x="341" y="148"/>
                    <a:pt x="341" y="148"/>
                  </a:cubicBezTo>
                  <a:cubicBezTo>
                    <a:pt x="341" y="148"/>
                    <a:pt x="342" y="147"/>
                    <a:pt x="342" y="147"/>
                  </a:cubicBezTo>
                  <a:cubicBezTo>
                    <a:pt x="342" y="139"/>
                    <a:pt x="342" y="139"/>
                    <a:pt x="342" y="139"/>
                  </a:cubicBezTo>
                  <a:cubicBezTo>
                    <a:pt x="346" y="132"/>
                    <a:pt x="346" y="132"/>
                    <a:pt x="346" y="132"/>
                  </a:cubicBezTo>
                  <a:cubicBezTo>
                    <a:pt x="351" y="129"/>
                    <a:pt x="351" y="129"/>
                    <a:pt x="351" y="129"/>
                  </a:cubicBezTo>
                  <a:cubicBezTo>
                    <a:pt x="358" y="128"/>
                    <a:pt x="358" y="128"/>
                    <a:pt x="358" y="128"/>
                  </a:cubicBezTo>
                  <a:cubicBezTo>
                    <a:pt x="365" y="129"/>
                    <a:pt x="365" y="129"/>
                    <a:pt x="365" y="129"/>
                  </a:cubicBezTo>
                  <a:cubicBezTo>
                    <a:pt x="365" y="129"/>
                    <a:pt x="366" y="129"/>
                    <a:pt x="366" y="129"/>
                  </a:cubicBezTo>
                  <a:cubicBezTo>
                    <a:pt x="380" y="124"/>
                    <a:pt x="380" y="124"/>
                    <a:pt x="380" y="124"/>
                  </a:cubicBezTo>
                  <a:cubicBezTo>
                    <a:pt x="388" y="124"/>
                    <a:pt x="388" y="124"/>
                    <a:pt x="388" y="124"/>
                  </a:cubicBezTo>
                  <a:cubicBezTo>
                    <a:pt x="388" y="124"/>
                    <a:pt x="388" y="124"/>
                    <a:pt x="389" y="124"/>
                  </a:cubicBezTo>
                  <a:cubicBezTo>
                    <a:pt x="396" y="120"/>
                    <a:pt x="396" y="120"/>
                    <a:pt x="396" y="120"/>
                  </a:cubicBezTo>
                  <a:cubicBezTo>
                    <a:pt x="396" y="120"/>
                    <a:pt x="397" y="119"/>
                    <a:pt x="397" y="119"/>
                  </a:cubicBezTo>
                  <a:cubicBezTo>
                    <a:pt x="403" y="108"/>
                    <a:pt x="403" y="108"/>
                    <a:pt x="403" y="108"/>
                  </a:cubicBezTo>
                  <a:cubicBezTo>
                    <a:pt x="416" y="106"/>
                    <a:pt x="416" y="106"/>
                    <a:pt x="416" y="106"/>
                  </a:cubicBezTo>
                  <a:cubicBezTo>
                    <a:pt x="423" y="108"/>
                    <a:pt x="423" y="108"/>
                    <a:pt x="423" y="108"/>
                  </a:cubicBezTo>
                  <a:cubicBezTo>
                    <a:pt x="423" y="109"/>
                    <a:pt x="424" y="109"/>
                    <a:pt x="424" y="109"/>
                  </a:cubicBezTo>
                  <a:cubicBezTo>
                    <a:pt x="431" y="108"/>
                    <a:pt x="431" y="108"/>
                    <a:pt x="431" y="108"/>
                  </a:cubicBezTo>
                  <a:cubicBezTo>
                    <a:pt x="445" y="113"/>
                    <a:pt x="445" y="113"/>
                    <a:pt x="445" y="113"/>
                  </a:cubicBezTo>
                  <a:cubicBezTo>
                    <a:pt x="460" y="125"/>
                    <a:pt x="460" y="125"/>
                    <a:pt x="460" y="125"/>
                  </a:cubicBezTo>
                  <a:cubicBezTo>
                    <a:pt x="460" y="125"/>
                    <a:pt x="461" y="126"/>
                    <a:pt x="461" y="126"/>
                  </a:cubicBezTo>
                  <a:cubicBezTo>
                    <a:pt x="468" y="129"/>
                    <a:pt x="468" y="129"/>
                    <a:pt x="468" y="129"/>
                  </a:cubicBezTo>
                  <a:cubicBezTo>
                    <a:pt x="469" y="129"/>
                    <a:pt x="470" y="129"/>
                    <a:pt x="470" y="128"/>
                  </a:cubicBezTo>
                  <a:cubicBezTo>
                    <a:pt x="471" y="128"/>
                    <a:pt x="472" y="127"/>
                    <a:pt x="472" y="126"/>
                  </a:cubicBezTo>
                  <a:cubicBezTo>
                    <a:pt x="472" y="113"/>
                    <a:pt x="472" y="113"/>
                    <a:pt x="472" y="113"/>
                  </a:cubicBezTo>
                  <a:cubicBezTo>
                    <a:pt x="473" y="107"/>
                    <a:pt x="473" y="107"/>
                    <a:pt x="473" y="107"/>
                  </a:cubicBezTo>
                  <a:cubicBezTo>
                    <a:pt x="478" y="106"/>
                    <a:pt x="478" y="106"/>
                    <a:pt x="478" y="106"/>
                  </a:cubicBezTo>
                  <a:cubicBezTo>
                    <a:pt x="484" y="110"/>
                    <a:pt x="484" y="110"/>
                    <a:pt x="484" y="110"/>
                  </a:cubicBezTo>
                  <a:cubicBezTo>
                    <a:pt x="485" y="110"/>
                    <a:pt x="486" y="110"/>
                    <a:pt x="487" y="110"/>
                  </a:cubicBezTo>
                  <a:cubicBezTo>
                    <a:pt x="493" y="107"/>
                    <a:pt x="493" y="107"/>
                    <a:pt x="493" y="107"/>
                  </a:cubicBezTo>
                  <a:cubicBezTo>
                    <a:pt x="528" y="108"/>
                    <a:pt x="528" y="108"/>
                    <a:pt x="528" y="108"/>
                  </a:cubicBezTo>
                  <a:cubicBezTo>
                    <a:pt x="528" y="108"/>
                    <a:pt x="529" y="108"/>
                    <a:pt x="529" y="108"/>
                  </a:cubicBezTo>
                  <a:cubicBezTo>
                    <a:pt x="536" y="106"/>
                    <a:pt x="536" y="106"/>
                    <a:pt x="536" y="106"/>
                  </a:cubicBezTo>
                  <a:cubicBezTo>
                    <a:pt x="537" y="105"/>
                    <a:pt x="537" y="105"/>
                    <a:pt x="538" y="104"/>
                  </a:cubicBezTo>
                  <a:cubicBezTo>
                    <a:pt x="538" y="103"/>
                    <a:pt x="538" y="103"/>
                    <a:pt x="538" y="10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41">
              <a:extLst>
                <a:ext uri="{FF2B5EF4-FFF2-40B4-BE49-F238E27FC236}">
                  <a16:creationId xmlns:a16="http://schemas.microsoft.com/office/drawing/2014/main" id="{27C8C310-515E-43D8-8E3C-90474C0AD395}"/>
                </a:ext>
              </a:extLst>
            </p:cNvPr>
            <p:cNvSpPr>
              <a:spLocks/>
            </p:cNvSpPr>
            <p:nvPr/>
          </p:nvSpPr>
          <p:spPr bwMode="auto">
            <a:xfrm>
              <a:off x="6733565" y="2348629"/>
              <a:ext cx="67719" cy="59633"/>
            </a:xfrm>
            <a:custGeom>
              <a:avLst/>
              <a:gdLst>
                <a:gd name="T0" fmla="*/ 12 w 61"/>
                <a:gd name="T1" fmla="*/ 50 h 53"/>
                <a:gd name="T2" fmla="*/ 15 w 61"/>
                <a:gd name="T3" fmla="*/ 53 h 53"/>
                <a:gd name="T4" fmla="*/ 24 w 61"/>
                <a:gd name="T5" fmla="*/ 36 h 53"/>
                <a:gd name="T6" fmla="*/ 38 w 61"/>
                <a:gd name="T7" fmla="*/ 20 h 53"/>
                <a:gd name="T8" fmla="*/ 44 w 61"/>
                <a:gd name="T9" fmla="*/ 14 h 53"/>
                <a:gd name="T10" fmla="*/ 46 w 61"/>
                <a:gd name="T11" fmla="*/ 7 h 53"/>
                <a:gd name="T12" fmla="*/ 48 w 61"/>
                <a:gd name="T13" fmla="*/ 5 h 53"/>
                <a:gd name="T14" fmla="*/ 57 w 61"/>
                <a:gd name="T15" fmla="*/ 5 h 53"/>
                <a:gd name="T16" fmla="*/ 61 w 61"/>
                <a:gd name="T17" fmla="*/ 2 h 53"/>
                <a:gd name="T18" fmla="*/ 57 w 61"/>
                <a:gd name="T19" fmla="*/ 0 h 53"/>
                <a:gd name="T20" fmla="*/ 43 w 61"/>
                <a:gd name="T21" fmla="*/ 1 h 53"/>
                <a:gd name="T22" fmla="*/ 28 w 61"/>
                <a:gd name="T23" fmla="*/ 6 h 53"/>
                <a:gd name="T24" fmla="*/ 14 w 61"/>
                <a:gd name="T25" fmla="*/ 14 h 53"/>
                <a:gd name="T26" fmla="*/ 3 w 61"/>
                <a:gd name="T27" fmla="*/ 29 h 53"/>
                <a:gd name="T28" fmla="*/ 0 w 61"/>
                <a:gd name="T29" fmla="*/ 35 h 53"/>
                <a:gd name="T30" fmla="*/ 2 w 61"/>
                <a:gd name="T31" fmla="*/ 40 h 53"/>
                <a:gd name="T32" fmla="*/ 11 w 61"/>
                <a:gd name="T33" fmla="*/ 40 h 53"/>
                <a:gd name="T34" fmla="*/ 12 w 61"/>
                <a:gd name="T35" fmla="*/ 35 h 53"/>
                <a:gd name="T36" fmla="*/ 14 w 61"/>
                <a:gd name="T37" fmla="*/ 32 h 53"/>
                <a:gd name="T38" fmla="*/ 14 w 61"/>
                <a:gd name="T39" fmla="*/ 32 h 53"/>
                <a:gd name="T40" fmla="*/ 17 w 61"/>
                <a:gd name="T41" fmla="*/ 35 h 53"/>
                <a:gd name="T42" fmla="*/ 17 w 61"/>
                <a:gd name="T43" fmla="*/ 42 h 53"/>
                <a:gd name="T44" fmla="*/ 16 w 61"/>
                <a:gd name="T45" fmla="*/ 44 h 53"/>
                <a:gd name="T46" fmla="*/ 12 w 61"/>
                <a:gd name="T47" fmla="*/ 5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 h="53">
                  <a:moveTo>
                    <a:pt x="12" y="50"/>
                  </a:moveTo>
                  <a:cubicBezTo>
                    <a:pt x="15" y="53"/>
                    <a:pt x="15" y="53"/>
                    <a:pt x="15" y="53"/>
                  </a:cubicBezTo>
                  <a:cubicBezTo>
                    <a:pt x="24" y="36"/>
                    <a:pt x="24" y="36"/>
                    <a:pt x="24" y="36"/>
                  </a:cubicBezTo>
                  <a:cubicBezTo>
                    <a:pt x="38" y="20"/>
                    <a:pt x="38" y="20"/>
                    <a:pt x="38" y="20"/>
                  </a:cubicBezTo>
                  <a:cubicBezTo>
                    <a:pt x="44" y="14"/>
                    <a:pt x="44" y="14"/>
                    <a:pt x="44" y="14"/>
                  </a:cubicBezTo>
                  <a:cubicBezTo>
                    <a:pt x="46" y="7"/>
                    <a:pt x="46" y="7"/>
                    <a:pt x="46" y="7"/>
                  </a:cubicBezTo>
                  <a:cubicBezTo>
                    <a:pt x="46" y="6"/>
                    <a:pt x="47" y="5"/>
                    <a:pt x="48" y="5"/>
                  </a:cubicBezTo>
                  <a:cubicBezTo>
                    <a:pt x="57" y="5"/>
                    <a:pt x="57" y="5"/>
                    <a:pt x="57" y="5"/>
                  </a:cubicBezTo>
                  <a:cubicBezTo>
                    <a:pt x="61" y="2"/>
                    <a:pt x="61" y="2"/>
                    <a:pt x="61" y="2"/>
                  </a:cubicBezTo>
                  <a:cubicBezTo>
                    <a:pt x="57" y="0"/>
                    <a:pt x="57" y="0"/>
                    <a:pt x="57" y="0"/>
                  </a:cubicBezTo>
                  <a:cubicBezTo>
                    <a:pt x="43" y="1"/>
                    <a:pt x="43" y="1"/>
                    <a:pt x="43" y="1"/>
                  </a:cubicBezTo>
                  <a:cubicBezTo>
                    <a:pt x="28" y="6"/>
                    <a:pt x="28" y="6"/>
                    <a:pt x="28" y="6"/>
                  </a:cubicBezTo>
                  <a:cubicBezTo>
                    <a:pt x="14" y="14"/>
                    <a:pt x="14" y="14"/>
                    <a:pt x="14" y="14"/>
                  </a:cubicBezTo>
                  <a:cubicBezTo>
                    <a:pt x="3" y="29"/>
                    <a:pt x="3" y="29"/>
                    <a:pt x="3" y="29"/>
                  </a:cubicBezTo>
                  <a:cubicBezTo>
                    <a:pt x="0" y="35"/>
                    <a:pt x="0" y="35"/>
                    <a:pt x="0" y="35"/>
                  </a:cubicBezTo>
                  <a:cubicBezTo>
                    <a:pt x="2" y="40"/>
                    <a:pt x="2" y="40"/>
                    <a:pt x="2" y="40"/>
                  </a:cubicBezTo>
                  <a:cubicBezTo>
                    <a:pt x="11" y="40"/>
                    <a:pt x="11" y="40"/>
                    <a:pt x="11" y="40"/>
                  </a:cubicBezTo>
                  <a:cubicBezTo>
                    <a:pt x="12" y="35"/>
                    <a:pt x="12" y="35"/>
                    <a:pt x="12" y="35"/>
                  </a:cubicBezTo>
                  <a:cubicBezTo>
                    <a:pt x="12" y="33"/>
                    <a:pt x="13" y="32"/>
                    <a:pt x="14" y="32"/>
                  </a:cubicBezTo>
                  <a:cubicBezTo>
                    <a:pt x="14" y="32"/>
                    <a:pt x="14" y="32"/>
                    <a:pt x="14" y="32"/>
                  </a:cubicBezTo>
                  <a:cubicBezTo>
                    <a:pt x="16" y="33"/>
                    <a:pt x="17" y="34"/>
                    <a:pt x="17" y="35"/>
                  </a:cubicBezTo>
                  <a:cubicBezTo>
                    <a:pt x="17" y="42"/>
                    <a:pt x="17" y="42"/>
                    <a:pt x="17" y="42"/>
                  </a:cubicBezTo>
                  <a:cubicBezTo>
                    <a:pt x="17" y="43"/>
                    <a:pt x="17" y="43"/>
                    <a:pt x="16" y="44"/>
                  </a:cubicBezTo>
                  <a:lnTo>
                    <a:pt x="12" y="50"/>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42">
              <a:extLst>
                <a:ext uri="{FF2B5EF4-FFF2-40B4-BE49-F238E27FC236}">
                  <a16:creationId xmlns:a16="http://schemas.microsoft.com/office/drawing/2014/main" id="{450AFAF0-639A-4A1F-82EB-96A803D7AE06}"/>
                </a:ext>
              </a:extLst>
            </p:cNvPr>
            <p:cNvSpPr>
              <a:spLocks/>
            </p:cNvSpPr>
            <p:nvPr/>
          </p:nvSpPr>
          <p:spPr bwMode="auto">
            <a:xfrm>
              <a:off x="6725480" y="2345597"/>
              <a:ext cx="79847" cy="66708"/>
            </a:xfrm>
            <a:custGeom>
              <a:avLst/>
              <a:gdLst>
                <a:gd name="T0" fmla="*/ 59 w 79"/>
                <a:gd name="T1" fmla="*/ 20 h 66"/>
                <a:gd name="T2" fmla="*/ 60 w 79"/>
                <a:gd name="T3" fmla="*/ 12 h 66"/>
                <a:gd name="T4" fmla="*/ 71 w 79"/>
                <a:gd name="T5" fmla="*/ 12 h 66"/>
                <a:gd name="T6" fmla="*/ 79 w 79"/>
                <a:gd name="T7" fmla="*/ 5 h 66"/>
                <a:gd name="T8" fmla="*/ 71 w 79"/>
                <a:gd name="T9" fmla="*/ 0 h 66"/>
                <a:gd name="T10" fmla="*/ 55 w 79"/>
                <a:gd name="T11" fmla="*/ 1 h 66"/>
                <a:gd name="T12" fmla="*/ 36 w 79"/>
                <a:gd name="T13" fmla="*/ 7 h 66"/>
                <a:gd name="T14" fmla="*/ 21 w 79"/>
                <a:gd name="T15" fmla="*/ 18 h 66"/>
                <a:gd name="T16" fmla="*/ 9 w 79"/>
                <a:gd name="T17" fmla="*/ 34 h 66"/>
                <a:gd name="T18" fmla="*/ 0 w 79"/>
                <a:gd name="T19" fmla="*/ 42 h 66"/>
                <a:gd name="T20" fmla="*/ 8 w 79"/>
                <a:gd name="T21" fmla="*/ 51 h 66"/>
                <a:gd name="T22" fmla="*/ 16 w 79"/>
                <a:gd name="T23" fmla="*/ 51 h 66"/>
                <a:gd name="T24" fmla="*/ 20 w 79"/>
                <a:gd name="T25" fmla="*/ 49 h 66"/>
                <a:gd name="T26" fmla="*/ 23 w 79"/>
                <a:gd name="T27" fmla="*/ 49 h 66"/>
                <a:gd name="T28" fmla="*/ 16 w 79"/>
                <a:gd name="T29" fmla="*/ 58 h 66"/>
                <a:gd name="T30" fmla="*/ 25 w 79"/>
                <a:gd name="T31" fmla="*/ 66 h 66"/>
                <a:gd name="T32" fmla="*/ 36 w 79"/>
                <a:gd name="T33" fmla="*/ 44 h 66"/>
                <a:gd name="T34" fmla="*/ 50 w 79"/>
                <a:gd name="T35" fmla="*/ 27 h 66"/>
                <a:gd name="T36" fmla="*/ 59 w 79"/>
                <a:gd name="T37" fmla="*/ 20 h 66"/>
                <a:gd name="T38" fmla="*/ 59 w 79"/>
                <a:gd name="T39" fmla="*/ 2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9" h="66">
                  <a:moveTo>
                    <a:pt x="59" y="20"/>
                  </a:moveTo>
                  <a:lnTo>
                    <a:pt x="60" y="12"/>
                  </a:lnTo>
                  <a:lnTo>
                    <a:pt x="71" y="12"/>
                  </a:lnTo>
                  <a:lnTo>
                    <a:pt x="79" y="5"/>
                  </a:lnTo>
                  <a:lnTo>
                    <a:pt x="71" y="0"/>
                  </a:lnTo>
                  <a:lnTo>
                    <a:pt x="55" y="1"/>
                  </a:lnTo>
                  <a:lnTo>
                    <a:pt x="36" y="7"/>
                  </a:lnTo>
                  <a:lnTo>
                    <a:pt x="21" y="18"/>
                  </a:lnTo>
                  <a:lnTo>
                    <a:pt x="9" y="34"/>
                  </a:lnTo>
                  <a:lnTo>
                    <a:pt x="0" y="42"/>
                  </a:lnTo>
                  <a:lnTo>
                    <a:pt x="8" y="51"/>
                  </a:lnTo>
                  <a:lnTo>
                    <a:pt x="16" y="51"/>
                  </a:lnTo>
                  <a:lnTo>
                    <a:pt x="20" y="49"/>
                  </a:lnTo>
                  <a:lnTo>
                    <a:pt x="23" y="49"/>
                  </a:lnTo>
                  <a:lnTo>
                    <a:pt x="16" y="58"/>
                  </a:lnTo>
                  <a:lnTo>
                    <a:pt x="25" y="66"/>
                  </a:lnTo>
                  <a:lnTo>
                    <a:pt x="36" y="44"/>
                  </a:lnTo>
                  <a:lnTo>
                    <a:pt x="50" y="27"/>
                  </a:lnTo>
                  <a:lnTo>
                    <a:pt x="59" y="20"/>
                  </a:lnTo>
                  <a:lnTo>
                    <a:pt x="59" y="20"/>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43">
              <a:extLst>
                <a:ext uri="{FF2B5EF4-FFF2-40B4-BE49-F238E27FC236}">
                  <a16:creationId xmlns:a16="http://schemas.microsoft.com/office/drawing/2014/main" id="{A655B145-E651-453A-A697-278413D710C9}"/>
                </a:ext>
              </a:extLst>
            </p:cNvPr>
            <p:cNvSpPr>
              <a:spLocks noEditPoints="1"/>
            </p:cNvSpPr>
            <p:nvPr/>
          </p:nvSpPr>
          <p:spPr bwMode="auto">
            <a:xfrm>
              <a:off x="6957947" y="2528538"/>
              <a:ext cx="406312" cy="551857"/>
            </a:xfrm>
            <a:custGeom>
              <a:avLst/>
              <a:gdLst>
                <a:gd name="T0" fmla="*/ 363 w 366"/>
                <a:gd name="T1" fmla="*/ 296 h 496"/>
                <a:gd name="T2" fmla="*/ 350 w 366"/>
                <a:gd name="T3" fmla="*/ 266 h 496"/>
                <a:gd name="T4" fmla="*/ 342 w 366"/>
                <a:gd name="T5" fmla="*/ 242 h 496"/>
                <a:gd name="T6" fmla="*/ 323 w 366"/>
                <a:gd name="T7" fmla="*/ 193 h 496"/>
                <a:gd name="T8" fmla="*/ 297 w 366"/>
                <a:gd name="T9" fmla="*/ 181 h 496"/>
                <a:gd name="T10" fmla="*/ 275 w 366"/>
                <a:gd name="T11" fmla="*/ 196 h 496"/>
                <a:gd name="T12" fmla="*/ 263 w 366"/>
                <a:gd name="T13" fmla="*/ 210 h 496"/>
                <a:gd name="T14" fmla="*/ 253 w 366"/>
                <a:gd name="T15" fmla="*/ 230 h 496"/>
                <a:gd name="T16" fmla="*/ 239 w 366"/>
                <a:gd name="T17" fmla="*/ 240 h 496"/>
                <a:gd name="T18" fmla="*/ 225 w 366"/>
                <a:gd name="T19" fmla="*/ 208 h 496"/>
                <a:gd name="T20" fmla="*/ 248 w 366"/>
                <a:gd name="T21" fmla="*/ 189 h 496"/>
                <a:gd name="T22" fmla="*/ 257 w 366"/>
                <a:gd name="T23" fmla="*/ 163 h 496"/>
                <a:gd name="T24" fmla="*/ 263 w 366"/>
                <a:gd name="T25" fmla="*/ 115 h 496"/>
                <a:gd name="T26" fmla="*/ 255 w 366"/>
                <a:gd name="T27" fmla="*/ 91 h 496"/>
                <a:gd name="T28" fmla="*/ 252 w 366"/>
                <a:gd name="T29" fmla="*/ 72 h 496"/>
                <a:gd name="T30" fmla="*/ 249 w 366"/>
                <a:gd name="T31" fmla="*/ 58 h 496"/>
                <a:gd name="T32" fmla="*/ 233 w 366"/>
                <a:gd name="T33" fmla="*/ 38 h 496"/>
                <a:gd name="T34" fmla="*/ 201 w 366"/>
                <a:gd name="T35" fmla="*/ 30 h 496"/>
                <a:gd name="T36" fmla="*/ 179 w 366"/>
                <a:gd name="T37" fmla="*/ 24 h 496"/>
                <a:gd name="T38" fmla="*/ 160 w 366"/>
                <a:gd name="T39" fmla="*/ 10 h 496"/>
                <a:gd name="T40" fmla="*/ 139 w 366"/>
                <a:gd name="T41" fmla="*/ 6 h 496"/>
                <a:gd name="T42" fmla="*/ 123 w 366"/>
                <a:gd name="T43" fmla="*/ 0 h 496"/>
                <a:gd name="T44" fmla="*/ 108 w 366"/>
                <a:gd name="T45" fmla="*/ 10 h 496"/>
                <a:gd name="T46" fmla="*/ 95 w 366"/>
                <a:gd name="T47" fmla="*/ 27 h 496"/>
                <a:gd name="T48" fmla="*/ 106 w 366"/>
                <a:gd name="T49" fmla="*/ 49 h 496"/>
                <a:gd name="T50" fmla="*/ 90 w 366"/>
                <a:gd name="T51" fmla="*/ 56 h 496"/>
                <a:gd name="T52" fmla="*/ 80 w 366"/>
                <a:gd name="T53" fmla="*/ 95 h 496"/>
                <a:gd name="T54" fmla="*/ 76 w 366"/>
                <a:gd name="T55" fmla="*/ 101 h 496"/>
                <a:gd name="T56" fmla="*/ 66 w 366"/>
                <a:gd name="T57" fmla="*/ 106 h 496"/>
                <a:gd name="T58" fmla="*/ 68 w 366"/>
                <a:gd name="T59" fmla="*/ 96 h 496"/>
                <a:gd name="T60" fmla="*/ 54 w 366"/>
                <a:gd name="T61" fmla="*/ 90 h 496"/>
                <a:gd name="T62" fmla="*/ 48 w 366"/>
                <a:gd name="T63" fmla="*/ 104 h 496"/>
                <a:gd name="T64" fmla="*/ 36 w 366"/>
                <a:gd name="T65" fmla="*/ 108 h 496"/>
                <a:gd name="T66" fmla="*/ 21 w 366"/>
                <a:gd name="T67" fmla="*/ 136 h 496"/>
                <a:gd name="T68" fmla="*/ 15 w 366"/>
                <a:gd name="T69" fmla="*/ 154 h 496"/>
                <a:gd name="T70" fmla="*/ 16 w 366"/>
                <a:gd name="T71" fmla="*/ 176 h 496"/>
                <a:gd name="T72" fmla="*/ 1 w 366"/>
                <a:gd name="T73" fmla="*/ 215 h 496"/>
                <a:gd name="T74" fmla="*/ 5 w 366"/>
                <a:gd name="T75" fmla="*/ 232 h 496"/>
                <a:gd name="T76" fmla="*/ 2 w 366"/>
                <a:gd name="T77" fmla="*/ 269 h 496"/>
                <a:gd name="T78" fmla="*/ 28 w 366"/>
                <a:gd name="T79" fmla="*/ 318 h 496"/>
                <a:gd name="T80" fmla="*/ 42 w 366"/>
                <a:gd name="T81" fmla="*/ 396 h 496"/>
                <a:gd name="T82" fmla="*/ 21 w 366"/>
                <a:gd name="T83" fmla="*/ 468 h 496"/>
                <a:gd name="T84" fmla="*/ 3 w 366"/>
                <a:gd name="T85" fmla="*/ 491 h 496"/>
                <a:gd name="T86" fmla="*/ 8 w 366"/>
                <a:gd name="T87" fmla="*/ 496 h 496"/>
                <a:gd name="T88" fmla="*/ 181 w 366"/>
                <a:gd name="T89" fmla="*/ 483 h 496"/>
                <a:gd name="T90" fmla="*/ 302 w 366"/>
                <a:gd name="T91" fmla="*/ 446 h 496"/>
                <a:gd name="T92" fmla="*/ 318 w 366"/>
                <a:gd name="T93" fmla="*/ 394 h 496"/>
                <a:gd name="T94" fmla="*/ 325 w 366"/>
                <a:gd name="T95" fmla="*/ 386 h 496"/>
                <a:gd name="T96" fmla="*/ 335 w 366"/>
                <a:gd name="T97" fmla="*/ 359 h 496"/>
                <a:gd name="T98" fmla="*/ 341 w 366"/>
                <a:gd name="T99" fmla="*/ 346 h 496"/>
                <a:gd name="T100" fmla="*/ 349 w 366"/>
                <a:gd name="T101" fmla="*/ 356 h 496"/>
                <a:gd name="T102" fmla="*/ 364 w 366"/>
                <a:gd name="T103" fmla="*/ 329 h 496"/>
                <a:gd name="T104" fmla="*/ 364 w 366"/>
                <a:gd name="T105" fmla="*/ 307 h 496"/>
                <a:gd name="T106" fmla="*/ 66 w 366"/>
                <a:gd name="T107" fmla="*/ 122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6" h="496">
                  <a:moveTo>
                    <a:pt x="364" y="307"/>
                  </a:moveTo>
                  <a:cubicBezTo>
                    <a:pt x="365" y="307"/>
                    <a:pt x="365" y="306"/>
                    <a:pt x="366" y="305"/>
                  </a:cubicBezTo>
                  <a:cubicBezTo>
                    <a:pt x="366" y="303"/>
                    <a:pt x="366" y="299"/>
                    <a:pt x="364" y="297"/>
                  </a:cubicBezTo>
                  <a:cubicBezTo>
                    <a:pt x="364" y="296"/>
                    <a:pt x="363" y="296"/>
                    <a:pt x="363" y="296"/>
                  </a:cubicBezTo>
                  <a:cubicBezTo>
                    <a:pt x="361" y="295"/>
                    <a:pt x="359" y="290"/>
                    <a:pt x="358" y="288"/>
                  </a:cubicBezTo>
                  <a:cubicBezTo>
                    <a:pt x="358" y="287"/>
                    <a:pt x="357" y="286"/>
                    <a:pt x="357" y="285"/>
                  </a:cubicBezTo>
                  <a:cubicBezTo>
                    <a:pt x="356" y="283"/>
                    <a:pt x="354" y="279"/>
                    <a:pt x="353" y="277"/>
                  </a:cubicBezTo>
                  <a:cubicBezTo>
                    <a:pt x="352" y="274"/>
                    <a:pt x="351" y="270"/>
                    <a:pt x="350" y="266"/>
                  </a:cubicBezTo>
                  <a:cubicBezTo>
                    <a:pt x="350" y="264"/>
                    <a:pt x="349" y="262"/>
                    <a:pt x="349" y="261"/>
                  </a:cubicBezTo>
                  <a:cubicBezTo>
                    <a:pt x="349" y="260"/>
                    <a:pt x="348" y="259"/>
                    <a:pt x="348" y="257"/>
                  </a:cubicBezTo>
                  <a:cubicBezTo>
                    <a:pt x="347" y="253"/>
                    <a:pt x="346" y="248"/>
                    <a:pt x="345" y="246"/>
                  </a:cubicBezTo>
                  <a:cubicBezTo>
                    <a:pt x="344" y="244"/>
                    <a:pt x="343" y="243"/>
                    <a:pt x="342" y="242"/>
                  </a:cubicBezTo>
                  <a:cubicBezTo>
                    <a:pt x="341" y="240"/>
                    <a:pt x="341" y="239"/>
                    <a:pt x="340" y="238"/>
                  </a:cubicBezTo>
                  <a:cubicBezTo>
                    <a:pt x="339" y="235"/>
                    <a:pt x="338" y="229"/>
                    <a:pt x="336" y="224"/>
                  </a:cubicBezTo>
                  <a:cubicBezTo>
                    <a:pt x="335" y="218"/>
                    <a:pt x="334" y="212"/>
                    <a:pt x="332" y="209"/>
                  </a:cubicBezTo>
                  <a:cubicBezTo>
                    <a:pt x="331" y="204"/>
                    <a:pt x="326" y="197"/>
                    <a:pt x="323" y="193"/>
                  </a:cubicBezTo>
                  <a:cubicBezTo>
                    <a:pt x="322" y="191"/>
                    <a:pt x="318" y="187"/>
                    <a:pt x="316" y="185"/>
                  </a:cubicBezTo>
                  <a:cubicBezTo>
                    <a:pt x="314" y="184"/>
                    <a:pt x="309" y="183"/>
                    <a:pt x="308" y="182"/>
                  </a:cubicBezTo>
                  <a:cubicBezTo>
                    <a:pt x="306" y="182"/>
                    <a:pt x="300" y="181"/>
                    <a:pt x="299" y="181"/>
                  </a:cubicBezTo>
                  <a:cubicBezTo>
                    <a:pt x="299" y="180"/>
                    <a:pt x="298" y="181"/>
                    <a:pt x="297" y="181"/>
                  </a:cubicBezTo>
                  <a:cubicBezTo>
                    <a:pt x="295" y="183"/>
                    <a:pt x="289" y="188"/>
                    <a:pt x="286" y="190"/>
                  </a:cubicBezTo>
                  <a:cubicBezTo>
                    <a:pt x="286" y="190"/>
                    <a:pt x="284" y="190"/>
                    <a:pt x="283" y="191"/>
                  </a:cubicBezTo>
                  <a:cubicBezTo>
                    <a:pt x="282" y="191"/>
                    <a:pt x="280" y="192"/>
                    <a:pt x="279" y="192"/>
                  </a:cubicBezTo>
                  <a:cubicBezTo>
                    <a:pt x="278" y="193"/>
                    <a:pt x="276" y="195"/>
                    <a:pt x="275" y="196"/>
                  </a:cubicBezTo>
                  <a:cubicBezTo>
                    <a:pt x="273" y="198"/>
                    <a:pt x="272" y="199"/>
                    <a:pt x="271" y="200"/>
                  </a:cubicBezTo>
                  <a:cubicBezTo>
                    <a:pt x="271" y="200"/>
                    <a:pt x="270" y="200"/>
                    <a:pt x="269" y="200"/>
                  </a:cubicBezTo>
                  <a:cubicBezTo>
                    <a:pt x="267" y="201"/>
                    <a:pt x="264" y="201"/>
                    <a:pt x="263" y="204"/>
                  </a:cubicBezTo>
                  <a:cubicBezTo>
                    <a:pt x="262" y="205"/>
                    <a:pt x="263" y="208"/>
                    <a:pt x="263" y="210"/>
                  </a:cubicBezTo>
                  <a:cubicBezTo>
                    <a:pt x="264" y="210"/>
                    <a:pt x="264" y="211"/>
                    <a:pt x="264" y="212"/>
                  </a:cubicBezTo>
                  <a:cubicBezTo>
                    <a:pt x="264" y="215"/>
                    <a:pt x="262" y="221"/>
                    <a:pt x="261" y="224"/>
                  </a:cubicBezTo>
                  <a:cubicBezTo>
                    <a:pt x="260" y="224"/>
                    <a:pt x="257" y="227"/>
                    <a:pt x="254" y="229"/>
                  </a:cubicBezTo>
                  <a:cubicBezTo>
                    <a:pt x="254" y="229"/>
                    <a:pt x="254" y="229"/>
                    <a:pt x="253" y="230"/>
                  </a:cubicBezTo>
                  <a:cubicBezTo>
                    <a:pt x="250" y="236"/>
                    <a:pt x="250" y="236"/>
                    <a:pt x="250" y="236"/>
                  </a:cubicBezTo>
                  <a:cubicBezTo>
                    <a:pt x="245" y="243"/>
                    <a:pt x="245" y="243"/>
                    <a:pt x="245" y="243"/>
                  </a:cubicBezTo>
                  <a:cubicBezTo>
                    <a:pt x="240" y="241"/>
                    <a:pt x="240" y="241"/>
                    <a:pt x="240" y="241"/>
                  </a:cubicBezTo>
                  <a:cubicBezTo>
                    <a:pt x="240" y="241"/>
                    <a:pt x="240" y="240"/>
                    <a:pt x="239" y="240"/>
                  </a:cubicBezTo>
                  <a:cubicBezTo>
                    <a:pt x="232" y="240"/>
                    <a:pt x="232" y="240"/>
                    <a:pt x="232" y="240"/>
                  </a:cubicBezTo>
                  <a:cubicBezTo>
                    <a:pt x="224" y="232"/>
                    <a:pt x="224" y="232"/>
                    <a:pt x="224" y="232"/>
                  </a:cubicBezTo>
                  <a:cubicBezTo>
                    <a:pt x="224" y="222"/>
                    <a:pt x="224" y="222"/>
                    <a:pt x="224" y="222"/>
                  </a:cubicBezTo>
                  <a:cubicBezTo>
                    <a:pt x="225" y="208"/>
                    <a:pt x="225" y="208"/>
                    <a:pt x="225" y="208"/>
                  </a:cubicBezTo>
                  <a:cubicBezTo>
                    <a:pt x="231" y="203"/>
                    <a:pt x="231" y="203"/>
                    <a:pt x="231" y="203"/>
                  </a:cubicBezTo>
                  <a:cubicBezTo>
                    <a:pt x="239" y="202"/>
                    <a:pt x="239" y="202"/>
                    <a:pt x="239" y="202"/>
                  </a:cubicBezTo>
                  <a:cubicBezTo>
                    <a:pt x="240" y="202"/>
                    <a:pt x="240" y="202"/>
                    <a:pt x="241" y="201"/>
                  </a:cubicBezTo>
                  <a:cubicBezTo>
                    <a:pt x="248" y="189"/>
                    <a:pt x="248" y="189"/>
                    <a:pt x="248" y="189"/>
                  </a:cubicBezTo>
                  <a:cubicBezTo>
                    <a:pt x="248" y="189"/>
                    <a:pt x="248" y="189"/>
                    <a:pt x="248" y="188"/>
                  </a:cubicBezTo>
                  <a:cubicBezTo>
                    <a:pt x="249" y="174"/>
                    <a:pt x="249" y="174"/>
                    <a:pt x="249" y="174"/>
                  </a:cubicBezTo>
                  <a:cubicBezTo>
                    <a:pt x="251" y="167"/>
                    <a:pt x="251" y="167"/>
                    <a:pt x="251" y="167"/>
                  </a:cubicBezTo>
                  <a:cubicBezTo>
                    <a:pt x="257" y="163"/>
                    <a:pt x="257" y="163"/>
                    <a:pt x="257" y="163"/>
                  </a:cubicBezTo>
                  <a:cubicBezTo>
                    <a:pt x="265" y="156"/>
                    <a:pt x="265" y="156"/>
                    <a:pt x="265" y="156"/>
                  </a:cubicBezTo>
                  <a:cubicBezTo>
                    <a:pt x="265" y="155"/>
                    <a:pt x="266" y="155"/>
                    <a:pt x="265" y="154"/>
                  </a:cubicBezTo>
                  <a:cubicBezTo>
                    <a:pt x="263" y="131"/>
                    <a:pt x="263" y="131"/>
                    <a:pt x="263" y="131"/>
                  </a:cubicBezTo>
                  <a:cubicBezTo>
                    <a:pt x="263" y="115"/>
                    <a:pt x="263" y="115"/>
                    <a:pt x="263" y="115"/>
                  </a:cubicBezTo>
                  <a:cubicBezTo>
                    <a:pt x="263" y="115"/>
                    <a:pt x="263" y="115"/>
                    <a:pt x="263" y="115"/>
                  </a:cubicBezTo>
                  <a:cubicBezTo>
                    <a:pt x="259" y="99"/>
                    <a:pt x="259" y="99"/>
                    <a:pt x="259" y="99"/>
                  </a:cubicBezTo>
                  <a:cubicBezTo>
                    <a:pt x="256" y="92"/>
                    <a:pt x="256" y="92"/>
                    <a:pt x="256" y="92"/>
                  </a:cubicBezTo>
                  <a:cubicBezTo>
                    <a:pt x="256" y="91"/>
                    <a:pt x="255" y="91"/>
                    <a:pt x="255" y="91"/>
                  </a:cubicBezTo>
                  <a:cubicBezTo>
                    <a:pt x="247" y="86"/>
                    <a:pt x="247" y="86"/>
                    <a:pt x="247" y="86"/>
                  </a:cubicBezTo>
                  <a:cubicBezTo>
                    <a:pt x="244" y="80"/>
                    <a:pt x="244" y="80"/>
                    <a:pt x="244" y="80"/>
                  </a:cubicBezTo>
                  <a:cubicBezTo>
                    <a:pt x="246" y="73"/>
                    <a:pt x="246" y="73"/>
                    <a:pt x="246" y="73"/>
                  </a:cubicBezTo>
                  <a:cubicBezTo>
                    <a:pt x="252" y="72"/>
                    <a:pt x="252" y="72"/>
                    <a:pt x="252" y="72"/>
                  </a:cubicBezTo>
                  <a:cubicBezTo>
                    <a:pt x="253" y="72"/>
                    <a:pt x="254" y="71"/>
                    <a:pt x="254" y="70"/>
                  </a:cubicBezTo>
                  <a:cubicBezTo>
                    <a:pt x="254" y="63"/>
                    <a:pt x="254" y="63"/>
                    <a:pt x="254" y="63"/>
                  </a:cubicBezTo>
                  <a:cubicBezTo>
                    <a:pt x="254" y="62"/>
                    <a:pt x="253" y="61"/>
                    <a:pt x="253" y="61"/>
                  </a:cubicBezTo>
                  <a:cubicBezTo>
                    <a:pt x="249" y="58"/>
                    <a:pt x="249" y="58"/>
                    <a:pt x="249" y="58"/>
                  </a:cubicBezTo>
                  <a:cubicBezTo>
                    <a:pt x="244" y="51"/>
                    <a:pt x="244" y="51"/>
                    <a:pt x="244" y="51"/>
                  </a:cubicBezTo>
                  <a:cubicBezTo>
                    <a:pt x="242" y="45"/>
                    <a:pt x="242" y="45"/>
                    <a:pt x="242" y="45"/>
                  </a:cubicBezTo>
                  <a:cubicBezTo>
                    <a:pt x="241" y="44"/>
                    <a:pt x="241" y="44"/>
                    <a:pt x="240" y="43"/>
                  </a:cubicBezTo>
                  <a:cubicBezTo>
                    <a:pt x="233" y="38"/>
                    <a:pt x="233" y="38"/>
                    <a:pt x="233" y="38"/>
                  </a:cubicBezTo>
                  <a:cubicBezTo>
                    <a:pt x="232" y="38"/>
                    <a:pt x="232" y="38"/>
                    <a:pt x="231" y="38"/>
                  </a:cubicBezTo>
                  <a:cubicBezTo>
                    <a:pt x="225" y="38"/>
                    <a:pt x="225" y="38"/>
                    <a:pt x="225" y="38"/>
                  </a:cubicBezTo>
                  <a:cubicBezTo>
                    <a:pt x="217" y="34"/>
                    <a:pt x="217" y="34"/>
                    <a:pt x="217" y="34"/>
                  </a:cubicBezTo>
                  <a:cubicBezTo>
                    <a:pt x="201" y="30"/>
                    <a:pt x="201" y="30"/>
                    <a:pt x="201" y="30"/>
                  </a:cubicBezTo>
                  <a:cubicBezTo>
                    <a:pt x="194" y="26"/>
                    <a:pt x="194" y="26"/>
                    <a:pt x="194" y="26"/>
                  </a:cubicBezTo>
                  <a:cubicBezTo>
                    <a:pt x="194" y="26"/>
                    <a:pt x="193" y="26"/>
                    <a:pt x="193" y="26"/>
                  </a:cubicBezTo>
                  <a:cubicBezTo>
                    <a:pt x="185" y="26"/>
                    <a:pt x="185" y="26"/>
                    <a:pt x="185" y="26"/>
                  </a:cubicBezTo>
                  <a:cubicBezTo>
                    <a:pt x="179" y="24"/>
                    <a:pt x="179" y="24"/>
                    <a:pt x="179" y="24"/>
                  </a:cubicBezTo>
                  <a:cubicBezTo>
                    <a:pt x="176" y="18"/>
                    <a:pt x="176" y="18"/>
                    <a:pt x="176" y="18"/>
                  </a:cubicBezTo>
                  <a:cubicBezTo>
                    <a:pt x="175" y="18"/>
                    <a:pt x="175" y="17"/>
                    <a:pt x="175" y="17"/>
                  </a:cubicBezTo>
                  <a:cubicBezTo>
                    <a:pt x="167" y="13"/>
                    <a:pt x="167" y="13"/>
                    <a:pt x="167" y="13"/>
                  </a:cubicBezTo>
                  <a:cubicBezTo>
                    <a:pt x="160" y="10"/>
                    <a:pt x="160" y="10"/>
                    <a:pt x="160" y="10"/>
                  </a:cubicBezTo>
                  <a:cubicBezTo>
                    <a:pt x="159" y="10"/>
                    <a:pt x="159" y="10"/>
                    <a:pt x="159" y="10"/>
                  </a:cubicBezTo>
                  <a:cubicBezTo>
                    <a:pt x="153" y="12"/>
                    <a:pt x="153" y="12"/>
                    <a:pt x="153" y="12"/>
                  </a:cubicBezTo>
                  <a:cubicBezTo>
                    <a:pt x="146" y="12"/>
                    <a:pt x="146" y="12"/>
                    <a:pt x="146" y="12"/>
                  </a:cubicBezTo>
                  <a:cubicBezTo>
                    <a:pt x="145" y="10"/>
                    <a:pt x="141" y="7"/>
                    <a:pt x="139" y="6"/>
                  </a:cubicBezTo>
                  <a:cubicBezTo>
                    <a:pt x="138" y="6"/>
                    <a:pt x="136" y="5"/>
                    <a:pt x="135" y="5"/>
                  </a:cubicBezTo>
                  <a:cubicBezTo>
                    <a:pt x="134" y="5"/>
                    <a:pt x="133" y="4"/>
                    <a:pt x="132" y="4"/>
                  </a:cubicBezTo>
                  <a:cubicBezTo>
                    <a:pt x="131" y="4"/>
                    <a:pt x="130" y="3"/>
                    <a:pt x="130" y="3"/>
                  </a:cubicBezTo>
                  <a:cubicBezTo>
                    <a:pt x="128" y="1"/>
                    <a:pt x="125" y="0"/>
                    <a:pt x="123" y="0"/>
                  </a:cubicBezTo>
                  <a:cubicBezTo>
                    <a:pt x="120" y="0"/>
                    <a:pt x="119" y="2"/>
                    <a:pt x="117" y="4"/>
                  </a:cubicBezTo>
                  <a:cubicBezTo>
                    <a:pt x="116" y="5"/>
                    <a:pt x="116" y="5"/>
                    <a:pt x="115" y="6"/>
                  </a:cubicBezTo>
                  <a:cubicBezTo>
                    <a:pt x="115" y="6"/>
                    <a:pt x="114" y="7"/>
                    <a:pt x="113" y="7"/>
                  </a:cubicBezTo>
                  <a:cubicBezTo>
                    <a:pt x="111" y="8"/>
                    <a:pt x="109" y="8"/>
                    <a:pt x="108" y="10"/>
                  </a:cubicBezTo>
                  <a:cubicBezTo>
                    <a:pt x="106" y="11"/>
                    <a:pt x="105" y="13"/>
                    <a:pt x="104" y="15"/>
                  </a:cubicBezTo>
                  <a:cubicBezTo>
                    <a:pt x="104" y="16"/>
                    <a:pt x="103" y="17"/>
                    <a:pt x="103" y="18"/>
                  </a:cubicBezTo>
                  <a:cubicBezTo>
                    <a:pt x="102" y="19"/>
                    <a:pt x="101" y="20"/>
                    <a:pt x="100" y="21"/>
                  </a:cubicBezTo>
                  <a:cubicBezTo>
                    <a:pt x="98" y="23"/>
                    <a:pt x="96" y="25"/>
                    <a:pt x="95" y="27"/>
                  </a:cubicBezTo>
                  <a:cubicBezTo>
                    <a:pt x="94" y="30"/>
                    <a:pt x="95" y="35"/>
                    <a:pt x="95" y="36"/>
                  </a:cubicBezTo>
                  <a:cubicBezTo>
                    <a:pt x="96" y="38"/>
                    <a:pt x="98" y="43"/>
                    <a:pt x="100" y="45"/>
                  </a:cubicBezTo>
                  <a:cubicBezTo>
                    <a:pt x="101" y="46"/>
                    <a:pt x="102" y="47"/>
                    <a:pt x="104" y="47"/>
                  </a:cubicBezTo>
                  <a:cubicBezTo>
                    <a:pt x="105" y="48"/>
                    <a:pt x="106" y="48"/>
                    <a:pt x="106" y="49"/>
                  </a:cubicBezTo>
                  <a:cubicBezTo>
                    <a:pt x="107" y="50"/>
                    <a:pt x="107" y="51"/>
                    <a:pt x="107" y="52"/>
                  </a:cubicBezTo>
                  <a:cubicBezTo>
                    <a:pt x="106" y="52"/>
                    <a:pt x="105" y="52"/>
                    <a:pt x="104" y="52"/>
                  </a:cubicBezTo>
                  <a:cubicBezTo>
                    <a:pt x="102" y="51"/>
                    <a:pt x="100" y="51"/>
                    <a:pt x="99" y="52"/>
                  </a:cubicBezTo>
                  <a:cubicBezTo>
                    <a:pt x="97" y="52"/>
                    <a:pt x="94" y="54"/>
                    <a:pt x="90" y="56"/>
                  </a:cubicBezTo>
                  <a:cubicBezTo>
                    <a:pt x="88" y="58"/>
                    <a:pt x="84" y="61"/>
                    <a:pt x="82" y="62"/>
                  </a:cubicBezTo>
                  <a:cubicBezTo>
                    <a:pt x="81" y="63"/>
                    <a:pt x="77" y="68"/>
                    <a:pt x="77" y="71"/>
                  </a:cubicBezTo>
                  <a:cubicBezTo>
                    <a:pt x="76" y="75"/>
                    <a:pt x="77" y="81"/>
                    <a:pt x="79" y="87"/>
                  </a:cubicBezTo>
                  <a:cubicBezTo>
                    <a:pt x="79" y="90"/>
                    <a:pt x="80" y="93"/>
                    <a:pt x="80" y="95"/>
                  </a:cubicBezTo>
                  <a:cubicBezTo>
                    <a:pt x="80" y="97"/>
                    <a:pt x="80" y="101"/>
                    <a:pt x="80" y="103"/>
                  </a:cubicBezTo>
                  <a:cubicBezTo>
                    <a:pt x="80" y="104"/>
                    <a:pt x="79" y="108"/>
                    <a:pt x="79" y="110"/>
                  </a:cubicBezTo>
                  <a:cubicBezTo>
                    <a:pt x="78" y="111"/>
                    <a:pt x="78" y="111"/>
                    <a:pt x="78" y="111"/>
                  </a:cubicBezTo>
                  <a:cubicBezTo>
                    <a:pt x="79" y="107"/>
                    <a:pt x="79" y="103"/>
                    <a:pt x="76" y="101"/>
                  </a:cubicBezTo>
                  <a:cubicBezTo>
                    <a:pt x="76" y="101"/>
                    <a:pt x="75" y="100"/>
                    <a:pt x="74" y="100"/>
                  </a:cubicBezTo>
                  <a:cubicBezTo>
                    <a:pt x="73" y="100"/>
                    <a:pt x="71" y="101"/>
                    <a:pt x="70" y="102"/>
                  </a:cubicBezTo>
                  <a:cubicBezTo>
                    <a:pt x="68" y="104"/>
                    <a:pt x="68" y="106"/>
                    <a:pt x="68" y="109"/>
                  </a:cubicBezTo>
                  <a:cubicBezTo>
                    <a:pt x="67" y="108"/>
                    <a:pt x="67" y="107"/>
                    <a:pt x="66" y="106"/>
                  </a:cubicBezTo>
                  <a:cubicBezTo>
                    <a:pt x="66" y="105"/>
                    <a:pt x="65" y="104"/>
                    <a:pt x="65" y="104"/>
                  </a:cubicBezTo>
                  <a:cubicBezTo>
                    <a:pt x="65" y="103"/>
                    <a:pt x="66" y="102"/>
                    <a:pt x="66" y="102"/>
                  </a:cubicBezTo>
                  <a:cubicBezTo>
                    <a:pt x="66" y="101"/>
                    <a:pt x="67" y="100"/>
                    <a:pt x="67" y="99"/>
                  </a:cubicBezTo>
                  <a:cubicBezTo>
                    <a:pt x="67" y="98"/>
                    <a:pt x="68" y="97"/>
                    <a:pt x="68" y="96"/>
                  </a:cubicBezTo>
                  <a:cubicBezTo>
                    <a:pt x="71" y="88"/>
                    <a:pt x="74" y="79"/>
                    <a:pt x="68" y="76"/>
                  </a:cubicBezTo>
                  <a:cubicBezTo>
                    <a:pt x="65" y="74"/>
                    <a:pt x="62" y="76"/>
                    <a:pt x="58" y="82"/>
                  </a:cubicBezTo>
                  <a:cubicBezTo>
                    <a:pt x="57" y="83"/>
                    <a:pt x="56" y="85"/>
                    <a:pt x="55" y="87"/>
                  </a:cubicBezTo>
                  <a:cubicBezTo>
                    <a:pt x="55" y="88"/>
                    <a:pt x="55" y="89"/>
                    <a:pt x="54" y="90"/>
                  </a:cubicBezTo>
                  <a:cubicBezTo>
                    <a:pt x="54" y="90"/>
                    <a:pt x="53" y="91"/>
                    <a:pt x="53" y="92"/>
                  </a:cubicBezTo>
                  <a:cubicBezTo>
                    <a:pt x="51" y="94"/>
                    <a:pt x="50" y="96"/>
                    <a:pt x="49" y="97"/>
                  </a:cubicBezTo>
                  <a:cubicBezTo>
                    <a:pt x="49" y="98"/>
                    <a:pt x="49" y="100"/>
                    <a:pt x="48" y="101"/>
                  </a:cubicBezTo>
                  <a:cubicBezTo>
                    <a:pt x="48" y="102"/>
                    <a:pt x="48" y="104"/>
                    <a:pt x="48" y="104"/>
                  </a:cubicBezTo>
                  <a:cubicBezTo>
                    <a:pt x="47" y="107"/>
                    <a:pt x="44" y="110"/>
                    <a:pt x="44" y="110"/>
                  </a:cubicBezTo>
                  <a:cubicBezTo>
                    <a:pt x="44" y="110"/>
                    <a:pt x="43" y="109"/>
                    <a:pt x="42" y="109"/>
                  </a:cubicBezTo>
                  <a:cubicBezTo>
                    <a:pt x="41" y="108"/>
                    <a:pt x="39" y="108"/>
                    <a:pt x="38" y="108"/>
                  </a:cubicBezTo>
                  <a:cubicBezTo>
                    <a:pt x="37" y="108"/>
                    <a:pt x="37" y="108"/>
                    <a:pt x="36" y="108"/>
                  </a:cubicBezTo>
                  <a:cubicBezTo>
                    <a:pt x="31" y="110"/>
                    <a:pt x="26" y="120"/>
                    <a:pt x="25" y="123"/>
                  </a:cubicBezTo>
                  <a:cubicBezTo>
                    <a:pt x="25" y="125"/>
                    <a:pt x="25" y="126"/>
                    <a:pt x="26" y="128"/>
                  </a:cubicBezTo>
                  <a:cubicBezTo>
                    <a:pt x="26" y="129"/>
                    <a:pt x="26" y="130"/>
                    <a:pt x="26" y="130"/>
                  </a:cubicBezTo>
                  <a:cubicBezTo>
                    <a:pt x="26" y="132"/>
                    <a:pt x="23" y="134"/>
                    <a:pt x="21" y="136"/>
                  </a:cubicBezTo>
                  <a:cubicBezTo>
                    <a:pt x="20" y="137"/>
                    <a:pt x="20" y="137"/>
                    <a:pt x="20" y="137"/>
                  </a:cubicBezTo>
                  <a:cubicBezTo>
                    <a:pt x="20" y="137"/>
                    <a:pt x="19" y="138"/>
                    <a:pt x="18" y="138"/>
                  </a:cubicBezTo>
                  <a:cubicBezTo>
                    <a:pt x="16" y="140"/>
                    <a:pt x="13" y="141"/>
                    <a:pt x="12" y="143"/>
                  </a:cubicBezTo>
                  <a:cubicBezTo>
                    <a:pt x="12" y="146"/>
                    <a:pt x="13" y="150"/>
                    <a:pt x="15" y="154"/>
                  </a:cubicBezTo>
                  <a:cubicBezTo>
                    <a:pt x="16" y="156"/>
                    <a:pt x="17" y="158"/>
                    <a:pt x="17" y="159"/>
                  </a:cubicBezTo>
                  <a:cubicBezTo>
                    <a:pt x="17" y="160"/>
                    <a:pt x="16" y="163"/>
                    <a:pt x="16" y="165"/>
                  </a:cubicBezTo>
                  <a:cubicBezTo>
                    <a:pt x="16" y="167"/>
                    <a:pt x="15" y="170"/>
                    <a:pt x="15" y="172"/>
                  </a:cubicBezTo>
                  <a:cubicBezTo>
                    <a:pt x="15" y="173"/>
                    <a:pt x="16" y="174"/>
                    <a:pt x="16" y="176"/>
                  </a:cubicBezTo>
                  <a:cubicBezTo>
                    <a:pt x="16" y="177"/>
                    <a:pt x="17" y="178"/>
                    <a:pt x="17" y="179"/>
                  </a:cubicBezTo>
                  <a:cubicBezTo>
                    <a:pt x="17" y="181"/>
                    <a:pt x="16" y="184"/>
                    <a:pt x="16" y="186"/>
                  </a:cubicBezTo>
                  <a:cubicBezTo>
                    <a:pt x="15" y="191"/>
                    <a:pt x="9" y="205"/>
                    <a:pt x="8" y="208"/>
                  </a:cubicBezTo>
                  <a:cubicBezTo>
                    <a:pt x="1" y="215"/>
                    <a:pt x="1" y="215"/>
                    <a:pt x="1" y="215"/>
                  </a:cubicBezTo>
                  <a:cubicBezTo>
                    <a:pt x="1" y="216"/>
                    <a:pt x="1" y="216"/>
                    <a:pt x="1" y="217"/>
                  </a:cubicBezTo>
                  <a:cubicBezTo>
                    <a:pt x="0" y="224"/>
                    <a:pt x="0" y="224"/>
                    <a:pt x="0" y="224"/>
                  </a:cubicBezTo>
                  <a:cubicBezTo>
                    <a:pt x="0" y="224"/>
                    <a:pt x="0" y="225"/>
                    <a:pt x="0" y="225"/>
                  </a:cubicBezTo>
                  <a:cubicBezTo>
                    <a:pt x="5" y="232"/>
                    <a:pt x="5" y="232"/>
                    <a:pt x="5" y="232"/>
                  </a:cubicBezTo>
                  <a:cubicBezTo>
                    <a:pt x="7" y="239"/>
                    <a:pt x="11" y="250"/>
                    <a:pt x="10" y="253"/>
                  </a:cubicBezTo>
                  <a:cubicBezTo>
                    <a:pt x="10" y="254"/>
                    <a:pt x="9" y="256"/>
                    <a:pt x="8" y="257"/>
                  </a:cubicBezTo>
                  <a:cubicBezTo>
                    <a:pt x="7" y="258"/>
                    <a:pt x="6" y="260"/>
                    <a:pt x="5" y="261"/>
                  </a:cubicBezTo>
                  <a:cubicBezTo>
                    <a:pt x="4" y="263"/>
                    <a:pt x="2" y="266"/>
                    <a:pt x="2" y="269"/>
                  </a:cubicBezTo>
                  <a:cubicBezTo>
                    <a:pt x="2" y="272"/>
                    <a:pt x="4" y="277"/>
                    <a:pt x="4" y="277"/>
                  </a:cubicBezTo>
                  <a:cubicBezTo>
                    <a:pt x="4" y="279"/>
                    <a:pt x="5" y="280"/>
                    <a:pt x="6" y="283"/>
                  </a:cubicBezTo>
                  <a:cubicBezTo>
                    <a:pt x="10" y="295"/>
                    <a:pt x="16" y="314"/>
                    <a:pt x="26" y="318"/>
                  </a:cubicBezTo>
                  <a:cubicBezTo>
                    <a:pt x="27" y="318"/>
                    <a:pt x="28" y="318"/>
                    <a:pt x="28" y="318"/>
                  </a:cubicBezTo>
                  <a:cubicBezTo>
                    <a:pt x="28" y="319"/>
                    <a:pt x="28" y="319"/>
                    <a:pt x="27" y="320"/>
                  </a:cubicBezTo>
                  <a:cubicBezTo>
                    <a:pt x="27" y="326"/>
                    <a:pt x="35" y="340"/>
                    <a:pt x="38" y="344"/>
                  </a:cubicBezTo>
                  <a:cubicBezTo>
                    <a:pt x="38" y="347"/>
                    <a:pt x="41" y="367"/>
                    <a:pt x="42" y="374"/>
                  </a:cubicBezTo>
                  <a:cubicBezTo>
                    <a:pt x="42" y="379"/>
                    <a:pt x="42" y="390"/>
                    <a:pt x="42" y="396"/>
                  </a:cubicBezTo>
                  <a:cubicBezTo>
                    <a:pt x="41" y="402"/>
                    <a:pt x="39" y="416"/>
                    <a:pt x="38" y="423"/>
                  </a:cubicBezTo>
                  <a:cubicBezTo>
                    <a:pt x="37" y="424"/>
                    <a:pt x="36" y="428"/>
                    <a:pt x="35" y="430"/>
                  </a:cubicBezTo>
                  <a:cubicBezTo>
                    <a:pt x="33" y="434"/>
                    <a:pt x="27" y="445"/>
                    <a:pt x="27" y="446"/>
                  </a:cubicBezTo>
                  <a:cubicBezTo>
                    <a:pt x="21" y="468"/>
                    <a:pt x="21" y="468"/>
                    <a:pt x="21" y="468"/>
                  </a:cubicBezTo>
                  <a:cubicBezTo>
                    <a:pt x="17" y="475"/>
                    <a:pt x="17" y="475"/>
                    <a:pt x="17" y="475"/>
                  </a:cubicBezTo>
                  <a:cubicBezTo>
                    <a:pt x="12" y="482"/>
                    <a:pt x="12" y="482"/>
                    <a:pt x="12" y="482"/>
                  </a:cubicBezTo>
                  <a:cubicBezTo>
                    <a:pt x="5" y="489"/>
                    <a:pt x="5" y="489"/>
                    <a:pt x="5" y="489"/>
                  </a:cubicBezTo>
                  <a:cubicBezTo>
                    <a:pt x="3" y="491"/>
                    <a:pt x="3" y="491"/>
                    <a:pt x="3" y="491"/>
                  </a:cubicBezTo>
                  <a:cubicBezTo>
                    <a:pt x="2" y="492"/>
                    <a:pt x="1" y="493"/>
                    <a:pt x="2" y="494"/>
                  </a:cubicBezTo>
                  <a:cubicBezTo>
                    <a:pt x="2" y="495"/>
                    <a:pt x="3" y="496"/>
                    <a:pt x="4" y="496"/>
                  </a:cubicBezTo>
                  <a:cubicBezTo>
                    <a:pt x="8" y="496"/>
                    <a:pt x="8" y="496"/>
                    <a:pt x="8" y="496"/>
                  </a:cubicBezTo>
                  <a:cubicBezTo>
                    <a:pt x="8" y="496"/>
                    <a:pt x="8" y="496"/>
                    <a:pt x="8" y="496"/>
                  </a:cubicBezTo>
                  <a:cubicBezTo>
                    <a:pt x="50" y="491"/>
                    <a:pt x="50" y="491"/>
                    <a:pt x="50" y="491"/>
                  </a:cubicBezTo>
                  <a:cubicBezTo>
                    <a:pt x="171" y="476"/>
                    <a:pt x="171" y="476"/>
                    <a:pt x="171" y="476"/>
                  </a:cubicBezTo>
                  <a:cubicBezTo>
                    <a:pt x="179" y="482"/>
                    <a:pt x="179" y="482"/>
                    <a:pt x="179" y="482"/>
                  </a:cubicBezTo>
                  <a:cubicBezTo>
                    <a:pt x="180" y="483"/>
                    <a:pt x="180" y="483"/>
                    <a:pt x="181" y="483"/>
                  </a:cubicBezTo>
                  <a:cubicBezTo>
                    <a:pt x="260" y="470"/>
                    <a:pt x="260" y="470"/>
                    <a:pt x="260" y="470"/>
                  </a:cubicBezTo>
                  <a:cubicBezTo>
                    <a:pt x="295" y="462"/>
                    <a:pt x="295" y="462"/>
                    <a:pt x="295" y="462"/>
                  </a:cubicBezTo>
                  <a:cubicBezTo>
                    <a:pt x="296" y="462"/>
                    <a:pt x="297" y="462"/>
                    <a:pt x="297" y="461"/>
                  </a:cubicBezTo>
                  <a:cubicBezTo>
                    <a:pt x="302" y="446"/>
                    <a:pt x="302" y="446"/>
                    <a:pt x="302" y="446"/>
                  </a:cubicBezTo>
                  <a:cubicBezTo>
                    <a:pt x="315" y="424"/>
                    <a:pt x="315" y="424"/>
                    <a:pt x="315" y="424"/>
                  </a:cubicBezTo>
                  <a:cubicBezTo>
                    <a:pt x="315" y="423"/>
                    <a:pt x="315" y="423"/>
                    <a:pt x="315" y="422"/>
                  </a:cubicBezTo>
                  <a:cubicBezTo>
                    <a:pt x="315" y="422"/>
                    <a:pt x="315" y="406"/>
                    <a:pt x="316" y="401"/>
                  </a:cubicBezTo>
                  <a:cubicBezTo>
                    <a:pt x="316" y="399"/>
                    <a:pt x="317" y="396"/>
                    <a:pt x="318" y="394"/>
                  </a:cubicBezTo>
                  <a:cubicBezTo>
                    <a:pt x="318" y="393"/>
                    <a:pt x="319" y="393"/>
                    <a:pt x="319" y="392"/>
                  </a:cubicBezTo>
                  <a:cubicBezTo>
                    <a:pt x="319" y="391"/>
                    <a:pt x="320" y="391"/>
                    <a:pt x="320" y="391"/>
                  </a:cubicBezTo>
                  <a:cubicBezTo>
                    <a:pt x="320" y="390"/>
                    <a:pt x="320" y="390"/>
                    <a:pt x="320" y="389"/>
                  </a:cubicBezTo>
                  <a:cubicBezTo>
                    <a:pt x="321" y="389"/>
                    <a:pt x="323" y="387"/>
                    <a:pt x="325" y="386"/>
                  </a:cubicBezTo>
                  <a:cubicBezTo>
                    <a:pt x="326" y="385"/>
                    <a:pt x="328" y="384"/>
                    <a:pt x="329" y="383"/>
                  </a:cubicBezTo>
                  <a:cubicBezTo>
                    <a:pt x="332" y="381"/>
                    <a:pt x="335" y="378"/>
                    <a:pt x="335" y="375"/>
                  </a:cubicBezTo>
                  <a:cubicBezTo>
                    <a:pt x="336" y="372"/>
                    <a:pt x="335" y="369"/>
                    <a:pt x="335" y="366"/>
                  </a:cubicBezTo>
                  <a:cubicBezTo>
                    <a:pt x="335" y="363"/>
                    <a:pt x="334" y="360"/>
                    <a:pt x="335" y="359"/>
                  </a:cubicBezTo>
                  <a:cubicBezTo>
                    <a:pt x="335" y="358"/>
                    <a:pt x="336" y="357"/>
                    <a:pt x="337" y="356"/>
                  </a:cubicBezTo>
                  <a:cubicBezTo>
                    <a:pt x="338" y="355"/>
                    <a:pt x="339" y="353"/>
                    <a:pt x="340" y="352"/>
                  </a:cubicBezTo>
                  <a:cubicBezTo>
                    <a:pt x="340" y="351"/>
                    <a:pt x="340" y="350"/>
                    <a:pt x="340" y="349"/>
                  </a:cubicBezTo>
                  <a:cubicBezTo>
                    <a:pt x="340" y="348"/>
                    <a:pt x="340" y="346"/>
                    <a:pt x="341" y="346"/>
                  </a:cubicBezTo>
                  <a:cubicBezTo>
                    <a:pt x="342" y="345"/>
                    <a:pt x="345" y="343"/>
                    <a:pt x="346" y="343"/>
                  </a:cubicBezTo>
                  <a:cubicBezTo>
                    <a:pt x="346" y="343"/>
                    <a:pt x="347" y="345"/>
                    <a:pt x="348" y="346"/>
                  </a:cubicBezTo>
                  <a:cubicBezTo>
                    <a:pt x="350" y="350"/>
                    <a:pt x="350" y="352"/>
                    <a:pt x="350" y="352"/>
                  </a:cubicBezTo>
                  <a:cubicBezTo>
                    <a:pt x="348" y="354"/>
                    <a:pt x="348" y="355"/>
                    <a:pt x="349" y="356"/>
                  </a:cubicBezTo>
                  <a:cubicBezTo>
                    <a:pt x="350" y="357"/>
                    <a:pt x="351" y="357"/>
                    <a:pt x="352" y="357"/>
                  </a:cubicBezTo>
                  <a:cubicBezTo>
                    <a:pt x="354" y="357"/>
                    <a:pt x="357" y="355"/>
                    <a:pt x="358" y="354"/>
                  </a:cubicBezTo>
                  <a:cubicBezTo>
                    <a:pt x="360" y="353"/>
                    <a:pt x="362" y="348"/>
                    <a:pt x="363" y="346"/>
                  </a:cubicBezTo>
                  <a:cubicBezTo>
                    <a:pt x="364" y="342"/>
                    <a:pt x="365" y="333"/>
                    <a:pt x="364" y="329"/>
                  </a:cubicBezTo>
                  <a:cubicBezTo>
                    <a:pt x="364" y="328"/>
                    <a:pt x="364" y="327"/>
                    <a:pt x="363" y="325"/>
                  </a:cubicBezTo>
                  <a:cubicBezTo>
                    <a:pt x="363" y="324"/>
                    <a:pt x="362" y="323"/>
                    <a:pt x="362" y="322"/>
                  </a:cubicBezTo>
                  <a:cubicBezTo>
                    <a:pt x="362" y="318"/>
                    <a:pt x="362" y="311"/>
                    <a:pt x="363" y="308"/>
                  </a:cubicBezTo>
                  <a:cubicBezTo>
                    <a:pt x="363" y="308"/>
                    <a:pt x="364" y="308"/>
                    <a:pt x="364" y="307"/>
                  </a:cubicBezTo>
                  <a:close/>
                  <a:moveTo>
                    <a:pt x="67" y="117"/>
                  </a:moveTo>
                  <a:cubicBezTo>
                    <a:pt x="67" y="116"/>
                    <a:pt x="67" y="115"/>
                    <a:pt x="68" y="115"/>
                  </a:cubicBezTo>
                  <a:cubicBezTo>
                    <a:pt x="68" y="116"/>
                    <a:pt x="68" y="117"/>
                    <a:pt x="67" y="118"/>
                  </a:cubicBezTo>
                  <a:cubicBezTo>
                    <a:pt x="67" y="120"/>
                    <a:pt x="66" y="121"/>
                    <a:pt x="66" y="122"/>
                  </a:cubicBezTo>
                  <a:cubicBezTo>
                    <a:pt x="66" y="121"/>
                    <a:pt x="66" y="120"/>
                    <a:pt x="66" y="119"/>
                  </a:cubicBezTo>
                  <a:cubicBezTo>
                    <a:pt x="66" y="119"/>
                    <a:pt x="66" y="117"/>
                    <a:pt x="67" y="117"/>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44">
              <a:extLst>
                <a:ext uri="{FF2B5EF4-FFF2-40B4-BE49-F238E27FC236}">
                  <a16:creationId xmlns:a16="http://schemas.microsoft.com/office/drawing/2014/main" id="{F63A45A3-50D0-4815-9E4E-A55077931D2C}"/>
                </a:ext>
              </a:extLst>
            </p:cNvPr>
            <p:cNvSpPr>
              <a:spLocks/>
            </p:cNvSpPr>
            <p:nvPr/>
          </p:nvSpPr>
          <p:spPr bwMode="auto">
            <a:xfrm>
              <a:off x="7557308" y="2861067"/>
              <a:ext cx="605425" cy="398226"/>
            </a:xfrm>
            <a:custGeom>
              <a:avLst/>
              <a:gdLst>
                <a:gd name="T0" fmla="*/ 519 w 545"/>
                <a:gd name="T1" fmla="*/ 179 h 358"/>
                <a:gd name="T2" fmla="*/ 514 w 545"/>
                <a:gd name="T3" fmla="*/ 177 h 358"/>
                <a:gd name="T4" fmla="*/ 507 w 545"/>
                <a:gd name="T5" fmla="*/ 167 h 358"/>
                <a:gd name="T6" fmla="*/ 498 w 545"/>
                <a:gd name="T7" fmla="*/ 162 h 358"/>
                <a:gd name="T8" fmla="*/ 490 w 545"/>
                <a:gd name="T9" fmla="*/ 144 h 358"/>
                <a:gd name="T10" fmla="*/ 496 w 545"/>
                <a:gd name="T11" fmla="*/ 138 h 358"/>
                <a:gd name="T12" fmla="*/ 494 w 545"/>
                <a:gd name="T13" fmla="*/ 120 h 358"/>
                <a:gd name="T14" fmla="*/ 491 w 545"/>
                <a:gd name="T15" fmla="*/ 119 h 358"/>
                <a:gd name="T16" fmla="*/ 492 w 545"/>
                <a:gd name="T17" fmla="*/ 112 h 358"/>
                <a:gd name="T18" fmla="*/ 505 w 545"/>
                <a:gd name="T19" fmla="*/ 89 h 358"/>
                <a:gd name="T20" fmla="*/ 505 w 545"/>
                <a:gd name="T21" fmla="*/ 81 h 358"/>
                <a:gd name="T22" fmla="*/ 515 w 545"/>
                <a:gd name="T23" fmla="*/ 66 h 358"/>
                <a:gd name="T24" fmla="*/ 515 w 545"/>
                <a:gd name="T25" fmla="*/ 61 h 358"/>
                <a:gd name="T26" fmla="*/ 505 w 545"/>
                <a:gd name="T27" fmla="*/ 55 h 358"/>
                <a:gd name="T28" fmla="*/ 460 w 545"/>
                <a:gd name="T29" fmla="*/ 11 h 358"/>
                <a:gd name="T30" fmla="*/ 454 w 545"/>
                <a:gd name="T31" fmla="*/ 11 h 358"/>
                <a:gd name="T32" fmla="*/ 451 w 545"/>
                <a:gd name="T33" fmla="*/ 6 h 358"/>
                <a:gd name="T34" fmla="*/ 444 w 545"/>
                <a:gd name="T35" fmla="*/ 2 h 358"/>
                <a:gd name="T36" fmla="*/ 362 w 545"/>
                <a:gd name="T37" fmla="*/ 19 h 358"/>
                <a:gd name="T38" fmla="*/ 136 w 545"/>
                <a:gd name="T39" fmla="*/ 65 h 358"/>
                <a:gd name="T40" fmla="*/ 65 w 545"/>
                <a:gd name="T41" fmla="*/ 51 h 358"/>
                <a:gd name="T42" fmla="*/ 62 w 545"/>
                <a:gd name="T43" fmla="*/ 47 h 358"/>
                <a:gd name="T44" fmla="*/ 35 w 545"/>
                <a:gd name="T45" fmla="*/ 67 h 358"/>
                <a:gd name="T46" fmla="*/ 20 w 545"/>
                <a:gd name="T47" fmla="*/ 78 h 358"/>
                <a:gd name="T48" fmla="*/ 2 w 545"/>
                <a:gd name="T49" fmla="*/ 92 h 358"/>
                <a:gd name="T50" fmla="*/ 27 w 545"/>
                <a:gd name="T51" fmla="*/ 249 h 358"/>
                <a:gd name="T52" fmla="*/ 47 w 545"/>
                <a:gd name="T53" fmla="*/ 358 h 358"/>
                <a:gd name="T54" fmla="*/ 49 w 545"/>
                <a:gd name="T55" fmla="*/ 358 h 358"/>
                <a:gd name="T56" fmla="*/ 292 w 545"/>
                <a:gd name="T57" fmla="*/ 313 h 358"/>
                <a:gd name="T58" fmla="*/ 466 w 545"/>
                <a:gd name="T59" fmla="*/ 274 h 358"/>
                <a:gd name="T60" fmla="*/ 471 w 545"/>
                <a:gd name="T61" fmla="*/ 261 h 358"/>
                <a:gd name="T62" fmla="*/ 485 w 545"/>
                <a:gd name="T63" fmla="*/ 256 h 358"/>
                <a:gd name="T64" fmla="*/ 489 w 545"/>
                <a:gd name="T65" fmla="*/ 257 h 358"/>
                <a:gd name="T66" fmla="*/ 493 w 545"/>
                <a:gd name="T67" fmla="*/ 259 h 358"/>
                <a:gd name="T68" fmla="*/ 501 w 545"/>
                <a:gd name="T69" fmla="*/ 257 h 358"/>
                <a:gd name="T70" fmla="*/ 508 w 545"/>
                <a:gd name="T71" fmla="*/ 251 h 358"/>
                <a:gd name="T72" fmla="*/ 519 w 545"/>
                <a:gd name="T73" fmla="*/ 236 h 358"/>
                <a:gd name="T74" fmla="*/ 520 w 545"/>
                <a:gd name="T75" fmla="*/ 232 h 358"/>
                <a:gd name="T76" fmla="*/ 524 w 545"/>
                <a:gd name="T77" fmla="*/ 226 h 358"/>
                <a:gd name="T78" fmla="*/ 531 w 545"/>
                <a:gd name="T79" fmla="*/ 218 h 358"/>
                <a:gd name="T80" fmla="*/ 544 w 545"/>
                <a:gd name="T81" fmla="*/ 20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5" h="358">
                  <a:moveTo>
                    <a:pt x="526" y="186"/>
                  </a:moveTo>
                  <a:cubicBezTo>
                    <a:pt x="519" y="179"/>
                    <a:pt x="519" y="179"/>
                    <a:pt x="519" y="179"/>
                  </a:cubicBezTo>
                  <a:cubicBezTo>
                    <a:pt x="519" y="178"/>
                    <a:pt x="518" y="178"/>
                    <a:pt x="518" y="178"/>
                  </a:cubicBezTo>
                  <a:cubicBezTo>
                    <a:pt x="514" y="177"/>
                    <a:pt x="514" y="177"/>
                    <a:pt x="514" y="177"/>
                  </a:cubicBezTo>
                  <a:cubicBezTo>
                    <a:pt x="511" y="175"/>
                    <a:pt x="508" y="173"/>
                    <a:pt x="508" y="173"/>
                  </a:cubicBezTo>
                  <a:cubicBezTo>
                    <a:pt x="507" y="172"/>
                    <a:pt x="507" y="169"/>
                    <a:pt x="507" y="167"/>
                  </a:cubicBezTo>
                  <a:cubicBezTo>
                    <a:pt x="507" y="166"/>
                    <a:pt x="506" y="165"/>
                    <a:pt x="505" y="164"/>
                  </a:cubicBezTo>
                  <a:cubicBezTo>
                    <a:pt x="502" y="164"/>
                    <a:pt x="499" y="162"/>
                    <a:pt x="498" y="162"/>
                  </a:cubicBezTo>
                  <a:cubicBezTo>
                    <a:pt x="496" y="161"/>
                    <a:pt x="493" y="157"/>
                    <a:pt x="492" y="155"/>
                  </a:cubicBezTo>
                  <a:cubicBezTo>
                    <a:pt x="491" y="152"/>
                    <a:pt x="490" y="146"/>
                    <a:pt x="490" y="144"/>
                  </a:cubicBezTo>
                  <a:cubicBezTo>
                    <a:pt x="490" y="144"/>
                    <a:pt x="492" y="142"/>
                    <a:pt x="493" y="141"/>
                  </a:cubicBezTo>
                  <a:cubicBezTo>
                    <a:pt x="494" y="140"/>
                    <a:pt x="495" y="139"/>
                    <a:pt x="496" y="138"/>
                  </a:cubicBezTo>
                  <a:cubicBezTo>
                    <a:pt x="496" y="136"/>
                    <a:pt x="498" y="132"/>
                    <a:pt x="498" y="129"/>
                  </a:cubicBezTo>
                  <a:cubicBezTo>
                    <a:pt x="498" y="126"/>
                    <a:pt x="496" y="122"/>
                    <a:pt x="494" y="120"/>
                  </a:cubicBezTo>
                  <a:cubicBezTo>
                    <a:pt x="493" y="120"/>
                    <a:pt x="492" y="119"/>
                    <a:pt x="491" y="119"/>
                  </a:cubicBezTo>
                  <a:cubicBezTo>
                    <a:pt x="491" y="119"/>
                    <a:pt x="491" y="119"/>
                    <a:pt x="491" y="119"/>
                  </a:cubicBezTo>
                  <a:cubicBezTo>
                    <a:pt x="490" y="118"/>
                    <a:pt x="489" y="116"/>
                    <a:pt x="489" y="115"/>
                  </a:cubicBezTo>
                  <a:cubicBezTo>
                    <a:pt x="489" y="115"/>
                    <a:pt x="491" y="113"/>
                    <a:pt x="492" y="112"/>
                  </a:cubicBezTo>
                  <a:cubicBezTo>
                    <a:pt x="493" y="111"/>
                    <a:pt x="495" y="110"/>
                    <a:pt x="495" y="109"/>
                  </a:cubicBezTo>
                  <a:cubicBezTo>
                    <a:pt x="499" y="105"/>
                    <a:pt x="503" y="94"/>
                    <a:pt x="505" y="89"/>
                  </a:cubicBezTo>
                  <a:cubicBezTo>
                    <a:pt x="505" y="87"/>
                    <a:pt x="505" y="86"/>
                    <a:pt x="505" y="84"/>
                  </a:cubicBezTo>
                  <a:cubicBezTo>
                    <a:pt x="505" y="83"/>
                    <a:pt x="504" y="82"/>
                    <a:pt x="505" y="81"/>
                  </a:cubicBezTo>
                  <a:cubicBezTo>
                    <a:pt x="505" y="80"/>
                    <a:pt x="506" y="76"/>
                    <a:pt x="507" y="75"/>
                  </a:cubicBezTo>
                  <a:cubicBezTo>
                    <a:pt x="508" y="73"/>
                    <a:pt x="513" y="68"/>
                    <a:pt x="515" y="66"/>
                  </a:cubicBezTo>
                  <a:cubicBezTo>
                    <a:pt x="515" y="66"/>
                    <a:pt x="515" y="65"/>
                    <a:pt x="515" y="64"/>
                  </a:cubicBezTo>
                  <a:cubicBezTo>
                    <a:pt x="515" y="61"/>
                    <a:pt x="515" y="61"/>
                    <a:pt x="515" y="61"/>
                  </a:cubicBezTo>
                  <a:cubicBezTo>
                    <a:pt x="515" y="61"/>
                    <a:pt x="515" y="60"/>
                    <a:pt x="514" y="59"/>
                  </a:cubicBezTo>
                  <a:cubicBezTo>
                    <a:pt x="513" y="59"/>
                    <a:pt x="507" y="56"/>
                    <a:pt x="505" y="55"/>
                  </a:cubicBezTo>
                  <a:cubicBezTo>
                    <a:pt x="485" y="51"/>
                    <a:pt x="483" y="41"/>
                    <a:pt x="480" y="32"/>
                  </a:cubicBezTo>
                  <a:cubicBezTo>
                    <a:pt x="478" y="23"/>
                    <a:pt x="476" y="14"/>
                    <a:pt x="460" y="11"/>
                  </a:cubicBezTo>
                  <a:cubicBezTo>
                    <a:pt x="459" y="11"/>
                    <a:pt x="458" y="11"/>
                    <a:pt x="457" y="11"/>
                  </a:cubicBezTo>
                  <a:cubicBezTo>
                    <a:pt x="456" y="11"/>
                    <a:pt x="455" y="11"/>
                    <a:pt x="454" y="11"/>
                  </a:cubicBezTo>
                  <a:cubicBezTo>
                    <a:pt x="454" y="11"/>
                    <a:pt x="453" y="10"/>
                    <a:pt x="453" y="9"/>
                  </a:cubicBezTo>
                  <a:cubicBezTo>
                    <a:pt x="453" y="8"/>
                    <a:pt x="452" y="7"/>
                    <a:pt x="451" y="6"/>
                  </a:cubicBezTo>
                  <a:cubicBezTo>
                    <a:pt x="450" y="5"/>
                    <a:pt x="446" y="3"/>
                    <a:pt x="444" y="3"/>
                  </a:cubicBezTo>
                  <a:cubicBezTo>
                    <a:pt x="444" y="2"/>
                    <a:pt x="444" y="2"/>
                    <a:pt x="444" y="2"/>
                  </a:cubicBezTo>
                  <a:cubicBezTo>
                    <a:pt x="443" y="1"/>
                    <a:pt x="442" y="0"/>
                    <a:pt x="441" y="1"/>
                  </a:cubicBezTo>
                  <a:cubicBezTo>
                    <a:pt x="362" y="19"/>
                    <a:pt x="362" y="19"/>
                    <a:pt x="362" y="19"/>
                  </a:cubicBezTo>
                  <a:cubicBezTo>
                    <a:pt x="242" y="44"/>
                    <a:pt x="242" y="44"/>
                    <a:pt x="242" y="44"/>
                  </a:cubicBezTo>
                  <a:cubicBezTo>
                    <a:pt x="136" y="65"/>
                    <a:pt x="136" y="65"/>
                    <a:pt x="136" y="65"/>
                  </a:cubicBezTo>
                  <a:cubicBezTo>
                    <a:pt x="69" y="77"/>
                    <a:pt x="69" y="77"/>
                    <a:pt x="69" y="77"/>
                  </a:cubicBezTo>
                  <a:cubicBezTo>
                    <a:pt x="65" y="51"/>
                    <a:pt x="65" y="51"/>
                    <a:pt x="65" y="51"/>
                  </a:cubicBezTo>
                  <a:cubicBezTo>
                    <a:pt x="64" y="49"/>
                    <a:pt x="64" y="49"/>
                    <a:pt x="64" y="49"/>
                  </a:cubicBezTo>
                  <a:cubicBezTo>
                    <a:pt x="64" y="48"/>
                    <a:pt x="63" y="47"/>
                    <a:pt x="62" y="47"/>
                  </a:cubicBezTo>
                  <a:cubicBezTo>
                    <a:pt x="61" y="47"/>
                    <a:pt x="61" y="47"/>
                    <a:pt x="60" y="47"/>
                  </a:cubicBezTo>
                  <a:cubicBezTo>
                    <a:pt x="35" y="67"/>
                    <a:pt x="35" y="67"/>
                    <a:pt x="35" y="67"/>
                  </a:cubicBezTo>
                  <a:cubicBezTo>
                    <a:pt x="35" y="67"/>
                    <a:pt x="29" y="72"/>
                    <a:pt x="27" y="73"/>
                  </a:cubicBezTo>
                  <a:cubicBezTo>
                    <a:pt x="25" y="74"/>
                    <a:pt x="23" y="76"/>
                    <a:pt x="20" y="78"/>
                  </a:cubicBezTo>
                  <a:cubicBezTo>
                    <a:pt x="17" y="81"/>
                    <a:pt x="14" y="84"/>
                    <a:pt x="12" y="85"/>
                  </a:cubicBezTo>
                  <a:cubicBezTo>
                    <a:pt x="9" y="87"/>
                    <a:pt x="2" y="92"/>
                    <a:pt x="2" y="92"/>
                  </a:cubicBezTo>
                  <a:cubicBezTo>
                    <a:pt x="1" y="93"/>
                    <a:pt x="0" y="94"/>
                    <a:pt x="1" y="95"/>
                  </a:cubicBezTo>
                  <a:cubicBezTo>
                    <a:pt x="27" y="249"/>
                    <a:pt x="27" y="249"/>
                    <a:pt x="27" y="249"/>
                  </a:cubicBezTo>
                  <a:cubicBezTo>
                    <a:pt x="46" y="356"/>
                    <a:pt x="46" y="356"/>
                    <a:pt x="46" y="356"/>
                  </a:cubicBezTo>
                  <a:cubicBezTo>
                    <a:pt x="46" y="357"/>
                    <a:pt x="47" y="357"/>
                    <a:pt x="47" y="358"/>
                  </a:cubicBezTo>
                  <a:cubicBezTo>
                    <a:pt x="47" y="358"/>
                    <a:pt x="48" y="358"/>
                    <a:pt x="48" y="358"/>
                  </a:cubicBezTo>
                  <a:cubicBezTo>
                    <a:pt x="49" y="358"/>
                    <a:pt x="49" y="358"/>
                    <a:pt x="49" y="358"/>
                  </a:cubicBezTo>
                  <a:cubicBezTo>
                    <a:pt x="141" y="342"/>
                    <a:pt x="141" y="342"/>
                    <a:pt x="141" y="342"/>
                  </a:cubicBezTo>
                  <a:cubicBezTo>
                    <a:pt x="292" y="313"/>
                    <a:pt x="292" y="313"/>
                    <a:pt x="292" y="313"/>
                  </a:cubicBezTo>
                  <a:cubicBezTo>
                    <a:pt x="464" y="276"/>
                    <a:pt x="464" y="276"/>
                    <a:pt x="464" y="276"/>
                  </a:cubicBezTo>
                  <a:cubicBezTo>
                    <a:pt x="465" y="276"/>
                    <a:pt x="465" y="275"/>
                    <a:pt x="466" y="274"/>
                  </a:cubicBezTo>
                  <a:cubicBezTo>
                    <a:pt x="466" y="272"/>
                    <a:pt x="467" y="268"/>
                    <a:pt x="468" y="267"/>
                  </a:cubicBezTo>
                  <a:cubicBezTo>
                    <a:pt x="469" y="265"/>
                    <a:pt x="470" y="262"/>
                    <a:pt x="471" y="261"/>
                  </a:cubicBezTo>
                  <a:cubicBezTo>
                    <a:pt x="473" y="260"/>
                    <a:pt x="476" y="258"/>
                    <a:pt x="478" y="257"/>
                  </a:cubicBezTo>
                  <a:cubicBezTo>
                    <a:pt x="479" y="257"/>
                    <a:pt x="483" y="256"/>
                    <a:pt x="485" y="256"/>
                  </a:cubicBezTo>
                  <a:cubicBezTo>
                    <a:pt x="486" y="256"/>
                    <a:pt x="488" y="256"/>
                    <a:pt x="489" y="256"/>
                  </a:cubicBezTo>
                  <a:cubicBezTo>
                    <a:pt x="489" y="256"/>
                    <a:pt x="489" y="257"/>
                    <a:pt x="489" y="257"/>
                  </a:cubicBezTo>
                  <a:cubicBezTo>
                    <a:pt x="490" y="258"/>
                    <a:pt x="491" y="258"/>
                    <a:pt x="492" y="259"/>
                  </a:cubicBezTo>
                  <a:cubicBezTo>
                    <a:pt x="492" y="259"/>
                    <a:pt x="493" y="259"/>
                    <a:pt x="493" y="259"/>
                  </a:cubicBezTo>
                  <a:cubicBezTo>
                    <a:pt x="495" y="259"/>
                    <a:pt x="497" y="258"/>
                    <a:pt x="498" y="258"/>
                  </a:cubicBezTo>
                  <a:cubicBezTo>
                    <a:pt x="499" y="257"/>
                    <a:pt x="500" y="257"/>
                    <a:pt x="501" y="257"/>
                  </a:cubicBezTo>
                  <a:cubicBezTo>
                    <a:pt x="502" y="256"/>
                    <a:pt x="504" y="255"/>
                    <a:pt x="506" y="253"/>
                  </a:cubicBezTo>
                  <a:cubicBezTo>
                    <a:pt x="507" y="252"/>
                    <a:pt x="508" y="252"/>
                    <a:pt x="508" y="251"/>
                  </a:cubicBezTo>
                  <a:cubicBezTo>
                    <a:pt x="511" y="250"/>
                    <a:pt x="516" y="244"/>
                    <a:pt x="518" y="242"/>
                  </a:cubicBezTo>
                  <a:cubicBezTo>
                    <a:pt x="518" y="240"/>
                    <a:pt x="519" y="238"/>
                    <a:pt x="519" y="236"/>
                  </a:cubicBezTo>
                  <a:cubicBezTo>
                    <a:pt x="519" y="235"/>
                    <a:pt x="520" y="234"/>
                    <a:pt x="520" y="233"/>
                  </a:cubicBezTo>
                  <a:cubicBezTo>
                    <a:pt x="520" y="232"/>
                    <a:pt x="520" y="232"/>
                    <a:pt x="520" y="232"/>
                  </a:cubicBezTo>
                  <a:cubicBezTo>
                    <a:pt x="521" y="231"/>
                    <a:pt x="521" y="229"/>
                    <a:pt x="522" y="228"/>
                  </a:cubicBezTo>
                  <a:cubicBezTo>
                    <a:pt x="522" y="227"/>
                    <a:pt x="524" y="226"/>
                    <a:pt x="524" y="226"/>
                  </a:cubicBezTo>
                  <a:cubicBezTo>
                    <a:pt x="525" y="226"/>
                    <a:pt x="525" y="225"/>
                    <a:pt x="525" y="225"/>
                  </a:cubicBezTo>
                  <a:cubicBezTo>
                    <a:pt x="531" y="218"/>
                    <a:pt x="531" y="218"/>
                    <a:pt x="531" y="218"/>
                  </a:cubicBezTo>
                  <a:cubicBezTo>
                    <a:pt x="539" y="210"/>
                    <a:pt x="539" y="210"/>
                    <a:pt x="539" y="210"/>
                  </a:cubicBezTo>
                  <a:cubicBezTo>
                    <a:pt x="542" y="207"/>
                    <a:pt x="545" y="203"/>
                    <a:pt x="544" y="200"/>
                  </a:cubicBezTo>
                  <a:cubicBezTo>
                    <a:pt x="543" y="194"/>
                    <a:pt x="530" y="188"/>
                    <a:pt x="526" y="186"/>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5">
              <a:extLst>
                <a:ext uri="{FF2B5EF4-FFF2-40B4-BE49-F238E27FC236}">
                  <a16:creationId xmlns:a16="http://schemas.microsoft.com/office/drawing/2014/main" id="{686AA9B7-111B-4909-B0B4-DDEFA316429A}"/>
                </a:ext>
              </a:extLst>
            </p:cNvPr>
            <p:cNvSpPr>
              <a:spLocks/>
            </p:cNvSpPr>
            <p:nvPr/>
          </p:nvSpPr>
          <p:spPr bwMode="auto">
            <a:xfrm>
              <a:off x="8220344" y="2900485"/>
              <a:ext cx="177888" cy="104105"/>
            </a:xfrm>
            <a:custGeom>
              <a:avLst/>
              <a:gdLst>
                <a:gd name="T0" fmla="*/ 40 w 160"/>
                <a:gd name="T1" fmla="*/ 50 h 94"/>
                <a:gd name="T2" fmla="*/ 55 w 160"/>
                <a:gd name="T3" fmla="*/ 42 h 94"/>
                <a:gd name="T4" fmla="*/ 62 w 160"/>
                <a:gd name="T5" fmla="*/ 42 h 94"/>
                <a:gd name="T6" fmla="*/ 66 w 160"/>
                <a:gd name="T7" fmla="*/ 35 h 94"/>
                <a:gd name="T8" fmla="*/ 73 w 160"/>
                <a:gd name="T9" fmla="*/ 32 h 94"/>
                <a:gd name="T10" fmla="*/ 87 w 160"/>
                <a:gd name="T11" fmla="*/ 24 h 94"/>
                <a:gd name="T12" fmla="*/ 102 w 160"/>
                <a:gd name="T13" fmla="*/ 20 h 94"/>
                <a:gd name="T14" fmla="*/ 126 w 160"/>
                <a:gd name="T15" fmla="*/ 7 h 94"/>
                <a:gd name="T16" fmla="*/ 126 w 160"/>
                <a:gd name="T17" fmla="*/ 15 h 94"/>
                <a:gd name="T18" fmla="*/ 118 w 160"/>
                <a:gd name="T19" fmla="*/ 21 h 94"/>
                <a:gd name="T20" fmla="*/ 113 w 160"/>
                <a:gd name="T21" fmla="*/ 28 h 94"/>
                <a:gd name="T22" fmla="*/ 120 w 160"/>
                <a:gd name="T23" fmla="*/ 28 h 94"/>
                <a:gd name="T24" fmla="*/ 125 w 160"/>
                <a:gd name="T25" fmla="*/ 25 h 94"/>
                <a:gd name="T26" fmla="*/ 134 w 160"/>
                <a:gd name="T27" fmla="*/ 10 h 94"/>
                <a:gd name="T28" fmla="*/ 141 w 160"/>
                <a:gd name="T29" fmla="*/ 6 h 94"/>
                <a:gd name="T30" fmla="*/ 149 w 160"/>
                <a:gd name="T31" fmla="*/ 4 h 94"/>
                <a:gd name="T32" fmla="*/ 151 w 160"/>
                <a:gd name="T33" fmla="*/ 5 h 94"/>
                <a:gd name="T34" fmla="*/ 151 w 160"/>
                <a:gd name="T35" fmla="*/ 6 h 94"/>
                <a:gd name="T36" fmla="*/ 149 w 160"/>
                <a:gd name="T37" fmla="*/ 15 h 94"/>
                <a:gd name="T38" fmla="*/ 134 w 160"/>
                <a:gd name="T39" fmla="*/ 28 h 94"/>
                <a:gd name="T40" fmla="*/ 126 w 160"/>
                <a:gd name="T41" fmla="*/ 29 h 94"/>
                <a:gd name="T42" fmla="*/ 125 w 160"/>
                <a:gd name="T43" fmla="*/ 35 h 94"/>
                <a:gd name="T44" fmla="*/ 110 w 160"/>
                <a:gd name="T45" fmla="*/ 46 h 94"/>
                <a:gd name="T46" fmla="*/ 102 w 160"/>
                <a:gd name="T47" fmla="*/ 46 h 94"/>
                <a:gd name="T48" fmla="*/ 94 w 160"/>
                <a:gd name="T49" fmla="*/ 52 h 94"/>
                <a:gd name="T50" fmla="*/ 87 w 160"/>
                <a:gd name="T51" fmla="*/ 55 h 94"/>
                <a:gd name="T52" fmla="*/ 71 w 160"/>
                <a:gd name="T53" fmla="*/ 64 h 94"/>
                <a:gd name="T54" fmla="*/ 63 w 160"/>
                <a:gd name="T55" fmla="*/ 67 h 94"/>
                <a:gd name="T56" fmla="*/ 55 w 160"/>
                <a:gd name="T57" fmla="*/ 74 h 94"/>
                <a:gd name="T58" fmla="*/ 52 w 160"/>
                <a:gd name="T59" fmla="*/ 74 h 94"/>
                <a:gd name="T60" fmla="*/ 18 w 160"/>
                <a:gd name="T61" fmla="*/ 91 h 94"/>
                <a:gd name="T62" fmla="*/ 3 w 160"/>
                <a:gd name="T63" fmla="*/ 94 h 94"/>
                <a:gd name="T64" fmla="*/ 0 w 160"/>
                <a:gd name="T65" fmla="*/ 92 h 94"/>
                <a:gd name="T66" fmla="*/ 1 w 160"/>
                <a:gd name="T67" fmla="*/ 85 h 94"/>
                <a:gd name="T68" fmla="*/ 4 w 160"/>
                <a:gd name="T69" fmla="*/ 76 h 94"/>
                <a:gd name="T70" fmla="*/ 17 w 160"/>
                <a:gd name="T71" fmla="*/ 67 h 94"/>
                <a:gd name="T72" fmla="*/ 40 w 160"/>
                <a:gd name="T73" fmla="*/ 5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 h="94">
                  <a:moveTo>
                    <a:pt x="40" y="50"/>
                  </a:moveTo>
                  <a:cubicBezTo>
                    <a:pt x="55" y="42"/>
                    <a:pt x="55" y="42"/>
                    <a:pt x="55" y="42"/>
                  </a:cubicBezTo>
                  <a:cubicBezTo>
                    <a:pt x="62" y="42"/>
                    <a:pt x="62" y="42"/>
                    <a:pt x="62" y="42"/>
                  </a:cubicBezTo>
                  <a:cubicBezTo>
                    <a:pt x="66" y="35"/>
                    <a:pt x="66" y="35"/>
                    <a:pt x="66" y="35"/>
                  </a:cubicBezTo>
                  <a:cubicBezTo>
                    <a:pt x="73" y="32"/>
                    <a:pt x="73" y="32"/>
                    <a:pt x="73" y="32"/>
                  </a:cubicBezTo>
                  <a:cubicBezTo>
                    <a:pt x="87" y="24"/>
                    <a:pt x="87" y="24"/>
                    <a:pt x="87" y="24"/>
                  </a:cubicBezTo>
                  <a:cubicBezTo>
                    <a:pt x="102" y="20"/>
                    <a:pt x="102" y="20"/>
                    <a:pt x="102" y="20"/>
                  </a:cubicBezTo>
                  <a:cubicBezTo>
                    <a:pt x="102" y="20"/>
                    <a:pt x="123" y="0"/>
                    <a:pt x="126" y="7"/>
                  </a:cubicBezTo>
                  <a:cubicBezTo>
                    <a:pt x="126" y="15"/>
                    <a:pt x="126" y="15"/>
                    <a:pt x="126" y="15"/>
                  </a:cubicBezTo>
                  <a:cubicBezTo>
                    <a:pt x="118" y="21"/>
                    <a:pt x="118" y="21"/>
                    <a:pt x="118" y="21"/>
                  </a:cubicBezTo>
                  <a:cubicBezTo>
                    <a:pt x="113" y="28"/>
                    <a:pt x="113" y="28"/>
                    <a:pt x="113" y="28"/>
                  </a:cubicBezTo>
                  <a:cubicBezTo>
                    <a:pt x="120" y="28"/>
                    <a:pt x="120" y="28"/>
                    <a:pt x="120" y="28"/>
                  </a:cubicBezTo>
                  <a:cubicBezTo>
                    <a:pt x="125" y="25"/>
                    <a:pt x="125" y="25"/>
                    <a:pt x="125" y="25"/>
                  </a:cubicBezTo>
                  <a:cubicBezTo>
                    <a:pt x="134" y="10"/>
                    <a:pt x="134" y="10"/>
                    <a:pt x="134" y="10"/>
                  </a:cubicBezTo>
                  <a:cubicBezTo>
                    <a:pt x="141" y="6"/>
                    <a:pt x="141" y="6"/>
                    <a:pt x="141" y="6"/>
                  </a:cubicBezTo>
                  <a:cubicBezTo>
                    <a:pt x="149" y="4"/>
                    <a:pt x="149" y="4"/>
                    <a:pt x="149" y="4"/>
                  </a:cubicBezTo>
                  <a:cubicBezTo>
                    <a:pt x="151" y="5"/>
                    <a:pt x="151" y="5"/>
                    <a:pt x="151" y="5"/>
                  </a:cubicBezTo>
                  <a:cubicBezTo>
                    <a:pt x="151" y="6"/>
                    <a:pt x="151" y="6"/>
                    <a:pt x="151" y="6"/>
                  </a:cubicBezTo>
                  <a:cubicBezTo>
                    <a:pt x="151" y="6"/>
                    <a:pt x="160" y="5"/>
                    <a:pt x="149" y="15"/>
                  </a:cubicBezTo>
                  <a:cubicBezTo>
                    <a:pt x="134" y="28"/>
                    <a:pt x="134" y="28"/>
                    <a:pt x="134" y="28"/>
                  </a:cubicBezTo>
                  <a:cubicBezTo>
                    <a:pt x="126" y="29"/>
                    <a:pt x="126" y="29"/>
                    <a:pt x="126" y="29"/>
                  </a:cubicBezTo>
                  <a:cubicBezTo>
                    <a:pt x="125" y="35"/>
                    <a:pt x="125" y="35"/>
                    <a:pt x="125" y="35"/>
                  </a:cubicBezTo>
                  <a:cubicBezTo>
                    <a:pt x="110" y="46"/>
                    <a:pt x="110" y="46"/>
                    <a:pt x="110" y="46"/>
                  </a:cubicBezTo>
                  <a:cubicBezTo>
                    <a:pt x="102" y="46"/>
                    <a:pt x="102" y="46"/>
                    <a:pt x="102" y="46"/>
                  </a:cubicBezTo>
                  <a:cubicBezTo>
                    <a:pt x="94" y="52"/>
                    <a:pt x="94" y="52"/>
                    <a:pt x="94" y="52"/>
                  </a:cubicBezTo>
                  <a:cubicBezTo>
                    <a:pt x="87" y="55"/>
                    <a:pt x="87" y="55"/>
                    <a:pt x="87" y="55"/>
                  </a:cubicBezTo>
                  <a:cubicBezTo>
                    <a:pt x="71" y="64"/>
                    <a:pt x="71" y="64"/>
                    <a:pt x="71" y="64"/>
                  </a:cubicBezTo>
                  <a:cubicBezTo>
                    <a:pt x="63" y="67"/>
                    <a:pt x="63" y="67"/>
                    <a:pt x="63" y="67"/>
                  </a:cubicBezTo>
                  <a:cubicBezTo>
                    <a:pt x="55" y="74"/>
                    <a:pt x="55" y="74"/>
                    <a:pt x="55" y="74"/>
                  </a:cubicBezTo>
                  <a:cubicBezTo>
                    <a:pt x="52" y="74"/>
                    <a:pt x="52" y="74"/>
                    <a:pt x="52" y="74"/>
                  </a:cubicBezTo>
                  <a:cubicBezTo>
                    <a:pt x="33" y="91"/>
                    <a:pt x="18" y="91"/>
                    <a:pt x="18" y="91"/>
                  </a:cubicBezTo>
                  <a:cubicBezTo>
                    <a:pt x="3" y="94"/>
                    <a:pt x="3" y="94"/>
                    <a:pt x="3" y="94"/>
                  </a:cubicBezTo>
                  <a:cubicBezTo>
                    <a:pt x="0" y="92"/>
                    <a:pt x="0" y="92"/>
                    <a:pt x="0" y="92"/>
                  </a:cubicBezTo>
                  <a:cubicBezTo>
                    <a:pt x="1" y="85"/>
                    <a:pt x="1" y="85"/>
                    <a:pt x="1" y="85"/>
                  </a:cubicBezTo>
                  <a:cubicBezTo>
                    <a:pt x="4" y="76"/>
                    <a:pt x="4" y="76"/>
                    <a:pt x="4" y="76"/>
                  </a:cubicBezTo>
                  <a:cubicBezTo>
                    <a:pt x="17" y="67"/>
                    <a:pt x="17" y="67"/>
                    <a:pt x="17" y="67"/>
                  </a:cubicBezTo>
                  <a:cubicBezTo>
                    <a:pt x="17" y="67"/>
                    <a:pt x="12" y="56"/>
                    <a:pt x="40" y="50"/>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6">
              <a:extLst>
                <a:ext uri="{FF2B5EF4-FFF2-40B4-BE49-F238E27FC236}">
                  <a16:creationId xmlns:a16="http://schemas.microsoft.com/office/drawing/2014/main" id="{DADCBD58-FB71-4704-83A4-FC7B26B23EC5}"/>
                </a:ext>
              </a:extLst>
            </p:cNvPr>
            <p:cNvSpPr>
              <a:spLocks noEditPoints="1"/>
            </p:cNvSpPr>
            <p:nvPr/>
          </p:nvSpPr>
          <p:spPr bwMode="auto">
            <a:xfrm>
              <a:off x="7621994" y="2435551"/>
              <a:ext cx="623618" cy="559942"/>
            </a:xfrm>
            <a:custGeom>
              <a:avLst/>
              <a:gdLst>
                <a:gd name="T0" fmla="*/ 537 w 561"/>
                <a:gd name="T1" fmla="*/ 337 h 504"/>
                <a:gd name="T2" fmla="*/ 534 w 561"/>
                <a:gd name="T3" fmla="*/ 250 h 504"/>
                <a:gd name="T4" fmla="*/ 504 w 561"/>
                <a:gd name="T5" fmla="*/ 157 h 504"/>
                <a:gd name="T6" fmla="*/ 501 w 561"/>
                <a:gd name="T7" fmla="*/ 147 h 504"/>
                <a:gd name="T8" fmla="*/ 487 w 561"/>
                <a:gd name="T9" fmla="*/ 109 h 504"/>
                <a:gd name="T10" fmla="*/ 490 w 561"/>
                <a:gd name="T11" fmla="*/ 83 h 504"/>
                <a:gd name="T12" fmla="*/ 487 w 561"/>
                <a:gd name="T13" fmla="*/ 68 h 504"/>
                <a:gd name="T14" fmla="*/ 475 w 561"/>
                <a:gd name="T15" fmla="*/ 45 h 504"/>
                <a:gd name="T16" fmla="*/ 469 w 561"/>
                <a:gd name="T17" fmla="*/ 20 h 504"/>
                <a:gd name="T18" fmla="*/ 466 w 561"/>
                <a:gd name="T19" fmla="*/ 2 h 504"/>
                <a:gd name="T20" fmla="*/ 352 w 561"/>
                <a:gd name="T21" fmla="*/ 28 h 504"/>
                <a:gd name="T22" fmla="*/ 303 w 561"/>
                <a:gd name="T23" fmla="*/ 66 h 504"/>
                <a:gd name="T24" fmla="*/ 274 w 561"/>
                <a:gd name="T25" fmla="*/ 124 h 504"/>
                <a:gd name="T26" fmla="*/ 262 w 561"/>
                <a:gd name="T27" fmla="*/ 139 h 504"/>
                <a:gd name="T28" fmla="*/ 242 w 561"/>
                <a:gd name="T29" fmla="*/ 160 h 504"/>
                <a:gd name="T30" fmla="*/ 253 w 561"/>
                <a:gd name="T31" fmla="*/ 178 h 504"/>
                <a:gd name="T32" fmla="*/ 254 w 561"/>
                <a:gd name="T33" fmla="*/ 169 h 504"/>
                <a:gd name="T34" fmla="*/ 264 w 561"/>
                <a:gd name="T35" fmla="*/ 177 h 504"/>
                <a:gd name="T36" fmla="*/ 255 w 561"/>
                <a:gd name="T37" fmla="*/ 186 h 504"/>
                <a:gd name="T38" fmla="*/ 263 w 561"/>
                <a:gd name="T39" fmla="*/ 208 h 504"/>
                <a:gd name="T40" fmla="*/ 263 w 561"/>
                <a:gd name="T41" fmla="*/ 227 h 504"/>
                <a:gd name="T42" fmla="*/ 247 w 561"/>
                <a:gd name="T43" fmla="*/ 236 h 504"/>
                <a:gd name="T44" fmla="*/ 233 w 561"/>
                <a:gd name="T45" fmla="*/ 252 h 504"/>
                <a:gd name="T46" fmla="*/ 217 w 561"/>
                <a:gd name="T47" fmla="*/ 267 h 504"/>
                <a:gd name="T48" fmla="*/ 195 w 561"/>
                <a:gd name="T49" fmla="*/ 268 h 504"/>
                <a:gd name="T50" fmla="*/ 155 w 561"/>
                <a:gd name="T51" fmla="*/ 276 h 504"/>
                <a:gd name="T52" fmla="*/ 50 w 561"/>
                <a:gd name="T53" fmla="*/ 296 h 504"/>
                <a:gd name="T54" fmla="*/ 38 w 561"/>
                <a:gd name="T55" fmla="*/ 305 h 504"/>
                <a:gd name="T56" fmla="*/ 42 w 561"/>
                <a:gd name="T57" fmla="*/ 326 h 504"/>
                <a:gd name="T58" fmla="*/ 58 w 561"/>
                <a:gd name="T59" fmla="*/ 329 h 504"/>
                <a:gd name="T60" fmla="*/ 64 w 561"/>
                <a:gd name="T61" fmla="*/ 352 h 504"/>
                <a:gd name="T62" fmla="*/ 47 w 561"/>
                <a:gd name="T63" fmla="*/ 380 h 504"/>
                <a:gd name="T64" fmla="*/ 4 w 561"/>
                <a:gd name="T65" fmla="*/ 428 h 504"/>
                <a:gd name="T66" fmla="*/ 9 w 561"/>
                <a:gd name="T67" fmla="*/ 465 h 504"/>
                <a:gd name="T68" fmla="*/ 381 w 561"/>
                <a:gd name="T69" fmla="*/ 389 h 504"/>
                <a:gd name="T70" fmla="*/ 395 w 561"/>
                <a:gd name="T71" fmla="*/ 401 h 504"/>
                <a:gd name="T72" fmla="*/ 451 w 561"/>
                <a:gd name="T73" fmla="*/ 446 h 504"/>
                <a:gd name="T74" fmla="*/ 526 w 561"/>
                <a:gd name="T75" fmla="*/ 472 h 504"/>
                <a:gd name="T76" fmla="*/ 532 w 561"/>
                <a:gd name="T77" fmla="*/ 484 h 504"/>
                <a:gd name="T78" fmla="*/ 535 w 561"/>
                <a:gd name="T79" fmla="*/ 503 h 504"/>
                <a:gd name="T80" fmla="*/ 547 w 561"/>
                <a:gd name="T81" fmla="*/ 491 h 504"/>
                <a:gd name="T82" fmla="*/ 556 w 561"/>
                <a:gd name="T83" fmla="*/ 465 h 504"/>
                <a:gd name="T84" fmla="*/ 553 w 561"/>
                <a:gd name="T85" fmla="*/ 451 h 504"/>
                <a:gd name="T86" fmla="*/ 465 w 561"/>
                <a:gd name="T87" fmla="*/ 13 h 504"/>
                <a:gd name="T88" fmla="*/ 496 w 561"/>
                <a:gd name="T89" fmla="*/ 150 h 504"/>
                <a:gd name="T90" fmla="*/ 495 w 561"/>
                <a:gd name="T91" fmla="*/ 157 h 504"/>
                <a:gd name="T92" fmla="*/ 482 w 561"/>
                <a:gd name="T93" fmla="*/ 107 h 504"/>
                <a:gd name="T94" fmla="*/ 482 w 561"/>
                <a:gd name="T95" fmla="*/ 76 h 504"/>
                <a:gd name="T96" fmla="*/ 470 w 561"/>
                <a:gd name="T97" fmla="*/ 39 h 504"/>
                <a:gd name="T98" fmla="*/ 470 w 561"/>
                <a:gd name="T99" fmla="*/ 45 h 504"/>
                <a:gd name="T100" fmla="*/ 464 w 561"/>
                <a:gd name="T101" fmla="*/ 20 h 504"/>
                <a:gd name="T102" fmla="*/ 486 w 561"/>
                <a:gd name="T103" fmla="*/ 90 h 504"/>
                <a:gd name="T104" fmla="*/ 482 w 561"/>
                <a:gd name="T105" fmla="*/ 69 h 504"/>
                <a:gd name="T106" fmla="*/ 470 w 561"/>
                <a:gd name="T107" fmla="*/ 32 h 504"/>
                <a:gd name="T108" fmla="*/ 556 w 561"/>
                <a:gd name="T109" fmla="*/ 44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61" h="504">
                  <a:moveTo>
                    <a:pt x="560" y="434"/>
                  </a:moveTo>
                  <a:cubicBezTo>
                    <a:pt x="560" y="431"/>
                    <a:pt x="557" y="427"/>
                    <a:pt x="555" y="425"/>
                  </a:cubicBezTo>
                  <a:cubicBezTo>
                    <a:pt x="554" y="419"/>
                    <a:pt x="543" y="361"/>
                    <a:pt x="540" y="342"/>
                  </a:cubicBezTo>
                  <a:cubicBezTo>
                    <a:pt x="540" y="340"/>
                    <a:pt x="539" y="338"/>
                    <a:pt x="537" y="337"/>
                  </a:cubicBezTo>
                  <a:cubicBezTo>
                    <a:pt x="538" y="266"/>
                    <a:pt x="538" y="266"/>
                    <a:pt x="538" y="266"/>
                  </a:cubicBezTo>
                  <a:cubicBezTo>
                    <a:pt x="539" y="264"/>
                    <a:pt x="540" y="259"/>
                    <a:pt x="539" y="257"/>
                  </a:cubicBezTo>
                  <a:cubicBezTo>
                    <a:pt x="539" y="255"/>
                    <a:pt x="538" y="254"/>
                    <a:pt x="536" y="252"/>
                  </a:cubicBezTo>
                  <a:cubicBezTo>
                    <a:pt x="536" y="252"/>
                    <a:pt x="534" y="250"/>
                    <a:pt x="534" y="250"/>
                  </a:cubicBezTo>
                  <a:cubicBezTo>
                    <a:pt x="534" y="249"/>
                    <a:pt x="533" y="244"/>
                    <a:pt x="533" y="244"/>
                  </a:cubicBezTo>
                  <a:cubicBezTo>
                    <a:pt x="532" y="241"/>
                    <a:pt x="525" y="190"/>
                    <a:pt x="517" y="171"/>
                  </a:cubicBezTo>
                  <a:cubicBezTo>
                    <a:pt x="515" y="167"/>
                    <a:pt x="510" y="157"/>
                    <a:pt x="505" y="157"/>
                  </a:cubicBezTo>
                  <a:cubicBezTo>
                    <a:pt x="505" y="157"/>
                    <a:pt x="504" y="157"/>
                    <a:pt x="504" y="157"/>
                  </a:cubicBezTo>
                  <a:cubicBezTo>
                    <a:pt x="501" y="158"/>
                    <a:pt x="501" y="160"/>
                    <a:pt x="500" y="163"/>
                  </a:cubicBezTo>
                  <a:cubicBezTo>
                    <a:pt x="500" y="162"/>
                    <a:pt x="500" y="161"/>
                    <a:pt x="500" y="160"/>
                  </a:cubicBezTo>
                  <a:cubicBezTo>
                    <a:pt x="500" y="159"/>
                    <a:pt x="500" y="156"/>
                    <a:pt x="500" y="154"/>
                  </a:cubicBezTo>
                  <a:cubicBezTo>
                    <a:pt x="501" y="151"/>
                    <a:pt x="501" y="149"/>
                    <a:pt x="501" y="147"/>
                  </a:cubicBezTo>
                  <a:cubicBezTo>
                    <a:pt x="501" y="143"/>
                    <a:pt x="498" y="135"/>
                    <a:pt x="497" y="131"/>
                  </a:cubicBezTo>
                  <a:cubicBezTo>
                    <a:pt x="496" y="130"/>
                    <a:pt x="495" y="129"/>
                    <a:pt x="494" y="127"/>
                  </a:cubicBezTo>
                  <a:cubicBezTo>
                    <a:pt x="493" y="126"/>
                    <a:pt x="493" y="125"/>
                    <a:pt x="492" y="124"/>
                  </a:cubicBezTo>
                  <a:cubicBezTo>
                    <a:pt x="491" y="120"/>
                    <a:pt x="488" y="113"/>
                    <a:pt x="487" y="109"/>
                  </a:cubicBezTo>
                  <a:cubicBezTo>
                    <a:pt x="487" y="106"/>
                    <a:pt x="486" y="99"/>
                    <a:pt x="487" y="96"/>
                  </a:cubicBezTo>
                  <a:cubicBezTo>
                    <a:pt x="487" y="95"/>
                    <a:pt x="488" y="95"/>
                    <a:pt x="488" y="95"/>
                  </a:cubicBezTo>
                  <a:cubicBezTo>
                    <a:pt x="489" y="94"/>
                    <a:pt x="490" y="93"/>
                    <a:pt x="490" y="92"/>
                  </a:cubicBezTo>
                  <a:cubicBezTo>
                    <a:pt x="491" y="90"/>
                    <a:pt x="490" y="86"/>
                    <a:pt x="490" y="83"/>
                  </a:cubicBezTo>
                  <a:cubicBezTo>
                    <a:pt x="489" y="82"/>
                    <a:pt x="489" y="81"/>
                    <a:pt x="488" y="79"/>
                  </a:cubicBezTo>
                  <a:cubicBezTo>
                    <a:pt x="488" y="78"/>
                    <a:pt x="487" y="76"/>
                    <a:pt x="487" y="76"/>
                  </a:cubicBezTo>
                  <a:cubicBezTo>
                    <a:pt x="487" y="75"/>
                    <a:pt x="487" y="73"/>
                    <a:pt x="487" y="72"/>
                  </a:cubicBezTo>
                  <a:cubicBezTo>
                    <a:pt x="487" y="71"/>
                    <a:pt x="488" y="69"/>
                    <a:pt x="487" y="68"/>
                  </a:cubicBezTo>
                  <a:cubicBezTo>
                    <a:pt x="487" y="66"/>
                    <a:pt x="486" y="62"/>
                    <a:pt x="485" y="59"/>
                  </a:cubicBezTo>
                  <a:cubicBezTo>
                    <a:pt x="484" y="58"/>
                    <a:pt x="482" y="57"/>
                    <a:pt x="481" y="55"/>
                  </a:cubicBezTo>
                  <a:cubicBezTo>
                    <a:pt x="480" y="54"/>
                    <a:pt x="478" y="53"/>
                    <a:pt x="478" y="52"/>
                  </a:cubicBezTo>
                  <a:cubicBezTo>
                    <a:pt x="477" y="51"/>
                    <a:pt x="476" y="47"/>
                    <a:pt x="475" y="45"/>
                  </a:cubicBezTo>
                  <a:cubicBezTo>
                    <a:pt x="475" y="44"/>
                    <a:pt x="475" y="41"/>
                    <a:pt x="475" y="38"/>
                  </a:cubicBezTo>
                  <a:cubicBezTo>
                    <a:pt x="475" y="34"/>
                    <a:pt x="475" y="30"/>
                    <a:pt x="474" y="27"/>
                  </a:cubicBezTo>
                  <a:cubicBezTo>
                    <a:pt x="474" y="26"/>
                    <a:pt x="472" y="24"/>
                    <a:pt x="471" y="23"/>
                  </a:cubicBezTo>
                  <a:cubicBezTo>
                    <a:pt x="470" y="22"/>
                    <a:pt x="469" y="20"/>
                    <a:pt x="469" y="20"/>
                  </a:cubicBezTo>
                  <a:cubicBezTo>
                    <a:pt x="469" y="19"/>
                    <a:pt x="469" y="18"/>
                    <a:pt x="469" y="17"/>
                  </a:cubicBezTo>
                  <a:cubicBezTo>
                    <a:pt x="470" y="15"/>
                    <a:pt x="470" y="14"/>
                    <a:pt x="470" y="12"/>
                  </a:cubicBezTo>
                  <a:cubicBezTo>
                    <a:pt x="470" y="11"/>
                    <a:pt x="468" y="7"/>
                    <a:pt x="468" y="6"/>
                  </a:cubicBezTo>
                  <a:cubicBezTo>
                    <a:pt x="466" y="2"/>
                    <a:pt x="466" y="2"/>
                    <a:pt x="466" y="2"/>
                  </a:cubicBezTo>
                  <a:cubicBezTo>
                    <a:pt x="466" y="1"/>
                    <a:pt x="465" y="0"/>
                    <a:pt x="463" y="1"/>
                  </a:cubicBezTo>
                  <a:cubicBezTo>
                    <a:pt x="406" y="17"/>
                    <a:pt x="406" y="17"/>
                    <a:pt x="406" y="17"/>
                  </a:cubicBezTo>
                  <a:cubicBezTo>
                    <a:pt x="406" y="17"/>
                    <a:pt x="367" y="27"/>
                    <a:pt x="354" y="28"/>
                  </a:cubicBezTo>
                  <a:cubicBezTo>
                    <a:pt x="353" y="28"/>
                    <a:pt x="352" y="28"/>
                    <a:pt x="352" y="28"/>
                  </a:cubicBezTo>
                  <a:cubicBezTo>
                    <a:pt x="350" y="28"/>
                    <a:pt x="348" y="28"/>
                    <a:pt x="347" y="28"/>
                  </a:cubicBezTo>
                  <a:cubicBezTo>
                    <a:pt x="342" y="29"/>
                    <a:pt x="334" y="34"/>
                    <a:pt x="331" y="36"/>
                  </a:cubicBezTo>
                  <a:cubicBezTo>
                    <a:pt x="323" y="42"/>
                    <a:pt x="311" y="57"/>
                    <a:pt x="304" y="65"/>
                  </a:cubicBezTo>
                  <a:cubicBezTo>
                    <a:pt x="303" y="66"/>
                    <a:pt x="303" y="66"/>
                    <a:pt x="303" y="66"/>
                  </a:cubicBezTo>
                  <a:cubicBezTo>
                    <a:pt x="296" y="75"/>
                    <a:pt x="282" y="95"/>
                    <a:pt x="279" y="106"/>
                  </a:cubicBezTo>
                  <a:cubicBezTo>
                    <a:pt x="279" y="108"/>
                    <a:pt x="279" y="110"/>
                    <a:pt x="280" y="112"/>
                  </a:cubicBezTo>
                  <a:cubicBezTo>
                    <a:pt x="280" y="113"/>
                    <a:pt x="280" y="115"/>
                    <a:pt x="280" y="116"/>
                  </a:cubicBezTo>
                  <a:cubicBezTo>
                    <a:pt x="279" y="118"/>
                    <a:pt x="276" y="121"/>
                    <a:pt x="274" y="124"/>
                  </a:cubicBezTo>
                  <a:cubicBezTo>
                    <a:pt x="272" y="126"/>
                    <a:pt x="270" y="128"/>
                    <a:pt x="269" y="130"/>
                  </a:cubicBezTo>
                  <a:cubicBezTo>
                    <a:pt x="268" y="131"/>
                    <a:pt x="268" y="132"/>
                    <a:pt x="267" y="133"/>
                  </a:cubicBezTo>
                  <a:cubicBezTo>
                    <a:pt x="267" y="134"/>
                    <a:pt x="266" y="135"/>
                    <a:pt x="266" y="136"/>
                  </a:cubicBezTo>
                  <a:cubicBezTo>
                    <a:pt x="265" y="137"/>
                    <a:pt x="263" y="138"/>
                    <a:pt x="262" y="139"/>
                  </a:cubicBezTo>
                  <a:cubicBezTo>
                    <a:pt x="260" y="140"/>
                    <a:pt x="259" y="141"/>
                    <a:pt x="258" y="142"/>
                  </a:cubicBezTo>
                  <a:cubicBezTo>
                    <a:pt x="256" y="144"/>
                    <a:pt x="256" y="144"/>
                    <a:pt x="256" y="144"/>
                  </a:cubicBezTo>
                  <a:cubicBezTo>
                    <a:pt x="252" y="148"/>
                    <a:pt x="246" y="153"/>
                    <a:pt x="244" y="157"/>
                  </a:cubicBezTo>
                  <a:cubicBezTo>
                    <a:pt x="244" y="158"/>
                    <a:pt x="243" y="159"/>
                    <a:pt x="242" y="160"/>
                  </a:cubicBezTo>
                  <a:cubicBezTo>
                    <a:pt x="238" y="164"/>
                    <a:pt x="236" y="167"/>
                    <a:pt x="236" y="169"/>
                  </a:cubicBezTo>
                  <a:cubicBezTo>
                    <a:pt x="237" y="171"/>
                    <a:pt x="239" y="173"/>
                    <a:pt x="241" y="174"/>
                  </a:cubicBezTo>
                  <a:cubicBezTo>
                    <a:pt x="242" y="174"/>
                    <a:pt x="244" y="175"/>
                    <a:pt x="244" y="176"/>
                  </a:cubicBezTo>
                  <a:cubicBezTo>
                    <a:pt x="246" y="178"/>
                    <a:pt x="253" y="178"/>
                    <a:pt x="253" y="178"/>
                  </a:cubicBezTo>
                  <a:cubicBezTo>
                    <a:pt x="253" y="178"/>
                    <a:pt x="254" y="178"/>
                    <a:pt x="254" y="178"/>
                  </a:cubicBezTo>
                  <a:cubicBezTo>
                    <a:pt x="255" y="178"/>
                    <a:pt x="256" y="177"/>
                    <a:pt x="256" y="176"/>
                  </a:cubicBezTo>
                  <a:cubicBezTo>
                    <a:pt x="257" y="175"/>
                    <a:pt x="256" y="173"/>
                    <a:pt x="255" y="171"/>
                  </a:cubicBezTo>
                  <a:cubicBezTo>
                    <a:pt x="255" y="170"/>
                    <a:pt x="254" y="169"/>
                    <a:pt x="254" y="169"/>
                  </a:cubicBezTo>
                  <a:cubicBezTo>
                    <a:pt x="255" y="168"/>
                    <a:pt x="257" y="167"/>
                    <a:pt x="258" y="166"/>
                  </a:cubicBezTo>
                  <a:cubicBezTo>
                    <a:pt x="258" y="167"/>
                    <a:pt x="258" y="168"/>
                    <a:pt x="258" y="169"/>
                  </a:cubicBezTo>
                  <a:cubicBezTo>
                    <a:pt x="257" y="172"/>
                    <a:pt x="257" y="175"/>
                    <a:pt x="259" y="177"/>
                  </a:cubicBezTo>
                  <a:cubicBezTo>
                    <a:pt x="261" y="178"/>
                    <a:pt x="262" y="177"/>
                    <a:pt x="264" y="177"/>
                  </a:cubicBezTo>
                  <a:cubicBezTo>
                    <a:pt x="264" y="178"/>
                    <a:pt x="264" y="179"/>
                    <a:pt x="263" y="180"/>
                  </a:cubicBezTo>
                  <a:cubicBezTo>
                    <a:pt x="263" y="181"/>
                    <a:pt x="263" y="182"/>
                    <a:pt x="263" y="182"/>
                  </a:cubicBezTo>
                  <a:cubicBezTo>
                    <a:pt x="263" y="183"/>
                    <a:pt x="262" y="183"/>
                    <a:pt x="261" y="183"/>
                  </a:cubicBezTo>
                  <a:cubicBezTo>
                    <a:pt x="259" y="183"/>
                    <a:pt x="256" y="184"/>
                    <a:pt x="255" y="186"/>
                  </a:cubicBezTo>
                  <a:cubicBezTo>
                    <a:pt x="254" y="190"/>
                    <a:pt x="257" y="194"/>
                    <a:pt x="260" y="198"/>
                  </a:cubicBezTo>
                  <a:cubicBezTo>
                    <a:pt x="261" y="200"/>
                    <a:pt x="262" y="202"/>
                    <a:pt x="263" y="203"/>
                  </a:cubicBezTo>
                  <a:cubicBezTo>
                    <a:pt x="263" y="203"/>
                    <a:pt x="263" y="204"/>
                    <a:pt x="263" y="205"/>
                  </a:cubicBezTo>
                  <a:cubicBezTo>
                    <a:pt x="263" y="206"/>
                    <a:pt x="263" y="207"/>
                    <a:pt x="263" y="208"/>
                  </a:cubicBezTo>
                  <a:cubicBezTo>
                    <a:pt x="264" y="209"/>
                    <a:pt x="264" y="210"/>
                    <a:pt x="265" y="212"/>
                  </a:cubicBezTo>
                  <a:cubicBezTo>
                    <a:pt x="265" y="213"/>
                    <a:pt x="266" y="214"/>
                    <a:pt x="266" y="215"/>
                  </a:cubicBezTo>
                  <a:cubicBezTo>
                    <a:pt x="267" y="218"/>
                    <a:pt x="267" y="221"/>
                    <a:pt x="267" y="222"/>
                  </a:cubicBezTo>
                  <a:cubicBezTo>
                    <a:pt x="266" y="223"/>
                    <a:pt x="264" y="227"/>
                    <a:pt x="263" y="227"/>
                  </a:cubicBezTo>
                  <a:cubicBezTo>
                    <a:pt x="262" y="227"/>
                    <a:pt x="261" y="227"/>
                    <a:pt x="261" y="227"/>
                  </a:cubicBezTo>
                  <a:cubicBezTo>
                    <a:pt x="258" y="227"/>
                    <a:pt x="257" y="227"/>
                    <a:pt x="255" y="227"/>
                  </a:cubicBezTo>
                  <a:cubicBezTo>
                    <a:pt x="253" y="228"/>
                    <a:pt x="251" y="231"/>
                    <a:pt x="249" y="233"/>
                  </a:cubicBezTo>
                  <a:cubicBezTo>
                    <a:pt x="248" y="235"/>
                    <a:pt x="247" y="236"/>
                    <a:pt x="247" y="236"/>
                  </a:cubicBezTo>
                  <a:cubicBezTo>
                    <a:pt x="246" y="237"/>
                    <a:pt x="244" y="238"/>
                    <a:pt x="243" y="239"/>
                  </a:cubicBezTo>
                  <a:cubicBezTo>
                    <a:pt x="241" y="241"/>
                    <a:pt x="238" y="242"/>
                    <a:pt x="237" y="244"/>
                  </a:cubicBezTo>
                  <a:cubicBezTo>
                    <a:pt x="236" y="245"/>
                    <a:pt x="235" y="247"/>
                    <a:pt x="234" y="249"/>
                  </a:cubicBezTo>
                  <a:cubicBezTo>
                    <a:pt x="234" y="250"/>
                    <a:pt x="233" y="251"/>
                    <a:pt x="233" y="252"/>
                  </a:cubicBezTo>
                  <a:cubicBezTo>
                    <a:pt x="231" y="254"/>
                    <a:pt x="228" y="257"/>
                    <a:pt x="227" y="259"/>
                  </a:cubicBezTo>
                  <a:cubicBezTo>
                    <a:pt x="226" y="259"/>
                    <a:pt x="225" y="260"/>
                    <a:pt x="224" y="260"/>
                  </a:cubicBezTo>
                  <a:cubicBezTo>
                    <a:pt x="222" y="261"/>
                    <a:pt x="220" y="262"/>
                    <a:pt x="219" y="263"/>
                  </a:cubicBezTo>
                  <a:cubicBezTo>
                    <a:pt x="218" y="264"/>
                    <a:pt x="218" y="265"/>
                    <a:pt x="217" y="267"/>
                  </a:cubicBezTo>
                  <a:cubicBezTo>
                    <a:pt x="216" y="268"/>
                    <a:pt x="216" y="269"/>
                    <a:pt x="216" y="270"/>
                  </a:cubicBezTo>
                  <a:cubicBezTo>
                    <a:pt x="215" y="270"/>
                    <a:pt x="214" y="269"/>
                    <a:pt x="214" y="269"/>
                  </a:cubicBezTo>
                  <a:cubicBezTo>
                    <a:pt x="213" y="268"/>
                    <a:pt x="212" y="268"/>
                    <a:pt x="211" y="267"/>
                  </a:cubicBezTo>
                  <a:cubicBezTo>
                    <a:pt x="207" y="267"/>
                    <a:pt x="199" y="268"/>
                    <a:pt x="195" y="268"/>
                  </a:cubicBezTo>
                  <a:cubicBezTo>
                    <a:pt x="191" y="269"/>
                    <a:pt x="183" y="270"/>
                    <a:pt x="179" y="272"/>
                  </a:cubicBezTo>
                  <a:cubicBezTo>
                    <a:pt x="177" y="273"/>
                    <a:pt x="175" y="274"/>
                    <a:pt x="173" y="276"/>
                  </a:cubicBezTo>
                  <a:cubicBezTo>
                    <a:pt x="170" y="278"/>
                    <a:pt x="166" y="280"/>
                    <a:pt x="164" y="280"/>
                  </a:cubicBezTo>
                  <a:cubicBezTo>
                    <a:pt x="162" y="280"/>
                    <a:pt x="158" y="278"/>
                    <a:pt x="155" y="276"/>
                  </a:cubicBezTo>
                  <a:cubicBezTo>
                    <a:pt x="152" y="275"/>
                    <a:pt x="148" y="273"/>
                    <a:pt x="146" y="273"/>
                  </a:cubicBezTo>
                  <a:cubicBezTo>
                    <a:pt x="141" y="272"/>
                    <a:pt x="131" y="272"/>
                    <a:pt x="123" y="273"/>
                  </a:cubicBezTo>
                  <a:cubicBezTo>
                    <a:pt x="120" y="274"/>
                    <a:pt x="117" y="274"/>
                    <a:pt x="115" y="274"/>
                  </a:cubicBezTo>
                  <a:cubicBezTo>
                    <a:pt x="92" y="275"/>
                    <a:pt x="70" y="286"/>
                    <a:pt x="50" y="296"/>
                  </a:cubicBezTo>
                  <a:cubicBezTo>
                    <a:pt x="47" y="298"/>
                    <a:pt x="47" y="298"/>
                    <a:pt x="47" y="298"/>
                  </a:cubicBezTo>
                  <a:cubicBezTo>
                    <a:pt x="46" y="298"/>
                    <a:pt x="45" y="299"/>
                    <a:pt x="44" y="299"/>
                  </a:cubicBezTo>
                  <a:cubicBezTo>
                    <a:pt x="42" y="300"/>
                    <a:pt x="39" y="301"/>
                    <a:pt x="38" y="302"/>
                  </a:cubicBezTo>
                  <a:cubicBezTo>
                    <a:pt x="37" y="303"/>
                    <a:pt x="37" y="305"/>
                    <a:pt x="38" y="305"/>
                  </a:cubicBezTo>
                  <a:cubicBezTo>
                    <a:pt x="38" y="307"/>
                    <a:pt x="39" y="309"/>
                    <a:pt x="40" y="312"/>
                  </a:cubicBezTo>
                  <a:cubicBezTo>
                    <a:pt x="41" y="314"/>
                    <a:pt x="42" y="317"/>
                    <a:pt x="42" y="318"/>
                  </a:cubicBezTo>
                  <a:cubicBezTo>
                    <a:pt x="42" y="319"/>
                    <a:pt x="42" y="319"/>
                    <a:pt x="41" y="320"/>
                  </a:cubicBezTo>
                  <a:cubicBezTo>
                    <a:pt x="41" y="322"/>
                    <a:pt x="40" y="324"/>
                    <a:pt x="42" y="326"/>
                  </a:cubicBezTo>
                  <a:cubicBezTo>
                    <a:pt x="43" y="328"/>
                    <a:pt x="47" y="328"/>
                    <a:pt x="50" y="328"/>
                  </a:cubicBezTo>
                  <a:cubicBezTo>
                    <a:pt x="53" y="328"/>
                    <a:pt x="53" y="328"/>
                    <a:pt x="53" y="328"/>
                  </a:cubicBezTo>
                  <a:cubicBezTo>
                    <a:pt x="57" y="328"/>
                    <a:pt x="58" y="328"/>
                    <a:pt x="58" y="328"/>
                  </a:cubicBezTo>
                  <a:cubicBezTo>
                    <a:pt x="58" y="329"/>
                    <a:pt x="58" y="329"/>
                    <a:pt x="58" y="329"/>
                  </a:cubicBezTo>
                  <a:cubicBezTo>
                    <a:pt x="58" y="329"/>
                    <a:pt x="57" y="330"/>
                    <a:pt x="57" y="330"/>
                  </a:cubicBezTo>
                  <a:cubicBezTo>
                    <a:pt x="55" y="332"/>
                    <a:pt x="54" y="333"/>
                    <a:pt x="54" y="335"/>
                  </a:cubicBezTo>
                  <a:cubicBezTo>
                    <a:pt x="54" y="338"/>
                    <a:pt x="57" y="342"/>
                    <a:pt x="60" y="346"/>
                  </a:cubicBezTo>
                  <a:cubicBezTo>
                    <a:pt x="61" y="348"/>
                    <a:pt x="63" y="351"/>
                    <a:pt x="64" y="352"/>
                  </a:cubicBezTo>
                  <a:cubicBezTo>
                    <a:pt x="64" y="354"/>
                    <a:pt x="64" y="357"/>
                    <a:pt x="64" y="358"/>
                  </a:cubicBezTo>
                  <a:cubicBezTo>
                    <a:pt x="63" y="361"/>
                    <a:pt x="60" y="363"/>
                    <a:pt x="57" y="366"/>
                  </a:cubicBezTo>
                  <a:cubicBezTo>
                    <a:pt x="54" y="368"/>
                    <a:pt x="52" y="370"/>
                    <a:pt x="51" y="372"/>
                  </a:cubicBezTo>
                  <a:cubicBezTo>
                    <a:pt x="50" y="374"/>
                    <a:pt x="48" y="379"/>
                    <a:pt x="47" y="380"/>
                  </a:cubicBezTo>
                  <a:cubicBezTo>
                    <a:pt x="42" y="387"/>
                    <a:pt x="42" y="387"/>
                    <a:pt x="42" y="387"/>
                  </a:cubicBezTo>
                  <a:cubicBezTo>
                    <a:pt x="32" y="397"/>
                    <a:pt x="32" y="397"/>
                    <a:pt x="32" y="397"/>
                  </a:cubicBezTo>
                  <a:cubicBezTo>
                    <a:pt x="20" y="412"/>
                    <a:pt x="20" y="412"/>
                    <a:pt x="20" y="412"/>
                  </a:cubicBezTo>
                  <a:cubicBezTo>
                    <a:pt x="4" y="428"/>
                    <a:pt x="4" y="428"/>
                    <a:pt x="4" y="428"/>
                  </a:cubicBezTo>
                  <a:cubicBezTo>
                    <a:pt x="1" y="430"/>
                    <a:pt x="1" y="430"/>
                    <a:pt x="1" y="430"/>
                  </a:cubicBezTo>
                  <a:cubicBezTo>
                    <a:pt x="0" y="431"/>
                    <a:pt x="0" y="432"/>
                    <a:pt x="0" y="433"/>
                  </a:cubicBezTo>
                  <a:cubicBezTo>
                    <a:pt x="6" y="463"/>
                    <a:pt x="6" y="463"/>
                    <a:pt x="6" y="463"/>
                  </a:cubicBezTo>
                  <a:cubicBezTo>
                    <a:pt x="6" y="464"/>
                    <a:pt x="7" y="465"/>
                    <a:pt x="9" y="465"/>
                  </a:cubicBezTo>
                  <a:cubicBezTo>
                    <a:pt x="78" y="453"/>
                    <a:pt x="78" y="453"/>
                    <a:pt x="78" y="453"/>
                  </a:cubicBezTo>
                  <a:cubicBezTo>
                    <a:pt x="184" y="432"/>
                    <a:pt x="184" y="432"/>
                    <a:pt x="184" y="432"/>
                  </a:cubicBezTo>
                  <a:cubicBezTo>
                    <a:pt x="304" y="407"/>
                    <a:pt x="304" y="407"/>
                    <a:pt x="304" y="407"/>
                  </a:cubicBezTo>
                  <a:cubicBezTo>
                    <a:pt x="381" y="389"/>
                    <a:pt x="381" y="389"/>
                    <a:pt x="381" y="389"/>
                  </a:cubicBezTo>
                  <a:cubicBezTo>
                    <a:pt x="381" y="389"/>
                    <a:pt x="382" y="390"/>
                    <a:pt x="382" y="390"/>
                  </a:cubicBezTo>
                  <a:cubicBezTo>
                    <a:pt x="389" y="393"/>
                    <a:pt x="389" y="393"/>
                    <a:pt x="389" y="393"/>
                  </a:cubicBezTo>
                  <a:cubicBezTo>
                    <a:pt x="392" y="399"/>
                    <a:pt x="392" y="399"/>
                    <a:pt x="392" y="399"/>
                  </a:cubicBezTo>
                  <a:cubicBezTo>
                    <a:pt x="392" y="400"/>
                    <a:pt x="394" y="401"/>
                    <a:pt x="395" y="401"/>
                  </a:cubicBezTo>
                  <a:cubicBezTo>
                    <a:pt x="400" y="400"/>
                    <a:pt x="400" y="400"/>
                    <a:pt x="400" y="400"/>
                  </a:cubicBezTo>
                  <a:cubicBezTo>
                    <a:pt x="410" y="406"/>
                    <a:pt x="412" y="413"/>
                    <a:pt x="414" y="420"/>
                  </a:cubicBezTo>
                  <a:cubicBezTo>
                    <a:pt x="417" y="431"/>
                    <a:pt x="420" y="442"/>
                    <a:pt x="445" y="443"/>
                  </a:cubicBezTo>
                  <a:cubicBezTo>
                    <a:pt x="451" y="446"/>
                    <a:pt x="451" y="446"/>
                    <a:pt x="451" y="446"/>
                  </a:cubicBezTo>
                  <a:cubicBezTo>
                    <a:pt x="451" y="447"/>
                    <a:pt x="451" y="447"/>
                    <a:pt x="451" y="447"/>
                  </a:cubicBezTo>
                  <a:cubicBezTo>
                    <a:pt x="451" y="448"/>
                    <a:pt x="452" y="449"/>
                    <a:pt x="453" y="450"/>
                  </a:cubicBezTo>
                  <a:cubicBezTo>
                    <a:pt x="524" y="473"/>
                    <a:pt x="524" y="473"/>
                    <a:pt x="524" y="473"/>
                  </a:cubicBezTo>
                  <a:cubicBezTo>
                    <a:pt x="525" y="473"/>
                    <a:pt x="526" y="473"/>
                    <a:pt x="526" y="472"/>
                  </a:cubicBezTo>
                  <a:cubicBezTo>
                    <a:pt x="527" y="472"/>
                    <a:pt x="527" y="471"/>
                    <a:pt x="527" y="470"/>
                  </a:cubicBezTo>
                  <a:cubicBezTo>
                    <a:pt x="527" y="470"/>
                    <a:pt x="527" y="470"/>
                    <a:pt x="527" y="470"/>
                  </a:cubicBezTo>
                  <a:cubicBezTo>
                    <a:pt x="531" y="474"/>
                    <a:pt x="531" y="474"/>
                    <a:pt x="531" y="474"/>
                  </a:cubicBezTo>
                  <a:cubicBezTo>
                    <a:pt x="531" y="478"/>
                    <a:pt x="532" y="483"/>
                    <a:pt x="532" y="484"/>
                  </a:cubicBezTo>
                  <a:cubicBezTo>
                    <a:pt x="531" y="485"/>
                    <a:pt x="531" y="487"/>
                    <a:pt x="530" y="489"/>
                  </a:cubicBezTo>
                  <a:cubicBezTo>
                    <a:pt x="528" y="494"/>
                    <a:pt x="526" y="499"/>
                    <a:pt x="528" y="502"/>
                  </a:cubicBezTo>
                  <a:cubicBezTo>
                    <a:pt x="529" y="503"/>
                    <a:pt x="530" y="504"/>
                    <a:pt x="532" y="504"/>
                  </a:cubicBezTo>
                  <a:cubicBezTo>
                    <a:pt x="532" y="504"/>
                    <a:pt x="534" y="504"/>
                    <a:pt x="535" y="503"/>
                  </a:cubicBezTo>
                  <a:cubicBezTo>
                    <a:pt x="536" y="502"/>
                    <a:pt x="537" y="499"/>
                    <a:pt x="538" y="497"/>
                  </a:cubicBezTo>
                  <a:cubicBezTo>
                    <a:pt x="538" y="497"/>
                    <a:pt x="538" y="495"/>
                    <a:pt x="538" y="495"/>
                  </a:cubicBezTo>
                  <a:cubicBezTo>
                    <a:pt x="539" y="495"/>
                    <a:pt x="540" y="494"/>
                    <a:pt x="541" y="494"/>
                  </a:cubicBezTo>
                  <a:cubicBezTo>
                    <a:pt x="543" y="494"/>
                    <a:pt x="546" y="493"/>
                    <a:pt x="547" y="491"/>
                  </a:cubicBezTo>
                  <a:cubicBezTo>
                    <a:pt x="548" y="490"/>
                    <a:pt x="548" y="487"/>
                    <a:pt x="548" y="485"/>
                  </a:cubicBezTo>
                  <a:cubicBezTo>
                    <a:pt x="548" y="484"/>
                    <a:pt x="548" y="482"/>
                    <a:pt x="548" y="482"/>
                  </a:cubicBezTo>
                  <a:cubicBezTo>
                    <a:pt x="548" y="481"/>
                    <a:pt x="550" y="478"/>
                    <a:pt x="551" y="476"/>
                  </a:cubicBezTo>
                  <a:cubicBezTo>
                    <a:pt x="554" y="473"/>
                    <a:pt x="556" y="469"/>
                    <a:pt x="556" y="465"/>
                  </a:cubicBezTo>
                  <a:cubicBezTo>
                    <a:pt x="556" y="462"/>
                    <a:pt x="553" y="461"/>
                    <a:pt x="551" y="459"/>
                  </a:cubicBezTo>
                  <a:cubicBezTo>
                    <a:pt x="550" y="458"/>
                    <a:pt x="548" y="457"/>
                    <a:pt x="548" y="456"/>
                  </a:cubicBezTo>
                  <a:cubicBezTo>
                    <a:pt x="548" y="456"/>
                    <a:pt x="548" y="456"/>
                    <a:pt x="548" y="456"/>
                  </a:cubicBezTo>
                  <a:cubicBezTo>
                    <a:pt x="548" y="454"/>
                    <a:pt x="551" y="452"/>
                    <a:pt x="553" y="451"/>
                  </a:cubicBezTo>
                  <a:cubicBezTo>
                    <a:pt x="556" y="448"/>
                    <a:pt x="559" y="446"/>
                    <a:pt x="560" y="443"/>
                  </a:cubicBezTo>
                  <a:cubicBezTo>
                    <a:pt x="561" y="441"/>
                    <a:pt x="561" y="436"/>
                    <a:pt x="560" y="434"/>
                  </a:cubicBezTo>
                  <a:close/>
                  <a:moveTo>
                    <a:pt x="465" y="13"/>
                  </a:moveTo>
                  <a:cubicBezTo>
                    <a:pt x="465" y="13"/>
                    <a:pt x="465" y="13"/>
                    <a:pt x="465" y="13"/>
                  </a:cubicBezTo>
                  <a:cubicBezTo>
                    <a:pt x="465" y="13"/>
                    <a:pt x="465" y="13"/>
                    <a:pt x="465" y="13"/>
                  </a:cubicBezTo>
                  <a:cubicBezTo>
                    <a:pt x="465" y="13"/>
                    <a:pt x="465" y="13"/>
                    <a:pt x="465" y="13"/>
                  </a:cubicBezTo>
                  <a:close/>
                  <a:moveTo>
                    <a:pt x="496" y="148"/>
                  </a:moveTo>
                  <a:cubicBezTo>
                    <a:pt x="496" y="148"/>
                    <a:pt x="496" y="149"/>
                    <a:pt x="496" y="150"/>
                  </a:cubicBezTo>
                  <a:cubicBezTo>
                    <a:pt x="496" y="149"/>
                    <a:pt x="496" y="148"/>
                    <a:pt x="496" y="147"/>
                  </a:cubicBezTo>
                  <a:cubicBezTo>
                    <a:pt x="496" y="148"/>
                    <a:pt x="496" y="148"/>
                    <a:pt x="496" y="148"/>
                  </a:cubicBezTo>
                  <a:close/>
                  <a:moveTo>
                    <a:pt x="495" y="160"/>
                  </a:moveTo>
                  <a:cubicBezTo>
                    <a:pt x="495" y="159"/>
                    <a:pt x="495" y="158"/>
                    <a:pt x="495" y="157"/>
                  </a:cubicBezTo>
                  <a:cubicBezTo>
                    <a:pt x="495" y="158"/>
                    <a:pt x="495" y="160"/>
                    <a:pt x="495" y="160"/>
                  </a:cubicBezTo>
                  <a:cubicBezTo>
                    <a:pt x="495" y="160"/>
                    <a:pt x="495" y="160"/>
                    <a:pt x="495" y="160"/>
                  </a:cubicBezTo>
                  <a:close/>
                  <a:moveTo>
                    <a:pt x="482" y="98"/>
                  </a:moveTo>
                  <a:cubicBezTo>
                    <a:pt x="482" y="101"/>
                    <a:pt x="482" y="104"/>
                    <a:pt x="482" y="107"/>
                  </a:cubicBezTo>
                  <a:cubicBezTo>
                    <a:pt x="482" y="104"/>
                    <a:pt x="482" y="101"/>
                    <a:pt x="482" y="98"/>
                  </a:cubicBezTo>
                  <a:close/>
                  <a:moveTo>
                    <a:pt x="482" y="76"/>
                  </a:moveTo>
                  <a:cubicBezTo>
                    <a:pt x="482" y="76"/>
                    <a:pt x="482" y="75"/>
                    <a:pt x="482" y="75"/>
                  </a:cubicBezTo>
                  <a:cubicBezTo>
                    <a:pt x="482" y="75"/>
                    <a:pt x="482" y="76"/>
                    <a:pt x="482" y="76"/>
                  </a:cubicBezTo>
                  <a:cubicBezTo>
                    <a:pt x="482" y="76"/>
                    <a:pt x="482" y="76"/>
                    <a:pt x="482" y="76"/>
                  </a:cubicBezTo>
                  <a:close/>
                  <a:moveTo>
                    <a:pt x="470" y="39"/>
                  </a:moveTo>
                  <a:cubicBezTo>
                    <a:pt x="470" y="40"/>
                    <a:pt x="470" y="41"/>
                    <a:pt x="470" y="42"/>
                  </a:cubicBezTo>
                  <a:cubicBezTo>
                    <a:pt x="470" y="41"/>
                    <a:pt x="470" y="40"/>
                    <a:pt x="470" y="39"/>
                  </a:cubicBezTo>
                  <a:close/>
                  <a:moveTo>
                    <a:pt x="470" y="45"/>
                  </a:moveTo>
                  <a:cubicBezTo>
                    <a:pt x="470" y="45"/>
                    <a:pt x="470" y="45"/>
                    <a:pt x="470" y="46"/>
                  </a:cubicBezTo>
                  <a:cubicBezTo>
                    <a:pt x="470" y="46"/>
                    <a:pt x="470" y="46"/>
                    <a:pt x="470" y="46"/>
                  </a:cubicBezTo>
                  <a:cubicBezTo>
                    <a:pt x="470" y="45"/>
                    <a:pt x="470" y="45"/>
                    <a:pt x="470" y="45"/>
                  </a:cubicBezTo>
                  <a:close/>
                  <a:moveTo>
                    <a:pt x="464" y="20"/>
                  </a:moveTo>
                  <a:cubicBezTo>
                    <a:pt x="464" y="20"/>
                    <a:pt x="464" y="19"/>
                    <a:pt x="464" y="18"/>
                  </a:cubicBezTo>
                  <a:cubicBezTo>
                    <a:pt x="464" y="19"/>
                    <a:pt x="464" y="20"/>
                    <a:pt x="464" y="21"/>
                  </a:cubicBezTo>
                  <a:cubicBezTo>
                    <a:pt x="464" y="20"/>
                    <a:pt x="464" y="20"/>
                    <a:pt x="464" y="20"/>
                  </a:cubicBezTo>
                  <a:close/>
                  <a:moveTo>
                    <a:pt x="486" y="90"/>
                  </a:moveTo>
                  <a:cubicBezTo>
                    <a:pt x="486" y="90"/>
                    <a:pt x="485" y="90"/>
                    <a:pt x="485" y="90"/>
                  </a:cubicBezTo>
                  <a:cubicBezTo>
                    <a:pt x="485" y="90"/>
                    <a:pt x="485" y="89"/>
                    <a:pt x="485" y="88"/>
                  </a:cubicBezTo>
                  <a:cubicBezTo>
                    <a:pt x="486" y="90"/>
                    <a:pt x="486" y="90"/>
                    <a:pt x="486" y="90"/>
                  </a:cubicBezTo>
                  <a:close/>
                  <a:moveTo>
                    <a:pt x="482" y="69"/>
                  </a:moveTo>
                  <a:cubicBezTo>
                    <a:pt x="482" y="69"/>
                    <a:pt x="482" y="68"/>
                    <a:pt x="482" y="68"/>
                  </a:cubicBezTo>
                  <a:cubicBezTo>
                    <a:pt x="482" y="68"/>
                    <a:pt x="482" y="68"/>
                    <a:pt x="482" y="68"/>
                  </a:cubicBezTo>
                  <a:cubicBezTo>
                    <a:pt x="482" y="68"/>
                    <a:pt x="482" y="69"/>
                    <a:pt x="482" y="69"/>
                  </a:cubicBezTo>
                  <a:close/>
                  <a:moveTo>
                    <a:pt x="470" y="37"/>
                  </a:moveTo>
                  <a:cubicBezTo>
                    <a:pt x="470" y="35"/>
                    <a:pt x="470" y="34"/>
                    <a:pt x="470" y="33"/>
                  </a:cubicBezTo>
                  <a:cubicBezTo>
                    <a:pt x="470" y="34"/>
                    <a:pt x="470" y="35"/>
                    <a:pt x="470" y="37"/>
                  </a:cubicBezTo>
                  <a:close/>
                  <a:moveTo>
                    <a:pt x="470" y="32"/>
                  </a:moveTo>
                  <a:cubicBezTo>
                    <a:pt x="470" y="31"/>
                    <a:pt x="470" y="30"/>
                    <a:pt x="470" y="29"/>
                  </a:cubicBezTo>
                  <a:cubicBezTo>
                    <a:pt x="470" y="29"/>
                    <a:pt x="470" y="29"/>
                    <a:pt x="470" y="29"/>
                  </a:cubicBezTo>
                  <a:cubicBezTo>
                    <a:pt x="470" y="30"/>
                    <a:pt x="470" y="31"/>
                    <a:pt x="470" y="32"/>
                  </a:cubicBezTo>
                  <a:close/>
                  <a:moveTo>
                    <a:pt x="556" y="440"/>
                  </a:moveTo>
                  <a:cubicBezTo>
                    <a:pt x="556" y="439"/>
                    <a:pt x="556" y="438"/>
                    <a:pt x="556" y="436"/>
                  </a:cubicBezTo>
                  <a:cubicBezTo>
                    <a:pt x="556" y="438"/>
                    <a:pt x="556" y="439"/>
                    <a:pt x="556" y="440"/>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47">
              <a:extLst>
                <a:ext uri="{FF2B5EF4-FFF2-40B4-BE49-F238E27FC236}">
                  <a16:creationId xmlns:a16="http://schemas.microsoft.com/office/drawing/2014/main" id="{7776907B-FC47-4AE1-9DD5-B4B2551678BE}"/>
                </a:ext>
              </a:extLst>
            </p:cNvPr>
            <p:cNvSpPr>
              <a:spLocks/>
            </p:cNvSpPr>
            <p:nvPr/>
          </p:nvSpPr>
          <p:spPr bwMode="auto">
            <a:xfrm>
              <a:off x="8138475" y="2394111"/>
              <a:ext cx="173845" cy="328486"/>
            </a:xfrm>
            <a:custGeom>
              <a:avLst/>
              <a:gdLst>
                <a:gd name="T0" fmla="*/ 1 w 157"/>
                <a:gd name="T1" fmla="*/ 44 h 295"/>
                <a:gd name="T2" fmla="*/ 4 w 157"/>
                <a:gd name="T3" fmla="*/ 49 h 295"/>
                <a:gd name="T4" fmla="*/ 2 w 157"/>
                <a:gd name="T5" fmla="*/ 57 h 295"/>
                <a:gd name="T6" fmla="*/ 8 w 157"/>
                <a:gd name="T7" fmla="*/ 65 h 295"/>
                <a:gd name="T8" fmla="*/ 8 w 157"/>
                <a:gd name="T9" fmla="*/ 81 h 295"/>
                <a:gd name="T10" fmla="*/ 11 w 157"/>
                <a:gd name="T11" fmla="*/ 90 h 295"/>
                <a:gd name="T12" fmla="*/ 18 w 157"/>
                <a:gd name="T13" fmla="*/ 97 h 295"/>
                <a:gd name="T14" fmla="*/ 21 w 157"/>
                <a:gd name="T15" fmla="*/ 104 h 295"/>
                <a:gd name="T16" fmla="*/ 20 w 157"/>
                <a:gd name="T17" fmla="*/ 112 h 295"/>
                <a:gd name="T18" fmla="*/ 23 w 157"/>
                <a:gd name="T19" fmla="*/ 120 h 295"/>
                <a:gd name="T20" fmla="*/ 24 w 157"/>
                <a:gd name="T21" fmla="*/ 128 h 295"/>
                <a:gd name="T22" fmla="*/ 21 w 157"/>
                <a:gd name="T23" fmla="*/ 134 h 295"/>
                <a:gd name="T24" fmla="*/ 21 w 157"/>
                <a:gd name="T25" fmla="*/ 147 h 295"/>
                <a:gd name="T26" fmla="*/ 26 w 157"/>
                <a:gd name="T27" fmla="*/ 161 h 295"/>
                <a:gd name="T28" fmla="*/ 31 w 157"/>
                <a:gd name="T29" fmla="*/ 170 h 295"/>
                <a:gd name="T30" fmla="*/ 35 w 157"/>
                <a:gd name="T31" fmla="*/ 184 h 295"/>
                <a:gd name="T32" fmla="*/ 33 w 157"/>
                <a:gd name="T33" fmla="*/ 195 h 295"/>
                <a:gd name="T34" fmla="*/ 34 w 157"/>
                <a:gd name="T35" fmla="*/ 199 h 295"/>
                <a:gd name="T36" fmla="*/ 37 w 157"/>
                <a:gd name="T37" fmla="*/ 193 h 295"/>
                <a:gd name="T38" fmla="*/ 51 w 157"/>
                <a:gd name="T39" fmla="*/ 207 h 295"/>
                <a:gd name="T40" fmla="*/ 66 w 157"/>
                <a:gd name="T41" fmla="*/ 279 h 295"/>
                <a:gd name="T42" fmla="*/ 68 w 157"/>
                <a:gd name="T43" fmla="*/ 287 h 295"/>
                <a:gd name="T44" fmla="*/ 73 w 157"/>
                <a:gd name="T45" fmla="*/ 295 h 295"/>
                <a:gd name="T46" fmla="*/ 139 w 157"/>
                <a:gd name="T47" fmla="*/ 281 h 295"/>
                <a:gd name="T48" fmla="*/ 131 w 157"/>
                <a:gd name="T49" fmla="*/ 274 h 295"/>
                <a:gd name="T50" fmla="*/ 127 w 157"/>
                <a:gd name="T51" fmla="*/ 265 h 295"/>
                <a:gd name="T52" fmla="*/ 127 w 157"/>
                <a:gd name="T53" fmla="*/ 256 h 295"/>
                <a:gd name="T54" fmla="*/ 131 w 157"/>
                <a:gd name="T55" fmla="*/ 249 h 295"/>
                <a:gd name="T56" fmla="*/ 126 w 157"/>
                <a:gd name="T57" fmla="*/ 227 h 295"/>
                <a:gd name="T58" fmla="*/ 126 w 157"/>
                <a:gd name="T59" fmla="*/ 212 h 295"/>
                <a:gd name="T60" fmla="*/ 120 w 157"/>
                <a:gd name="T61" fmla="*/ 186 h 295"/>
                <a:gd name="T62" fmla="*/ 123 w 157"/>
                <a:gd name="T63" fmla="*/ 179 h 295"/>
                <a:gd name="T64" fmla="*/ 122 w 157"/>
                <a:gd name="T65" fmla="*/ 167 h 295"/>
                <a:gd name="T66" fmla="*/ 126 w 157"/>
                <a:gd name="T67" fmla="*/ 159 h 295"/>
                <a:gd name="T68" fmla="*/ 128 w 157"/>
                <a:gd name="T69" fmla="*/ 152 h 295"/>
                <a:gd name="T70" fmla="*/ 128 w 157"/>
                <a:gd name="T71" fmla="*/ 144 h 295"/>
                <a:gd name="T72" fmla="*/ 131 w 157"/>
                <a:gd name="T73" fmla="*/ 137 h 295"/>
                <a:gd name="T74" fmla="*/ 129 w 157"/>
                <a:gd name="T75" fmla="*/ 129 h 295"/>
                <a:gd name="T76" fmla="*/ 132 w 157"/>
                <a:gd name="T77" fmla="*/ 116 h 295"/>
                <a:gd name="T78" fmla="*/ 128 w 157"/>
                <a:gd name="T79" fmla="*/ 101 h 295"/>
                <a:gd name="T80" fmla="*/ 127 w 157"/>
                <a:gd name="T81" fmla="*/ 93 h 295"/>
                <a:gd name="T82" fmla="*/ 134 w 157"/>
                <a:gd name="T83" fmla="*/ 86 h 295"/>
                <a:gd name="T84" fmla="*/ 137 w 157"/>
                <a:gd name="T85" fmla="*/ 85 h 295"/>
                <a:gd name="T86" fmla="*/ 150 w 157"/>
                <a:gd name="T87" fmla="*/ 70 h 295"/>
                <a:gd name="T88" fmla="*/ 156 w 157"/>
                <a:gd name="T89" fmla="*/ 60 h 295"/>
                <a:gd name="T90" fmla="*/ 157 w 157"/>
                <a:gd name="T91" fmla="*/ 52 h 295"/>
                <a:gd name="T92" fmla="*/ 154 w 157"/>
                <a:gd name="T93" fmla="*/ 45 h 295"/>
                <a:gd name="T94" fmla="*/ 148 w 157"/>
                <a:gd name="T95" fmla="*/ 38 h 295"/>
                <a:gd name="T96" fmla="*/ 146 w 157"/>
                <a:gd name="T97" fmla="*/ 30 h 295"/>
                <a:gd name="T98" fmla="*/ 151 w 157"/>
                <a:gd name="T99" fmla="*/ 15 h 295"/>
                <a:gd name="T100" fmla="*/ 146 w 157"/>
                <a:gd name="T101" fmla="*/ 4 h 295"/>
                <a:gd name="T102" fmla="*/ 148 w 157"/>
                <a:gd name="T103" fmla="*/ 0 h 295"/>
                <a:gd name="T104" fmla="*/ 29 w 157"/>
                <a:gd name="T105" fmla="*/ 31 h 295"/>
                <a:gd name="T106" fmla="*/ 3 w 157"/>
                <a:gd name="T107" fmla="*/ 39 h 295"/>
                <a:gd name="T108" fmla="*/ 0 w 157"/>
                <a:gd name="T109" fmla="*/ 40 h 295"/>
                <a:gd name="T110" fmla="*/ 1 w 157"/>
                <a:gd name="T111" fmla="*/ 4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295">
                  <a:moveTo>
                    <a:pt x="1" y="44"/>
                  </a:moveTo>
                  <a:cubicBezTo>
                    <a:pt x="1" y="44"/>
                    <a:pt x="4" y="48"/>
                    <a:pt x="4" y="49"/>
                  </a:cubicBezTo>
                  <a:cubicBezTo>
                    <a:pt x="4" y="51"/>
                    <a:pt x="2" y="55"/>
                    <a:pt x="2" y="57"/>
                  </a:cubicBezTo>
                  <a:cubicBezTo>
                    <a:pt x="3" y="60"/>
                    <a:pt x="7" y="63"/>
                    <a:pt x="8" y="65"/>
                  </a:cubicBezTo>
                  <a:cubicBezTo>
                    <a:pt x="9" y="69"/>
                    <a:pt x="8" y="77"/>
                    <a:pt x="8" y="81"/>
                  </a:cubicBezTo>
                  <a:cubicBezTo>
                    <a:pt x="9" y="83"/>
                    <a:pt x="10" y="88"/>
                    <a:pt x="11" y="90"/>
                  </a:cubicBezTo>
                  <a:cubicBezTo>
                    <a:pt x="13" y="92"/>
                    <a:pt x="17" y="94"/>
                    <a:pt x="18" y="97"/>
                  </a:cubicBezTo>
                  <a:cubicBezTo>
                    <a:pt x="20" y="98"/>
                    <a:pt x="21" y="102"/>
                    <a:pt x="21" y="104"/>
                  </a:cubicBezTo>
                  <a:cubicBezTo>
                    <a:pt x="21" y="106"/>
                    <a:pt x="20" y="110"/>
                    <a:pt x="20" y="112"/>
                  </a:cubicBezTo>
                  <a:cubicBezTo>
                    <a:pt x="21" y="114"/>
                    <a:pt x="22" y="118"/>
                    <a:pt x="23" y="120"/>
                  </a:cubicBezTo>
                  <a:cubicBezTo>
                    <a:pt x="23" y="122"/>
                    <a:pt x="24" y="126"/>
                    <a:pt x="24" y="128"/>
                  </a:cubicBezTo>
                  <a:cubicBezTo>
                    <a:pt x="24" y="129"/>
                    <a:pt x="22" y="133"/>
                    <a:pt x="21" y="134"/>
                  </a:cubicBezTo>
                  <a:cubicBezTo>
                    <a:pt x="20" y="137"/>
                    <a:pt x="20" y="143"/>
                    <a:pt x="21" y="147"/>
                  </a:cubicBezTo>
                  <a:cubicBezTo>
                    <a:pt x="22" y="151"/>
                    <a:pt x="25" y="157"/>
                    <a:pt x="26" y="161"/>
                  </a:cubicBezTo>
                  <a:cubicBezTo>
                    <a:pt x="27" y="163"/>
                    <a:pt x="31" y="168"/>
                    <a:pt x="31" y="170"/>
                  </a:cubicBezTo>
                  <a:cubicBezTo>
                    <a:pt x="33" y="173"/>
                    <a:pt x="34" y="180"/>
                    <a:pt x="35" y="184"/>
                  </a:cubicBezTo>
                  <a:cubicBezTo>
                    <a:pt x="35" y="188"/>
                    <a:pt x="33" y="192"/>
                    <a:pt x="33" y="195"/>
                  </a:cubicBezTo>
                  <a:cubicBezTo>
                    <a:pt x="34" y="197"/>
                    <a:pt x="32" y="200"/>
                    <a:pt x="34" y="199"/>
                  </a:cubicBezTo>
                  <a:cubicBezTo>
                    <a:pt x="37" y="199"/>
                    <a:pt x="35" y="194"/>
                    <a:pt x="37" y="193"/>
                  </a:cubicBezTo>
                  <a:cubicBezTo>
                    <a:pt x="41" y="192"/>
                    <a:pt x="48" y="200"/>
                    <a:pt x="51" y="207"/>
                  </a:cubicBezTo>
                  <a:cubicBezTo>
                    <a:pt x="56" y="226"/>
                    <a:pt x="66" y="279"/>
                    <a:pt x="66" y="279"/>
                  </a:cubicBezTo>
                  <a:cubicBezTo>
                    <a:pt x="66" y="279"/>
                    <a:pt x="68" y="286"/>
                    <a:pt x="68" y="287"/>
                  </a:cubicBezTo>
                  <a:cubicBezTo>
                    <a:pt x="68" y="290"/>
                    <a:pt x="73" y="295"/>
                    <a:pt x="73" y="295"/>
                  </a:cubicBezTo>
                  <a:cubicBezTo>
                    <a:pt x="139" y="281"/>
                    <a:pt x="139" y="281"/>
                    <a:pt x="139" y="281"/>
                  </a:cubicBezTo>
                  <a:cubicBezTo>
                    <a:pt x="131" y="274"/>
                    <a:pt x="131" y="274"/>
                    <a:pt x="131" y="274"/>
                  </a:cubicBezTo>
                  <a:cubicBezTo>
                    <a:pt x="127" y="265"/>
                    <a:pt x="127" y="265"/>
                    <a:pt x="127" y="265"/>
                  </a:cubicBezTo>
                  <a:cubicBezTo>
                    <a:pt x="127" y="265"/>
                    <a:pt x="126" y="259"/>
                    <a:pt x="127" y="256"/>
                  </a:cubicBezTo>
                  <a:cubicBezTo>
                    <a:pt x="127" y="254"/>
                    <a:pt x="130" y="251"/>
                    <a:pt x="131" y="249"/>
                  </a:cubicBezTo>
                  <a:cubicBezTo>
                    <a:pt x="131" y="244"/>
                    <a:pt x="127" y="233"/>
                    <a:pt x="126" y="227"/>
                  </a:cubicBezTo>
                  <a:cubicBezTo>
                    <a:pt x="126" y="223"/>
                    <a:pt x="127" y="215"/>
                    <a:pt x="126" y="212"/>
                  </a:cubicBezTo>
                  <a:cubicBezTo>
                    <a:pt x="125" y="205"/>
                    <a:pt x="119" y="192"/>
                    <a:pt x="120" y="186"/>
                  </a:cubicBezTo>
                  <a:cubicBezTo>
                    <a:pt x="120" y="184"/>
                    <a:pt x="123" y="181"/>
                    <a:pt x="123" y="179"/>
                  </a:cubicBezTo>
                  <a:cubicBezTo>
                    <a:pt x="124" y="176"/>
                    <a:pt x="121" y="170"/>
                    <a:pt x="122" y="167"/>
                  </a:cubicBezTo>
                  <a:cubicBezTo>
                    <a:pt x="122" y="165"/>
                    <a:pt x="125" y="161"/>
                    <a:pt x="126" y="159"/>
                  </a:cubicBezTo>
                  <a:cubicBezTo>
                    <a:pt x="127" y="157"/>
                    <a:pt x="128" y="154"/>
                    <a:pt x="128" y="152"/>
                  </a:cubicBezTo>
                  <a:cubicBezTo>
                    <a:pt x="129" y="150"/>
                    <a:pt x="127" y="146"/>
                    <a:pt x="128" y="144"/>
                  </a:cubicBezTo>
                  <a:cubicBezTo>
                    <a:pt x="128" y="142"/>
                    <a:pt x="130" y="139"/>
                    <a:pt x="131" y="137"/>
                  </a:cubicBezTo>
                  <a:cubicBezTo>
                    <a:pt x="131" y="135"/>
                    <a:pt x="129" y="131"/>
                    <a:pt x="129" y="129"/>
                  </a:cubicBezTo>
                  <a:cubicBezTo>
                    <a:pt x="129" y="125"/>
                    <a:pt x="132" y="119"/>
                    <a:pt x="132" y="116"/>
                  </a:cubicBezTo>
                  <a:cubicBezTo>
                    <a:pt x="132" y="112"/>
                    <a:pt x="128" y="105"/>
                    <a:pt x="128" y="101"/>
                  </a:cubicBezTo>
                  <a:cubicBezTo>
                    <a:pt x="127" y="99"/>
                    <a:pt x="126" y="95"/>
                    <a:pt x="127" y="93"/>
                  </a:cubicBezTo>
                  <a:cubicBezTo>
                    <a:pt x="128" y="90"/>
                    <a:pt x="132" y="87"/>
                    <a:pt x="134" y="86"/>
                  </a:cubicBezTo>
                  <a:cubicBezTo>
                    <a:pt x="135" y="85"/>
                    <a:pt x="136" y="85"/>
                    <a:pt x="137" y="85"/>
                  </a:cubicBezTo>
                  <a:cubicBezTo>
                    <a:pt x="141" y="82"/>
                    <a:pt x="147" y="74"/>
                    <a:pt x="150" y="70"/>
                  </a:cubicBezTo>
                  <a:cubicBezTo>
                    <a:pt x="152" y="68"/>
                    <a:pt x="155" y="63"/>
                    <a:pt x="156" y="60"/>
                  </a:cubicBezTo>
                  <a:cubicBezTo>
                    <a:pt x="156" y="58"/>
                    <a:pt x="157" y="54"/>
                    <a:pt x="157" y="52"/>
                  </a:cubicBezTo>
                  <a:cubicBezTo>
                    <a:pt x="156" y="50"/>
                    <a:pt x="155" y="47"/>
                    <a:pt x="154" y="45"/>
                  </a:cubicBezTo>
                  <a:cubicBezTo>
                    <a:pt x="152" y="43"/>
                    <a:pt x="149" y="40"/>
                    <a:pt x="148" y="38"/>
                  </a:cubicBezTo>
                  <a:cubicBezTo>
                    <a:pt x="147" y="36"/>
                    <a:pt x="146" y="32"/>
                    <a:pt x="146" y="30"/>
                  </a:cubicBezTo>
                  <a:cubicBezTo>
                    <a:pt x="147" y="26"/>
                    <a:pt x="151" y="19"/>
                    <a:pt x="151" y="15"/>
                  </a:cubicBezTo>
                  <a:cubicBezTo>
                    <a:pt x="151" y="12"/>
                    <a:pt x="146" y="4"/>
                    <a:pt x="146" y="4"/>
                  </a:cubicBezTo>
                  <a:cubicBezTo>
                    <a:pt x="148" y="0"/>
                    <a:pt x="148" y="0"/>
                    <a:pt x="148" y="0"/>
                  </a:cubicBezTo>
                  <a:cubicBezTo>
                    <a:pt x="29" y="31"/>
                    <a:pt x="29" y="31"/>
                    <a:pt x="29" y="31"/>
                  </a:cubicBezTo>
                  <a:cubicBezTo>
                    <a:pt x="3" y="39"/>
                    <a:pt x="3" y="39"/>
                    <a:pt x="3" y="39"/>
                  </a:cubicBezTo>
                  <a:cubicBezTo>
                    <a:pt x="0" y="40"/>
                    <a:pt x="0" y="40"/>
                    <a:pt x="0" y="40"/>
                  </a:cubicBezTo>
                  <a:lnTo>
                    <a:pt x="1" y="44"/>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48">
              <a:extLst>
                <a:ext uri="{FF2B5EF4-FFF2-40B4-BE49-F238E27FC236}">
                  <a16:creationId xmlns:a16="http://schemas.microsoft.com/office/drawing/2014/main" id="{582313A6-E3BD-451A-B6C5-C9C10BC413C2}"/>
                </a:ext>
              </a:extLst>
            </p:cNvPr>
            <p:cNvSpPr>
              <a:spLocks/>
            </p:cNvSpPr>
            <p:nvPr/>
          </p:nvSpPr>
          <p:spPr bwMode="auto">
            <a:xfrm>
              <a:off x="8267848" y="2345597"/>
              <a:ext cx="178899" cy="363862"/>
            </a:xfrm>
            <a:custGeom>
              <a:avLst/>
              <a:gdLst>
                <a:gd name="T0" fmla="*/ 154 w 161"/>
                <a:gd name="T1" fmla="*/ 244 h 327"/>
                <a:gd name="T2" fmla="*/ 145 w 161"/>
                <a:gd name="T3" fmla="*/ 236 h 327"/>
                <a:gd name="T4" fmla="*/ 144 w 161"/>
                <a:gd name="T5" fmla="*/ 228 h 327"/>
                <a:gd name="T6" fmla="*/ 135 w 161"/>
                <a:gd name="T7" fmla="*/ 224 h 327"/>
                <a:gd name="T8" fmla="*/ 126 w 161"/>
                <a:gd name="T9" fmla="*/ 212 h 327"/>
                <a:gd name="T10" fmla="*/ 124 w 161"/>
                <a:gd name="T11" fmla="*/ 202 h 327"/>
                <a:gd name="T12" fmla="*/ 115 w 161"/>
                <a:gd name="T13" fmla="*/ 174 h 327"/>
                <a:gd name="T14" fmla="*/ 55 w 161"/>
                <a:gd name="T15" fmla="*/ 0 h 327"/>
                <a:gd name="T16" fmla="*/ 48 w 161"/>
                <a:gd name="T17" fmla="*/ 8 h 327"/>
                <a:gd name="T18" fmla="*/ 41 w 161"/>
                <a:gd name="T19" fmla="*/ 6 h 327"/>
                <a:gd name="T20" fmla="*/ 32 w 161"/>
                <a:gd name="T21" fmla="*/ 13 h 327"/>
                <a:gd name="T22" fmla="*/ 31 w 161"/>
                <a:gd name="T23" fmla="*/ 21 h 327"/>
                <a:gd name="T24" fmla="*/ 28 w 161"/>
                <a:gd name="T25" fmla="*/ 36 h 327"/>
                <a:gd name="T26" fmla="*/ 29 w 161"/>
                <a:gd name="T27" fmla="*/ 43 h 327"/>
                <a:gd name="T28" fmla="*/ 26 w 161"/>
                <a:gd name="T29" fmla="*/ 48 h 327"/>
                <a:gd name="T30" fmla="*/ 31 w 161"/>
                <a:gd name="T31" fmla="*/ 59 h 327"/>
                <a:gd name="T32" fmla="*/ 27 w 161"/>
                <a:gd name="T33" fmla="*/ 74 h 327"/>
                <a:gd name="T34" fmla="*/ 20 w 161"/>
                <a:gd name="T35" fmla="*/ 118 h 327"/>
                <a:gd name="T36" fmla="*/ 8 w 161"/>
                <a:gd name="T37" fmla="*/ 146 h 327"/>
                <a:gd name="T38" fmla="*/ 11 w 161"/>
                <a:gd name="T39" fmla="*/ 166 h 327"/>
                <a:gd name="T40" fmla="*/ 10 w 161"/>
                <a:gd name="T41" fmla="*/ 177 h 327"/>
                <a:gd name="T42" fmla="*/ 10 w 161"/>
                <a:gd name="T43" fmla="*/ 183 h 327"/>
                <a:gd name="T44" fmla="*/ 9 w 161"/>
                <a:gd name="T45" fmla="*/ 192 h 327"/>
                <a:gd name="T46" fmla="*/ 7 w 161"/>
                <a:gd name="T47" fmla="*/ 202 h 327"/>
                <a:gd name="T48" fmla="*/ 3 w 161"/>
                <a:gd name="T49" fmla="*/ 217 h 327"/>
                <a:gd name="T50" fmla="*/ 2 w 161"/>
                <a:gd name="T51" fmla="*/ 225 h 327"/>
                <a:gd name="T52" fmla="*/ 4 w 161"/>
                <a:gd name="T53" fmla="*/ 248 h 327"/>
                <a:gd name="T54" fmla="*/ 7 w 161"/>
                <a:gd name="T55" fmla="*/ 271 h 327"/>
                <a:gd name="T56" fmla="*/ 9 w 161"/>
                <a:gd name="T57" fmla="*/ 296 h 327"/>
                <a:gd name="T58" fmla="*/ 8 w 161"/>
                <a:gd name="T59" fmla="*/ 310 h 327"/>
                <a:gd name="T60" fmla="*/ 17 w 161"/>
                <a:gd name="T61" fmla="*/ 324 h 327"/>
                <a:gd name="T62" fmla="*/ 25 w 161"/>
                <a:gd name="T63" fmla="*/ 327 h 327"/>
                <a:gd name="T64" fmla="*/ 119 w 161"/>
                <a:gd name="T65" fmla="*/ 304 h 327"/>
                <a:gd name="T66" fmla="*/ 129 w 161"/>
                <a:gd name="T67" fmla="*/ 293 h 327"/>
                <a:gd name="T68" fmla="*/ 134 w 161"/>
                <a:gd name="T69" fmla="*/ 287 h 327"/>
                <a:gd name="T70" fmla="*/ 140 w 161"/>
                <a:gd name="T71" fmla="*/ 278 h 327"/>
                <a:gd name="T72" fmla="*/ 150 w 161"/>
                <a:gd name="T73" fmla="*/ 273 h 327"/>
                <a:gd name="T74" fmla="*/ 155 w 161"/>
                <a:gd name="T75" fmla="*/ 273 h 327"/>
                <a:gd name="T76" fmla="*/ 156 w 161"/>
                <a:gd name="T77" fmla="*/ 264 h 327"/>
                <a:gd name="T78" fmla="*/ 159 w 161"/>
                <a:gd name="T79" fmla="*/ 24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 h="327">
                  <a:moveTo>
                    <a:pt x="159" y="248"/>
                  </a:moveTo>
                  <a:cubicBezTo>
                    <a:pt x="159" y="247"/>
                    <a:pt x="159" y="246"/>
                    <a:pt x="154" y="244"/>
                  </a:cubicBezTo>
                  <a:cubicBezTo>
                    <a:pt x="153" y="244"/>
                    <a:pt x="152" y="243"/>
                    <a:pt x="151" y="243"/>
                  </a:cubicBezTo>
                  <a:cubicBezTo>
                    <a:pt x="149" y="241"/>
                    <a:pt x="146" y="238"/>
                    <a:pt x="145" y="236"/>
                  </a:cubicBezTo>
                  <a:cubicBezTo>
                    <a:pt x="145" y="236"/>
                    <a:pt x="145" y="235"/>
                    <a:pt x="145" y="234"/>
                  </a:cubicBezTo>
                  <a:cubicBezTo>
                    <a:pt x="145" y="232"/>
                    <a:pt x="145" y="230"/>
                    <a:pt x="144" y="228"/>
                  </a:cubicBezTo>
                  <a:cubicBezTo>
                    <a:pt x="143" y="227"/>
                    <a:pt x="140" y="226"/>
                    <a:pt x="138" y="225"/>
                  </a:cubicBezTo>
                  <a:cubicBezTo>
                    <a:pt x="137" y="225"/>
                    <a:pt x="136" y="224"/>
                    <a:pt x="135" y="224"/>
                  </a:cubicBezTo>
                  <a:cubicBezTo>
                    <a:pt x="134" y="223"/>
                    <a:pt x="130" y="220"/>
                    <a:pt x="129" y="218"/>
                  </a:cubicBezTo>
                  <a:cubicBezTo>
                    <a:pt x="128" y="217"/>
                    <a:pt x="127" y="214"/>
                    <a:pt x="126" y="212"/>
                  </a:cubicBezTo>
                  <a:cubicBezTo>
                    <a:pt x="125" y="210"/>
                    <a:pt x="124" y="206"/>
                    <a:pt x="124" y="205"/>
                  </a:cubicBezTo>
                  <a:cubicBezTo>
                    <a:pt x="123" y="204"/>
                    <a:pt x="123" y="203"/>
                    <a:pt x="124" y="202"/>
                  </a:cubicBezTo>
                  <a:cubicBezTo>
                    <a:pt x="124" y="200"/>
                    <a:pt x="124" y="198"/>
                    <a:pt x="124" y="197"/>
                  </a:cubicBezTo>
                  <a:cubicBezTo>
                    <a:pt x="122" y="191"/>
                    <a:pt x="115" y="175"/>
                    <a:pt x="115" y="174"/>
                  </a:cubicBezTo>
                  <a:cubicBezTo>
                    <a:pt x="59" y="6"/>
                    <a:pt x="59" y="6"/>
                    <a:pt x="59" y="6"/>
                  </a:cubicBezTo>
                  <a:cubicBezTo>
                    <a:pt x="59" y="2"/>
                    <a:pt x="58" y="0"/>
                    <a:pt x="55" y="0"/>
                  </a:cubicBezTo>
                  <a:cubicBezTo>
                    <a:pt x="53" y="0"/>
                    <a:pt x="51" y="3"/>
                    <a:pt x="49" y="5"/>
                  </a:cubicBezTo>
                  <a:cubicBezTo>
                    <a:pt x="49" y="6"/>
                    <a:pt x="48" y="8"/>
                    <a:pt x="48" y="8"/>
                  </a:cubicBezTo>
                  <a:cubicBezTo>
                    <a:pt x="47" y="8"/>
                    <a:pt x="46" y="8"/>
                    <a:pt x="46" y="7"/>
                  </a:cubicBezTo>
                  <a:cubicBezTo>
                    <a:pt x="44" y="7"/>
                    <a:pt x="43" y="6"/>
                    <a:pt x="41" y="6"/>
                  </a:cubicBezTo>
                  <a:cubicBezTo>
                    <a:pt x="41" y="6"/>
                    <a:pt x="41" y="6"/>
                    <a:pt x="41" y="6"/>
                  </a:cubicBezTo>
                  <a:cubicBezTo>
                    <a:pt x="37" y="7"/>
                    <a:pt x="33" y="10"/>
                    <a:pt x="32" y="13"/>
                  </a:cubicBezTo>
                  <a:cubicBezTo>
                    <a:pt x="31" y="15"/>
                    <a:pt x="31" y="17"/>
                    <a:pt x="31" y="19"/>
                  </a:cubicBezTo>
                  <a:cubicBezTo>
                    <a:pt x="31" y="20"/>
                    <a:pt x="31" y="21"/>
                    <a:pt x="31" y="21"/>
                  </a:cubicBezTo>
                  <a:cubicBezTo>
                    <a:pt x="31" y="23"/>
                    <a:pt x="30" y="25"/>
                    <a:pt x="30" y="27"/>
                  </a:cubicBezTo>
                  <a:cubicBezTo>
                    <a:pt x="29" y="31"/>
                    <a:pt x="28" y="34"/>
                    <a:pt x="28" y="36"/>
                  </a:cubicBezTo>
                  <a:cubicBezTo>
                    <a:pt x="28" y="38"/>
                    <a:pt x="28" y="39"/>
                    <a:pt x="29" y="40"/>
                  </a:cubicBezTo>
                  <a:cubicBezTo>
                    <a:pt x="29" y="41"/>
                    <a:pt x="29" y="42"/>
                    <a:pt x="29" y="43"/>
                  </a:cubicBezTo>
                  <a:cubicBezTo>
                    <a:pt x="29" y="43"/>
                    <a:pt x="29" y="43"/>
                    <a:pt x="29" y="43"/>
                  </a:cubicBezTo>
                  <a:cubicBezTo>
                    <a:pt x="27" y="45"/>
                    <a:pt x="26" y="47"/>
                    <a:pt x="26" y="48"/>
                  </a:cubicBezTo>
                  <a:cubicBezTo>
                    <a:pt x="26" y="50"/>
                    <a:pt x="28" y="53"/>
                    <a:pt x="29" y="55"/>
                  </a:cubicBezTo>
                  <a:cubicBezTo>
                    <a:pt x="30" y="56"/>
                    <a:pt x="31" y="58"/>
                    <a:pt x="31" y="59"/>
                  </a:cubicBezTo>
                  <a:cubicBezTo>
                    <a:pt x="31" y="61"/>
                    <a:pt x="30" y="64"/>
                    <a:pt x="29" y="67"/>
                  </a:cubicBezTo>
                  <a:cubicBezTo>
                    <a:pt x="28" y="69"/>
                    <a:pt x="27" y="72"/>
                    <a:pt x="27" y="74"/>
                  </a:cubicBezTo>
                  <a:cubicBezTo>
                    <a:pt x="27" y="76"/>
                    <a:pt x="27" y="81"/>
                    <a:pt x="29" y="83"/>
                  </a:cubicBezTo>
                  <a:cubicBezTo>
                    <a:pt x="38" y="100"/>
                    <a:pt x="30" y="108"/>
                    <a:pt x="20" y="118"/>
                  </a:cubicBezTo>
                  <a:cubicBezTo>
                    <a:pt x="15" y="124"/>
                    <a:pt x="10" y="129"/>
                    <a:pt x="8" y="136"/>
                  </a:cubicBezTo>
                  <a:cubicBezTo>
                    <a:pt x="7" y="138"/>
                    <a:pt x="8" y="143"/>
                    <a:pt x="8" y="146"/>
                  </a:cubicBezTo>
                  <a:cubicBezTo>
                    <a:pt x="10" y="150"/>
                    <a:pt x="12" y="157"/>
                    <a:pt x="13" y="160"/>
                  </a:cubicBezTo>
                  <a:cubicBezTo>
                    <a:pt x="13" y="161"/>
                    <a:pt x="12" y="164"/>
                    <a:pt x="11" y="166"/>
                  </a:cubicBezTo>
                  <a:cubicBezTo>
                    <a:pt x="10" y="168"/>
                    <a:pt x="10" y="171"/>
                    <a:pt x="10" y="173"/>
                  </a:cubicBezTo>
                  <a:cubicBezTo>
                    <a:pt x="10" y="174"/>
                    <a:pt x="10" y="176"/>
                    <a:pt x="10" y="177"/>
                  </a:cubicBezTo>
                  <a:cubicBezTo>
                    <a:pt x="11" y="178"/>
                    <a:pt x="11" y="180"/>
                    <a:pt x="11" y="180"/>
                  </a:cubicBezTo>
                  <a:cubicBezTo>
                    <a:pt x="11" y="181"/>
                    <a:pt x="10" y="182"/>
                    <a:pt x="10" y="183"/>
                  </a:cubicBezTo>
                  <a:cubicBezTo>
                    <a:pt x="9" y="185"/>
                    <a:pt x="8" y="186"/>
                    <a:pt x="8" y="188"/>
                  </a:cubicBezTo>
                  <a:cubicBezTo>
                    <a:pt x="8" y="189"/>
                    <a:pt x="8" y="191"/>
                    <a:pt x="9" y="192"/>
                  </a:cubicBezTo>
                  <a:cubicBezTo>
                    <a:pt x="9" y="194"/>
                    <a:pt x="9" y="195"/>
                    <a:pt x="9" y="196"/>
                  </a:cubicBezTo>
                  <a:cubicBezTo>
                    <a:pt x="9" y="197"/>
                    <a:pt x="8" y="200"/>
                    <a:pt x="7" y="202"/>
                  </a:cubicBezTo>
                  <a:cubicBezTo>
                    <a:pt x="6" y="203"/>
                    <a:pt x="3" y="208"/>
                    <a:pt x="2" y="211"/>
                  </a:cubicBezTo>
                  <a:cubicBezTo>
                    <a:pt x="2" y="213"/>
                    <a:pt x="3" y="215"/>
                    <a:pt x="3" y="217"/>
                  </a:cubicBezTo>
                  <a:cubicBezTo>
                    <a:pt x="4" y="219"/>
                    <a:pt x="4" y="221"/>
                    <a:pt x="4" y="222"/>
                  </a:cubicBezTo>
                  <a:cubicBezTo>
                    <a:pt x="4" y="223"/>
                    <a:pt x="3" y="224"/>
                    <a:pt x="2" y="225"/>
                  </a:cubicBezTo>
                  <a:cubicBezTo>
                    <a:pt x="1" y="226"/>
                    <a:pt x="0" y="228"/>
                    <a:pt x="0" y="230"/>
                  </a:cubicBezTo>
                  <a:cubicBezTo>
                    <a:pt x="0" y="234"/>
                    <a:pt x="2" y="242"/>
                    <a:pt x="4" y="248"/>
                  </a:cubicBezTo>
                  <a:cubicBezTo>
                    <a:pt x="5" y="251"/>
                    <a:pt x="5" y="254"/>
                    <a:pt x="6" y="256"/>
                  </a:cubicBezTo>
                  <a:cubicBezTo>
                    <a:pt x="6" y="259"/>
                    <a:pt x="7" y="268"/>
                    <a:pt x="7" y="271"/>
                  </a:cubicBezTo>
                  <a:cubicBezTo>
                    <a:pt x="8" y="276"/>
                    <a:pt x="11" y="289"/>
                    <a:pt x="10" y="293"/>
                  </a:cubicBezTo>
                  <a:cubicBezTo>
                    <a:pt x="10" y="294"/>
                    <a:pt x="9" y="295"/>
                    <a:pt x="9" y="296"/>
                  </a:cubicBezTo>
                  <a:cubicBezTo>
                    <a:pt x="8" y="298"/>
                    <a:pt x="8" y="299"/>
                    <a:pt x="8" y="300"/>
                  </a:cubicBezTo>
                  <a:cubicBezTo>
                    <a:pt x="7" y="302"/>
                    <a:pt x="7" y="307"/>
                    <a:pt x="8" y="310"/>
                  </a:cubicBezTo>
                  <a:cubicBezTo>
                    <a:pt x="8" y="312"/>
                    <a:pt x="11" y="317"/>
                    <a:pt x="12" y="319"/>
                  </a:cubicBezTo>
                  <a:cubicBezTo>
                    <a:pt x="13" y="320"/>
                    <a:pt x="15" y="322"/>
                    <a:pt x="17" y="324"/>
                  </a:cubicBezTo>
                  <a:cubicBezTo>
                    <a:pt x="18" y="325"/>
                    <a:pt x="20" y="327"/>
                    <a:pt x="23" y="327"/>
                  </a:cubicBezTo>
                  <a:cubicBezTo>
                    <a:pt x="24" y="327"/>
                    <a:pt x="25" y="327"/>
                    <a:pt x="25" y="327"/>
                  </a:cubicBezTo>
                  <a:cubicBezTo>
                    <a:pt x="118" y="305"/>
                    <a:pt x="118" y="305"/>
                    <a:pt x="118" y="305"/>
                  </a:cubicBezTo>
                  <a:cubicBezTo>
                    <a:pt x="119" y="305"/>
                    <a:pt x="119" y="305"/>
                    <a:pt x="119" y="304"/>
                  </a:cubicBezTo>
                  <a:cubicBezTo>
                    <a:pt x="129" y="293"/>
                    <a:pt x="129" y="293"/>
                    <a:pt x="129" y="293"/>
                  </a:cubicBezTo>
                  <a:cubicBezTo>
                    <a:pt x="129" y="293"/>
                    <a:pt x="129" y="293"/>
                    <a:pt x="129" y="293"/>
                  </a:cubicBezTo>
                  <a:cubicBezTo>
                    <a:pt x="130" y="290"/>
                    <a:pt x="131" y="288"/>
                    <a:pt x="132" y="287"/>
                  </a:cubicBezTo>
                  <a:cubicBezTo>
                    <a:pt x="132" y="287"/>
                    <a:pt x="133" y="287"/>
                    <a:pt x="134" y="287"/>
                  </a:cubicBezTo>
                  <a:cubicBezTo>
                    <a:pt x="137" y="286"/>
                    <a:pt x="138" y="283"/>
                    <a:pt x="139" y="281"/>
                  </a:cubicBezTo>
                  <a:cubicBezTo>
                    <a:pt x="139" y="280"/>
                    <a:pt x="140" y="279"/>
                    <a:pt x="140" y="278"/>
                  </a:cubicBezTo>
                  <a:cubicBezTo>
                    <a:pt x="141" y="277"/>
                    <a:pt x="144" y="275"/>
                    <a:pt x="147" y="274"/>
                  </a:cubicBezTo>
                  <a:cubicBezTo>
                    <a:pt x="150" y="273"/>
                    <a:pt x="150" y="273"/>
                    <a:pt x="150" y="273"/>
                  </a:cubicBezTo>
                  <a:cubicBezTo>
                    <a:pt x="150" y="274"/>
                    <a:pt x="151" y="274"/>
                    <a:pt x="152" y="274"/>
                  </a:cubicBezTo>
                  <a:cubicBezTo>
                    <a:pt x="153" y="274"/>
                    <a:pt x="154" y="274"/>
                    <a:pt x="155" y="273"/>
                  </a:cubicBezTo>
                  <a:cubicBezTo>
                    <a:pt x="157" y="271"/>
                    <a:pt x="157" y="268"/>
                    <a:pt x="156" y="266"/>
                  </a:cubicBezTo>
                  <a:cubicBezTo>
                    <a:pt x="156" y="265"/>
                    <a:pt x="156" y="264"/>
                    <a:pt x="156" y="264"/>
                  </a:cubicBezTo>
                  <a:cubicBezTo>
                    <a:pt x="156" y="263"/>
                    <a:pt x="157" y="261"/>
                    <a:pt x="158" y="259"/>
                  </a:cubicBezTo>
                  <a:cubicBezTo>
                    <a:pt x="159" y="255"/>
                    <a:pt x="161" y="251"/>
                    <a:pt x="159" y="248"/>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49">
              <a:extLst>
                <a:ext uri="{FF2B5EF4-FFF2-40B4-BE49-F238E27FC236}">
                  <a16:creationId xmlns:a16="http://schemas.microsoft.com/office/drawing/2014/main" id="{484F58AD-0F0E-4B64-A285-89299CB9B759}"/>
                </a:ext>
              </a:extLst>
            </p:cNvPr>
            <p:cNvSpPr>
              <a:spLocks/>
            </p:cNvSpPr>
            <p:nvPr/>
          </p:nvSpPr>
          <p:spPr bwMode="auto">
            <a:xfrm>
              <a:off x="4050087" y="3594855"/>
              <a:ext cx="699423" cy="819699"/>
            </a:xfrm>
            <a:custGeom>
              <a:avLst/>
              <a:gdLst>
                <a:gd name="T0" fmla="*/ 501 w 630"/>
                <a:gd name="T1" fmla="*/ 54 h 737"/>
                <a:gd name="T2" fmla="*/ 255 w 630"/>
                <a:gd name="T3" fmla="*/ 16 h 737"/>
                <a:gd name="T4" fmla="*/ 168 w 630"/>
                <a:gd name="T5" fmla="*/ 3 h 737"/>
                <a:gd name="T6" fmla="*/ 144 w 630"/>
                <a:gd name="T7" fmla="*/ 104 h 737"/>
                <a:gd name="T8" fmla="*/ 136 w 630"/>
                <a:gd name="T9" fmla="*/ 112 h 737"/>
                <a:gd name="T10" fmla="*/ 130 w 630"/>
                <a:gd name="T11" fmla="*/ 107 h 737"/>
                <a:gd name="T12" fmla="*/ 121 w 630"/>
                <a:gd name="T13" fmla="*/ 94 h 737"/>
                <a:gd name="T14" fmla="*/ 113 w 630"/>
                <a:gd name="T15" fmla="*/ 94 h 737"/>
                <a:gd name="T16" fmla="*/ 106 w 630"/>
                <a:gd name="T17" fmla="*/ 89 h 737"/>
                <a:gd name="T18" fmla="*/ 86 w 630"/>
                <a:gd name="T19" fmla="*/ 97 h 737"/>
                <a:gd name="T20" fmla="*/ 84 w 630"/>
                <a:gd name="T21" fmla="*/ 116 h 737"/>
                <a:gd name="T22" fmla="*/ 83 w 630"/>
                <a:gd name="T23" fmla="*/ 129 h 737"/>
                <a:gd name="T24" fmla="*/ 82 w 630"/>
                <a:gd name="T25" fmla="*/ 138 h 737"/>
                <a:gd name="T26" fmla="*/ 83 w 630"/>
                <a:gd name="T27" fmla="*/ 153 h 737"/>
                <a:gd name="T28" fmla="*/ 80 w 630"/>
                <a:gd name="T29" fmla="*/ 171 h 737"/>
                <a:gd name="T30" fmla="*/ 82 w 630"/>
                <a:gd name="T31" fmla="*/ 186 h 737"/>
                <a:gd name="T32" fmla="*/ 78 w 630"/>
                <a:gd name="T33" fmla="*/ 205 h 737"/>
                <a:gd name="T34" fmla="*/ 72 w 630"/>
                <a:gd name="T35" fmla="*/ 226 h 737"/>
                <a:gd name="T36" fmla="*/ 70 w 630"/>
                <a:gd name="T37" fmla="*/ 242 h 737"/>
                <a:gd name="T38" fmla="*/ 82 w 630"/>
                <a:gd name="T39" fmla="*/ 268 h 737"/>
                <a:gd name="T40" fmla="*/ 83 w 630"/>
                <a:gd name="T41" fmla="*/ 276 h 737"/>
                <a:gd name="T42" fmla="*/ 85 w 630"/>
                <a:gd name="T43" fmla="*/ 286 h 737"/>
                <a:gd name="T44" fmla="*/ 100 w 630"/>
                <a:gd name="T45" fmla="*/ 308 h 737"/>
                <a:gd name="T46" fmla="*/ 99 w 630"/>
                <a:gd name="T47" fmla="*/ 319 h 737"/>
                <a:gd name="T48" fmla="*/ 73 w 630"/>
                <a:gd name="T49" fmla="*/ 333 h 737"/>
                <a:gd name="T50" fmla="*/ 69 w 630"/>
                <a:gd name="T51" fmla="*/ 340 h 737"/>
                <a:gd name="T52" fmla="*/ 62 w 630"/>
                <a:gd name="T53" fmla="*/ 345 h 737"/>
                <a:gd name="T54" fmla="*/ 57 w 630"/>
                <a:gd name="T55" fmla="*/ 374 h 737"/>
                <a:gd name="T56" fmla="*/ 53 w 630"/>
                <a:gd name="T57" fmla="*/ 381 h 737"/>
                <a:gd name="T58" fmla="*/ 38 w 630"/>
                <a:gd name="T59" fmla="*/ 406 h 737"/>
                <a:gd name="T60" fmla="*/ 25 w 630"/>
                <a:gd name="T61" fmla="*/ 420 h 737"/>
                <a:gd name="T62" fmla="*/ 28 w 630"/>
                <a:gd name="T63" fmla="*/ 435 h 737"/>
                <a:gd name="T64" fmla="*/ 26 w 630"/>
                <a:gd name="T65" fmla="*/ 452 h 737"/>
                <a:gd name="T66" fmla="*/ 35 w 630"/>
                <a:gd name="T67" fmla="*/ 456 h 737"/>
                <a:gd name="T68" fmla="*/ 41 w 630"/>
                <a:gd name="T69" fmla="*/ 459 h 737"/>
                <a:gd name="T70" fmla="*/ 42 w 630"/>
                <a:gd name="T71" fmla="*/ 466 h 737"/>
                <a:gd name="T72" fmla="*/ 39 w 630"/>
                <a:gd name="T73" fmla="*/ 478 h 737"/>
                <a:gd name="T74" fmla="*/ 33 w 630"/>
                <a:gd name="T75" fmla="*/ 486 h 737"/>
                <a:gd name="T76" fmla="*/ 28 w 630"/>
                <a:gd name="T77" fmla="*/ 486 h 737"/>
                <a:gd name="T78" fmla="*/ 20 w 630"/>
                <a:gd name="T79" fmla="*/ 482 h 737"/>
                <a:gd name="T80" fmla="*/ 4 w 630"/>
                <a:gd name="T81" fmla="*/ 501 h 737"/>
                <a:gd name="T82" fmla="*/ 0 w 630"/>
                <a:gd name="T83" fmla="*/ 510 h 737"/>
                <a:gd name="T84" fmla="*/ 25 w 630"/>
                <a:gd name="T85" fmla="*/ 527 h 737"/>
                <a:gd name="T86" fmla="*/ 345 w 630"/>
                <a:gd name="T87" fmla="*/ 710 h 737"/>
                <a:gd name="T88" fmla="*/ 494 w 630"/>
                <a:gd name="T89" fmla="*/ 731 h 737"/>
                <a:gd name="T90" fmla="*/ 544 w 630"/>
                <a:gd name="T91" fmla="*/ 737 h 737"/>
                <a:gd name="T92" fmla="*/ 547 w 630"/>
                <a:gd name="T93" fmla="*/ 731 h 737"/>
                <a:gd name="T94" fmla="*/ 628 w 630"/>
                <a:gd name="T95" fmla="*/ 70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0" h="737">
                  <a:moveTo>
                    <a:pt x="628" y="70"/>
                  </a:moveTo>
                  <a:cubicBezTo>
                    <a:pt x="501" y="54"/>
                    <a:pt x="501" y="54"/>
                    <a:pt x="501" y="54"/>
                  </a:cubicBezTo>
                  <a:cubicBezTo>
                    <a:pt x="380" y="36"/>
                    <a:pt x="380" y="36"/>
                    <a:pt x="380" y="36"/>
                  </a:cubicBezTo>
                  <a:cubicBezTo>
                    <a:pt x="255" y="16"/>
                    <a:pt x="255" y="16"/>
                    <a:pt x="255" y="16"/>
                  </a:cubicBezTo>
                  <a:cubicBezTo>
                    <a:pt x="170" y="1"/>
                    <a:pt x="170" y="1"/>
                    <a:pt x="170" y="1"/>
                  </a:cubicBezTo>
                  <a:cubicBezTo>
                    <a:pt x="169" y="0"/>
                    <a:pt x="168" y="1"/>
                    <a:pt x="168" y="3"/>
                  </a:cubicBezTo>
                  <a:cubicBezTo>
                    <a:pt x="151" y="94"/>
                    <a:pt x="151" y="94"/>
                    <a:pt x="151" y="94"/>
                  </a:cubicBezTo>
                  <a:cubicBezTo>
                    <a:pt x="144" y="104"/>
                    <a:pt x="144" y="104"/>
                    <a:pt x="144" y="104"/>
                  </a:cubicBezTo>
                  <a:cubicBezTo>
                    <a:pt x="141" y="108"/>
                    <a:pt x="138" y="111"/>
                    <a:pt x="137" y="112"/>
                  </a:cubicBezTo>
                  <a:cubicBezTo>
                    <a:pt x="137" y="112"/>
                    <a:pt x="136" y="112"/>
                    <a:pt x="136" y="112"/>
                  </a:cubicBezTo>
                  <a:cubicBezTo>
                    <a:pt x="134" y="112"/>
                    <a:pt x="132" y="111"/>
                    <a:pt x="131" y="111"/>
                  </a:cubicBezTo>
                  <a:cubicBezTo>
                    <a:pt x="131" y="110"/>
                    <a:pt x="131" y="108"/>
                    <a:pt x="130" y="107"/>
                  </a:cubicBezTo>
                  <a:cubicBezTo>
                    <a:pt x="130" y="105"/>
                    <a:pt x="130" y="104"/>
                    <a:pt x="129" y="103"/>
                  </a:cubicBezTo>
                  <a:cubicBezTo>
                    <a:pt x="129" y="103"/>
                    <a:pt x="125" y="96"/>
                    <a:pt x="121" y="94"/>
                  </a:cubicBezTo>
                  <a:cubicBezTo>
                    <a:pt x="120" y="94"/>
                    <a:pt x="118" y="94"/>
                    <a:pt x="116" y="94"/>
                  </a:cubicBezTo>
                  <a:cubicBezTo>
                    <a:pt x="115" y="94"/>
                    <a:pt x="114" y="94"/>
                    <a:pt x="113" y="94"/>
                  </a:cubicBezTo>
                  <a:cubicBezTo>
                    <a:pt x="113" y="94"/>
                    <a:pt x="111" y="93"/>
                    <a:pt x="111" y="92"/>
                  </a:cubicBezTo>
                  <a:cubicBezTo>
                    <a:pt x="109" y="91"/>
                    <a:pt x="107" y="90"/>
                    <a:pt x="106" y="89"/>
                  </a:cubicBezTo>
                  <a:cubicBezTo>
                    <a:pt x="103" y="89"/>
                    <a:pt x="98" y="90"/>
                    <a:pt x="96" y="91"/>
                  </a:cubicBezTo>
                  <a:cubicBezTo>
                    <a:pt x="93" y="92"/>
                    <a:pt x="88" y="95"/>
                    <a:pt x="86" y="97"/>
                  </a:cubicBezTo>
                  <a:cubicBezTo>
                    <a:pt x="84" y="100"/>
                    <a:pt x="82" y="105"/>
                    <a:pt x="82" y="108"/>
                  </a:cubicBezTo>
                  <a:cubicBezTo>
                    <a:pt x="82" y="111"/>
                    <a:pt x="83" y="113"/>
                    <a:pt x="84" y="116"/>
                  </a:cubicBezTo>
                  <a:cubicBezTo>
                    <a:pt x="86" y="119"/>
                    <a:pt x="87" y="122"/>
                    <a:pt x="87" y="123"/>
                  </a:cubicBezTo>
                  <a:cubicBezTo>
                    <a:pt x="87" y="124"/>
                    <a:pt x="85" y="127"/>
                    <a:pt x="83" y="129"/>
                  </a:cubicBezTo>
                  <a:cubicBezTo>
                    <a:pt x="83" y="129"/>
                    <a:pt x="82" y="130"/>
                    <a:pt x="82" y="130"/>
                  </a:cubicBezTo>
                  <a:cubicBezTo>
                    <a:pt x="82" y="138"/>
                    <a:pt x="82" y="138"/>
                    <a:pt x="82" y="138"/>
                  </a:cubicBezTo>
                  <a:cubicBezTo>
                    <a:pt x="82" y="138"/>
                    <a:pt x="82" y="138"/>
                    <a:pt x="82" y="138"/>
                  </a:cubicBezTo>
                  <a:cubicBezTo>
                    <a:pt x="82" y="141"/>
                    <a:pt x="83" y="150"/>
                    <a:pt x="83" y="153"/>
                  </a:cubicBezTo>
                  <a:cubicBezTo>
                    <a:pt x="83" y="154"/>
                    <a:pt x="81" y="159"/>
                    <a:pt x="80" y="163"/>
                  </a:cubicBezTo>
                  <a:cubicBezTo>
                    <a:pt x="80" y="171"/>
                    <a:pt x="80" y="171"/>
                    <a:pt x="80" y="171"/>
                  </a:cubicBezTo>
                  <a:cubicBezTo>
                    <a:pt x="80" y="171"/>
                    <a:pt x="80" y="171"/>
                    <a:pt x="80" y="171"/>
                  </a:cubicBezTo>
                  <a:cubicBezTo>
                    <a:pt x="82" y="186"/>
                    <a:pt x="82" y="186"/>
                    <a:pt x="82" y="186"/>
                  </a:cubicBezTo>
                  <a:cubicBezTo>
                    <a:pt x="83" y="192"/>
                    <a:pt x="82" y="200"/>
                    <a:pt x="81" y="202"/>
                  </a:cubicBezTo>
                  <a:cubicBezTo>
                    <a:pt x="81" y="203"/>
                    <a:pt x="79" y="204"/>
                    <a:pt x="78" y="205"/>
                  </a:cubicBezTo>
                  <a:cubicBezTo>
                    <a:pt x="76" y="206"/>
                    <a:pt x="74" y="207"/>
                    <a:pt x="73" y="209"/>
                  </a:cubicBezTo>
                  <a:cubicBezTo>
                    <a:pt x="71" y="213"/>
                    <a:pt x="72" y="224"/>
                    <a:pt x="72" y="226"/>
                  </a:cubicBezTo>
                  <a:cubicBezTo>
                    <a:pt x="70" y="234"/>
                    <a:pt x="70" y="234"/>
                    <a:pt x="70" y="234"/>
                  </a:cubicBezTo>
                  <a:cubicBezTo>
                    <a:pt x="70" y="235"/>
                    <a:pt x="70" y="240"/>
                    <a:pt x="70" y="242"/>
                  </a:cubicBezTo>
                  <a:cubicBezTo>
                    <a:pt x="71" y="247"/>
                    <a:pt x="78" y="256"/>
                    <a:pt x="79" y="259"/>
                  </a:cubicBezTo>
                  <a:cubicBezTo>
                    <a:pt x="82" y="268"/>
                    <a:pt x="82" y="268"/>
                    <a:pt x="82" y="268"/>
                  </a:cubicBezTo>
                  <a:cubicBezTo>
                    <a:pt x="82" y="275"/>
                    <a:pt x="82" y="275"/>
                    <a:pt x="82" y="275"/>
                  </a:cubicBezTo>
                  <a:cubicBezTo>
                    <a:pt x="82" y="275"/>
                    <a:pt x="83" y="276"/>
                    <a:pt x="83" y="276"/>
                  </a:cubicBezTo>
                  <a:cubicBezTo>
                    <a:pt x="84" y="279"/>
                    <a:pt x="85" y="282"/>
                    <a:pt x="85" y="283"/>
                  </a:cubicBezTo>
                  <a:cubicBezTo>
                    <a:pt x="85" y="284"/>
                    <a:pt x="85" y="285"/>
                    <a:pt x="85" y="286"/>
                  </a:cubicBezTo>
                  <a:cubicBezTo>
                    <a:pt x="85" y="288"/>
                    <a:pt x="84" y="290"/>
                    <a:pt x="85" y="292"/>
                  </a:cubicBezTo>
                  <a:cubicBezTo>
                    <a:pt x="87" y="298"/>
                    <a:pt x="98" y="307"/>
                    <a:pt x="100" y="308"/>
                  </a:cubicBezTo>
                  <a:cubicBezTo>
                    <a:pt x="102" y="310"/>
                    <a:pt x="104" y="313"/>
                    <a:pt x="104" y="314"/>
                  </a:cubicBezTo>
                  <a:cubicBezTo>
                    <a:pt x="104" y="314"/>
                    <a:pt x="102" y="316"/>
                    <a:pt x="99" y="319"/>
                  </a:cubicBezTo>
                  <a:cubicBezTo>
                    <a:pt x="96" y="321"/>
                    <a:pt x="93" y="322"/>
                    <a:pt x="88" y="324"/>
                  </a:cubicBezTo>
                  <a:cubicBezTo>
                    <a:pt x="82" y="327"/>
                    <a:pt x="76" y="330"/>
                    <a:pt x="73" y="333"/>
                  </a:cubicBezTo>
                  <a:cubicBezTo>
                    <a:pt x="72" y="334"/>
                    <a:pt x="71" y="336"/>
                    <a:pt x="71" y="337"/>
                  </a:cubicBezTo>
                  <a:cubicBezTo>
                    <a:pt x="70" y="338"/>
                    <a:pt x="70" y="340"/>
                    <a:pt x="69" y="340"/>
                  </a:cubicBezTo>
                  <a:cubicBezTo>
                    <a:pt x="69" y="341"/>
                    <a:pt x="68" y="341"/>
                    <a:pt x="67" y="342"/>
                  </a:cubicBezTo>
                  <a:cubicBezTo>
                    <a:pt x="65" y="342"/>
                    <a:pt x="63" y="343"/>
                    <a:pt x="62" y="345"/>
                  </a:cubicBezTo>
                  <a:cubicBezTo>
                    <a:pt x="60" y="348"/>
                    <a:pt x="58" y="358"/>
                    <a:pt x="58" y="360"/>
                  </a:cubicBezTo>
                  <a:cubicBezTo>
                    <a:pt x="57" y="374"/>
                    <a:pt x="57" y="374"/>
                    <a:pt x="57" y="374"/>
                  </a:cubicBezTo>
                  <a:cubicBezTo>
                    <a:pt x="53" y="380"/>
                    <a:pt x="53" y="380"/>
                    <a:pt x="53" y="380"/>
                  </a:cubicBezTo>
                  <a:cubicBezTo>
                    <a:pt x="53" y="381"/>
                    <a:pt x="53" y="381"/>
                    <a:pt x="53" y="381"/>
                  </a:cubicBezTo>
                  <a:cubicBezTo>
                    <a:pt x="50" y="391"/>
                    <a:pt x="50" y="391"/>
                    <a:pt x="50" y="391"/>
                  </a:cubicBezTo>
                  <a:cubicBezTo>
                    <a:pt x="38" y="406"/>
                    <a:pt x="38" y="406"/>
                    <a:pt x="38" y="406"/>
                  </a:cubicBezTo>
                  <a:cubicBezTo>
                    <a:pt x="36" y="407"/>
                    <a:pt x="31" y="409"/>
                    <a:pt x="30" y="411"/>
                  </a:cubicBezTo>
                  <a:cubicBezTo>
                    <a:pt x="28" y="412"/>
                    <a:pt x="26" y="417"/>
                    <a:pt x="25" y="420"/>
                  </a:cubicBezTo>
                  <a:cubicBezTo>
                    <a:pt x="25" y="422"/>
                    <a:pt x="27" y="427"/>
                    <a:pt x="28" y="429"/>
                  </a:cubicBezTo>
                  <a:cubicBezTo>
                    <a:pt x="28" y="435"/>
                    <a:pt x="28" y="435"/>
                    <a:pt x="28" y="435"/>
                  </a:cubicBezTo>
                  <a:cubicBezTo>
                    <a:pt x="27" y="437"/>
                    <a:pt x="24" y="441"/>
                    <a:pt x="24" y="443"/>
                  </a:cubicBezTo>
                  <a:cubicBezTo>
                    <a:pt x="24" y="445"/>
                    <a:pt x="24" y="450"/>
                    <a:pt x="26" y="452"/>
                  </a:cubicBezTo>
                  <a:cubicBezTo>
                    <a:pt x="27" y="454"/>
                    <a:pt x="30" y="455"/>
                    <a:pt x="32" y="455"/>
                  </a:cubicBezTo>
                  <a:cubicBezTo>
                    <a:pt x="33" y="456"/>
                    <a:pt x="34" y="456"/>
                    <a:pt x="35" y="456"/>
                  </a:cubicBezTo>
                  <a:cubicBezTo>
                    <a:pt x="36" y="456"/>
                    <a:pt x="36" y="456"/>
                    <a:pt x="36" y="456"/>
                  </a:cubicBezTo>
                  <a:cubicBezTo>
                    <a:pt x="37" y="457"/>
                    <a:pt x="40" y="459"/>
                    <a:pt x="41" y="459"/>
                  </a:cubicBezTo>
                  <a:cubicBezTo>
                    <a:pt x="41" y="460"/>
                    <a:pt x="42" y="461"/>
                    <a:pt x="42" y="465"/>
                  </a:cubicBezTo>
                  <a:cubicBezTo>
                    <a:pt x="42" y="466"/>
                    <a:pt x="42" y="466"/>
                    <a:pt x="42" y="466"/>
                  </a:cubicBezTo>
                  <a:cubicBezTo>
                    <a:pt x="42" y="468"/>
                    <a:pt x="43" y="474"/>
                    <a:pt x="42" y="476"/>
                  </a:cubicBezTo>
                  <a:cubicBezTo>
                    <a:pt x="41" y="477"/>
                    <a:pt x="40" y="477"/>
                    <a:pt x="39" y="478"/>
                  </a:cubicBezTo>
                  <a:cubicBezTo>
                    <a:pt x="37" y="479"/>
                    <a:pt x="35" y="480"/>
                    <a:pt x="34" y="481"/>
                  </a:cubicBezTo>
                  <a:cubicBezTo>
                    <a:pt x="33" y="482"/>
                    <a:pt x="33" y="484"/>
                    <a:pt x="33" y="486"/>
                  </a:cubicBezTo>
                  <a:cubicBezTo>
                    <a:pt x="32" y="486"/>
                    <a:pt x="32" y="487"/>
                    <a:pt x="32" y="487"/>
                  </a:cubicBezTo>
                  <a:cubicBezTo>
                    <a:pt x="31" y="487"/>
                    <a:pt x="29" y="487"/>
                    <a:pt x="28" y="486"/>
                  </a:cubicBezTo>
                  <a:cubicBezTo>
                    <a:pt x="25" y="484"/>
                    <a:pt x="25" y="484"/>
                    <a:pt x="25" y="484"/>
                  </a:cubicBezTo>
                  <a:cubicBezTo>
                    <a:pt x="25" y="484"/>
                    <a:pt x="23" y="482"/>
                    <a:pt x="20" y="482"/>
                  </a:cubicBezTo>
                  <a:cubicBezTo>
                    <a:pt x="17" y="482"/>
                    <a:pt x="15" y="484"/>
                    <a:pt x="14" y="486"/>
                  </a:cubicBezTo>
                  <a:cubicBezTo>
                    <a:pt x="4" y="501"/>
                    <a:pt x="4" y="501"/>
                    <a:pt x="4" y="501"/>
                  </a:cubicBezTo>
                  <a:cubicBezTo>
                    <a:pt x="3" y="501"/>
                    <a:pt x="3" y="502"/>
                    <a:pt x="3" y="502"/>
                  </a:cubicBezTo>
                  <a:cubicBezTo>
                    <a:pt x="0" y="510"/>
                    <a:pt x="0" y="510"/>
                    <a:pt x="0" y="510"/>
                  </a:cubicBezTo>
                  <a:cubicBezTo>
                    <a:pt x="0" y="511"/>
                    <a:pt x="0" y="512"/>
                    <a:pt x="1" y="513"/>
                  </a:cubicBezTo>
                  <a:cubicBezTo>
                    <a:pt x="25" y="527"/>
                    <a:pt x="25" y="527"/>
                    <a:pt x="25" y="527"/>
                  </a:cubicBezTo>
                  <a:cubicBezTo>
                    <a:pt x="219" y="638"/>
                    <a:pt x="219" y="638"/>
                    <a:pt x="219" y="638"/>
                  </a:cubicBezTo>
                  <a:cubicBezTo>
                    <a:pt x="345" y="710"/>
                    <a:pt x="345" y="710"/>
                    <a:pt x="345" y="710"/>
                  </a:cubicBezTo>
                  <a:cubicBezTo>
                    <a:pt x="346" y="710"/>
                    <a:pt x="346" y="710"/>
                    <a:pt x="346" y="710"/>
                  </a:cubicBezTo>
                  <a:cubicBezTo>
                    <a:pt x="494" y="731"/>
                    <a:pt x="494" y="731"/>
                    <a:pt x="494" y="731"/>
                  </a:cubicBezTo>
                  <a:cubicBezTo>
                    <a:pt x="543" y="737"/>
                    <a:pt x="543" y="737"/>
                    <a:pt x="543" y="737"/>
                  </a:cubicBezTo>
                  <a:cubicBezTo>
                    <a:pt x="543" y="737"/>
                    <a:pt x="544" y="737"/>
                    <a:pt x="544" y="737"/>
                  </a:cubicBezTo>
                  <a:cubicBezTo>
                    <a:pt x="545" y="737"/>
                    <a:pt x="546" y="736"/>
                    <a:pt x="546" y="735"/>
                  </a:cubicBezTo>
                  <a:cubicBezTo>
                    <a:pt x="547" y="731"/>
                    <a:pt x="547" y="731"/>
                    <a:pt x="547" y="731"/>
                  </a:cubicBezTo>
                  <a:cubicBezTo>
                    <a:pt x="630" y="73"/>
                    <a:pt x="630" y="73"/>
                    <a:pt x="630" y="73"/>
                  </a:cubicBezTo>
                  <a:cubicBezTo>
                    <a:pt x="630" y="72"/>
                    <a:pt x="629" y="71"/>
                    <a:pt x="628" y="70"/>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50">
              <a:extLst>
                <a:ext uri="{FF2B5EF4-FFF2-40B4-BE49-F238E27FC236}">
                  <a16:creationId xmlns:a16="http://schemas.microsoft.com/office/drawing/2014/main" id="{0E2C5A1E-4FA4-48EA-A64E-64759FC60577}"/>
                </a:ext>
              </a:extLst>
            </p:cNvPr>
            <p:cNvSpPr>
              <a:spLocks/>
            </p:cNvSpPr>
            <p:nvPr/>
          </p:nvSpPr>
          <p:spPr bwMode="auto">
            <a:xfrm>
              <a:off x="4235050" y="2950011"/>
              <a:ext cx="580157" cy="728734"/>
            </a:xfrm>
            <a:custGeom>
              <a:avLst/>
              <a:gdLst>
                <a:gd name="T0" fmla="*/ 520 w 522"/>
                <a:gd name="T1" fmla="*/ 182 h 655"/>
                <a:gd name="T2" fmla="*/ 348 w 522"/>
                <a:gd name="T3" fmla="*/ 159 h 655"/>
                <a:gd name="T4" fmla="*/ 365 w 522"/>
                <a:gd name="T5" fmla="*/ 45 h 655"/>
                <a:gd name="T6" fmla="*/ 363 w 522"/>
                <a:gd name="T7" fmla="*/ 42 h 655"/>
                <a:gd name="T8" fmla="*/ 262 w 522"/>
                <a:gd name="T9" fmla="*/ 27 h 655"/>
                <a:gd name="T10" fmla="*/ 141 w 522"/>
                <a:gd name="T11" fmla="*/ 6 h 655"/>
                <a:gd name="T12" fmla="*/ 107 w 522"/>
                <a:gd name="T13" fmla="*/ 0 h 655"/>
                <a:gd name="T14" fmla="*/ 105 w 522"/>
                <a:gd name="T15" fmla="*/ 0 h 655"/>
                <a:gd name="T16" fmla="*/ 104 w 522"/>
                <a:gd name="T17" fmla="*/ 2 h 655"/>
                <a:gd name="T18" fmla="*/ 1 w 522"/>
                <a:gd name="T19" fmla="*/ 580 h 655"/>
                <a:gd name="T20" fmla="*/ 1 w 522"/>
                <a:gd name="T21" fmla="*/ 583 h 655"/>
                <a:gd name="T22" fmla="*/ 3 w 522"/>
                <a:gd name="T23" fmla="*/ 585 h 655"/>
                <a:gd name="T24" fmla="*/ 87 w 522"/>
                <a:gd name="T25" fmla="*/ 601 h 655"/>
                <a:gd name="T26" fmla="*/ 212 w 522"/>
                <a:gd name="T27" fmla="*/ 621 h 655"/>
                <a:gd name="T28" fmla="*/ 334 w 522"/>
                <a:gd name="T29" fmla="*/ 639 h 655"/>
                <a:gd name="T30" fmla="*/ 460 w 522"/>
                <a:gd name="T31" fmla="*/ 655 h 655"/>
                <a:gd name="T32" fmla="*/ 460 w 522"/>
                <a:gd name="T33" fmla="*/ 655 h 655"/>
                <a:gd name="T34" fmla="*/ 462 w 522"/>
                <a:gd name="T35" fmla="*/ 655 h 655"/>
                <a:gd name="T36" fmla="*/ 463 w 522"/>
                <a:gd name="T37" fmla="*/ 653 h 655"/>
                <a:gd name="T38" fmla="*/ 522 w 522"/>
                <a:gd name="T39" fmla="*/ 185 h 655"/>
                <a:gd name="T40" fmla="*/ 520 w 522"/>
                <a:gd name="T41" fmla="*/ 182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2" h="655">
                  <a:moveTo>
                    <a:pt x="520" y="182"/>
                  </a:moveTo>
                  <a:cubicBezTo>
                    <a:pt x="348" y="159"/>
                    <a:pt x="348" y="159"/>
                    <a:pt x="348" y="159"/>
                  </a:cubicBezTo>
                  <a:cubicBezTo>
                    <a:pt x="365" y="45"/>
                    <a:pt x="365" y="45"/>
                    <a:pt x="365" y="45"/>
                  </a:cubicBezTo>
                  <a:cubicBezTo>
                    <a:pt x="365" y="43"/>
                    <a:pt x="364" y="42"/>
                    <a:pt x="363" y="42"/>
                  </a:cubicBezTo>
                  <a:cubicBezTo>
                    <a:pt x="262" y="27"/>
                    <a:pt x="262" y="27"/>
                    <a:pt x="262" y="27"/>
                  </a:cubicBezTo>
                  <a:cubicBezTo>
                    <a:pt x="141" y="6"/>
                    <a:pt x="141" y="6"/>
                    <a:pt x="141" y="6"/>
                  </a:cubicBezTo>
                  <a:cubicBezTo>
                    <a:pt x="107" y="0"/>
                    <a:pt x="107" y="0"/>
                    <a:pt x="107" y="0"/>
                  </a:cubicBezTo>
                  <a:cubicBezTo>
                    <a:pt x="107" y="0"/>
                    <a:pt x="106" y="0"/>
                    <a:pt x="105" y="0"/>
                  </a:cubicBezTo>
                  <a:cubicBezTo>
                    <a:pt x="105" y="1"/>
                    <a:pt x="105" y="1"/>
                    <a:pt x="104" y="2"/>
                  </a:cubicBezTo>
                  <a:cubicBezTo>
                    <a:pt x="1" y="580"/>
                    <a:pt x="1" y="580"/>
                    <a:pt x="1" y="580"/>
                  </a:cubicBezTo>
                  <a:cubicBezTo>
                    <a:pt x="1" y="583"/>
                    <a:pt x="1" y="583"/>
                    <a:pt x="1" y="583"/>
                  </a:cubicBezTo>
                  <a:cubicBezTo>
                    <a:pt x="0" y="584"/>
                    <a:pt x="1" y="585"/>
                    <a:pt x="3" y="585"/>
                  </a:cubicBezTo>
                  <a:cubicBezTo>
                    <a:pt x="87" y="601"/>
                    <a:pt x="87" y="601"/>
                    <a:pt x="87" y="601"/>
                  </a:cubicBezTo>
                  <a:cubicBezTo>
                    <a:pt x="212" y="621"/>
                    <a:pt x="212" y="621"/>
                    <a:pt x="212" y="621"/>
                  </a:cubicBezTo>
                  <a:cubicBezTo>
                    <a:pt x="334" y="639"/>
                    <a:pt x="334" y="639"/>
                    <a:pt x="334" y="639"/>
                  </a:cubicBezTo>
                  <a:cubicBezTo>
                    <a:pt x="460" y="655"/>
                    <a:pt x="460" y="655"/>
                    <a:pt x="460" y="655"/>
                  </a:cubicBezTo>
                  <a:cubicBezTo>
                    <a:pt x="460" y="655"/>
                    <a:pt x="460" y="655"/>
                    <a:pt x="460" y="655"/>
                  </a:cubicBezTo>
                  <a:cubicBezTo>
                    <a:pt x="461" y="655"/>
                    <a:pt x="461" y="655"/>
                    <a:pt x="462" y="655"/>
                  </a:cubicBezTo>
                  <a:cubicBezTo>
                    <a:pt x="462" y="655"/>
                    <a:pt x="463" y="654"/>
                    <a:pt x="463" y="653"/>
                  </a:cubicBezTo>
                  <a:cubicBezTo>
                    <a:pt x="522" y="185"/>
                    <a:pt x="522" y="185"/>
                    <a:pt x="522" y="185"/>
                  </a:cubicBezTo>
                  <a:cubicBezTo>
                    <a:pt x="522" y="184"/>
                    <a:pt x="521" y="183"/>
                    <a:pt x="520" y="18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51">
              <a:extLst>
                <a:ext uri="{FF2B5EF4-FFF2-40B4-BE49-F238E27FC236}">
                  <a16:creationId xmlns:a16="http://schemas.microsoft.com/office/drawing/2014/main" id="{22EEEB9A-5CAE-4432-ABD9-73BB4B61A13F}"/>
                </a:ext>
              </a:extLst>
            </p:cNvPr>
            <p:cNvSpPr>
              <a:spLocks/>
            </p:cNvSpPr>
            <p:nvPr/>
          </p:nvSpPr>
          <p:spPr bwMode="auto">
            <a:xfrm>
              <a:off x="4317929" y="2026207"/>
              <a:ext cx="1057220" cy="652929"/>
            </a:xfrm>
            <a:custGeom>
              <a:avLst/>
              <a:gdLst>
                <a:gd name="T0" fmla="*/ 21 w 951"/>
                <a:gd name="T1" fmla="*/ 163 h 587"/>
                <a:gd name="T2" fmla="*/ 13 w 951"/>
                <a:gd name="T3" fmla="*/ 140 h 587"/>
                <a:gd name="T4" fmla="*/ 0 w 951"/>
                <a:gd name="T5" fmla="*/ 114 h 587"/>
                <a:gd name="T6" fmla="*/ 24 w 951"/>
                <a:gd name="T7" fmla="*/ 0 h 587"/>
                <a:gd name="T8" fmla="*/ 895 w 951"/>
                <a:gd name="T9" fmla="*/ 122 h 587"/>
                <a:gd name="T10" fmla="*/ 951 w 951"/>
                <a:gd name="T11" fmla="*/ 129 h 587"/>
                <a:gd name="T12" fmla="*/ 920 w 951"/>
                <a:gd name="T13" fmla="*/ 582 h 587"/>
                <a:gd name="T14" fmla="*/ 823 w 951"/>
                <a:gd name="T15" fmla="*/ 581 h 587"/>
                <a:gd name="T16" fmla="*/ 500 w 951"/>
                <a:gd name="T17" fmla="*/ 547 h 587"/>
                <a:gd name="T18" fmla="*/ 338 w 951"/>
                <a:gd name="T19" fmla="*/ 532 h 587"/>
                <a:gd name="T20" fmla="*/ 324 w 951"/>
                <a:gd name="T21" fmla="*/ 577 h 587"/>
                <a:gd name="T22" fmla="*/ 314 w 951"/>
                <a:gd name="T23" fmla="*/ 556 h 587"/>
                <a:gd name="T24" fmla="*/ 295 w 951"/>
                <a:gd name="T25" fmla="*/ 569 h 587"/>
                <a:gd name="T26" fmla="*/ 280 w 951"/>
                <a:gd name="T27" fmla="*/ 569 h 587"/>
                <a:gd name="T28" fmla="*/ 265 w 951"/>
                <a:gd name="T29" fmla="*/ 567 h 587"/>
                <a:gd name="T30" fmla="*/ 235 w 951"/>
                <a:gd name="T31" fmla="*/ 562 h 587"/>
                <a:gd name="T32" fmla="*/ 223 w 951"/>
                <a:gd name="T33" fmla="*/ 569 h 587"/>
                <a:gd name="T34" fmla="*/ 208 w 951"/>
                <a:gd name="T35" fmla="*/ 567 h 587"/>
                <a:gd name="T36" fmla="*/ 186 w 951"/>
                <a:gd name="T37" fmla="*/ 567 h 587"/>
                <a:gd name="T38" fmla="*/ 181 w 951"/>
                <a:gd name="T39" fmla="*/ 577 h 587"/>
                <a:gd name="T40" fmla="*/ 170 w 951"/>
                <a:gd name="T41" fmla="*/ 562 h 587"/>
                <a:gd name="T42" fmla="*/ 167 w 951"/>
                <a:gd name="T43" fmla="*/ 547 h 587"/>
                <a:gd name="T44" fmla="*/ 165 w 951"/>
                <a:gd name="T45" fmla="*/ 526 h 587"/>
                <a:gd name="T46" fmla="*/ 149 w 951"/>
                <a:gd name="T47" fmla="*/ 521 h 587"/>
                <a:gd name="T48" fmla="*/ 141 w 951"/>
                <a:gd name="T49" fmla="*/ 506 h 587"/>
                <a:gd name="T50" fmla="*/ 144 w 951"/>
                <a:gd name="T51" fmla="*/ 489 h 587"/>
                <a:gd name="T52" fmla="*/ 136 w 951"/>
                <a:gd name="T53" fmla="*/ 474 h 587"/>
                <a:gd name="T54" fmla="*/ 127 w 951"/>
                <a:gd name="T55" fmla="*/ 438 h 587"/>
                <a:gd name="T56" fmla="*/ 120 w 951"/>
                <a:gd name="T57" fmla="*/ 416 h 587"/>
                <a:gd name="T58" fmla="*/ 88 w 951"/>
                <a:gd name="T59" fmla="*/ 426 h 587"/>
                <a:gd name="T60" fmla="*/ 74 w 951"/>
                <a:gd name="T61" fmla="*/ 417 h 587"/>
                <a:gd name="T62" fmla="*/ 68 w 951"/>
                <a:gd name="T63" fmla="*/ 406 h 587"/>
                <a:gd name="T64" fmla="*/ 71 w 951"/>
                <a:gd name="T65" fmla="*/ 391 h 587"/>
                <a:gd name="T66" fmla="*/ 83 w 951"/>
                <a:gd name="T67" fmla="*/ 383 h 587"/>
                <a:gd name="T68" fmla="*/ 81 w 951"/>
                <a:gd name="T69" fmla="*/ 360 h 587"/>
                <a:gd name="T70" fmla="*/ 83 w 951"/>
                <a:gd name="T71" fmla="*/ 345 h 587"/>
                <a:gd name="T72" fmla="*/ 91 w 951"/>
                <a:gd name="T73" fmla="*/ 330 h 587"/>
                <a:gd name="T74" fmla="*/ 106 w 951"/>
                <a:gd name="T75" fmla="*/ 292 h 587"/>
                <a:gd name="T76" fmla="*/ 89 w 951"/>
                <a:gd name="T77" fmla="*/ 290 h 587"/>
                <a:gd name="T78" fmla="*/ 83 w 951"/>
                <a:gd name="T79" fmla="*/ 279 h 587"/>
                <a:gd name="T80" fmla="*/ 73 w 951"/>
                <a:gd name="T81" fmla="*/ 271 h 587"/>
                <a:gd name="T82" fmla="*/ 64 w 951"/>
                <a:gd name="T83" fmla="*/ 256 h 587"/>
                <a:gd name="T84" fmla="*/ 60 w 951"/>
                <a:gd name="T85" fmla="*/ 246 h 587"/>
                <a:gd name="T86" fmla="*/ 47 w 951"/>
                <a:gd name="T87" fmla="*/ 223 h 587"/>
                <a:gd name="T88" fmla="*/ 40 w 951"/>
                <a:gd name="T89" fmla="*/ 208 h 587"/>
                <a:gd name="T90" fmla="*/ 26 w 951"/>
                <a:gd name="T91" fmla="*/ 194 h 587"/>
                <a:gd name="T92" fmla="*/ 21 w 951"/>
                <a:gd name="T93" fmla="*/ 179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51" h="587">
                  <a:moveTo>
                    <a:pt x="17" y="171"/>
                  </a:moveTo>
                  <a:cubicBezTo>
                    <a:pt x="21" y="163"/>
                    <a:pt x="21" y="163"/>
                    <a:pt x="21" y="163"/>
                  </a:cubicBezTo>
                  <a:cubicBezTo>
                    <a:pt x="19" y="155"/>
                    <a:pt x="19" y="155"/>
                    <a:pt x="19" y="155"/>
                  </a:cubicBezTo>
                  <a:cubicBezTo>
                    <a:pt x="13" y="140"/>
                    <a:pt x="13" y="140"/>
                    <a:pt x="13" y="140"/>
                  </a:cubicBezTo>
                  <a:cubicBezTo>
                    <a:pt x="13" y="137"/>
                    <a:pt x="13" y="137"/>
                    <a:pt x="13" y="137"/>
                  </a:cubicBezTo>
                  <a:cubicBezTo>
                    <a:pt x="0" y="114"/>
                    <a:pt x="0" y="114"/>
                    <a:pt x="0" y="114"/>
                  </a:cubicBezTo>
                  <a:cubicBezTo>
                    <a:pt x="23" y="3"/>
                    <a:pt x="23" y="3"/>
                    <a:pt x="23" y="3"/>
                  </a:cubicBezTo>
                  <a:cubicBezTo>
                    <a:pt x="24" y="0"/>
                    <a:pt x="24" y="0"/>
                    <a:pt x="24" y="0"/>
                  </a:cubicBezTo>
                  <a:cubicBezTo>
                    <a:pt x="137" y="22"/>
                    <a:pt x="137" y="22"/>
                    <a:pt x="137" y="22"/>
                  </a:cubicBezTo>
                  <a:cubicBezTo>
                    <a:pt x="387" y="68"/>
                    <a:pt x="641" y="101"/>
                    <a:pt x="895" y="122"/>
                  </a:cubicBezTo>
                  <a:cubicBezTo>
                    <a:pt x="951" y="127"/>
                    <a:pt x="951" y="127"/>
                    <a:pt x="951" y="127"/>
                  </a:cubicBezTo>
                  <a:cubicBezTo>
                    <a:pt x="951" y="129"/>
                    <a:pt x="951" y="129"/>
                    <a:pt x="951" y="129"/>
                  </a:cubicBezTo>
                  <a:cubicBezTo>
                    <a:pt x="926" y="481"/>
                    <a:pt x="926" y="481"/>
                    <a:pt x="926" y="481"/>
                  </a:cubicBezTo>
                  <a:cubicBezTo>
                    <a:pt x="920" y="582"/>
                    <a:pt x="920" y="582"/>
                    <a:pt x="920" y="582"/>
                  </a:cubicBezTo>
                  <a:cubicBezTo>
                    <a:pt x="915" y="587"/>
                    <a:pt x="915" y="587"/>
                    <a:pt x="915" y="587"/>
                  </a:cubicBezTo>
                  <a:cubicBezTo>
                    <a:pt x="823" y="581"/>
                    <a:pt x="823" y="581"/>
                    <a:pt x="823" y="581"/>
                  </a:cubicBezTo>
                  <a:cubicBezTo>
                    <a:pt x="652" y="564"/>
                    <a:pt x="652" y="564"/>
                    <a:pt x="652" y="564"/>
                  </a:cubicBezTo>
                  <a:cubicBezTo>
                    <a:pt x="500" y="547"/>
                    <a:pt x="500" y="547"/>
                    <a:pt x="500" y="547"/>
                  </a:cubicBezTo>
                  <a:cubicBezTo>
                    <a:pt x="345" y="526"/>
                    <a:pt x="345" y="526"/>
                    <a:pt x="345" y="526"/>
                  </a:cubicBezTo>
                  <a:cubicBezTo>
                    <a:pt x="338" y="532"/>
                    <a:pt x="338" y="532"/>
                    <a:pt x="338" y="532"/>
                  </a:cubicBezTo>
                  <a:cubicBezTo>
                    <a:pt x="329" y="581"/>
                    <a:pt x="329" y="581"/>
                    <a:pt x="329" y="581"/>
                  </a:cubicBezTo>
                  <a:cubicBezTo>
                    <a:pt x="324" y="577"/>
                    <a:pt x="324" y="577"/>
                    <a:pt x="324" y="577"/>
                  </a:cubicBezTo>
                  <a:cubicBezTo>
                    <a:pt x="319" y="569"/>
                    <a:pt x="319" y="569"/>
                    <a:pt x="319" y="569"/>
                  </a:cubicBezTo>
                  <a:cubicBezTo>
                    <a:pt x="319" y="569"/>
                    <a:pt x="317" y="558"/>
                    <a:pt x="314" y="556"/>
                  </a:cubicBezTo>
                  <a:cubicBezTo>
                    <a:pt x="313" y="554"/>
                    <a:pt x="309" y="553"/>
                    <a:pt x="307" y="554"/>
                  </a:cubicBezTo>
                  <a:cubicBezTo>
                    <a:pt x="302" y="555"/>
                    <a:pt x="295" y="564"/>
                    <a:pt x="295" y="569"/>
                  </a:cubicBezTo>
                  <a:cubicBezTo>
                    <a:pt x="295" y="570"/>
                    <a:pt x="296" y="573"/>
                    <a:pt x="295" y="574"/>
                  </a:cubicBezTo>
                  <a:cubicBezTo>
                    <a:pt x="292" y="576"/>
                    <a:pt x="280" y="569"/>
                    <a:pt x="280" y="569"/>
                  </a:cubicBezTo>
                  <a:cubicBezTo>
                    <a:pt x="273" y="572"/>
                    <a:pt x="273" y="572"/>
                    <a:pt x="273" y="572"/>
                  </a:cubicBezTo>
                  <a:cubicBezTo>
                    <a:pt x="265" y="567"/>
                    <a:pt x="265" y="567"/>
                    <a:pt x="265" y="567"/>
                  </a:cubicBezTo>
                  <a:cubicBezTo>
                    <a:pt x="251" y="567"/>
                    <a:pt x="251" y="567"/>
                    <a:pt x="251" y="567"/>
                  </a:cubicBezTo>
                  <a:cubicBezTo>
                    <a:pt x="235" y="562"/>
                    <a:pt x="235" y="562"/>
                    <a:pt x="235" y="562"/>
                  </a:cubicBezTo>
                  <a:cubicBezTo>
                    <a:pt x="231" y="563"/>
                    <a:pt x="231" y="563"/>
                    <a:pt x="231" y="563"/>
                  </a:cubicBezTo>
                  <a:cubicBezTo>
                    <a:pt x="223" y="569"/>
                    <a:pt x="223" y="569"/>
                    <a:pt x="223" y="569"/>
                  </a:cubicBezTo>
                  <a:cubicBezTo>
                    <a:pt x="216" y="569"/>
                    <a:pt x="216" y="569"/>
                    <a:pt x="216" y="569"/>
                  </a:cubicBezTo>
                  <a:cubicBezTo>
                    <a:pt x="208" y="567"/>
                    <a:pt x="208" y="567"/>
                    <a:pt x="208" y="567"/>
                  </a:cubicBezTo>
                  <a:cubicBezTo>
                    <a:pt x="193" y="564"/>
                    <a:pt x="193" y="564"/>
                    <a:pt x="193" y="564"/>
                  </a:cubicBezTo>
                  <a:cubicBezTo>
                    <a:pt x="186" y="567"/>
                    <a:pt x="186" y="567"/>
                    <a:pt x="186" y="567"/>
                  </a:cubicBezTo>
                  <a:cubicBezTo>
                    <a:pt x="184" y="575"/>
                    <a:pt x="184" y="575"/>
                    <a:pt x="184" y="575"/>
                  </a:cubicBezTo>
                  <a:cubicBezTo>
                    <a:pt x="181" y="577"/>
                    <a:pt x="181" y="577"/>
                    <a:pt x="181" y="577"/>
                  </a:cubicBezTo>
                  <a:cubicBezTo>
                    <a:pt x="174" y="569"/>
                    <a:pt x="174" y="569"/>
                    <a:pt x="174" y="569"/>
                  </a:cubicBezTo>
                  <a:cubicBezTo>
                    <a:pt x="170" y="562"/>
                    <a:pt x="170" y="562"/>
                    <a:pt x="170" y="562"/>
                  </a:cubicBezTo>
                  <a:cubicBezTo>
                    <a:pt x="171" y="554"/>
                    <a:pt x="171" y="554"/>
                    <a:pt x="171" y="554"/>
                  </a:cubicBezTo>
                  <a:cubicBezTo>
                    <a:pt x="171" y="554"/>
                    <a:pt x="167" y="549"/>
                    <a:pt x="167" y="547"/>
                  </a:cubicBezTo>
                  <a:cubicBezTo>
                    <a:pt x="167" y="545"/>
                    <a:pt x="166" y="542"/>
                    <a:pt x="166" y="540"/>
                  </a:cubicBezTo>
                  <a:cubicBezTo>
                    <a:pt x="166" y="536"/>
                    <a:pt x="167" y="529"/>
                    <a:pt x="165" y="526"/>
                  </a:cubicBezTo>
                  <a:cubicBezTo>
                    <a:pt x="163" y="524"/>
                    <a:pt x="160" y="520"/>
                    <a:pt x="157" y="519"/>
                  </a:cubicBezTo>
                  <a:cubicBezTo>
                    <a:pt x="155" y="518"/>
                    <a:pt x="151" y="522"/>
                    <a:pt x="149" y="521"/>
                  </a:cubicBezTo>
                  <a:cubicBezTo>
                    <a:pt x="147" y="520"/>
                    <a:pt x="143" y="514"/>
                    <a:pt x="143" y="514"/>
                  </a:cubicBezTo>
                  <a:cubicBezTo>
                    <a:pt x="141" y="506"/>
                    <a:pt x="141" y="506"/>
                    <a:pt x="141" y="506"/>
                  </a:cubicBezTo>
                  <a:cubicBezTo>
                    <a:pt x="145" y="496"/>
                    <a:pt x="145" y="496"/>
                    <a:pt x="145" y="496"/>
                  </a:cubicBezTo>
                  <a:cubicBezTo>
                    <a:pt x="144" y="489"/>
                    <a:pt x="144" y="489"/>
                    <a:pt x="144" y="489"/>
                  </a:cubicBezTo>
                  <a:cubicBezTo>
                    <a:pt x="142" y="481"/>
                    <a:pt x="142" y="481"/>
                    <a:pt x="142" y="481"/>
                  </a:cubicBezTo>
                  <a:cubicBezTo>
                    <a:pt x="136" y="474"/>
                    <a:pt x="136" y="474"/>
                    <a:pt x="136" y="474"/>
                  </a:cubicBezTo>
                  <a:cubicBezTo>
                    <a:pt x="130" y="458"/>
                    <a:pt x="130" y="458"/>
                    <a:pt x="130" y="458"/>
                  </a:cubicBezTo>
                  <a:cubicBezTo>
                    <a:pt x="127" y="438"/>
                    <a:pt x="127" y="438"/>
                    <a:pt x="127" y="438"/>
                  </a:cubicBezTo>
                  <a:cubicBezTo>
                    <a:pt x="127" y="438"/>
                    <a:pt x="129" y="427"/>
                    <a:pt x="127" y="423"/>
                  </a:cubicBezTo>
                  <a:cubicBezTo>
                    <a:pt x="126" y="421"/>
                    <a:pt x="120" y="416"/>
                    <a:pt x="120" y="416"/>
                  </a:cubicBezTo>
                  <a:cubicBezTo>
                    <a:pt x="120" y="416"/>
                    <a:pt x="120" y="410"/>
                    <a:pt x="119" y="409"/>
                  </a:cubicBezTo>
                  <a:cubicBezTo>
                    <a:pt x="111" y="406"/>
                    <a:pt x="88" y="426"/>
                    <a:pt x="88" y="426"/>
                  </a:cubicBezTo>
                  <a:cubicBezTo>
                    <a:pt x="81" y="427"/>
                    <a:pt x="81" y="427"/>
                    <a:pt x="81" y="427"/>
                  </a:cubicBezTo>
                  <a:cubicBezTo>
                    <a:pt x="81" y="427"/>
                    <a:pt x="77" y="419"/>
                    <a:pt x="74" y="417"/>
                  </a:cubicBezTo>
                  <a:cubicBezTo>
                    <a:pt x="72" y="416"/>
                    <a:pt x="66" y="416"/>
                    <a:pt x="65" y="414"/>
                  </a:cubicBezTo>
                  <a:cubicBezTo>
                    <a:pt x="64" y="413"/>
                    <a:pt x="67" y="408"/>
                    <a:pt x="68" y="406"/>
                  </a:cubicBezTo>
                  <a:cubicBezTo>
                    <a:pt x="69" y="404"/>
                    <a:pt x="73" y="401"/>
                    <a:pt x="73" y="399"/>
                  </a:cubicBezTo>
                  <a:cubicBezTo>
                    <a:pt x="74" y="397"/>
                    <a:pt x="71" y="391"/>
                    <a:pt x="71" y="391"/>
                  </a:cubicBezTo>
                  <a:cubicBezTo>
                    <a:pt x="75" y="384"/>
                    <a:pt x="75" y="384"/>
                    <a:pt x="75" y="384"/>
                  </a:cubicBezTo>
                  <a:cubicBezTo>
                    <a:pt x="75" y="384"/>
                    <a:pt x="81" y="384"/>
                    <a:pt x="83" y="383"/>
                  </a:cubicBezTo>
                  <a:cubicBezTo>
                    <a:pt x="85" y="380"/>
                    <a:pt x="86" y="371"/>
                    <a:pt x="86" y="368"/>
                  </a:cubicBezTo>
                  <a:cubicBezTo>
                    <a:pt x="85" y="365"/>
                    <a:pt x="81" y="362"/>
                    <a:pt x="81" y="360"/>
                  </a:cubicBezTo>
                  <a:cubicBezTo>
                    <a:pt x="81" y="358"/>
                    <a:pt x="85" y="355"/>
                    <a:pt x="85" y="352"/>
                  </a:cubicBezTo>
                  <a:cubicBezTo>
                    <a:pt x="85" y="350"/>
                    <a:pt x="82" y="347"/>
                    <a:pt x="83" y="345"/>
                  </a:cubicBezTo>
                  <a:cubicBezTo>
                    <a:pt x="83" y="343"/>
                    <a:pt x="87" y="340"/>
                    <a:pt x="88" y="338"/>
                  </a:cubicBezTo>
                  <a:cubicBezTo>
                    <a:pt x="89" y="336"/>
                    <a:pt x="91" y="330"/>
                    <a:pt x="91" y="330"/>
                  </a:cubicBezTo>
                  <a:cubicBezTo>
                    <a:pt x="99" y="315"/>
                    <a:pt x="99" y="315"/>
                    <a:pt x="99" y="315"/>
                  </a:cubicBezTo>
                  <a:cubicBezTo>
                    <a:pt x="106" y="292"/>
                    <a:pt x="106" y="292"/>
                    <a:pt x="106" y="292"/>
                  </a:cubicBezTo>
                  <a:cubicBezTo>
                    <a:pt x="99" y="290"/>
                    <a:pt x="99" y="290"/>
                    <a:pt x="99" y="290"/>
                  </a:cubicBezTo>
                  <a:cubicBezTo>
                    <a:pt x="89" y="290"/>
                    <a:pt x="89" y="290"/>
                    <a:pt x="89" y="290"/>
                  </a:cubicBezTo>
                  <a:cubicBezTo>
                    <a:pt x="82" y="286"/>
                    <a:pt x="82" y="286"/>
                    <a:pt x="82" y="286"/>
                  </a:cubicBezTo>
                  <a:cubicBezTo>
                    <a:pt x="82" y="286"/>
                    <a:pt x="85" y="280"/>
                    <a:pt x="83" y="279"/>
                  </a:cubicBezTo>
                  <a:cubicBezTo>
                    <a:pt x="82" y="277"/>
                    <a:pt x="78" y="280"/>
                    <a:pt x="76" y="279"/>
                  </a:cubicBezTo>
                  <a:cubicBezTo>
                    <a:pt x="74" y="278"/>
                    <a:pt x="73" y="271"/>
                    <a:pt x="73" y="271"/>
                  </a:cubicBezTo>
                  <a:cubicBezTo>
                    <a:pt x="65" y="264"/>
                    <a:pt x="65" y="264"/>
                    <a:pt x="65" y="264"/>
                  </a:cubicBezTo>
                  <a:cubicBezTo>
                    <a:pt x="64" y="256"/>
                    <a:pt x="64" y="256"/>
                    <a:pt x="64" y="256"/>
                  </a:cubicBezTo>
                  <a:cubicBezTo>
                    <a:pt x="64" y="256"/>
                    <a:pt x="65" y="254"/>
                    <a:pt x="65" y="253"/>
                  </a:cubicBezTo>
                  <a:cubicBezTo>
                    <a:pt x="65" y="251"/>
                    <a:pt x="60" y="246"/>
                    <a:pt x="60" y="246"/>
                  </a:cubicBezTo>
                  <a:cubicBezTo>
                    <a:pt x="50" y="230"/>
                    <a:pt x="50" y="230"/>
                    <a:pt x="50" y="230"/>
                  </a:cubicBezTo>
                  <a:cubicBezTo>
                    <a:pt x="47" y="223"/>
                    <a:pt x="47" y="223"/>
                    <a:pt x="47" y="223"/>
                  </a:cubicBezTo>
                  <a:cubicBezTo>
                    <a:pt x="47" y="223"/>
                    <a:pt x="43" y="217"/>
                    <a:pt x="42" y="215"/>
                  </a:cubicBezTo>
                  <a:cubicBezTo>
                    <a:pt x="41" y="214"/>
                    <a:pt x="41" y="210"/>
                    <a:pt x="40" y="208"/>
                  </a:cubicBezTo>
                  <a:cubicBezTo>
                    <a:pt x="38" y="206"/>
                    <a:pt x="31" y="204"/>
                    <a:pt x="29" y="202"/>
                  </a:cubicBezTo>
                  <a:cubicBezTo>
                    <a:pt x="27" y="200"/>
                    <a:pt x="26" y="194"/>
                    <a:pt x="26" y="194"/>
                  </a:cubicBezTo>
                  <a:cubicBezTo>
                    <a:pt x="13" y="180"/>
                    <a:pt x="13" y="180"/>
                    <a:pt x="13" y="180"/>
                  </a:cubicBezTo>
                  <a:cubicBezTo>
                    <a:pt x="13" y="180"/>
                    <a:pt x="21" y="180"/>
                    <a:pt x="21" y="179"/>
                  </a:cubicBezTo>
                  <a:cubicBezTo>
                    <a:pt x="22" y="177"/>
                    <a:pt x="17" y="171"/>
                    <a:pt x="17" y="171"/>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52">
              <a:extLst>
                <a:ext uri="{FF2B5EF4-FFF2-40B4-BE49-F238E27FC236}">
                  <a16:creationId xmlns:a16="http://schemas.microsoft.com/office/drawing/2014/main" id="{37DAC227-255E-4784-9DBE-C829FF13E78C}"/>
                </a:ext>
              </a:extLst>
            </p:cNvPr>
            <p:cNvSpPr>
              <a:spLocks/>
            </p:cNvSpPr>
            <p:nvPr/>
          </p:nvSpPr>
          <p:spPr bwMode="auto">
            <a:xfrm>
              <a:off x="5314506" y="2557849"/>
              <a:ext cx="725702" cy="476052"/>
            </a:xfrm>
            <a:custGeom>
              <a:avLst/>
              <a:gdLst>
                <a:gd name="T0" fmla="*/ 640 w 653"/>
                <a:gd name="T1" fmla="*/ 336 h 428"/>
                <a:gd name="T2" fmla="*/ 644 w 653"/>
                <a:gd name="T3" fmla="*/ 325 h 428"/>
                <a:gd name="T4" fmla="*/ 639 w 653"/>
                <a:gd name="T5" fmla="*/ 312 h 428"/>
                <a:gd name="T6" fmla="*/ 650 w 653"/>
                <a:gd name="T7" fmla="*/ 311 h 428"/>
                <a:gd name="T8" fmla="*/ 649 w 653"/>
                <a:gd name="T9" fmla="*/ 99 h 428"/>
                <a:gd name="T10" fmla="*/ 644 w 653"/>
                <a:gd name="T11" fmla="*/ 90 h 428"/>
                <a:gd name="T12" fmla="*/ 632 w 653"/>
                <a:gd name="T13" fmla="*/ 84 h 428"/>
                <a:gd name="T14" fmla="*/ 625 w 653"/>
                <a:gd name="T15" fmla="*/ 75 h 428"/>
                <a:gd name="T16" fmla="*/ 618 w 653"/>
                <a:gd name="T17" fmla="*/ 66 h 428"/>
                <a:gd name="T18" fmla="*/ 617 w 653"/>
                <a:gd name="T19" fmla="*/ 60 h 428"/>
                <a:gd name="T20" fmla="*/ 627 w 653"/>
                <a:gd name="T21" fmla="*/ 51 h 428"/>
                <a:gd name="T22" fmla="*/ 637 w 653"/>
                <a:gd name="T23" fmla="*/ 40 h 428"/>
                <a:gd name="T24" fmla="*/ 640 w 653"/>
                <a:gd name="T25" fmla="*/ 22 h 428"/>
                <a:gd name="T26" fmla="*/ 486 w 653"/>
                <a:gd name="T27" fmla="*/ 20 h 428"/>
                <a:gd name="T28" fmla="*/ 175 w 653"/>
                <a:gd name="T29" fmla="*/ 10 h 428"/>
                <a:gd name="T30" fmla="*/ 28 w 653"/>
                <a:gd name="T31" fmla="*/ 1 h 428"/>
                <a:gd name="T32" fmla="*/ 21 w 653"/>
                <a:gd name="T33" fmla="*/ 104 h 428"/>
                <a:gd name="T34" fmla="*/ 17 w 653"/>
                <a:gd name="T35" fmla="*/ 112 h 428"/>
                <a:gd name="T36" fmla="*/ 3 w 653"/>
                <a:gd name="T37" fmla="*/ 349 h 428"/>
                <a:gd name="T38" fmla="*/ 238 w 653"/>
                <a:gd name="T39" fmla="*/ 363 h 428"/>
                <a:gd name="T40" fmla="*/ 473 w 653"/>
                <a:gd name="T41" fmla="*/ 369 h 428"/>
                <a:gd name="T42" fmla="*/ 516 w 653"/>
                <a:gd name="T43" fmla="*/ 396 h 428"/>
                <a:gd name="T44" fmla="*/ 528 w 653"/>
                <a:gd name="T45" fmla="*/ 389 h 428"/>
                <a:gd name="T46" fmla="*/ 531 w 653"/>
                <a:gd name="T47" fmla="*/ 386 h 428"/>
                <a:gd name="T48" fmla="*/ 545 w 653"/>
                <a:gd name="T49" fmla="*/ 388 h 428"/>
                <a:gd name="T50" fmla="*/ 577 w 653"/>
                <a:gd name="T51" fmla="*/ 384 h 428"/>
                <a:gd name="T52" fmla="*/ 589 w 653"/>
                <a:gd name="T53" fmla="*/ 395 h 428"/>
                <a:gd name="T54" fmla="*/ 596 w 653"/>
                <a:gd name="T55" fmla="*/ 396 h 428"/>
                <a:gd name="T56" fmla="*/ 603 w 653"/>
                <a:gd name="T57" fmla="*/ 399 h 428"/>
                <a:gd name="T58" fmla="*/ 610 w 653"/>
                <a:gd name="T59" fmla="*/ 402 h 428"/>
                <a:gd name="T60" fmla="*/ 615 w 653"/>
                <a:gd name="T61" fmla="*/ 404 h 428"/>
                <a:gd name="T62" fmla="*/ 623 w 653"/>
                <a:gd name="T63" fmla="*/ 410 h 428"/>
                <a:gd name="T64" fmla="*/ 628 w 653"/>
                <a:gd name="T65" fmla="*/ 414 h 428"/>
                <a:gd name="T66" fmla="*/ 638 w 653"/>
                <a:gd name="T67" fmla="*/ 426 h 428"/>
                <a:gd name="T68" fmla="*/ 648 w 653"/>
                <a:gd name="T69" fmla="*/ 427 h 428"/>
                <a:gd name="T70" fmla="*/ 640 w 653"/>
                <a:gd name="T71" fmla="*/ 404 h 428"/>
                <a:gd name="T72" fmla="*/ 636 w 653"/>
                <a:gd name="T73" fmla="*/ 395 h 428"/>
                <a:gd name="T74" fmla="*/ 641 w 653"/>
                <a:gd name="T75" fmla="*/ 388 h 428"/>
                <a:gd name="T76" fmla="*/ 646 w 653"/>
                <a:gd name="T77" fmla="*/ 368 h 428"/>
                <a:gd name="T78" fmla="*/ 647 w 653"/>
                <a:gd name="T79" fmla="*/ 362 h 428"/>
                <a:gd name="T80" fmla="*/ 650 w 653"/>
                <a:gd name="T81" fmla="*/ 34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3" h="428">
                  <a:moveTo>
                    <a:pt x="642" y="341"/>
                  </a:moveTo>
                  <a:cubicBezTo>
                    <a:pt x="641" y="339"/>
                    <a:pt x="640" y="337"/>
                    <a:pt x="640" y="336"/>
                  </a:cubicBezTo>
                  <a:cubicBezTo>
                    <a:pt x="641" y="336"/>
                    <a:pt x="642" y="336"/>
                    <a:pt x="643" y="335"/>
                  </a:cubicBezTo>
                  <a:cubicBezTo>
                    <a:pt x="645" y="332"/>
                    <a:pt x="645" y="326"/>
                    <a:pt x="644" y="325"/>
                  </a:cubicBezTo>
                  <a:cubicBezTo>
                    <a:pt x="644" y="322"/>
                    <a:pt x="641" y="318"/>
                    <a:pt x="640" y="317"/>
                  </a:cubicBezTo>
                  <a:cubicBezTo>
                    <a:pt x="639" y="312"/>
                    <a:pt x="639" y="312"/>
                    <a:pt x="639" y="312"/>
                  </a:cubicBezTo>
                  <a:cubicBezTo>
                    <a:pt x="648" y="312"/>
                    <a:pt x="648" y="312"/>
                    <a:pt x="648" y="312"/>
                  </a:cubicBezTo>
                  <a:cubicBezTo>
                    <a:pt x="649" y="312"/>
                    <a:pt x="650" y="311"/>
                    <a:pt x="650" y="311"/>
                  </a:cubicBezTo>
                  <a:cubicBezTo>
                    <a:pt x="651" y="311"/>
                    <a:pt x="651" y="310"/>
                    <a:pt x="651" y="309"/>
                  </a:cubicBezTo>
                  <a:cubicBezTo>
                    <a:pt x="649" y="99"/>
                    <a:pt x="649" y="99"/>
                    <a:pt x="649" y="99"/>
                  </a:cubicBezTo>
                  <a:cubicBezTo>
                    <a:pt x="649" y="98"/>
                    <a:pt x="649" y="98"/>
                    <a:pt x="649" y="97"/>
                  </a:cubicBezTo>
                  <a:cubicBezTo>
                    <a:pt x="648" y="96"/>
                    <a:pt x="645" y="91"/>
                    <a:pt x="644" y="90"/>
                  </a:cubicBezTo>
                  <a:cubicBezTo>
                    <a:pt x="642" y="88"/>
                    <a:pt x="638" y="86"/>
                    <a:pt x="636" y="85"/>
                  </a:cubicBezTo>
                  <a:cubicBezTo>
                    <a:pt x="634" y="84"/>
                    <a:pt x="633" y="84"/>
                    <a:pt x="632" y="84"/>
                  </a:cubicBezTo>
                  <a:cubicBezTo>
                    <a:pt x="631" y="84"/>
                    <a:pt x="629" y="84"/>
                    <a:pt x="629" y="84"/>
                  </a:cubicBezTo>
                  <a:cubicBezTo>
                    <a:pt x="627" y="82"/>
                    <a:pt x="626" y="78"/>
                    <a:pt x="625" y="75"/>
                  </a:cubicBezTo>
                  <a:cubicBezTo>
                    <a:pt x="624" y="73"/>
                    <a:pt x="623" y="71"/>
                    <a:pt x="622" y="69"/>
                  </a:cubicBezTo>
                  <a:cubicBezTo>
                    <a:pt x="621" y="68"/>
                    <a:pt x="620" y="67"/>
                    <a:pt x="618" y="66"/>
                  </a:cubicBezTo>
                  <a:cubicBezTo>
                    <a:pt x="617" y="65"/>
                    <a:pt x="616" y="64"/>
                    <a:pt x="615" y="64"/>
                  </a:cubicBezTo>
                  <a:cubicBezTo>
                    <a:pt x="615" y="63"/>
                    <a:pt x="616" y="62"/>
                    <a:pt x="617" y="60"/>
                  </a:cubicBezTo>
                  <a:cubicBezTo>
                    <a:pt x="618" y="58"/>
                    <a:pt x="622" y="55"/>
                    <a:pt x="624" y="53"/>
                  </a:cubicBezTo>
                  <a:cubicBezTo>
                    <a:pt x="625" y="53"/>
                    <a:pt x="626" y="52"/>
                    <a:pt x="627" y="51"/>
                  </a:cubicBezTo>
                  <a:cubicBezTo>
                    <a:pt x="628" y="51"/>
                    <a:pt x="630" y="50"/>
                    <a:pt x="631" y="48"/>
                  </a:cubicBezTo>
                  <a:cubicBezTo>
                    <a:pt x="633" y="47"/>
                    <a:pt x="636" y="42"/>
                    <a:pt x="637" y="40"/>
                  </a:cubicBezTo>
                  <a:cubicBezTo>
                    <a:pt x="639" y="36"/>
                    <a:pt x="640" y="25"/>
                    <a:pt x="641" y="24"/>
                  </a:cubicBezTo>
                  <a:cubicBezTo>
                    <a:pt x="641" y="23"/>
                    <a:pt x="641" y="23"/>
                    <a:pt x="640" y="22"/>
                  </a:cubicBezTo>
                  <a:cubicBezTo>
                    <a:pt x="640" y="21"/>
                    <a:pt x="639" y="21"/>
                    <a:pt x="638" y="21"/>
                  </a:cubicBezTo>
                  <a:cubicBezTo>
                    <a:pt x="486" y="20"/>
                    <a:pt x="486" y="20"/>
                    <a:pt x="486" y="20"/>
                  </a:cubicBezTo>
                  <a:cubicBezTo>
                    <a:pt x="336" y="17"/>
                    <a:pt x="336" y="17"/>
                    <a:pt x="336" y="17"/>
                  </a:cubicBezTo>
                  <a:cubicBezTo>
                    <a:pt x="175" y="10"/>
                    <a:pt x="175" y="10"/>
                    <a:pt x="175" y="10"/>
                  </a:cubicBezTo>
                  <a:cubicBezTo>
                    <a:pt x="30" y="0"/>
                    <a:pt x="30" y="0"/>
                    <a:pt x="30" y="0"/>
                  </a:cubicBezTo>
                  <a:cubicBezTo>
                    <a:pt x="29" y="0"/>
                    <a:pt x="28" y="0"/>
                    <a:pt x="28" y="1"/>
                  </a:cubicBezTo>
                  <a:cubicBezTo>
                    <a:pt x="27" y="1"/>
                    <a:pt x="27" y="2"/>
                    <a:pt x="27" y="3"/>
                  </a:cubicBezTo>
                  <a:cubicBezTo>
                    <a:pt x="21" y="104"/>
                    <a:pt x="21" y="104"/>
                    <a:pt x="21" y="104"/>
                  </a:cubicBezTo>
                  <a:cubicBezTo>
                    <a:pt x="17" y="111"/>
                    <a:pt x="17" y="111"/>
                    <a:pt x="17" y="111"/>
                  </a:cubicBezTo>
                  <a:cubicBezTo>
                    <a:pt x="17" y="112"/>
                    <a:pt x="17" y="112"/>
                    <a:pt x="17" y="112"/>
                  </a:cubicBezTo>
                  <a:cubicBezTo>
                    <a:pt x="0" y="346"/>
                    <a:pt x="0" y="346"/>
                    <a:pt x="0" y="346"/>
                  </a:cubicBezTo>
                  <a:cubicBezTo>
                    <a:pt x="0" y="347"/>
                    <a:pt x="1" y="348"/>
                    <a:pt x="3" y="349"/>
                  </a:cubicBezTo>
                  <a:cubicBezTo>
                    <a:pt x="91" y="355"/>
                    <a:pt x="91" y="355"/>
                    <a:pt x="91" y="355"/>
                  </a:cubicBezTo>
                  <a:cubicBezTo>
                    <a:pt x="238" y="363"/>
                    <a:pt x="238" y="363"/>
                    <a:pt x="238" y="363"/>
                  </a:cubicBezTo>
                  <a:cubicBezTo>
                    <a:pt x="380" y="368"/>
                    <a:pt x="380" y="368"/>
                    <a:pt x="380" y="368"/>
                  </a:cubicBezTo>
                  <a:cubicBezTo>
                    <a:pt x="473" y="369"/>
                    <a:pt x="473" y="369"/>
                    <a:pt x="473" y="369"/>
                  </a:cubicBezTo>
                  <a:cubicBezTo>
                    <a:pt x="482" y="378"/>
                    <a:pt x="482" y="378"/>
                    <a:pt x="482" y="378"/>
                  </a:cubicBezTo>
                  <a:cubicBezTo>
                    <a:pt x="485" y="380"/>
                    <a:pt x="506" y="395"/>
                    <a:pt x="516" y="396"/>
                  </a:cubicBezTo>
                  <a:cubicBezTo>
                    <a:pt x="519" y="396"/>
                    <a:pt x="523" y="394"/>
                    <a:pt x="525" y="393"/>
                  </a:cubicBezTo>
                  <a:cubicBezTo>
                    <a:pt x="526" y="392"/>
                    <a:pt x="527" y="390"/>
                    <a:pt x="528" y="389"/>
                  </a:cubicBezTo>
                  <a:cubicBezTo>
                    <a:pt x="529" y="388"/>
                    <a:pt x="530" y="386"/>
                    <a:pt x="530" y="386"/>
                  </a:cubicBezTo>
                  <a:cubicBezTo>
                    <a:pt x="530" y="386"/>
                    <a:pt x="531" y="386"/>
                    <a:pt x="531" y="386"/>
                  </a:cubicBezTo>
                  <a:cubicBezTo>
                    <a:pt x="533" y="386"/>
                    <a:pt x="536" y="386"/>
                    <a:pt x="538" y="387"/>
                  </a:cubicBezTo>
                  <a:cubicBezTo>
                    <a:pt x="540" y="388"/>
                    <a:pt x="543" y="388"/>
                    <a:pt x="545" y="388"/>
                  </a:cubicBezTo>
                  <a:cubicBezTo>
                    <a:pt x="548" y="388"/>
                    <a:pt x="553" y="387"/>
                    <a:pt x="558" y="386"/>
                  </a:cubicBezTo>
                  <a:cubicBezTo>
                    <a:pt x="565" y="385"/>
                    <a:pt x="573" y="383"/>
                    <a:pt x="577" y="384"/>
                  </a:cubicBezTo>
                  <a:cubicBezTo>
                    <a:pt x="578" y="385"/>
                    <a:pt x="580" y="387"/>
                    <a:pt x="582" y="389"/>
                  </a:cubicBezTo>
                  <a:cubicBezTo>
                    <a:pt x="584" y="392"/>
                    <a:pt x="587" y="394"/>
                    <a:pt x="589" y="395"/>
                  </a:cubicBezTo>
                  <a:cubicBezTo>
                    <a:pt x="590" y="396"/>
                    <a:pt x="592" y="396"/>
                    <a:pt x="594" y="396"/>
                  </a:cubicBezTo>
                  <a:cubicBezTo>
                    <a:pt x="595" y="396"/>
                    <a:pt x="596" y="396"/>
                    <a:pt x="596" y="396"/>
                  </a:cubicBezTo>
                  <a:cubicBezTo>
                    <a:pt x="600" y="397"/>
                    <a:pt x="602" y="398"/>
                    <a:pt x="603" y="399"/>
                  </a:cubicBezTo>
                  <a:cubicBezTo>
                    <a:pt x="603" y="399"/>
                    <a:pt x="603" y="399"/>
                    <a:pt x="603" y="399"/>
                  </a:cubicBezTo>
                  <a:cubicBezTo>
                    <a:pt x="603" y="399"/>
                    <a:pt x="603" y="401"/>
                    <a:pt x="604" y="401"/>
                  </a:cubicBezTo>
                  <a:cubicBezTo>
                    <a:pt x="606" y="402"/>
                    <a:pt x="608" y="402"/>
                    <a:pt x="610" y="402"/>
                  </a:cubicBezTo>
                  <a:cubicBezTo>
                    <a:pt x="611" y="401"/>
                    <a:pt x="612" y="401"/>
                    <a:pt x="612" y="401"/>
                  </a:cubicBezTo>
                  <a:cubicBezTo>
                    <a:pt x="613" y="401"/>
                    <a:pt x="614" y="403"/>
                    <a:pt x="615" y="404"/>
                  </a:cubicBezTo>
                  <a:cubicBezTo>
                    <a:pt x="616" y="406"/>
                    <a:pt x="618" y="407"/>
                    <a:pt x="619" y="408"/>
                  </a:cubicBezTo>
                  <a:cubicBezTo>
                    <a:pt x="620" y="409"/>
                    <a:pt x="622" y="409"/>
                    <a:pt x="623" y="410"/>
                  </a:cubicBezTo>
                  <a:cubicBezTo>
                    <a:pt x="624" y="410"/>
                    <a:pt x="626" y="410"/>
                    <a:pt x="626" y="411"/>
                  </a:cubicBezTo>
                  <a:cubicBezTo>
                    <a:pt x="627" y="411"/>
                    <a:pt x="628" y="413"/>
                    <a:pt x="628" y="414"/>
                  </a:cubicBezTo>
                  <a:cubicBezTo>
                    <a:pt x="628" y="416"/>
                    <a:pt x="629" y="417"/>
                    <a:pt x="630" y="418"/>
                  </a:cubicBezTo>
                  <a:cubicBezTo>
                    <a:pt x="631" y="420"/>
                    <a:pt x="635" y="424"/>
                    <a:pt x="638" y="426"/>
                  </a:cubicBezTo>
                  <a:cubicBezTo>
                    <a:pt x="640" y="427"/>
                    <a:pt x="643" y="428"/>
                    <a:pt x="645" y="428"/>
                  </a:cubicBezTo>
                  <a:cubicBezTo>
                    <a:pt x="646" y="428"/>
                    <a:pt x="647" y="428"/>
                    <a:pt x="648" y="427"/>
                  </a:cubicBezTo>
                  <a:cubicBezTo>
                    <a:pt x="653" y="423"/>
                    <a:pt x="646" y="411"/>
                    <a:pt x="645" y="408"/>
                  </a:cubicBezTo>
                  <a:cubicBezTo>
                    <a:pt x="644" y="407"/>
                    <a:pt x="642" y="405"/>
                    <a:pt x="640" y="404"/>
                  </a:cubicBezTo>
                  <a:cubicBezTo>
                    <a:pt x="639" y="403"/>
                    <a:pt x="638" y="402"/>
                    <a:pt x="637" y="402"/>
                  </a:cubicBezTo>
                  <a:cubicBezTo>
                    <a:pt x="637" y="400"/>
                    <a:pt x="636" y="397"/>
                    <a:pt x="636" y="395"/>
                  </a:cubicBezTo>
                  <a:cubicBezTo>
                    <a:pt x="636" y="394"/>
                    <a:pt x="637" y="391"/>
                    <a:pt x="639" y="389"/>
                  </a:cubicBezTo>
                  <a:cubicBezTo>
                    <a:pt x="640" y="389"/>
                    <a:pt x="640" y="389"/>
                    <a:pt x="641" y="388"/>
                  </a:cubicBezTo>
                  <a:cubicBezTo>
                    <a:pt x="644" y="384"/>
                    <a:pt x="646" y="376"/>
                    <a:pt x="646" y="372"/>
                  </a:cubicBezTo>
                  <a:cubicBezTo>
                    <a:pt x="647" y="371"/>
                    <a:pt x="646" y="369"/>
                    <a:pt x="646" y="368"/>
                  </a:cubicBezTo>
                  <a:cubicBezTo>
                    <a:pt x="646" y="367"/>
                    <a:pt x="646" y="365"/>
                    <a:pt x="646" y="365"/>
                  </a:cubicBezTo>
                  <a:cubicBezTo>
                    <a:pt x="646" y="364"/>
                    <a:pt x="647" y="363"/>
                    <a:pt x="647" y="362"/>
                  </a:cubicBezTo>
                  <a:cubicBezTo>
                    <a:pt x="649" y="360"/>
                    <a:pt x="650" y="359"/>
                    <a:pt x="650" y="358"/>
                  </a:cubicBezTo>
                  <a:cubicBezTo>
                    <a:pt x="650" y="356"/>
                    <a:pt x="651" y="351"/>
                    <a:pt x="650" y="349"/>
                  </a:cubicBezTo>
                  <a:cubicBezTo>
                    <a:pt x="649" y="346"/>
                    <a:pt x="644" y="342"/>
                    <a:pt x="642" y="341"/>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53">
              <a:extLst>
                <a:ext uri="{FF2B5EF4-FFF2-40B4-BE49-F238E27FC236}">
                  <a16:creationId xmlns:a16="http://schemas.microsoft.com/office/drawing/2014/main" id="{A3562D1A-FCB4-4A21-AD8C-8A00C9900B83}"/>
                </a:ext>
              </a:extLst>
            </p:cNvPr>
            <p:cNvSpPr>
              <a:spLocks/>
            </p:cNvSpPr>
            <p:nvPr/>
          </p:nvSpPr>
          <p:spPr bwMode="auto">
            <a:xfrm>
              <a:off x="5342806" y="2164677"/>
              <a:ext cx="682240" cy="422484"/>
            </a:xfrm>
            <a:custGeom>
              <a:avLst/>
              <a:gdLst>
                <a:gd name="T0" fmla="*/ 614 w 614"/>
                <a:gd name="T1" fmla="*/ 370 h 380"/>
                <a:gd name="T2" fmla="*/ 613 w 614"/>
                <a:gd name="T3" fmla="*/ 362 h 380"/>
                <a:gd name="T4" fmla="*/ 611 w 614"/>
                <a:gd name="T5" fmla="*/ 347 h 380"/>
                <a:gd name="T6" fmla="*/ 605 w 614"/>
                <a:gd name="T7" fmla="*/ 321 h 380"/>
                <a:gd name="T8" fmla="*/ 599 w 614"/>
                <a:gd name="T9" fmla="*/ 305 h 380"/>
                <a:gd name="T10" fmla="*/ 595 w 614"/>
                <a:gd name="T11" fmla="*/ 297 h 380"/>
                <a:gd name="T12" fmla="*/ 595 w 614"/>
                <a:gd name="T13" fmla="*/ 270 h 380"/>
                <a:gd name="T14" fmla="*/ 595 w 614"/>
                <a:gd name="T15" fmla="*/ 267 h 380"/>
                <a:gd name="T16" fmla="*/ 596 w 614"/>
                <a:gd name="T17" fmla="*/ 262 h 380"/>
                <a:gd name="T18" fmla="*/ 593 w 614"/>
                <a:gd name="T19" fmla="*/ 257 h 380"/>
                <a:gd name="T20" fmla="*/ 592 w 614"/>
                <a:gd name="T21" fmla="*/ 254 h 380"/>
                <a:gd name="T22" fmla="*/ 592 w 614"/>
                <a:gd name="T23" fmla="*/ 244 h 380"/>
                <a:gd name="T24" fmla="*/ 592 w 614"/>
                <a:gd name="T25" fmla="*/ 243 h 380"/>
                <a:gd name="T26" fmla="*/ 590 w 614"/>
                <a:gd name="T27" fmla="*/ 228 h 380"/>
                <a:gd name="T28" fmla="*/ 590 w 614"/>
                <a:gd name="T29" fmla="*/ 212 h 380"/>
                <a:gd name="T30" fmla="*/ 589 w 614"/>
                <a:gd name="T31" fmla="*/ 208 h 380"/>
                <a:gd name="T32" fmla="*/ 588 w 614"/>
                <a:gd name="T33" fmla="*/ 205 h 380"/>
                <a:gd name="T34" fmla="*/ 589 w 614"/>
                <a:gd name="T35" fmla="*/ 202 h 380"/>
                <a:gd name="T36" fmla="*/ 589 w 614"/>
                <a:gd name="T37" fmla="*/ 198 h 380"/>
                <a:gd name="T38" fmla="*/ 589 w 614"/>
                <a:gd name="T39" fmla="*/ 190 h 380"/>
                <a:gd name="T40" fmla="*/ 586 w 614"/>
                <a:gd name="T41" fmla="*/ 173 h 380"/>
                <a:gd name="T42" fmla="*/ 583 w 614"/>
                <a:gd name="T43" fmla="*/ 168 h 380"/>
                <a:gd name="T44" fmla="*/ 579 w 614"/>
                <a:gd name="T45" fmla="*/ 157 h 380"/>
                <a:gd name="T46" fmla="*/ 577 w 614"/>
                <a:gd name="T47" fmla="*/ 148 h 380"/>
                <a:gd name="T48" fmla="*/ 568 w 614"/>
                <a:gd name="T49" fmla="*/ 122 h 380"/>
                <a:gd name="T50" fmla="*/ 567 w 614"/>
                <a:gd name="T51" fmla="*/ 115 h 380"/>
                <a:gd name="T52" fmla="*/ 568 w 614"/>
                <a:gd name="T53" fmla="*/ 100 h 380"/>
                <a:gd name="T54" fmla="*/ 567 w 614"/>
                <a:gd name="T55" fmla="*/ 98 h 380"/>
                <a:gd name="T56" fmla="*/ 566 w 614"/>
                <a:gd name="T57" fmla="*/ 96 h 380"/>
                <a:gd name="T58" fmla="*/ 567 w 614"/>
                <a:gd name="T59" fmla="*/ 93 h 380"/>
                <a:gd name="T60" fmla="*/ 568 w 614"/>
                <a:gd name="T61" fmla="*/ 89 h 380"/>
                <a:gd name="T62" fmla="*/ 567 w 614"/>
                <a:gd name="T63" fmla="*/ 82 h 380"/>
                <a:gd name="T64" fmla="*/ 566 w 614"/>
                <a:gd name="T65" fmla="*/ 76 h 380"/>
                <a:gd name="T66" fmla="*/ 568 w 614"/>
                <a:gd name="T67" fmla="*/ 70 h 380"/>
                <a:gd name="T68" fmla="*/ 570 w 614"/>
                <a:gd name="T69" fmla="*/ 61 h 380"/>
                <a:gd name="T70" fmla="*/ 567 w 614"/>
                <a:gd name="T71" fmla="*/ 53 h 380"/>
                <a:gd name="T72" fmla="*/ 562 w 614"/>
                <a:gd name="T73" fmla="*/ 31 h 380"/>
                <a:gd name="T74" fmla="*/ 559 w 614"/>
                <a:gd name="T75" fmla="*/ 26 h 380"/>
                <a:gd name="T76" fmla="*/ 560 w 614"/>
                <a:gd name="T77" fmla="*/ 23 h 380"/>
                <a:gd name="T78" fmla="*/ 560 w 614"/>
                <a:gd name="T79" fmla="*/ 21 h 380"/>
                <a:gd name="T80" fmla="*/ 558 w 614"/>
                <a:gd name="T81" fmla="*/ 20 h 380"/>
                <a:gd name="T82" fmla="*/ 489 w 614"/>
                <a:gd name="T83" fmla="*/ 20 h 380"/>
                <a:gd name="T84" fmla="*/ 333 w 614"/>
                <a:gd name="T85" fmla="*/ 16 h 380"/>
                <a:gd name="T86" fmla="*/ 149 w 614"/>
                <a:gd name="T87" fmla="*/ 8 h 380"/>
                <a:gd name="T88" fmla="*/ 27 w 614"/>
                <a:gd name="T89" fmla="*/ 0 h 380"/>
                <a:gd name="T90" fmla="*/ 26 w 614"/>
                <a:gd name="T91" fmla="*/ 1 h 380"/>
                <a:gd name="T92" fmla="*/ 25 w 614"/>
                <a:gd name="T93" fmla="*/ 3 h 380"/>
                <a:gd name="T94" fmla="*/ 25 w 614"/>
                <a:gd name="T95" fmla="*/ 5 h 380"/>
                <a:gd name="T96" fmla="*/ 1 w 614"/>
                <a:gd name="T97" fmla="*/ 352 h 380"/>
                <a:gd name="T98" fmla="*/ 0 w 614"/>
                <a:gd name="T99" fmla="*/ 356 h 380"/>
                <a:gd name="T100" fmla="*/ 2 w 614"/>
                <a:gd name="T101" fmla="*/ 358 h 380"/>
                <a:gd name="T102" fmla="*/ 6 w 614"/>
                <a:gd name="T103" fmla="*/ 359 h 380"/>
                <a:gd name="T104" fmla="*/ 148 w 614"/>
                <a:gd name="T105" fmla="*/ 369 h 380"/>
                <a:gd name="T106" fmla="*/ 309 w 614"/>
                <a:gd name="T107" fmla="*/ 376 h 380"/>
                <a:gd name="T108" fmla="*/ 459 w 614"/>
                <a:gd name="T109" fmla="*/ 379 h 380"/>
                <a:gd name="T110" fmla="*/ 612 w 614"/>
                <a:gd name="T111" fmla="*/ 380 h 380"/>
                <a:gd name="T112" fmla="*/ 612 w 614"/>
                <a:gd name="T113" fmla="*/ 380 h 380"/>
                <a:gd name="T114" fmla="*/ 613 w 614"/>
                <a:gd name="T115" fmla="*/ 379 h 380"/>
                <a:gd name="T116" fmla="*/ 614 w 614"/>
                <a:gd name="T117" fmla="*/ 377 h 380"/>
                <a:gd name="T118" fmla="*/ 614 w 614"/>
                <a:gd name="T119" fmla="*/ 37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4" h="380">
                  <a:moveTo>
                    <a:pt x="614" y="370"/>
                  </a:moveTo>
                  <a:cubicBezTo>
                    <a:pt x="614" y="370"/>
                    <a:pt x="613" y="364"/>
                    <a:pt x="613" y="362"/>
                  </a:cubicBezTo>
                  <a:cubicBezTo>
                    <a:pt x="613" y="359"/>
                    <a:pt x="612" y="349"/>
                    <a:pt x="611" y="347"/>
                  </a:cubicBezTo>
                  <a:cubicBezTo>
                    <a:pt x="613" y="333"/>
                    <a:pt x="609" y="327"/>
                    <a:pt x="605" y="321"/>
                  </a:cubicBezTo>
                  <a:cubicBezTo>
                    <a:pt x="602" y="317"/>
                    <a:pt x="600" y="313"/>
                    <a:pt x="599" y="305"/>
                  </a:cubicBezTo>
                  <a:cubicBezTo>
                    <a:pt x="599" y="302"/>
                    <a:pt x="596" y="299"/>
                    <a:pt x="595" y="297"/>
                  </a:cubicBezTo>
                  <a:cubicBezTo>
                    <a:pt x="595" y="293"/>
                    <a:pt x="594" y="276"/>
                    <a:pt x="595" y="270"/>
                  </a:cubicBezTo>
                  <a:cubicBezTo>
                    <a:pt x="595" y="269"/>
                    <a:pt x="595" y="268"/>
                    <a:pt x="595" y="267"/>
                  </a:cubicBezTo>
                  <a:cubicBezTo>
                    <a:pt x="596" y="265"/>
                    <a:pt x="596" y="263"/>
                    <a:pt x="596" y="262"/>
                  </a:cubicBezTo>
                  <a:cubicBezTo>
                    <a:pt x="596" y="260"/>
                    <a:pt x="595" y="258"/>
                    <a:pt x="593" y="257"/>
                  </a:cubicBezTo>
                  <a:cubicBezTo>
                    <a:pt x="593" y="256"/>
                    <a:pt x="592" y="254"/>
                    <a:pt x="592" y="254"/>
                  </a:cubicBezTo>
                  <a:cubicBezTo>
                    <a:pt x="591" y="252"/>
                    <a:pt x="592" y="247"/>
                    <a:pt x="592" y="244"/>
                  </a:cubicBezTo>
                  <a:cubicBezTo>
                    <a:pt x="592" y="244"/>
                    <a:pt x="592" y="243"/>
                    <a:pt x="592" y="243"/>
                  </a:cubicBezTo>
                  <a:cubicBezTo>
                    <a:pt x="590" y="228"/>
                    <a:pt x="590" y="228"/>
                    <a:pt x="590" y="228"/>
                  </a:cubicBezTo>
                  <a:cubicBezTo>
                    <a:pt x="590" y="227"/>
                    <a:pt x="591" y="216"/>
                    <a:pt x="590" y="212"/>
                  </a:cubicBezTo>
                  <a:cubicBezTo>
                    <a:pt x="590" y="211"/>
                    <a:pt x="590" y="210"/>
                    <a:pt x="589" y="208"/>
                  </a:cubicBezTo>
                  <a:cubicBezTo>
                    <a:pt x="589" y="207"/>
                    <a:pt x="588" y="206"/>
                    <a:pt x="588" y="205"/>
                  </a:cubicBezTo>
                  <a:cubicBezTo>
                    <a:pt x="588" y="204"/>
                    <a:pt x="588" y="203"/>
                    <a:pt x="589" y="202"/>
                  </a:cubicBezTo>
                  <a:cubicBezTo>
                    <a:pt x="589" y="200"/>
                    <a:pt x="589" y="199"/>
                    <a:pt x="589" y="198"/>
                  </a:cubicBezTo>
                  <a:cubicBezTo>
                    <a:pt x="590" y="196"/>
                    <a:pt x="590" y="192"/>
                    <a:pt x="589" y="190"/>
                  </a:cubicBezTo>
                  <a:cubicBezTo>
                    <a:pt x="589" y="185"/>
                    <a:pt x="587" y="177"/>
                    <a:pt x="586" y="173"/>
                  </a:cubicBezTo>
                  <a:cubicBezTo>
                    <a:pt x="585" y="172"/>
                    <a:pt x="584" y="170"/>
                    <a:pt x="583" y="168"/>
                  </a:cubicBezTo>
                  <a:cubicBezTo>
                    <a:pt x="582" y="165"/>
                    <a:pt x="580" y="162"/>
                    <a:pt x="579" y="157"/>
                  </a:cubicBezTo>
                  <a:cubicBezTo>
                    <a:pt x="577" y="154"/>
                    <a:pt x="577" y="148"/>
                    <a:pt x="577" y="148"/>
                  </a:cubicBezTo>
                  <a:cubicBezTo>
                    <a:pt x="577" y="141"/>
                    <a:pt x="570" y="125"/>
                    <a:pt x="568" y="122"/>
                  </a:cubicBezTo>
                  <a:cubicBezTo>
                    <a:pt x="567" y="115"/>
                    <a:pt x="567" y="115"/>
                    <a:pt x="567" y="115"/>
                  </a:cubicBezTo>
                  <a:cubicBezTo>
                    <a:pt x="567" y="113"/>
                    <a:pt x="568" y="104"/>
                    <a:pt x="568" y="100"/>
                  </a:cubicBezTo>
                  <a:cubicBezTo>
                    <a:pt x="568" y="99"/>
                    <a:pt x="567" y="99"/>
                    <a:pt x="567" y="98"/>
                  </a:cubicBezTo>
                  <a:cubicBezTo>
                    <a:pt x="567" y="97"/>
                    <a:pt x="566" y="96"/>
                    <a:pt x="566" y="96"/>
                  </a:cubicBezTo>
                  <a:cubicBezTo>
                    <a:pt x="566" y="96"/>
                    <a:pt x="567" y="94"/>
                    <a:pt x="567" y="93"/>
                  </a:cubicBezTo>
                  <a:cubicBezTo>
                    <a:pt x="567" y="92"/>
                    <a:pt x="568" y="90"/>
                    <a:pt x="568" y="89"/>
                  </a:cubicBezTo>
                  <a:cubicBezTo>
                    <a:pt x="568" y="87"/>
                    <a:pt x="567" y="85"/>
                    <a:pt x="567" y="82"/>
                  </a:cubicBezTo>
                  <a:cubicBezTo>
                    <a:pt x="566" y="80"/>
                    <a:pt x="566" y="77"/>
                    <a:pt x="566" y="76"/>
                  </a:cubicBezTo>
                  <a:cubicBezTo>
                    <a:pt x="566" y="74"/>
                    <a:pt x="567" y="72"/>
                    <a:pt x="568" y="70"/>
                  </a:cubicBezTo>
                  <a:cubicBezTo>
                    <a:pt x="569" y="67"/>
                    <a:pt x="570" y="63"/>
                    <a:pt x="570" y="61"/>
                  </a:cubicBezTo>
                  <a:cubicBezTo>
                    <a:pt x="570" y="59"/>
                    <a:pt x="568" y="55"/>
                    <a:pt x="567" y="53"/>
                  </a:cubicBezTo>
                  <a:cubicBezTo>
                    <a:pt x="562" y="31"/>
                    <a:pt x="562" y="31"/>
                    <a:pt x="562" y="31"/>
                  </a:cubicBezTo>
                  <a:cubicBezTo>
                    <a:pt x="559" y="26"/>
                    <a:pt x="559" y="26"/>
                    <a:pt x="559" y="26"/>
                  </a:cubicBezTo>
                  <a:cubicBezTo>
                    <a:pt x="560" y="23"/>
                    <a:pt x="560" y="23"/>
                    <a:pt x="560" y="23"/>
                  </a:cubicBezTo>
                  <a:cubicBezTo>
                    <a:pt x="561" y="22"/>
                    <a:pt x="561" y="21"/>
                    <a:pt x="560" y="21"/>
                  </a:cubicBezTo>
                  <a:cubicBezTo>
                    <a:pt x="560" y="20"/>
                    <a:pt x="559" y="20"/>
                    <a:pt x="558" y="20"/>
                  </a:cubicBezTo>
                  <a:cubicBezTo>
                    <a:pt x="489" y="20"/>
                    <a:pt x="489" y="20"/>
                    <a:pt x="489" y="20"/>
                  </a:cubicBezTo>
                  <a:cubicBezTo>
                    <a:pt x="333" y="16"/>
                    <a:pt x="333" y="16"/>
                    <a:pt x="333" y="16"/>
                  </a:cubicBezTo>
                  <a:cubicBezTo>
                    <a:pt x="149" y="8"/>
                    <a:pt x="149" y="8"/>
                    <a:pt x="149" y="8"/>
                  </a:cubicBezTo>
                  <a:cubicBezTo>
                    <a:pt x="27" y="0"/>
                    <a:pt x="27" y="0"/>
                    <a:pt x="27" y="0"/>
                  </a:cubicBezTo>
                  <a:cubicBezTo>
                    <a:pt x="27" y="0"/>
                    <a:pt x="26" y="0"/>
                    <a:pt x="26" y="1"/>
                  </a:cubicBezTo>
                  <a:cubicBezTo>
                    <a:pt x="25" y="1"/>
                    <a:pt x="25" y="2"/>
                    <a:pt x="25" y="3"/>
                  </a:cubicBezTo>
                  <a:cubicBezTo>
                    <a:pt x="25" y="5"/>
                    <a:pt x="25" y="5"/>
                    <a:pt x="25" y="5"/>
                  </a:cubicBezTo>
                  <a:cubicBezTo>
                    <a:pt x="1" y="352"/>
                    <a:pt x="1" y="352"/>
                    <a:pt x="1" y="352"/>
                  </a:cubicBezTo>
                  <a:cubicBezTo>
                    <a:pt x="0" y="356"/>
                    <a:pt x="0" y="356"/>
                    <a:pt x="0" y="356"/>
                  </a:cubicBezTo>
                  <a:cubicBezTo>
                    <a:pt x="0" y="357"/>
                    <a:pt x="1" y="358"/>
                    <a:pt x="2" y="358"/>
                  </a:cubicBezTo>
                  <a:cubicBezTo>
                    <a:pt x="2" y="358"/>
                    <a:pt x="5" y="359"/>
                    <a:pt x="6" y="359"/>
                  </a:cubicBezTo>
                  <a:cubicBezTo>
                    <a:pt x="41" y="364"/>
                    <a:pt x="147" y="369"/>
                    <a:pt x="148" y="369"/>
                  </a:cubicBezTo>
                  <a:cubicBezTo>
                    <a:pt x="309" y="376"/>
                    <a:pt x="309" y="376"/>
                    <a:pt x="309" y="376"/>
                  </a:cubicBezTo>
                  <a:cubicBezTo>
                    <a:pt x="459" y="379"/>
                    <a:pt x="459" y="379"/>
                    <a:pt x="459" y="379"/>
                  </a:cubicBezTo>
                  <a:cubicBezTo>
                    <a:pt x="612" y="380"/>
                    <a:pt x="612" y="380"/>
                    <a:pt x="612" y="380"/>
                  </a:cubicBezTo>
                  <a:cubicBezTo>
                    <a:pt x="612" y="380"/>
                    <a:pt x="612" y="380"/>
                    <a:pt x="612" y="380"/>
                  </a:cubicBezTo>
                  <a:cubicBezTo>
                    <a:pt x="612" y="380"/>
                    <a:pt x="613" y="380"/>
                    <a:pt x="613" y="379"/>
                  </a:cubicBezTo>
                  <a:cubicBezTo>
                    <a:pt x="614" y="379"/>
                    <a:pt x="614" y="378"/>
                    <a:pt x="614" y="377"/>
                  </a:cubicBezTo>
                  <a:lnTo>
                    <a:pt x="614" y="370"/>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54">
              <a:extLst>
                <a:ext uri="{FF2B5EF4-FFF2-40B4-BE49-F238E27FC236}">
                  <a16:creationId xmlns:a16="http://schemas.microsoft.com/office/drawing/2014/main" id="{42F4CA03-FEF9-48DD-9455-2F1203894787}"/>
                </a:ext>
              </a:extLst>
            </p:cNvPr>
            <p:cNvSpPr>
              <a:spLocks/>
            </p:cNvSpPr>
            <p:nvPr/>
          </p:nvSpPr>
          <p:spPr bwMode="auto">
            <a:xfrm>
              <a:off x="3394125" y="2210159"/>
              <a:ext cx="827785" cy="688305"/>
            </a:xfrm>
            <a:custGeom>
              <a:avLst/>
              <a:gdLst>
                <a:gd name="T0" fmla="*/ 43 w 745"/>
                <a:gd name="T1" fmla="*/ 320 h 619"/>
                <a:gd name="T2" fmla="*/ 11 w 745"/>
                <a:gd name="T3" fmla="*/ 362 h 619"/>
                <a:gd name="T4" fmla="*/ 13 w 745"/>
                <a:gd name="T5" fmla="*/ 400 h 619"/>
                <a:gd name="T6" fmla="*/ 1 w 745"/>
                <a:gd name="T7" fmla="*/ 425 h 619"/>
                <a:gd name="T8" fmla="*/ 14 w 745"/>
                <a:gd name="T9" fmla="*/ 470 h 619"/>
                <a:gd name="T10" fmla="*/ 507 w 745"/>
                <a:gd name="T11" fmla="*/ 597 h 619"/>
                <a:gd name="T12" fmla="*/ 658 w 745"/>
                <a:gd name="T13" fmla="*/ 406 h 619"/>
                <a:gd name="T14" fmla="*/ 668 w 745"/>
                <a:gd name="T15" fmla="*/ 378 h 619"/>
                <a:gd name="T16" fmla="*/ 663 w 745"/>
                <a:gd name="T17" fmla="*/ 358 h 619"/>
                <a:gd name="T18" fmla="*/ 658 w 745"/>
                <a:gd name="T19" fmla="*/ 329 h 619"/>
                <a:gd name="T20" fmla="*/ 686 w 745"/>
                <a:gd name="T21" fmla="*/ 299 h 619"/>
                <a:gd name="T22" fmla="*/ 698 w 745"/>
                <a:gd name="T23" fmla="*/ 278 h 619"/>
                <a:gd name="T24" fmla="*/ 724 w 745"/>
                <a:gd name="T25" fmla="*/ 240 h 619"/>
                <a:gd name="T26" fmla="*/ 741 w 745"/>
                <a:gd name="T27" fmla="*/ 198 h 619"/>
                <a:gd name="T28" fmla="*/ 720 w 745"/>
                <a:gd name="T29" fmla="*/ 172 h 619"/>
                <a:gd name="T30" fmla="*/ 551 w 745"/>
                <a:gd name="T31" fmla="*/ 125 h 619"/>
                <a:gd name="T32" fmla="*/ 527 w 745"/>
                <a:gd name="T33" fmla="*/ 126 h 619"/>
                <a:gd name="T34" fmla="*/ 497 w 745"/>
                <a:gd name="T35" fmla="*/ 127 h 619"/>
                <a:gd name="T36" fmla="*/ 443 w 745"/>
                <a:gd name="T37" fmla="*/ 132 h 619"/>
                <a:gd name="T38" fmla="*/ 383 w 745"/>
                <a:gd name="T39" fmla="*/ 125 h 619"/>
                <a:gd name="T40" fmla="*/ 358 w 745"/>
                <a:gd name="T41" fmla="*/ 112 h 619"/>
                <a:gd name="T42" fmla="*/ 330 w 745"/>
                <a:gd name="T43" fmla="*/ 106 h 619"/>
                <a:gd name="T44" fmla="*/ 308 w 745"/>
                <a:gd name="T45" fmla="*/ 107 h 619"/>
                <a:gd name="T46" fmla="*/ 278 w 745"/>
                <a:gd name="T47" fmla="*/ 109 h 619"/>
                <a:gd name="T48" fmla="*/ 259 w 745"/>
                <a:gd name="T49" fmla="*/ 99 h 619"/>
                <a:gd name="T50" fmla="*/ 249 w 745"/>
                <a:gd name="T51" fmla="*/ 51 h 619"/>
                <a:gd name="T52" fmla="*/ 233 w 745"/>
                <a:gd name="T53" fmla="*/ 21 h 619"/>
                <a:gd name="T54" fmla="*/ 212 w 745"/>
                <a:gd name="T55" fmla="*/ 19 h 619"/>
                <a:gd name="T56" fmla="*/ 200 w 745"/>
                <a:gd name="T57" fmla="*/ 6 h 619"/>
                <a:gd name="T58" fmla="*/ 182 w 745"/>
                <a:gd name="T59" fmla="*/ 4 h 619"/>
                <a:gd name="T60" fmla="*/ 166 w 745"/>
                <a:gd name="T61" fmla="*/ 8 h 619"/>
                <a:gd name="T62" fmla="*/ 157 w 745"/>
                <a:gd name="T63" fmla="*/ 32 h 619"/>
                <a:gd name="T64" fmla="*/ 153 w 745"/>
                <a:gd name="T65" fmla="*/ 55 h 619"/>
                <a:gd name="T66" fmla="*/ 146 w 745"/>
                <a:gd name="T67" fmla="*/ 75 h 619"/>
                <a:gd name="T68" fmla="*/ 143 w 745"/>
                <a:gd name="T69" fmla="*/ 92 h 619"/>
                <a:gd name="T70" fmla="*/ 135 w 745"/>
                <a:gd name="T71" fmla="*/ 109 h 619"/>
                <a:gd name="T72" fmla="*/ 123 w 745"/>
                <a:gd name="T73" fmla="*/ 136 h 619"/>
                <a:gd name="T74" fmla="*/ 102 w 745"/>
                <a:gd name="T75" fmla="*/ 187 h 619"/>
                <a:gd name="T76" fmla="*/ 98 w 745"/>
                <a:gd name="T77" fmla="*/ 202 h 619"/>
                <a:gd name="T78" fmla="*/ 74 w 745"/>
                <a:gd name="T79" fmla="*/ 262 h 619"/>
                <a:gd name="T80" fmla="*/ 76 w 745"/>
                <a:gd name="T81" fmla="*/ 275 h 619"/>
                <a:gd name="T82" fmla="*/ 62 w 745"/>
                <a:gd name="T83" fmla="*/ 285 h 619"/>
                <a:gd name="T84" fmla="*/ 57 w 745"/>
                <a:gd name="T85" fmla="*/ 30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5" h="619">
                  <a:moveTo>
                    <a:pt x="54" y="314"/>
                  </a:moveTo>
                  <a:cubicBezTo>
                    <a:pt x="48" y="314"/>
                    <a:pt x="48" y="312"/>
                    <a:pt x="46" y="312"/>
                  </a:cubicBezTo>
                  <a:cubicBezTo>
                    <a:pt x="44" y="312"/>
                    <a:pt x="45" y="320"/>
                    <a:pt x="43" y="320"/>
                  </a:cubicBezTo>
                  <a:cubicBezTo>
                    <a:pt x="41" y="320"/>
                    <a:pt x="39" y="319"/>
                    <a:pt x="37" y="319"/>
                  </a:cubicBezTo>
                  <a:cubicBezTo>
                    <a:pt x="29" y="319"/>
                    <a:pt x="27" y="342"/>
                    <a:pt x="23" y="349"/>
                  </a:cubicBezTo>
                  <a:cubicBezTo>
                    <a:pt x="20" y="354"/>
                    <a:pt x="13" y="356"/>
                    <a:pt x="11" y="362"/>
                  </a:cubicBezTo>
                  <a:cubicBezTo>
                    <a:pt x="10" y="365"/>
                    <a:pt x="11" y="373"/>
                    <a:pt x="11" y="377"/>
                  </a:cubicBezTo>
                  <a:cubicBezTo>
                    <a:pt x="12" y="381"/>
                    <a:pt x="15" y="388"/>
                    <a:pt x="15" y="392"/>
                  </a:cubicBezTo>
                  <a:cubicBezTo>
                    <a:pt x="15" y="394"/>
                    <a:pt x="14" y="398"/>
                    <a:pt x="13" y="400"/>
                  </a:cubicBezTo>
                  <a:cubicBezTo>
                    <a:pt x="12" y="402"/>
                    <a:pt x="8" y="406"/>
                    <a:pt x="7" y="408"/>
                  </a:cubicBezTo>
                  <a:cubicBezTo>
                    <a:pt x="6" y="410"/>
                    <a:pt x="6" y="414"/>
                    <a:pt x="6" y="415"/>
                  </a:cubicBezTo>
                  <a:cubicBezTo>
                    <a:pt x="5" y="418"/>
                    <a:pt x="2" y="422"/>
                    <a:pt x="1" y="425"/>
                  </a:cubicBezTo>
                  <a:cubicBezTo>
                    <a:pt x="0" y="432"/>
                    <a:pt x="3" y="454"/>
                    <a:pt x="3" y="454"/>
                  </a:cubicBezTo>
                  <a:cubicBezTo>
                    <a:pt x="8" y="465"/>
                    <a:pt x="8" y="465"/>
                    <a:pt x="8" y="465"/>
                  </a:cubicBezTo>
                  <a:cubicBezTo>
                    <a:pt x="8" y="465"/>
                    <a:pt x="9" y="469"/>
                    <a:pt x="14" y="470"/>
                  </a:cubicBezTo>
                  <a:cubicBezTo>
                    <a:pt x="60" y="485"/>
                    <a:pt x="201" y="522"/>
                    <a:pt x="201" y="522"/>
                  </a:cubicBezTo>
                  <a:cubicBezTo>
                    <a:pt x="360" y="562"/>
                    <a:pt x="360" y="562"/>
                    <a:pt x="360" y="562"/>
                  </a:cubicBezTo>
                  <a:cubicBezTo>
                    <a:pt x="507" y="597"/>
                    <a:pt x="507" y="597"/>
                    <a:pt x="507" y="597"/>
                  </a:cubicBezTo>
                  <a:cubicBezTo>
                    <a:pt x="611" y="619"/>
                    <a:pt x="611" y="619"/>
                    <a:pt x="611" y="619"/>
                  </a:cubicBezTo>
                  <a:cubicBezTo>
                    <a:pt x="655" y="412"/>
                    <a:pt x="655" y="412"/>
                    <a:pt x="655" y="412"/>
                  </a:cubicBezTo>
                  <a:cubicBezTo>
                    <a:pt x="658" y="406"/>
                    <a:pt x="658" y="406"/>
                    <a:pt x="658" y="406"/>
                  </a:cubicBezTo>
                  <a:cubicBezTo>
                    <a:pt x="658" y="406"/>
                    <a:pt x="661" y="404"/>
                    <a:pt x="661" y="404"/>
                  </a:cubicBezTo>
                  <a:cubicBezTo>
                    <a:pt x="664" y="400"/>
                    <a:pt x="667" y="393"/>
                    <a:pt x="668" y="389"/>
                  </a:cubicBezTo>
                  <a:cubicBezTo>
                    <a:pt x="668" y="386"/>
                    <a:pt x="667" y="381"/>
                    <a:pt x="668" y="378"/>
                  </a:cubicBezTo>
                  <a:cubicBezTo>
                    <a:pt x="669" y="376"/>
                    <a:pt x="674" y="373"/>
                    <a:pt x="674" y="371"/>
                  </a:cubicBezTo>
                  <a:cubicBezTo>
                    <a:pt x="674" y="368"/>
                    <a:pt x="671" y="365"/>
                    <a:pt x="670" y="363"/>
                  </a:cubicBezTo>
                  <a:cubicBezTo>
                    <a:pt x="668" y="362"/>
                    <a:pt x="665" y="359"/>
                    <a:pt x="663" y="358"/>
                  </a:cubicBezTo>
                  <a:cubicBezTo>
                    <a:pt x="661" y="357"/>
                    <a:pt x="657" y="357"/>
                    <a:pt x="655" y="356"/>
                  </a:cubicBezTo>
                  <a:cubicBezTo>
                    <a:pt x="654" y="355"/>
                    <a:pt x="653" y="353"/>
                    <a:pt x="653" y="352"/>
                  </a:cubicBezTo>
                  <a:cubicBezTo>
                    <a:pt x="651" y="346"/>
                    <a:pt x="655" y="334"/>
                    <a:pt x="658" y="329"/>
                  </a:cubicBezTo>
                  <a:cubicBezTo>
                    <a:pt x="659" y="326"/>
                    <a:pt x="663" y="323"/>
                    <a:pt x="665" y="321"/>
                  </a:cubicBezTo>
                  <a:cubicBezTo>
                    <a:pt x="668" y="318"/>
                    <a:pt x="671" y="310"/>
                    <a:pt x="674" y="307"/>
                  </a:cubicBezTo>
                  <a:cubicBezTo>
                    <a:pt x="677" y="305"/>
                    <a:pt x="684" y="302"/>
                    <a:pt x="686" y="299"/>
                  </a:cubicBezTo>
                  <a:cubicBezTo>
                    <a:pt x="688" y="298"/>
                    <a:pt x="692" y="294"/>
                    <a:pt x="693" y="292"/>
                  </a:cubicBezTo>
                  <a:cubicBezTo>
                    <a:pt x="694" y="290"/>
                    <a:pt x="697" y="286"/>
                    <a:pt x="697" y="284"/>
                  </a:cubicBezTo>
                  <a:cubicBezTo>
                    <a:pt x="698" y="282"/>
                    <a:pt x="697" y="279"/>
                    <a:pt x="698" y="278"/>
                  </a:cubicBezTo>
                  <a:cubicBezTo>
                    <a:pt x="700" y="273"/>
                    <a:pt x="708" y="267"/>
                    <a:pt x="711" y="263"/>
                  </a:cubicBezTo>
                  <a:cubicBezTo>
                    <a:pt x="713" y="260"/>
                    <a:pt x="716" y="255"/>
                    <a:pt x="718" y="250"/>
                  </a:cubicBezTo>
                  <a:cubicBezTo>
                    <a:pt x="720" y="246"/>
                    <a:pt x="722" y="242"/>
                    <a:pt x="724" y="240"/>
                  </a:cubicBezTo>
                  <a:cubicBezTo>
                    <a:pt x="727" y="235"/>
                    <a:pt x="736" y="226"/>
                    <a:pt x="740" y="221"/>
                  </a:cubicBezTo>
                  <a:cubicBezTo>
                    <a:pt x="741" y="219"/>
                    <a:pt x="744" y="215"/>
                    <a:pt x="744" y="213"/>
                  </a:cubicBezTo>
                  <a:cubicBezTo>
                    <a:pt x="745" y="210"/>
                    <a:pt x="743" y="202"/>
                    <a:pt x="741" y="198"/>
                  </a:cubicBezTo>
                  <a:cubicBezTo>
                    <a:pt x="739" y="194"/>
                    <a:pt x="731" y="188"/>
                    <a:pt x="728" y="184"/>
                  </a:cubicBezTo>
                  <a:cubicBezTo>
                    <a:pt x="727" y="183"/>
                    <a:pt x="724" y="180"/>
                    <a:pt x="724" y="180"/>
                  </a:cubicBezTo>
                  <a:cubicBezTo>
                    <a:pt x="720" y="172"/>
                    <a:pt x="720" y="172"/>
                    <a:pt x="720" y="172"/>
                  </a:cubicBezTo>
                  <a:cubicBezTo>
                    <a:pt x="719" y="162"/>
                    <a:pt x="719" y="162"/>
                    <a:pt x="719" y="162"/>
                  </a:cubicBezTo>
                  <a:cubicBezTo>
                    <a:pt x="624" y="143"/>
                    <a:pt x="624" y="143"/>
                    <a:pt x="624" y="143"/>
                  </a:cubicBezTo>
                  <a:cubicBezTo>
                    <a:pt x="624" y="143"/>
                    <a:pt x="570" y="123"/>
                    <a:pt x="551" y="125"/>
                  </a:cubicBezTo>
                  <a:cubicBezTo>
                    <a:pt x="549" y="126"/>
                    <a:pt x="545" y="129"/>
                    <a:pt x="543" y="130"/>
                  </a:cubicBezTo>
                  <a:cubicBezTo>
                    <a:pt x="541" y="130"/>
                    <a:pt x="537" y="129"/>
                    <a:pt x="535" y="129"/>
                  </a:cubicBezTo>
                  <a:cubicBezTo>
                    <a:pt x="533" y="128"/>
                    <a:pt x="529" y="126"/>
                    <a:pt x="527" y="126"/>
                  </a:cubicBezTo>
                  <a:cubicBezTo>
                    <a:pt x="523" y="125"/>
                    <a:pt x="514" y="126"/>
                    <a:pt x="510" y="125"/>
                  </a:cubicBezTo>
                  <a:cubicBezTo>
                    <a:pt x="508" y="125"/>
                    <a:pt x="506" y="123"/>
                    <a:pt x="504" y="123"/>
                  </a:cubicBezTo>
                  <a:cubicBezTo>
                    <a:pt x="502" y="123"/>
                    <a:pt x="499" y="127"/>
                    <a:pt x="497" y="127"/>
                  </a:cubicBezTo>
                  <a:cubicBezTo>
                    <a:pt x="491" y="129"/>
                    <a:pt x="479" y="127"/>
                    <a:pt x="473" y="127"/>
                  </a:cubicBezTo>
                  <a:cubicBezTo>
                    <a:pt x="469" y="127"/>
                    <a:pt x="462" y="128"/>
                    <a:pt x="458" y="128"/>
                  </a:cubicBezTo>
                  <a:cubicBezTo>
                    <a:pt x="454" y="129"/>
                    <a:pt x="447" y="132"/>
                    <a:pt x="443" y="132"/>
                  </a:cubicBezTo>
                  <a:cubicBezTo>
                    <a:pt x="418" y="130"/>
                    <a:pt x="429" y="125"/>
                    <a:pt x="412" y="124"/>
                  </a:cubicBezTo>
                  <a:cubicBezTo>
                    <a:pt x="408" y="124"/>
                    <a:pt x="401" y="128"/>
                    <a:pt x="390" y="127"/>
                  </a:cubicBezTo>
                  <a:cubicBezTo>
                    <a:pt x="388" y="127"/>
                    <a:pt x="385" y="125"/>
                    <a:pt x="383" y="125"/>
                  </a:cubicBezTo>
                  <a:cubicBezTo>
                    <a:pt x="379" y="124"/>
                    <a:pt x="371" y="128"/>
                    <a:pt x="368" y="125"/>
                  </a:cubicBezTo>
                  <a:cubicBezTo>
                    <a:pt x="366" y="124"/>
                    <a:pt x="367" y="120"/>
                    <a:pt x="366" y="118"/>
                  </a:cubicBezTo>
                  <a:cubicBezTo>
                    <a:pt x="365" y="116"/>
                    <a:pt x="361" y="113"/>
                    <a:pt x="358" y="112"/>
                  </a:cubicBezTo>
                  <a:cubicBezTo>
                    <a:pt x="357" y="112"/>
                    <a:pt x="353" y="112"/>
                    <a:pt x="351" y="111"/>
                  </a:cubicBezTo>
                  <a:cubicBezTo>
                    <a:pt x="349" y="110"/>
                    <a:pt x="345" y="107"/>
                    <a:pt x="343" y="107"/>
                  </a:cubicBezTo>
                  <a:cubicBezTo>
                    <a:pt x="340" y="106"/>
                    <a:pt x="333" y="107"/>
                    <a:pt x="330" y="106"/>
                  </a:cubicBezTo>
                  <a:cubicBezTo>
                    <a:pt x="328" y="105"/>
                    <a:pt x="325" y="103"/>
                    <a:pt x="323" y="103"/>
                  </a:cubicBezTo>
                  <a:cubicBezTo>
                    <a:pt x="321" y="103"/>
                    <a:pt x="318" y="103"/>
                    <a:pt x="316" y="103"/>
                  </a:cubicBezTo>
                  <a:cubicBezTo>
                    <a:pt x="314" y="104"/>
                    <a:pt x="310" y="107"/>
                    <a:pt x="308" y="107"/>
                  </a:cubicBezTo>
                  <a:cubicBezTo>
                    <a:pt x="306" y="108"/>
                    <a:pt x="302" y="108"/>
                    <a:pt x="301" y="109"/>
                  </a:cubicBezTo>
                  <a:cubicBezTo>
                    <a:pt x="297" y="109"/>
                    <a:pt x="285" y="110"/>
                    <a:pt x="285" y="110"/>
                  </a:cubicBezTo>
                  <a:cubicBezTo>
                    <a:pt x="278" y="109"/>
                    <a:pt x="278" y="109"/>
                    <a:pt x="278" y="109"/>
                  </a:cubicBezTo>
                  <a:cubicBezTo>
                    <a:pt x="278" y="109"/>
                    <a:pt x="273" y="105"/>
                    <a:pt x="270" y="104"/>
                  </a:cubicBezTo>
                  <a:cubicBezTo>
                    <a:pt x="269" y="104"/>
                    <a:pt x="267" y="104"/>
                    <a:pt x="267" y="104"/>
                  </a:cubicBezTo>
                  <a:cubicBezTo>
                    <a:pt x="259" y="99"/>
                    <a:pt x="259" y="99"/>
                    <a:pt x="259" y="99"/>
                  </a:cubicBezTo>
                  <a:cubicBezTo>
                    <a:pt x="259" y="99"/>
                    <a:pt x="250" y="96"/>
                    <a:pt x="247" y="94"/>
                  </a:cubicBezTo>
                  <a:cubicBezTo>
                    <a:pt x="246" y="93"/>
                    <a:pt x="245" y="91"/>
                    <a:pt x="244" y="89"/>
                  </a:cubicBezTo>
                  <a:cubicBezTo>
                    <a:pt x="242" y="80"/>
                    <a:pt x="249" y="51"/>
                    <a:pt x="249" y="51"/>
                  </a:cubicBezTo>
                  <a:cubicBezTo>
                    <a:pt x="249" y="51"/>
                    <a:pt x="247" y="39"/>
                    <a:pt x="245" y="36"/>
                  </a:cubicBezTo>
                  <a:cubicBezTo>
                    <a:pt x="244" y="34"/>
                    <a:pt x="239" y="31"/>
                    <a:pt x="237" y="29"/>
                  </a:cubicBezTo>
                  <a:cubicBezTo>
                    <a:pt x="236" y="27"/>
                    <a:pt x="234" y="23"/>
                    <a:pt x="233" y="21"/>
                  </a:cubicBezTo>
                  <a:cubicBezTo>
                    <a:pt x="232" y="20"/>
                    <a:pt x="229" y="19"/>
                    <a:pt x="227" y="19"/>
                  </a:cubicBezTo>
                  <a:cubicBezTo>
                    <a:pt x="225" y="19"/>
                    <a:pt x="222" y="23"/>
                    <a:pt x="220" y="23"/>
                  </a:cubicBezTo>
                  <a:cubicBezTo>
                    <a:pt x="218" y="23"/>
                    <a:pt x="212" y="19"/>
                    <a:pt x="212" y="19"/>
                  </a:cubicBezTo>
                  <a:cubicBezTo>
                    <a:pt x="211" y="19"/>
                    <a:pt x="211" y="19"/>
                    <a:pt x="211" y="19"/>
                  </a:cubicBezTo>
                  <a:cubicBezTo>
                    <a:pt x="207" y="12"/>
                    <a:pt x="207" y="12"/>
                    <a:pt x="207" y="12"/>
                  </a:cubicBezTo>
                  <a:cubicBezTo>
                    <a:pt x="207" y="12"/>
                    <a:pt x="202" y="7"/>
                    <a:pt x="200" y="6"/>
                  </a:cubicBezTo>
                  <a:cubicBezTo>
                    <a:pt x="198" y="6"/>
                    <a:pt x="194" y="8"/>
                    <a:pt x="192" y="8"/>
                  </a:cubicBezTo>
                  <a:cubicBezTo>
                    <a:pt x="190" y="9"/>
                    <a:pt x="186" y="9"/>
                    <a:pt x="184" y="8"/>
                  </a:cubicBezTo>
                  <a:cubicBezTo>
                    <a:pt x="184" y="7"/>
                    <a:pt x="183" y="4"/>
                    <a:pt x="182" y="4"/>
                  </a:cubicBezTo>
                  <a:cubicBezTo>
                    <a:pt x="181" y="4"/>
                    <a:pt x="178" y="8"/>
                    <a:pt x="176" y="7"/>
                  </a:cubicBezTo>
                  <a:cubicBezTo>
                    <a:pt x="174" y="6"/>
                    <a:pt x="171" y="0"/>
                    <a:pt x="169" y="1"/>
                  </a:cubicBezTo>
                  <a:cubicBezTo>
                    <a:pt x="167" y="1"/>
                    <a:pt x="166" y="8"/>
                    <a:pt x="166" y="8"/>
                  </a:cubicBezTo>
                  <a:cubicBezTo>
                    <a:pt x="166" y="8"/>
                    <a:pt x="165" y="20"/>
                    <a:pt x="163" y="24"/>
                  </a:cubicBezTo>
                  <a:cubicBezTo>
                    <a:pt x="162" y="26"/>
                    <a:pt x="157" y="28"/>
                    <a:pt x="156" y="31"/>
                  </a:cubicBezTo>
                  <a:cubicBezTo>
                    <a:pt x="156" y="31"/>
                    <a:pt x="157" y="32"/>
                    <a:pt x="157" y="32"/>
                  </a:cubicBezTo>
                  <a:cubicBezTo>
                    <a:pt x="157" y="34"/>
                    <a:pt x="156" y="38"/>
                    <a:pt x="156" y="39"/>
                  </a:cubicBezTo>
                  <a:cubicBezTo>
                    <a:pt x="155" y="41"/>
                    <a:pt x="152" y="45"/>
                    <a:pt x="152" y="47"/>
                  </a:cubicBezTo>
                  <a:cubicBezTo>
                    <a:pt x="152" y="49"/>
                    <a:pt x="152" y="53"/>
                    <a:pt x="153" y="55"/>
                  </a:cubicBezTo>
                  <a:cubicBezTo>
                    <a:pt x="153" y="56"/>
                    <a:pt x="155" y="58"/>
                    <a:pt x="155" y="60"/>
                  </a:cubicBezTo>
                  <a:cubicBezTo>
                    <a:pt x="154" y="62"/>
                    <a:pt x="151" y="65"/>
                    <a:pt x="149" y="67"/>
                  </a:cubicBezTo>
                  <a:cubicBezTo>
                    <a:pt x="148" y="69"/>
                    <a:pt x="145" y="73"/>
                    <a:pt x="146" y="75"/>
                  </a:cubicBezTo>
                  <a:cubicBezTo>
                    <a:pt x="146" y="77"/>
                    <a:pt x="152" y="80"/>
                    <a:pt x="151" y="82"/>
                  </a:cubicBezTo>
                  <a:cubicBezTo>
                    <a:pt x="149" y="84"/>
                    <a:pt x="145" y="85"/>
                    <a:pt x="143" y="86"/>
                  </a:cubicBezTo>
                  <a:cubicBezTo>
                    <a:pt x="142" y="87"/>
                    <a:pt x="143" y="90"/>
                    <a:pt x="143" y="92"/>
                  </a:cubicBezTo>
                  <a:cubicBezTo>
                    <a:pt x="142" y="94"/>
                    <a:pt x="140" y="97"/>
                    <a:pt x="139" y="99"/>
                  </a:cubicBezTo>
                  <a:cubicBezTo>
                    <a:pt x="139" y="101"/>
                    <a:pt x="139" y="99"/>
                    <a:pt x="138" y="101"/>
                  </a:cubicBezTo>
                  <a:cubicBezTo>
                    <a:pt x="138" y="103"/>
                    <a:pt x="135" y="107"/>
                    <a:pt x="135" y="109"/>
                  </a:cubicBezTo>
                  <a:cubicBezTo>
                    <a:pt x="134" y="111"/>
                    <a:pt x="134" y="115"/>
                    <a:pt x="133" y="117"/>
                  </a:cubicBezTo>
                  <a:cubicBezTo>
                    <a:pt x="132" y="120"/>
                    <a:pt x="127" y="125"/>
                    <a:pt x="125" y="128"/>
                  </a:cubicBezTo>
                  <a:cubicBezTo>
                    <a:pt x="124" y="130"/>
                    <a:pt x="124" y="134"/>
                    <a:pt x="123" y="136"/>
                  </a:cubicBezTo>
                  <a:cubicBezTo>
                    <a:pt x="121" y="142"/>
                    <a:pt x="114" y="152"/>
                    <a:pt x="112" y="158"/>
                  </a:cubicBezTo>
                  <a:cubicBezTo>
                    <a:pt x="110" y="161"/>
                    <a:pt x="110" y="169"/>
                    <a:pt x="109" y="172"/>
                  </a:cubicBezTo>
                  <a:cubicBezTo>
                    <a:pt x="108" y="176"/>
                    <a:pt x="103" y="183"/>
                    <a:pt x="102" y="187"/>
                  </a:cubicBezTo>
                  <a:cubicBezTo>
                    <a:pt x="102" y="189"/>
                    <a:pt x="104" y="193"/>
                    <a:pt x="104" y="195"/>
                  </a:cubicBezTo>
                  <a:cubicBezTo>
                    <a:pt x="104" y="196"/>
                    <a:pt x="103" y="198"/>
                    <a:pt x="103" y="198"/>
                  </a:cubicBezTo>
                  <a:cubicBezTo>
                    <a:pt x="102" y="199"/>
                    <a:pt x="99" y="201"/>
                    <a:pt x="98" y="202"/>
                  </a:cubicBezTo>
                  <a:cubicBezTo>
                    <a:pt x="97" y="203"/>
                    <a:pt x="94" y="207"/>
                    <a:pt x="94" y="209"/>
                  </a:cubicBezTo>
                  <a:cubicBezTo>
                    <a:pt x="92" y="213"/>
                    <a:pt x="91" y="220"/>
                    <a:pt x="89" y="224"/>
                  </a:cubicBezTo>
                  <a:cubicBezTo>
                    <a:pt x="86" y="234"/>
                    <a:pt x="79" y="253"/>
                    <a:pt x="74" y="262"/>
                  </a:cubicBezTo>
                  <a:cubicBezTo>
                    <a:pt x="73" y="264"/>
                    <a:pt x="71" y="268"/>
                    <a:pt x="70" y="270"/>
                  </a:cubicBezTo>
                  <a:cubicBezTo>
                    <a:pt x="69" y="272"/>
                    <a:pt x="66" y="276"/>
                    <a:pt x="68" y="278"/>
                  </a:cubicBezTo>
                  <a:cubicBezTo>
                    <a:pt x="69" y="279"/>
                    <a:pt x="74" y="274"/>
                    <a:pt x="76" y="275"/>
                  </a:cubicBezTo>
                  <a:cubicBezTo>
                    <a:pt x="76" y="275"/>
                    <a:pt x="77" y="284"/>
                    <a:pt x="76" y="285"/>
                  </a:cubicBezTo>
                  <a:cubicBezTo>
                    <a:pt x="75" y="287"/>
                    <a:pt x="70" y="284"/>
                    <a:pt x="68" y="285"/>
                  </a:cubicBezTo>
                  <a:cubicBezTo>
                    <a:pt x="66" y="286"/>
                    <a:pt x="63" y="283"/>
                    <a:pt x="62" y="285"/>
                  </a:cubicBezTo>
                  <a:cubicBezTo>
                    <a:pt x="59" y="288"/>
                    <a:pt x="55" y="295"/>
                    <a:pt x="53" y="299"/>
                  </a:cubicBezTo>
                  <a:cubicBezTo>
                    <a:pt x="52" y="301"/>
                    <a:pt x="49" y="306"/>
                    <a:pt x="50" y="307"/>
                  </a:cubicBezTo>
                  <a:cubicBezTo>
                    <a:pt x="50" y="307"/>
                    <a:pt x="54" y="310"/>
                    <a:pt x="57" y="309"/>
                  </a:cubicBezTo>
                  <a:cubicBezTo>
                    <a:pt x="60" y="309"/>
                    <a:pt x="67" y="314"/>
                    <a:pt x="54" y="314"/>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55">
              <a:extLst>
                <a:ext uri="{FF2B5EF4-FFF2-40B4-BE49-F238E27FC236}">
                  <a16:creationId xmlns:a16="http://schemas.microsoft.com/office/drawing/2014/main" id="{B7746B17-47FD-4FAA-BBD0-EC2D8B023EAF}"/>
                </a:ext>
              </a:extLst>
            </p:cNvPr>
            <p:cNvSpPr>
              <a:spLocks/>
            </p:cNvSpPr>
            <p:nvPr/>
          </p:nvSpPr>
          <p:spPr bwMode="auto">
            <a:xfrm>
              <a:off x="4070301" y="2004982"/>
              <a:ext cx="617554" cy="997587"/>
            </a:xfrm>
            <a:custGeom>
              <a:avLst/>
              <a:gdLst>
                <a:gd name="T0" fmla="*/ 538 w 555"/>
                <a:gd name="T1" fmla="*/ 573 h 897"/>
                <a:gd name="T2" fmla="*/ 514 w 555"/>
                <a:gd name="T3" fmla="*/ 591 h 897"/>
                <a:gd name="T4" fmla="*/ 495 w 555"/>
                <a:gd name="T5" fmla="*/ 588 h 897"/>
                <a:gd name="T6" fmla="*/ 473 w 555"/>
                <a:gd name="T7" fmla="*/ 584 h 897"/>
                <a:gd name="T8" fmla="*/ 447 w 555"/>
                <a:gd name="T9" fmla="*/ 583 h 897"/>
                <a:gd name="T10" fmla="*/ 431 w 555"/>
                <a:gd name="T11" fmla="*/ 583 h 897"/>
                <a:gd name="T12" fmla="*/ 404 w 555"/>
                <a:gd name="T13" fmla="*/ 593 h 897"/>
                <a:gd name="T14" fmla="*/ 394 w 555"/>
                <a:gd name="T15" fmla="*/ 580 h 897"/>
                <a:gd name="T16" fmla="*/ 392 w 555"/>
                <a:gd name="T17" fmla="*/ 566 h 897"/>
                <a:gd name="T18" fmla="*/ 379 w 555"/>
                <a:gd name="T19" fmla="*/ 535 h 897"/>
                <a:gd name="T20" fmla="*/ 366 w 555"/>
                <a:gd name="T21" fmla="*/ 525 h 897"/>
                <a:gd name="T22" fmla="*/ 366 w 555"/>
                <a:gd name="T23" fmla="*/ 499 h 897"/>
                <a:gd name="T24" fmla="*/ 352 w 555"/>
                <a:gd name="T25" fmla="*/ 457 h 897"/>
                <a:gd name="T26" fmla="*/ 344 w 555"/>
                <a:gd name="T27" fmla="*/ 432 h 897"/>
                <a:gd name="T28" fmla="*/ 309 w 555"/>
                <a:gd name="T29" fmla="*/ 443 h 897"/>
                <a:gd name="T30" fmla="*/ 290 w 555"/>
                <a:gd name="T31" fmla="*/ 432 h 897"/>
                <a:gd name="T32" fmla="*/ 296 w 555"/>
                <a:gd name="T33" fmla="*/ 413 h 897"/>
                <a:gd name="T34" fmla="*/ 306 w 555"/>
                <a:gd name="T35" fmla="*/ 403 h 897"/>
                <a:gd name="T36" fmla="*/ 307 w 555"/>
                <a:gd name="T37" fmla="*/ 376 h 897"/>
                <a:gd name="T38" fmla="*/ 310 w 555"/>
                <a:gd name="T39" fmla="*/ 362 h 897"/>
                <a:gd name="T40" fmla="*/ 331 w 555"/>
                <a:gd name="T41" fmla="*/ 312 h 897"/>
                <a:gd name="T42" fmla="*/ 313 w 555"/>
                <a:gd name="T43" fmla="*/ 307 h 897"/>
                <a:gd name="T44" fmla="*/ 307 w 555"/>
                <a:gd name="T45" fmla="*/ 296 h 897"/>
                <a:gd name="T46" fmla="*/ 297 w 555"/>
                <a:gd name="T47" fmla="*/ 288 h 897"/>
                <a:gd name="T48" fmla="*/ 289 w 555"/>
                <a:gd name="T49" fmla="*/ 275 h 897"/>
                <a:gd name="T50" fmla="*/ 274 w 555"/>
                <a:gd name="T51" fmla="*/ 248 h 897"/>
                <a:gd name="T52" fmla="*/ 267 w 555"/>
                <a:gd name="T53" fmla="*/ 233 h 897"/>
                <a:gd name="T54" fmla="*/ 252 w 555"/>
                <a:gd name="T55" fmla="*/ 219 h 897"/>
                <a:gd name="T56" fmla="*/ 238 w 555"/>
                <a:gd name="T57" fmla="*/ 201 h 897"/>
                <a:gd name="T58" fmla="*/ 243 w 555"/>
                <a:gd name="T59" fmla="*/ 192 h 897"/>
                <a:gd name="T60" fmla="*/ 244 w 555"/>
                <a:gd name="T61" fmla="*/ 174 h 897"/>
                <a:gd name="T62" fmla="*/ 237 w 555"/>
                <a:gd name="T63" fmla="*/ 155 h 897"/>
                <a:gd name="T64" fmla="*/ 170 w 555"/>
                <a:gd name="T65" fmla="*/ 0 h 897"/>
                <a:gd name="T66" fmla="*/ 108 w 555"/>
                <a:gd name="T67" fmla="*/ 293 h 897"/>
                <a:gd name="T68" fmla="*/ 109 w 555"/>
                <a:gd name="T69" fmla="*/ 316 h 897"/>
                <a:gd name="T70" fmla="*/ 107 w 555"/>
                <a:gd name="T71" fmla="*/ 347 h 897"/>
                <a:gd name="T72" fmla="*/ 116 w 555"/>
                <a:gd name="T73" fmla="*/ 370 h 897"/>
                <a:gd name="T74" fmla="*/ 129 w 555"/>
                <a:gd name="T75" fmla="*/ 403 h 897"/>
                <a:gd name="T76" fmla="*/ 95 w 555"/>
                <a:gd name="T77" fmla="*/ 451 h 897"/>
                <a:gd name="T78" fmla="*/ 82 w 555"/>
                <a:gd name="T79" fmla="*/ 474 h 897"/>
                <a:gd name="T80" fmla="*/ 58 w 555"/>
                <a:gd name="T81" fmla="*/ 498 h 897"/>
                <a:gd name="T82" fmla="*/ 41 w 555"/>
                <a:gd name="T83" fmla="*/ 536 h 897"/>
                <a:gd name="T84" fmla="*/ 59 w 555"/>
                <a:gd name="T85" fmla="*/ 549 h 897"/>
                <a:gd name="T86" fmla="*/ 56 w 555"/>
                <a:gd name="T87" fmla="*/ 568 h 897"/>
                <a:gd name="T88" fmla="*/ 48 w 555"/>
                <a:gd name="T89" fmla="*/ 588 h 897"/>
                <a:gd name="T90" fmla="*/ 0 w 555"/>
                <a:gd name="T91" fmla="*/ 803 h 897"/>
                <a:gd name="T92" fmla="*/ 254 w 555"/>
                <a:gd name="T93" fmla="*/ 855 h 897"/>
                <a:gd name="T94" fmla="*/ 510 w 555"/>
                <a:gd name="T95" fmla="*/ 897 h 897"/>
                <a:gd name="T96" fmla="*/ 555 w 555"/>
                <a:gd name="T97" fmla="*/ 602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5" h="897">
                  <a:moveTo>
                    <a:pt x="555" y="602"/>
                  </a:moveTo>
                  <a:cubicBezTo>
                    <a:pt x="548" y="595"/>
                    <a:pt x="548" y="595"/>
                    <a:pt x="548" y="595"/>
                  </a:cubicBezTo>
                  <a:cubicBezTo>
                    <a:pt x="544" y="588"/>
                    <a:pt x="544" y="588"/>
                    <a:pt x="544" y="588"/>
                  </a:cubicBezTo>
                  <a:cubicBezTo>
                    <a:pt x="543" y="584"/>
                    <a:pt x="541" y="576"/>
                    <a:pt x="538" y="573"/>
                  </a:cubicBezTo>
                  <a:cubicBezTo>
                    <a:pt x="536" y="571"/>
                    <a:pt x="531" y="569"/>
                    <a:pt x="528" y="570"/>
                  </a:cubicBezTo>
                  <a:cubicBezTo>
                    <a:pt x="522" y="572"/>
                    <a:pt x="516" y="583"/>
                    <a:pt x="514" y="587"/>
                  </a:cubicBezTo>
                  <a:cubicBezTo>
                    <a:pt x="514" y="588"/>
                    <a:pt x="514" y="589"/>
                    <a:pt x="514" y="590"/>
                  </a:cubicBezTo>
                  <a:cubicBezTo>
                    <a:pt x="514" y="590"/>
                    <a:pt x="514" y="591"/>
                    <a:pt x="514" y="591"/>
                  </a:cubicBezTo>
                  <a:cubicBezTo>
                    <a:pt x="513" y="590"/>
                    <a:pt x="511" y="589"/>
                    <a:pt x="509" y="588"/>
                  </a:cubicBezTo>
                  <a:cubicBezTo>
                    <a:pt x="507" y="587"/>
                    <a:pt x="504" y="586"/>
                    <a:pt x="502" y="586"/>
                  </a:cubicBezTo>
                  <a:cubicBezTo>
                    <a:pt x="501" y="586"/>
                    <a:pt x="499" y="587"/>
                    <a:pt x="498" y="587"/>
                  </a:cubicBezTo>
                  <a:cubicBezTo>
                    <a:pt x="497" y="588"/>
                    <a:pt x="496" y="588"/>
                    <a:pt x="495" y="588"/>
                  </a:cubicBezTo>
                  <a:cubicBezTo>
                    <a:pt x="495" y="588"/>
                    <a:pt x="493" y="587"/>
                    <a:pt x="492" y="586"/>
                  </a:cubicBezTo>
                  <a:cubicBezTo>
                    <a:pt x="491" y="585"/>
                    <a:pt x="489" y="584"/>
                    <a:pt x="488" y="584"/>
                  </a:cubicBezTo>
                  <a:cubicBezTo>
                    <a:pt x="486" y="583"/>
                    <a:pt x="483" y="583"/>
                    <a:pt x="479" y="584"/>
                  </a:cubicBezTo>
                  <a:cubicBezTo>
                    <a:pt x="477" y="584"/>
                    <a:pt x="475" y="584"/>
                    <a:pt x="473" y="584"/>
                  </a:cubicBezTo>
                  <a:cubicBezTo>
                    <a:pt x="472" y="584"/>
                    <a:pt x="469" y="582"/>
                    <a:pt x="467" y="581"/>
                  </a:cubicBezTo>
                  <a:cubicBezTo>
                    <a:pt x="463" y="580"/>
                    <a:pt x="460" y="578"/>
                    <a:pt x="457" y="578"/>
                  </a:cubicBezTo>
                  <a:cubicBezTo>
                    <a:pt x="455" y="578"/>
                    <a:pt x="452" y="579"/>
                    <a:pt x="451" y="580"/>
                  </a:cubicBezTo>
                  <a:cubicBezTo>
                    <a:pt x="450" y="581"/>
                    <a:pt x="449" y="582"/>
                    <a:pt x="447" y="583"/>
                  </a:cubicBezTo>
                  <a:cubicBezTo>
                    <a:pt x="447" y="584"/>
                    <a:pt x="445" y="586"/>
                    <a:pt x="444" y="586"/>
                  </a:cubicBezTo>
                  <a:cubicBezTo>
                    <a:pt x="444" y="586"/>
                    <a:pt x="444" y="586"/>
                    <a:pt x="443" y="586"/>
                  </a:cubicBezTo>
                  <a:cubicBezTo>
                    <a:pt x="441" y="586"/>
                    <a:pt x="439" y="586"/>
                    <a:pt x="439" y="586"/>
                  </a:cubicBezTo>
                  <a:cubicBezTo>
                    <a:pt x="431" y="583"/>
                    <a:pt x="431" y="583"/>
                    <a:pt x="431" y="583"/>
                  </a:cubicBezTo>
                  <a:cubicBezTo>
                    <a:pt x="430" y="583"/>
                    <a:pt x="419" y="580"/>
                    <a:pt x="415" y="580"/>
                  </a:cubicBezTo>
                  <a:cubicBezTo>
                    <a:pt x="412" y="581"/>
                    <a:pt x="407" y="582"/>
                    <a:pt x="406" y="585"/>
                  </a:cubicBezTo>
                  <a:cubicBezTo>
                    <a:pt x="405" y="586"/>
                    <a:pt x="405" y="588"/>
                    <a:pt x="405" y="590"/>
                  </a:cubicBezTo>
                  <a:cubicBezTo>
                    <a:pt x="405" y="591"/>
                    <a:pt x="404" y="592"/>
                    <a:pt x="404" y="593"/>
                  </a:cubicBezTo>
                  <a:cubicBezTo>
                    <a:pt x="404" y="593"/>
                    <a:pt x="404" y="593"/>
                    <a:pt x="404" y="593"/>
                  </a:cubicBezTo>
                  <a:cubicBezTo>
                    <a:pt x="403" y="593"/>
                    <a:pt x="401" y="591"/>
                    <a:pt x="399" y="588"/>
                  </a:cubicBezTo>
                  <a:cubicBezTo>
                    <a:pt x="398" y="587"/>
                    <a:pt x="398" y="587"/>
                    <a:pt x="398" y="587"/>
                  </a:cubicBezTo>
                  <a:cubicBezTo>
                    <a:pt x="396" y="584"/>
                    <a:pt x="395" y="581"/>
                    <a:pt x="394" y="580"/>
                  </a:cubicBezTo>
                  <a:cubicBezTo>
                    <a:pt x="394" y="580"/>
                    <a:pt x="395" y="578"/>
                    <a:pt x="395" y="578"/>
                  </a:cubicBezTo>
                  <a:cubicBezTo>
                    <a:pt x="396" y="576"/>
                    <a:pt x="396" y="574"/>
                    <a:pt x="396" y="573"/>
                  </a:cubicBezTo>
                  <a:cubicBezTo>
                    <a:pt x="396" y="571"/>
                    <a:pt x="394" y="570"/>
                    <a:pt x="393" y="568"/>
                  </a:cubicBezTo>
                  <a:cubicBezTo>
                    <a:pt x="393" y="567"/>
                    <a:pt x="392" y="566"/>
                    <a:pt x="392" y="566"/>
                  </a:cubicBezTo>
                  <a:cubicBezTo>
                    <a:pt x="391" y="565"/>
                    <a:pt x="392" y="562"/>
                    <a:pt x="392" y="561"/>
                  </a:cubicBezTo>
                  <a:cubicBezTo>
                    <a:pt x="392" y="560"/>
                    <a:pt x="392" y="559"/>
                    <a:pt x="392" y="558"/>
                  </a:cubicBezTo>
                  <a:cubicBezTo>
                    <a:pt x="392" y="553"/>
                    <a:pt x="391" y="547"/>
                    <a:pt x="389" y="544"/>
                  </a:cubicBezTo>
                  <a:cubicBezTo>
                    <a:pt x="389" y="543"/>
                    <a:pt x="384" y="536"/>
                    <a:pt x="379" y="535"/>
                  </a:cubicBezTo>
                  <a:cubicBezTo>
                    <a:pt x="377" y="535"/>
                    <a:pt x="376" y="536"/>
                    <a:pt x="374" y="537"/>
                  </a:cubicBezTo>
                  <a:cubicBezTo>
                    <a:pt x="373" y="537"/>
                    <a:pt x="372" y="538"/>
                    <a:pt x="372" y="538"/>
                  </a:cubicBezTo>
                  <a:cubicBezTo>
                    <a:pt x="371" y="537"/>
                    <a:pt x="369" y="535"/>
                    <a:pt x="367" y="532"/>
                  </a:cubicBezTo>
                  <a:cubicBezTo>
                    <a:pt x="367" y="530"/>
                    <a:pt x="366" y="526"/>
                    <a:pt x="366" y="525"/>
                  </a:cubicBezTo>
                  <a:cubicBezTo>
                    <a:pt x="366" y="524"/>
                    <a:pt x="366" y="522"/>
                    <a:pt x="367" y="521"/>
                  </a:cubicBezTo>
                  <a:cubicBezTo>
                    <a:pt x="368" y="519"/>
                    <a:pt x="369" y="517"/>
                    <a:pt x="369" y="515"/>
                  </a:cubicBezTo>
                  <a:cubicBezTo>
                    <a:pt x="369" y="513"/>
                    <a:pt x="369" y="510"/>
                    <a:pt x="368" y="507"/>
                  </a:cubicBezTo>
                  <a:cubicBezTo>
                    <a:pt x="368" y="505"/>
                    <a:pt x="367" y="501"/>
                    <a:pt x="366" y="499"/>
                  </a:cubicBezTo>
                  <a:cubicBezTo>
                    <a:pt x="365" y="497"/>
                    <a:pt x="364" y="496"/>
                    <a:pt x="363" y="494"/>
                  </a:cubicBezTo>
                  <a:cubicBezTo>
                    <a:pt x="362" y="493"/>
                    <a:pt x="361" y="492"/>
                    <a:pt x="360" y="491"/>
                  </a:cubicBezTo>
                  <a:cubicBezTo>
                    <a:pt x="359" y="489"/>
                    <a:pt x="356" y="480"/>
                    <a:pt x="355" y="477"/>
                  </a:cubicBezTo>
                  <a:cubicBezTo>
                    <a:pt x="352" y="457"/>
                    <a:pt x="352" y="457"/>
                    <a:pt x="352" y="457"/>
                  </a:cubicBezTo>
                  <a:cubicBezTo>
                    <a:pt x="352" y="454"/>
                    <a:pt x="353" y="445"/>
                    <a:pt x="352" y="441"/>
                  </a:cubicBezTo>
                  <a:cubicBezTo>
                    <a:pt x="351" y="439"/>
                    <a:pt x="349" y="438"/>
                    <a:pt x="347" y="437"/>
                  </a:cubicBezTo>
                  <a:cubicBezTo>
                    <a:pt x="346" y="436"/>
                    <a:pt x="345" y="434"/>
                    <a:pt x="345" y="434"/>
                  </a:cubicBezTo>
                  <a:cubicBezTo>
                    <a:pt x="344" y="434"/>
                    <a:pt x="344" y="433"/>
                    <a:pt x="344" y="432"/>
                  </a:cubicBezTo>
                  <a:cubicBezTo>
                    <a:pt x="344" y="429"/>
                    <a:pt x="344" y="426"/>
                    <a:pt x="341" y="426"/>
                  </a:cubicBezTo>
                  <a:cubicBezTo>
                    <a:pt x="341" y="426"/>
                    <a:pt x="340" y="426"/>
                    <a:pt x="340" y="426"/>
                  </a:cubicBezTo>
                  <a:cubicBezTo>
                    <a:pt x="337" y="427"/>
                    <a:pt x="331" y="430"/>
                    <a:pt x="325" y="434"/>
                  </a:cubicBezTo>
                  <a:cubicBezTo>
                    <a:pt x="319" y="438"/>
                    <a:pt x="313" y="441"/>
                    <a:pt x="309" y="443"/>
                  </a:cubicBezTo>
                  <a:cubicBezTo>
                    <a:pt x="308" y="443"/>
                    <a:pt x="306" y="444"/>
                    <a:pt x="304" y="444"/>
                  </a:cubicBezTo>
                  <a:cubicBezTo>
                    <a:pt x="303" y="444"/>
                    <a:pt x="300" y="439"/>
                    <a:pt x="298" y="435"/>
                  </a:cubicBezTo>
                  <a:cubicBezTo>
                    <a:pt x="298" y="434"/>
                    <a:pt x="297" y="434"/>
                    <a:pt x="296" y="434"/>
                  </a:cubicBezTo>
                  <a:cubicBezTo>
                    <a:pt x="293" y="433"/>
                    <a:pt x="290" y="433"/>
                    <a:pt x="290" y="432"/>
                  </a:cubicBezTo>
                  <a:cubicBezTo>
                    <a:pt x="290" y="432"/>
                    <a:pt x="290" y="431"/>
                    <a:pt x="292" y="427"/>
                  </a:cubicBezTo>
                  <a:cubicBezTo>
                    <a:pt x="292" y="426"/>
                    <a:pt x="293" y="425"/>
                    <a:pt x="294" y="424"/>
                  </a:cubicBezTo>
                  <a:cubicBezTo>
                    <a:pt x="296" y="423"/>
                    <a:pt x="297" y="421"/>
                    <a:pt x="298" y="419"/>
                  </a:cubicBezTo>
                  <a:cubicBezTo>
                    <a:pt x="298" y="417"/>
                    <a:pt x="297" y="415"/>
                    <a:pt x="296" y="413"/>
                  </a:cubicBezTo>
                  <a:cubicBezTo>
                    <a:pt x="296" y="412"/>
                    <a:pt x="296" y="411"/>
                    <a:pt x="296" y="410"/>
                  </a:cubicBezTo>
                  <a:cubicBezTo>
                    <a:pt x="296" y="409"/>
                    <a:pt x="298" y="406"/>
                    <a:pt x="299" y="405"/>
                  </a:cubicBezTo>
                  <a:cubicBezTo>
                    <a:pt x="299" y="405"/>
                    <a:pt x="300" y="405"/>
                    <a:pt x="301" y="405"/>
                  </a:cubicBezTo>
                  <a:cubicBezTo>
                    <a:pt x="303" y="405"/>
                    <a:pt x="305" y="405"/>
                    <a:pt x="306" y="403"/>
                  </a:cubicBezTo>
                  <a:cubicBezTo>
                    <a:pt x="310" y="400"/>
                    <a:pt x="311" y="390"/>
                    <a:pt x="310" y="386"/>
                  </a:cubicBezTo>
                  <a:cubicBezTo>
                    <a:pt x="310" y="384"/>
                    <a:pt x="309" y="383"/>
                    <a:pt x="307" y="382"/>
                  </a:cubicBezTo>
                  <a:cubicBezTo>
                    <a:pt x="307" y="381"/>
                    <a:pt x="306" y="380"/>
                    <a:pt x="306" y="379"/>
                  </a:cubicBezTo>
                  <a:cubicBezTo>
                    <a:pt x="306" y="379"/>
                    <a:pt x="307" y="377"/>
                    <a:pt x="307" y="376"/>
                  </a:cubicBezTo>
                  <a:cubicBezTo>
                    <a:pt x="308" y="375"/>
                    <a:pt x="309" y="373"/>
                    <a:pt x="309" y="372"/>
                  </a:cubicBezTo>
                  <a:cubicBezTo>
                    <a:pt x="309" y="370"/>
                    <a:pt x="309" y="368"/>
                    <a:pt x="308" y="367"/>
                  </a:cubicBezTo>
                  <a:cubicBezTo>
                    <a:pt x="308" y="366"/>
                    <a:pt x="307" y="365"/>
                    <a:pt x="307" y="365"/>
                  </a:cubicBezTo>
                  <a:cubicBezTo>
                    <a:pt x="307" y="364"/>
                    <a:pt x="309" y="362"/>
                    <a:pt x="310" y="362"/>
                  </a:cubicBezTo>
                  <a:cubicBezTo>
                    <a:pt x="311" y="360"/>
                    <a:pt x="312" y="359"/>
                    <a:pt x="313" y="358"/>
                  </a:cubicBezTo>
                  <a:cubicBezTo>
                    <a:pt x="314" y="356"/>
                    <a:pt x="315" y="351"/>
                    <a:pt x="315" y="350"/>
                  </a:cubicBezTo>
                  <a:cubicBezTo>
                    <a:pt x="323" y="335"/>
                    <a:pt x="323" y="335"/>
                    <a:pt x="323" y="335"/>
                  </a:cubicBezTo>
                  <a:cubicBezTo>
                    <a:pt x="331" y="312"/>
                    <a:pt x="331" y="312"/>
                    <a:pt x="331" y="312"/>
                  </a:cubicBezTo>
                  <a:cubicBezTo>
                    <a:pt x="331" y="311"/>
                    <a:pt x="331" y="310"/>
                    <a:pt x="329" y="309"/>
                  </a:cubicBezTo>
                  <a:cubicBezTo>
                    <a:pt x="322" y="306"/>
                    <a:pt x="322" y="306"/>
                    <a:pt x="322" y="306"/>
                  </a:cubicBezTo>
                  <a:cubicBezTo>
                    <a:pt x="322" y="306"/>
                    <a:pt x="321" y="306"/>
                    <a:pt x="321" y="306"/>
                  </a:cubicBezTo>
                  <a:cubicBezTo>
                    <a:pt x="321" y="306"/>
                    <a:pt x="316" y="307"/>
                    <a:pt x="313" y="307"/>
                  </a:cubicBezTo>
                  <a:cubicBezTo>
                    <a:pt x="312" y="307"/>
                    <a:pt x="312" y="307"/>
                    <a:pt x="312" y="307"/>
                  </a:cubicBezTo>
                  <a:cubicBezTo>
                    <a:pt x="310" y="306"/>
                    <a:pt x="307" y="305"/>
                    <a:pt x="306" y="304"/>
                  </a:cubicBezTo>
                  <a:cubicBezTo>
                    <a:pt x="306" y="304"/>
                    <a:pt x="307" y="303"/>
                    <a:pt x="307" y="302"/>
                  </a:cubicBezTo>
                  <a:cubicBezTo>
                    <a:pt x="308" y="301"/>
                    <a:pt x="309" y="298"/>
                    <a:pt x="307" y="296"/>
                  </a:cubicBezTo>
                  <a:cubicBezTo>
                    <a:pt x="307" y="295"/>
                    <a:pt x="304" y="295"/>
                    <a:pt x="301" y="295"/>
                  </a:cubicBezTo>
                  <a:cubicBezTo>
                    <a:pt x="300" y="295"/>
                    <a:pt x="300" y="296"/>
                    <a:pt x="300" y="296"/>
                  </a:cubicBezTo>
                  <a:cubicBezTo>
                    <a:pt x="299" y="295"/>
                    <a:pt x="299" y="293"/>
                    <a:pt x="298" y="292"/>
                  </a:cubicBezTo>
                  <a:cubicBezTo>
                    <a:pt x="298" y="291"/>
                    <a:pt x="297" y="289"/>
                    <a:pt x="297" y="288"/>
                  </a:cubicBezTo>
                  <a:cubicBezTo>
                    <a:pt x="296" y="287"/>
                    <a:pt x="294" y="286"/>
                    <a:pt x="293" y="285"/>
                  </a:cubicBezTo>
                  <a:cubicBezTo>
                    <a:pt x="292" y="284"/>
                    <a:pt x="290" y="283"/>
                    <a:pt x="290" y="282"/>
                  </a:cubicBezTo>
                  <a:cubicBezTo>
                    <a:pt x="289" y="281"/>
                    <a:pt x="288" y="277"/>
                    <a:pt x="288" y="276"/>
                  </a:cubicBezTo>
                  <a:cubicBezTo>
                    <a:pt x="288" y="276"/>
                    <a:pt x="289" y="275"/>
                    <a:pt x="289" y="275"/>
                  </a:cubicBezTo>
                  <a:cubicBezTo>
                    <a:pt x="289" y="274"/>
                    <a:pt x="290" y="273"/>
                    <a:pt x="290" y="271"/>
                  </a:cubicBezTo>
                  <a:cubicBezTo>
                    <a:pt x="289" y="269"/>
                    <a:pt x="287" y="267"/>
                    <a:pt x="285" y="265"/>
                  </a:cubicBezTo>
                  <a:cubicBezTo>
                    <a:pt x="285" y="264"/>
                    <a:pt x="284" y="264"/>
                    <a:pt x="284" y="263"/>
                  </a:cubicBezTo>
                  <a:cubicBezTo>
                    <a:pt x="281" y="260"/>
                    <a:pt x="276" y="252"/>
                    <a:pt x="274" y="248"/>
                  </a:cubicBezTo>
                  <a:cubicBezTo>
                    <a:pt x="274" y="248"/>
                    <a:pt x="274" y="246"/>
                    <a:pt x="273" y="245"/>
                  </a:cubicBezTo>
                  <a:cubicBezTo>
                    <a:pt x="273" y="243"/>
                    <a:pt x="272" y="241"/>
                    <a:pt x="272" y="240"/>
                  </a:cubicBezTo>
                  <a:cubicBezTo>
                    <a:pt x="271" y="239"/>
                    <a:pt x="270" y="238"/>
                    <a:pt x="269" y="237"/>
                  </a:cubicBezTo>
                  <a:cubicBezTo>
                    <a:pt x="268" y="235"/>
                    <a:pt x="267" y="234"/>
                    <a:pt x="267" y="233"/>
                  </a:cubicBezTo>
                  <a:cubicBezTo>
                    <a:pt x="266" y="233"/>
                    <a:pt x="266" y="232"/>
                    <a:pt x="266" y="231"/>
                  </a:cubicBezTo>
                  <a:cubicBezTo>
                    <a:pt x="266" y="229"/>
                    <a:pt x="265" y="227"/>
                    <a:pt x="264" y="226"/>
                  </a:cubicBezTo>
                  <a:cubicBezTo>
                    <a:pt x="263" y="224"/>
                    <a:pt x="260" y="223"/>
                    <a:pt x="257" y="221"/>
                  </a:cubicBezTo>
                  <a:cubicBezTo>
                    <a:pt x="255" y="221"/>
                    <a:pt x="253" y="220"/>
                    <a:pt x="252" y="219"/>
                  </a:cubicBezTo>
                  <a:cubicBezTo>
                    <a:pt x="252" y="219"/>
                    <a:pt x="252" y="217"/>
                    <a:pt x="251" y="216"/>
                  </a:cubicBezTo>
                  <a:cubicBezTo>
                    <a:pt x="251" y="214"/>
                    <a:pt x="250" y="213"/>
                    <a:pt x="250" y="212"/>
                  </a:cubicBezTo>
                  <a:cubicBezTo>
                    <a:pt x="249" y="210"/>
                    <a:pt x="246" y="208"/>
                    <a:pt x="244" y="206"/>
                  </a:cubicBezTo>
                  <a:cubicBezTo>
                    <a:pt x="243" y="205"/>
                    <a:pt x="239" y="202"/>
                    <a:pt x="238" y="201"/>
                  </a:cubicBezTo>
                  <a:cubicBezTo>
                    <a:pt x="238" y="201"/>
                    <a:pt x="239" y="201"/>
                    <a:pt x="239" y="201"/>
                  </a:cubicBezTo>
                  <a:cubicBezTo>
                    <a:pt x="240" y="201"/>
                    <a:pt x="240" y="201"/>
                    <a:pt x="241" y="201"/>
                  </a:cubicBezTo>
                  <a:cubicBezTo>
                    <a:pt x="242" y="201"/>
                    <a:pt x="245" y="201"/>
                    <a:pt x="246" y="199"/>
                  </a:cubicBezTo>
                  <a:cubicBezTo>
                    <a:pt x="247" y="196"/>
                    <a:pt x="245" y="194"/>
                    <a:pt x="243" y="192"/>
                  </a:cubicBezTo>
                  <a:cubicBezTo>
                    <a:pt x="243" y="191"/>
                    <a:pt x="242" y="190"/>
                    <a:pt x="242" y="190"/>
                  </a:cubicBezTo>
                  <a:cubicBezTo>
                    <a:pt x="242" y="190"/>
                    <a:pt x="242" y="188"/>
                    <a:pt x="243" y="187"/>
                  </a:cubicBezTo>
                  <a:cubicBezTo>
                    <a:pt x="244" y="186"/>
                    <a:pt x="245" y="184"/>
                    <a:pt x="245" y="183"/>
                  </a:cubicBezTo>
                  <a:cubicBezTo>
                    <a:pt x="245" y="181"/>
                    <a:pt x="245" y="178"/>
                    <a:pt x="244" y="174"/>
                  </a:cubicBezTo>
                  <a:cubicBezTo>
                    <a:pt x="243" y="172"/>
                    <a:pt x="242" y="169"/>
                    <a:pt x="241" y="167"/>
                  </a:cubicBezTo>
                  <a:cubicBezTo>
                    <a:pt x="239" y="164"/>
                    <a:pt x="238" y="161"/>
                    <a:pt x="237" y="159"/>
                  </a:cubicBezTo>
                  <a:cubicBezTo>
                    <a:pt x="237" y="159"/>
                    <a:pt x="237" y="158"/>
                    <a:pt x="237" y="158"/>
                  </a:cubicBezTo>
                  <a:cubicBezTo>
                    <a:pt x="237" y="157"/>
                    <a:pt x="237" y="156"/>
                    <a:pt x="237" y="155"/>
                  </a:cubicBezTo>
                  <a:cubicBezTo>
                    <a:pt x="236" y="149"/>
                    <a:pt x="227" y="137"/>
                    <a:pt x="225" y="133"/>
                  </a:cubicBezTo>
                  <a:cubicBezTo>
                    <a:pt x="248" y="19"/>
                    <a:pt x="248" y="19"/>
                    <a:pt x="248" y="19"/>
                  </a:cubicBezTo>
                  <a:cubicBezTo>
                    <a:pt x="248" y="18"/>
                    <a:pt x="247" y="17"/>
                    <a:pt x="246" y="16"/>
                  </a:cubicBezTo>
                  <a:cubicBezTo>
                    <a:pt x="170" y="0"/>
                    <a:pt x="170" y="0"/>
                    <a:pt x="170" y="0"/>
                  </a:cubicBezTo>
                  <a:cubicBezTo>
                    <a:pt x="170" y="0"/>
                    <a:pt x="169" y="0"/>
                    <a:pt x="168" y="1"/>
                  </a:cubicBezTo>
                  <a:cubicBezTo>
                    <a:pt x="168" y="1"/>
                    <a:pt x="167" y="2"/>
                    <a:pt x="167" y="2"/>
                  </a:cubicBezTo>
                  <a:cubicBezTo>
                    <a:pt x="110" y="269"/>
                    <a:pt x="110" y="269"/>
                    <a:pt x="110" y="269"/>
                  </a:cubicBezTo>
                  <a:cubicBezTo>
                    <a:pt x="110" y="274"/>
                    <a:pt x="109" y="288"/>
                    <a:pt x="108" y="293"/>
                  </a:cubicBezTo>
                  <a:cubicBezTo>
                    <a:pt x="107" y="293"/>
                    <a:pt x="107" y="294"/>
                    <a:pt x="106" y="295"/>
                  </a:cubicBezTo>
                  <a:cubicBezTo>
                    <a:pt x="105" y="297"/>
                    <a:pt x="104" y="299"/>
                    <a:pt x="104" y="300"/>
                  </a:cubicBezTo>
                  <a:cubicBezTo>
                    <a:pt x="104" y="303"/>
                    <a:pt x="105" y="307"/>
                    <a:pt x="107" y="310"/>
                  </a:cubicBezTo>
                  <a:cubicBezTo>
                    <a:pt x="108" y="312"/>
                    <a:pt x="109" y="315"/>
                    <a:pt x="109" y="316"/>
                  </a:cubicBezTo>
                  <a:cubicBezTo>
                    <a:pt x="109" y="319"/>
                    <a:pt x="108" y="323"/>
                    <a:pt x="107" y="327"/>
                  </a:cubicBezTo>
                  <a:cubicBezTo>
                    <a:pt x="106" y="331"/>
                    <a:pt x="105" y="336"/>
                    <a:pt x="105" y="339"/>
                  </a:cubicBezTo>
                  <a:cubicBezTo>
                    <a:pt x="105" y="341"/>
                    <a:pt x="106" y="342"/>
                    <a:pt x="107" y="344"/>
                  </a:cubicBezTo>
                  <a:cubicBezTo>
                    <a:pt x="107" y="345"/>
                    <a:pt x="107" y="346"/>
                    <a:pt x="107" y="347"/>
                  </a:cubicBezTo>
                  <a:cubicBezTo>
                    <a:pt x="108" y="349"/>
                    <a:pt x="109" y="354"/>
                    <a:pt x="109" y="356"/>
                  </a:cubicBezTo>
                  <a:cubicBezTo>
                    <a:pt x="109" y="357"/>
                    <a:pt x="109" y="357"/>
                    <a:pt x="109" y="357"/>
                  </a:cubicBezTo>
                  <a:cubicBezTo>
                    <a:pt x="113" y="366"/>
                    <a:pt x="113" y="366"/>
                    <a:pt x="113" y="366"/>
                  </a:cubicBezTo>
                  <a:cubicBezTo>
                    <a:pt x="116" y="370"/>
                    <a:pt x="116" y="370"/>
                    <a:pt x="116" y="370"/>
                  </a:cubicBezTo>
                  <a:cubicBezTo>
                    <a:pt x="116" y="370"/>
                    <a:pt x="116" y="370"/>
                    <a:pt x="116" y="370"/>
                  </a:cubicBezTo>
                  <a:cubicBezTo>
                    <a:pt x="121" y="374"/>
                    <a:pt x="129" y="381"/>
                    <a:pt x="130" y="383"/>
                  </a:cubicBezTo>
                  <a:cubicBezTo>
                    <a:pt x="132" y="386"/>
                    <a:pt x="133" y="394"/>
                    <a:pt x="133" y="397"/>
                  </a:cubicBezTo>
                  <a:cubicBezTo>
                    <a:pt x="133" y="398"/>
                    <a:pt x="131" y="401"/>
                    <a:pt x="129" y="403"/>
                  </a:cubicBezTo>
                  <a:cubicBezTo>
                    <a:pt x="112" y="422"/>
                    <a:pt x="112" y="422"/>
                    <a:pt x="112" y="422"/>
                  </a:cubicBezTo>
                  <a:cubicBezTo>
                    <a:pt x="111" y="423"/>
                    <a:pt x="111" y="423"/>
                    <a:pt x="111" y="423"/>
                  </a:cubicBezTo>
                  <a:cubicBezTo>
                    <a:pt x="111" y="423"/>
                    <a:pt x="103" y="441"/>
                    <a:pt x="100" y="446"/>
                  </a:cubicBezTo>
                  <a:cubicBezTo>
                    <a:pt x="99" y="447"/>
                    <a:pt x="97" y="449"/>
                    <a:pt x="95" y="451"/>
                  </a:cubicBezTo>
                  <a:cubicBezTo>
                    <a:pt x="91" y="454"/>
                    <a:pt x="88" y="457"/>
                    <a:pt x="87" y="460"/>
                  </a:cubicBezTo>
                  <a:cubicBezTo>
                    <a:pt x="86" y="462"/>
                    <a:pt x="86" y="463"/>
                    <a:pt x="86" y="465"/>
                  </a:cubicBezTo>
                  <a:cubicBezTo>
                    <a:pt x="86" y="466"/>
                    <a:pt x="86" y="467"/>
                    <a:pt x="86" y="467"/>
                  </a:cubicBezTo>
                  <a:cubicBezTo>
                    <a:pt x="85" y="469"/>
                    <a:pt x="83" y="472"/>
                    <a:pt x="82" y="474"/>
                  </a:cubicBezTo>
                  <a:cubicBezTo>
                    <a:pt x="81" y="476"/>
                    <a:pt x="77" y="480"/>
                    <a:pt x="76" y="481"/>
                  </a:cubicBezTo>
                  <a:cubicBezTo>
                    <a:pt x="75" y="482"/>
                    <a:pt x="73" y="483"/>
                    <a:pt x="71" y="484"/>
                  </a:cubicBezTo>
                  <a:cubicBezTo>
                    <a:pt x="68" y="486"/>
                    <a:pt x="65" y="488"/>
                    <a:pt x="63" y="489"/>
                  </a:cubicBezTo>
                  <a:cubicBezTo>
                    <a:pt x="61" y="491"/>
                    <a:pt x="60" y="495"/>
                    <a:pt x="58" y="498"/>
                  </a:cubicBezTo>
                  <a:cubicBezTo>
                    <a:pt x="56" y="500"/>
                    <a:pt x="55" y="503"/>
                    <a:pt x="54" y="504"/>
                  </a:cubicBezTo>
                  <a:cubicBezTo>
                    <a:pt x="53" y="505"/>
                    <a:pt x="52" y="506"/>
                    <a:pt x="51" y="506"/>
                  </a:cubicBezTo>
                  <a:cubicBezTo>
                    <a:pt x="49" y="508"/>
                    <a:pt x="47" y="510"/>
                    <a:pt x="46" y="511"/>
                  </a:cubicBezTo>
                  <a:cubicBezTo>
                    <a:pt x="43" y="517"/>
                    <a:pt x="40" y="530"/>
                    <a:pt x="41" y="536"/>
                  </a:cubicBezTo>
                  <a:cubicBezTo>
                    <a:pt x="41" y="538"/>
                    <a:pt x="43" y="541"/>
                    <a:pt x="45" y="542"/>
                  </a:cubicBezTo>
                  <a:cubicBezTo>
                    <a:pt x="46" y="543"/>
                    <a:pt x="48" y="543"/>
                    <a:pt x="50" y="544"/>
                  </a:cubicBezTo>
                  <a:cubicBezTo>
                    <a:pt x="51" y="544"/>
                    <a:pt x="52" y="544"/>
                    <a:pt x="53" y="545"/>
                  </a:cubicBezTo>
                  <a:cubicBezTo>
                    <a:pt x="54" y="545"/>
                    <a:pt x="58" y="548"/>
                    <a:pt x="59" y="549"/>
                  </a:cubicBezTo>
                  <a:cubicBezTo>
                    <a:pt x="61" y="552"/>
                    <a:pt x="63" y="554"/>
                    <a:pt x="63" y="554"/>
                  </a:cubicBezTo>
                  <a:cubicBezTo>
                    <a:pt x="63" y="555"/>
                    <a:pt x="61" y="557"/>
                    <a:pt x="60" y="557"/>
                  </a:cubicBezTo>
                  <a:cubicBezTo>
                    <a:pt x="59" y="559"/>
                    <a:pt x="58" y="560"/>
                    <a:pt x="57" y="562"/>
                  </a:cubicBezTo>
                  <a:cubicBezTo>
                    <a:pt x="56" y="563"/>
                    <a:pt x="56" y="566"/>
                    <a:pt x="56" y="568"/>
                  </a:cubicBezTo>
                  <a:cubicBezTo>
                    <a:pt x="56" y="569"/>
                    <a:pt x="56" y="571"/>
                    <a:pt x="56" y="572"/>
                  </a:cubicBezTo>
                  <a:cubicBezTo>
                    <a:pt x="55" y="576"/>
                    <a:pt x="53" y="583"/>
                    <a:pt x="50" y="586"/>
                  </a:cubicBezTo>
                  <a:cubicBezTo>
                    <a:pt x="50" y="586"/>
                    <a:pt x="50" y="587"/>
                    <a:pt x="49" y="587"/>
                  </a:cubicBezTo>
                  <a:cubicBezTo>
                    <a:pt x="49" y="587"/>
                    <a:pt x="48" y="588"/>
                    <a:pt x="48" y="588"/>
                  </a:cubicBezTo>
                  <a:cubicBezTo>
                    <a:pt x="46" y="590"/>
                    <a:pt x="44" y="594"/>
                    <a:pt x="44" y="594"/>
                  </a:cubicBezTo>
                  <a:cubicBezTo>
                    <a:pt x="43" y="595"/>
                    <a:pt x="43" y="595"/>
                    <a:pt x="43" y="595"/>
                  </a:cubicBezTo>
                  <a:cubicBezTo>
                    <a:pt x="1" y="799"/>
                    <a:pt x="1" y="799"/>
                    <a:pt x="1" y="799"/>
                  </a:cubicBezTo>
                  <a:cubicBezTo>
                    <a:pt x="0" y="803"/>
                    <a:pt x="0" y="803"/>
                    <a:pt x="0" y="803"/>
                  </a:cubicBezTo>
                  <a:cubicBezTo>
                    <a:pt x="0" y="803"/>
                    <a:pt x="0" y="804"/>
                    <a:pt x="0" y="805"/>
                  </a:cubicBezTo>
                  <a:cubicBezTo>
                    <a:pt x="1" y="805"/>
                    <a:pt x="1" y="806"/>
                    <a:pt x="2" y="806"/>
                  </a:cubicBezTo>
                  <a:cubicBezTo>
                    <a:pt x="139" y="834"/>
                    <a:pt x="139" y="834"/>
                    <a:pt x="139" y="834"/>
                  </a:cubicBezTo>
                  <a:cubicBezTo>
                    <a:pt x="254" y="855"/>
                    <a:pt x="254" y="855"/>
                    <a:pt x="254" y="855"/>
                  </a:cubicBezTo>
                  <a:cubicBezTo>
                    <a:pt x="288" y="861"/>
                    <a:pt x="288" y="861"/>
                    <a:pt x="288" y="861"/>
                  </a:cubicBezTo>
                  <a:cubicBezTo>
                    <a:pt x="409" y="882"/>
                    <a:pt x="409" y="882"/>
                    <a:pt x="409" y="882"/>
                  </a:cubicBezTo>
                  <a:cubicBezTo>
                    <a:pt x="510" y="897"/>
                    <a:pt x="510" y="897"/>
                    <a:pt x="510" y="897"/>
                  </a:cubicBezTo>
                  <a:cubicBezTo>
                    <a:pt x="510" y="897"/>
                    <a:pt x="510" y="897"/>
                    <a:pt x="510" y="897"/>
                  </a:cubicBezTo>
                  <a:cubicBezTo>
                    <a:pt x="511" y="897"/>
                    <a:pt x="511" y="897"/>
                    <a:pt x="512" y="896"/>
                  </a:cubicBezTo>
                  <a:cubicBezTo>
                    <a:pt x="512" y="896"/>
                    <a:pt x="513" y="895"/>
                    <a:pt x="513" y="895"/>
                  </a:cubicBezTo>
                  <a:cubicBezTo>
                    <a:pt x="555" y="604"/>
                    <a:pt x="555" y="604"/>
                    <a:pt x="555" y="604"/>
                  </a:cubicBezTo>
                  <a:cubicBezTo>
                    <a:pt x="555" y="603"/>
                    <a:pt x="555" y="602"/>
                    <a:pt x="555" y="60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56">
              <a:extLst>
                <a:ext uri="{FF2B5EF4-FFF2-40B4-BE49-F238E27FC236}">
                  <a16:creationId xmlns:a16="http://schemas.microsoft.com/office/drawing/2014/main" id="{A667F23D-DCD7-456E-B55C-EE82222243FD}"/>
                </a:ext>
              </a:extLst>
            </p:cNvPr>
            <p:cNvSpPr>
              <a:spLocks/>
            </p:cNvSpPr>
            <p:nvPr/>
          </p:nvSpPr>
          <p:spPr bwMode="auto">
            <a:xfrm>
              <a:off x="8217312" y="2778188"/>
              <a:ext cx="182941" cy="177888"/>
            </a:xfrm>
            <a:custGeom>
              <a:avLst/>
              <a:gdLst>
                <a:gd name="T0" fmla="*/ 163 w 165"/>
                <a:gd name="T1" fmla="*/ 76 h 160"/>
                <a:gd name="T2" fmla="*/ 164 w 165"/>
                <a:gd name="T3" fmla="*/ 74 h 160"/>
                <a:gd name="T4" fmla="*/ 165 w 165"/>
                <a:gd name="T5" fmla="*/ 70 h 160"/>
                <a:gd name="T6" fmla="*/ 164 w 165"/>
                <a:gd name="T7" fmla="*/ 62 h 160"/>
                <a:gd name="T8" fmla="*/ 147 w 165"/>
                <a:gd name="T9" fmla="*/ 2 h 160"/>
                <a:gd name="T10" fmla="*/ 145 w 165"/>
                <a:gd name="T11" fmla="*/ 1 h 160"/>
                <a:gd name="T12" fmla="*/ 140 w 165"/>
                <a:gd name="T13" fmla="*/ 0 h 160"/>
                <a:gd name="T14" fmla="*/ 139 w 165"/>
                <a:gd name="T15" fmla="*/ 0 h 160"/>
                <a:gd name="T16" fmla="*/ 96 w 165"/>
                <a:gd name="T17" fmla="*/ 10 h 160"/>
                <a:gd name="T18" fmla="*/ 52 w 165"/>
                <a:gd name="T19" fmla="*/ 21 h 160"/>
                <a:gd name="T20" fmla="*/ 2 w 165"/>
                <a:gd name="T21" fmla="*/ 32 h 160"/>
                <a:gd name="T22" fmla="*/ 0 w 165"/>
                <a:gd name="T23" fmla="*/ 35 h 160"/>
                <a:gd name="T24" fmla="*/ 15 w 165"/>
                <a:gd name="T25" fmla="*/ 119 h 160"/>
                <a:gd name="T26" fmla="*/ 16 w 165"/>
                <a:gd name="T27" fmla="*/ 120 h 160"/>
                <a:gd name="T28" fmla="*/ 20 w 165"/>
                <a:gd name="T29" fmla="*/ 127 h 160"/>
                <a:gd name="T30" fmla="*/ 20 w 165"/>
                <a:gd name="T31" fmla="*/ 133 h 160"/>
                <a:gd name="T32" fmla="*/ 15 w 165"/>
                <a:gd name="T33" fmla="*/ 139 h 160"/>
                <a:gd name="T34" fmla="*/ 8 w 165"/>
                <a:gd name="T35" fmla="*/ 145 h 160"/>
                <a:gd name="T36" fmla="*/ 8 w 165"/>
                <a:gd name="T37" fmla="*/ 150 h 160"/>
                <a:gd name="T38" fmla="*/ 18 w 165"/>
                <a:gd name="T39" fmla="*/ 160 h 160"/>
                <a:gd name="T40" fmla="*/ 19 w 165"/>
                <a:gd name="T41" fmla="*/ 160 h 160"/>
                <a:gd name="T42" fmla="*/ 27 w 165"/>
                <a:gd name="T43" fmla="*/ 157 h 160"/>
                <a:gd name="T44" fmla="*/ 35 w 165"/>
                <a:gd name="T45" fmla="*/ 148 h 160"/>
                <a:gd name="T46" fmla="*/ 41 w 165"/>
                <a:gd name="T47" fmla="*/ 141 h 160"/>
                <a:gd name="T48" fmla="*/ 44 w 165"/>
                <a:gd name="T49" fmla="*/ 140 h 160"/>
                <a:gd name="T50" fmla="*/ 49 w 165"/>
                <a:gd name="T51" fmla="*/ 137 h 160"/>
                <a:gd name="T52" fmla="*/ 52 w 165"/>
                <a:gd name="T53" fmla="*/ 133 h 160"/>
                <a:gd name="T54" fmla="*/ 53 w 165"/>
                <a:gd name="T55" fmla="*/ 130 h 160"/>
                <a:gd name="T56" fmla="*/ 53 w 165"/>
                <a:gd name="T57" fmla="*/ 130 h 160"/>
                <a:gd name="T58" fmla="*/ 58 w 165"/>
                <a:gd name="T59" fmla="*/ 132 h 160"/>
                <a:gd name="T60" fmla="*/ 67 w 165"/>
                <a:gd name="T61" fmla="*/ 123 h 160"/>
                <a:gd name="T62" fmla="*/ 70 w 165"/>
                <a:gd name="T63" fmla="*/ 117 h 160"/>
                <a:gd name="T64" fmla="*/ 74 w 165"/>
                <a:gd name="T65" fmla="*/ 116 h 160"/>
                <a:gd name="T66" fmla="*/ 78 w 165"/>
                <a:gd name="T67" fmla="*/ 116 h 160"/>
                <a:gd name="T68" fmla="*/ 82 w 165"/>
                <a:gd name="T69" fmla="*/ 113 h 160"/>
                <a:gd name="T70" fmla="*/ 85 w 165"/>
                <a:gd name="T71" fmla="*/ 111 h 160"/>
                <a:gd name="T72" fmla="*/ 88 w 165"/>
                <a:gd name="T73" fmla="*/ 112 h 160"/>
                <a:gd name="T74" fmla="*/ 93 w 165"/>
                <a:gd name="T75" fmla="*/ 111 h 160"/>
                <a:gd name="T76" fmla="*/ 96 w 165"/>
                <a:gd name="T77" fmla="*/ 109 h 160"/>
                <a:gd name="T78" fmla="*/ 97 w 165"/>
                <a:gd name="T79" fmla="*/ 108 h 160"/>
                <a:gd name="T80" fmla="*/ 103 w 165"/>
                <a:gd name="T81" fmla="*/ 106 h 160"/>
                <a:gd name="T82" fmla="*/ 114 w 165"/>
                <a:gd name="T83" fmla="*/ 101 h 160"/>
                <a:gd name="T84" fmla="*/ 114 w 165"/>
                <a:gd name="T85" fmla="*/ 95 h 160"/>
                <a:gd name="T86" fmla="*/ 117 w 165"/>
                <a:gd name="T87" fmla="*/ 92 h 160"/>
                <a:gd name="T88" fmla="*/ 117 w 165"/>
                <a:gd name="T89" fmla="*/ 92 h 160"/>
                <a:gd name="T90" fmla="*/ 117 w 165"/>
                <a:gd name="T91" fmla="*/ 92 h 160"/>
                <a:gd name="T92" fmla="*/ 117 w 165"/>
                <a:gd name="T93" fmla="*/ 92 h 160"/>
                <a:gd name="T94" fmla="*/ 118 w 165"/>
                <a:gd name="T95" fmla="*/ 96 h 160"/>
                <a:gd name="T96" fmla="*/ 124 w 165"/>
                <a:gd name="T97" fmla="*/ 98 h 160"/>
                <a:gd name="T98" fmla="*/ 128 w 165"/>
                <a:gd name="T99" fmla="*/ 98 h 160"/>
                <a:gd name="T100" fmla="*/ 139 w 165"/>
                <a:gd name="T101" fmla="*/ 92 h 160"/>
                <a:gd name="T102" fmla="*/ 144 w 165"/>
                <a:gd name="T103" fmla="*/ 88 h 160"/>
                <a:gd name="T104" fmla="*/ 145 w 165"/>
                <a:gd name="T105" fmla="*/ 88 h 160"/>
                <a:gd name="T106" fmla="*/ 154 w 165"/>
                <a:gd name="T107" fmla="*/ 84 h 160"/>
                <a:gd name="T108" fmla="*/ 155 w 165"/>
                <a:gd name="T109" fmla="*/ 85 h 160"/>
                <a:gd name="T110" fmla="*/ 161 w 165"/>
                <a:gd name="T111" fmla="*/ 85 h 160"/>
                <a:gd name="T112" fmla="*/ 164 w 165"/>
                <a:gd name="T113" fmla="*/ 84 h 160"/>
                <a:gd name="T114" fmla="*/ 164 w 165"/>
                <a:gd name="T115" fmla="*/ 78 h 160"/>
                <a:gd name="T116" fmla="*/ 163 w 165"/>
                <a:gd name="T117" fmla="*/ 7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 h="160">
                  <a:moveTo>
                    <a:pt x="163" y="76"/>
                  </a:moveTo>
                  <a:cubicBezTo>
                    <a:pt x="163" y="76"/>
                    <a:pt x="164" y="75"/>
                    <a:pt x="164" y="74"/>
                  </a:cubicBezTo>
                  <a:cubicBezTo>
                    <a:pt x="165" y="73"/>
                    <a:pt x="165" y="72"/>
                    <a:pt x="165" y="70"/>
                  </a:cubicBezTo>
                  <a:cubicBezTo>
                    <a:pt x="165" y="68"/>
                    <a:pt x="164" y="63"/>
                    <a:pt x="164" y="62"/>
                  </a:cubicBezTo>
                  <a:cubicBezTo>
                    <a:pt x="147" y="2"/>
                    <a:pt x="147" y="2"/>
                    <a:pt x="147" y="2"/>
                  </a:cubicBezTo>
                  <a:cubicBezTo>
                    <a:pt x="147" y="1"/>
                    <a:pt x="146" y="1"/>
                    <a:pt x="145" y="1"/>
                  </a:cubicBezTo>
                  <a:cubicBezTo>
                    <a:pt x="140" y="0"/>
                    <a:pt x="140" y="0"/>
                    <a:pt x="140" y="0"/>
                  </a:cubicBezTo>
                  <a:cubicBezTo>
                    <a:pt x="140" y="0"/>
                    <a:pt x="140" y="0"/>
                    <a:pt x="139" y="0"/>
                  </a:cubicBezTo>
                  <a:cubicBezTo>
                    <a:pt x="125" y="2"/>
                    <a:pt x="110" y="6"/>
                    <a:pt x="96" y="10"/>
                  </a:cubicBezTo>
                  <a:cubicBezTo>
                    <a:pt x="81" y="15"/>
                    <a:pt x="67" y="19"/>
                    <a:pt x="52" y="21"/>
                  </a:cubicBezTo>
                  <a:cubicBezTo>
                    <a:pt x="2" y="32"/>
                    <a:pt x="2" y="32"/>
                    <a:pt x="2" y="32"/>
                  </a:cubicBezTo>
                  <a:cubicBezTo>
                    <a:pt x="1" y="32"/>
                    <a:pt x="0" y="33"/>
                    <a:pt x="0" y="35"/>
                  </a:cubicBezTo>
                  <a:cubicBezTo>
                    <a:pt x="15" y="119"/>
                    <a:pt x="15" y="119"/>
                    <a:pt x="15" y="119"/>
                  </a:cubicBezTo>
                  <a:cubicBezTo>
                    <a:pt x="15" y="119"/>
                    <a:pt x="16" y="120"/>
                    <a:pt x="16" y="120"/>
                  </a:cubicBezTo>
                  <a:cubicBezTo>
                    <a:pt x="18" y="123"/>
                    <a:pt x="20" y="126"/>
                    <a:pt x="20" y="127"/>
                  </a:cubicBezTo>
                  <a:cubicBezTo>
                    <a:pt x="21" y="129"/>
                    <a:pt x="21" y="132"/>
                    <a:pt x="20" y="133"/>
                  </a:cubicBezTo>
                  <a:cubicBezTo>
                    <a:pt x="20" y="135"/>
                    <a:pt x="17" y="137"/>
                    <a:pt x="15" y="139"/>
                  </a:cubicBezTo>
                  <a:cubicBezTo>
                    <a:pt x="12" y="141"/>
                    <a:pt x="9" y="143"/>
                    <a:pt x="8" y="145"/>
                  </a:cubicBezTo>
                  <a:cubicBezTo>
                    <a:pt x="8" y="147"/>
                    <a:pt x="8" y="149"/>
                    <a:pt x="8" y="150"/>
                  </a:cubicBezTo>
                  <a:cubicBezTo>
                    <a:pt x="9" y="153"/>
                    <a:pt x="14" y="159"/>
                    <a:pt x="18" y="160"/>
                  </a:cubicBezTo>
                  <a:cubicBezTo>
                    <a:pt x="18" y="160"/>
                    <a:pt x="19" y="160"/>
                    <a:pt x="19" y="160"/>
                  </a:cubicBezTo>
                  <a:cubicBezTo>
                    <a:pt x="23" y="160"/>
                    <a:pt x="27" y="157"/>
                    <a:pt x="27" y="157"/>
                  </a:cubicBezTo>
                  <a:cubicBezTo>
                    <a:pt x="30" y="155"/>
                    <a:pt x="32" y="152"/>
                    <a:pt x="35" y="148"/>
                  </a:cubicBezTo>
                  <a:cubicBezTo>
                    <a:pt x="37" y="146"/>
                    <a:pt x="39" y="143"/>
                    <a:pt x="41" y="141"/>
                  </a:cubicBezTo>
                  <a:cubicBezTo>
                    <a:pt x="42" y="141"/>
                    <a:pt x="43" y="140"/>
                    <a:pt x="44" y="140"/>
                  </a:cubicBezTo>
                  <a:cubicBezTo>
                    <a:pt x="46" y="139"/>
                    <a:pt x="48" y="138"/>
                    <a:pt x="49" y="137"/>
                  </a:cubicBezTo>
                  <a:cubicBezTo>
                    <a:pt x="50" y="136"/>
                    <a:pt x="51" y="134"/>
                    <a:pt x="52" y="133"/>
                  </a:cubicBezTo>
                  <a:cubicBezTo>
                    <a:pt x="52" y="132"/>
                    <a:pt x="53" y="131"/>
                    <a:pt x="53" y="130"/>
                  </a:cubicBezTo>
                  <a:cubicBezTo>
                    <a:pt x="53" y="130"/>
                    <a:pt x="53" y="130"/>
                    <a:pt x="53" y="130"/>
                  </a:cubicBezTo>
                  <a:cubicBezTo>
                    <a:pt x="54" y="131"/>
                    <a:pt x="56" y="133"/>
                    <a:pt x="58" y="132"/>
                  </a:cubicBezTo>
                  <a:cubicBezTo>
                    <a:pt x="62" y="132"/>
                    <a:pt x="64" y="127"/>
                    <a:pt x="67" y="123"/>
                  </a:cubicBezTo>
                  <a:cubicBezTo>
                    <a:pt x="68" y="120"/>
                    <a:pt x="69" y="118"/>
                    <a:pt x="70" y="117"/>
                  </a:cubicBezTo>
                  <a:cubicBezTo>
                    <a:pt x="71" y="117"/>
                    <a:pt x="73" y="116"/>
                    <a:pt x="74" y="116"/>
                  </a:cubicBezTo>
                  <a:cubicBezTo>
                    <a:pt x="75" y="116"/>
                    <a:pt x="77" y="116"/>
                    <a:pt x="78" y="116"/>
                  </a:cubicBezTo>
                  <a:cubicBezTo>
                    <a:pt x="79" y="115"/>
                    <a:pt x="80" y="114"/>
                    <a:pt x="82" y="113"/>
                  </a:cubicBezTo>
                  <a:cubicBezTo>
                    <a:pt x="83" y="113"/>
                    <a:pt x="84" y="112"/>
                    <a:pt x="85" y="111"/>
                  </a:cubicBezTo>
                  <a:cubicBezTo>
                    <a:pt x="86" y="111"/>
                    <a:pt x="87" y="112"/>
                    <a:pt x="88" y="112"/>
                  </a:cubicBezTo>
                  <a:cubicBezTo>
                    <a:pt x="90" y="112"/>
                    <a:pt x="92" y="112"/>
                    <a:pt x="93" y="111"/>
                  </a:cubicBezTo>
                  <a:cubicBezTo>
                    <a:pt x="94" y="111"/>
                    <a:pt x="95" y="110"/>
                    <a:pt x="96" y="109"/>
                  </a:cubicBezTo>
                  <a:cubicBezTo>
                    <a:pt x="96" y="108"/>
                    <a:pt x="97" y="108"/>
                    <a:pt x="97" y="108"/>
                  </a:cubicBezTo>
                  <a:cubicBezTo>
                    <a:pt x="99" y="107"/>
                    <a:pt x="101" y="106"/>
                    <a:pt x="103" y="106"/>
                  </a:cubicBezTo>
                  <a:cubicBezTo>
                    <a:pt x="107" y="105"/>
                    <a:pt x="111" y="105"/>
                    <a:pt x="114" y="101"/>
                  </a:cubicBezTo>
                  <a:cubicBezTo>
                    <a:pt x="114" y="101"/>
                    <a:pt x="115" y="99"/>
                    <a:pt x="114" y="95"/>
                  </a:cubicBezTo>
                  <a:cubicBezTo>
                    <a:pt x="114" y="95"/>
                    <a:pt x="116" y="93"/>
                    <a:pt x="117" y="92"/>
                  </a:cubicBezTo>
                  <a:cubicBezTo>
                    <a:pt x="117" y="92"/>
                    <a:pt x="117" y="92"/>
                    <a:pt x="117" y="92"/>
                  </a:cubicBezTo>
                  <a:cubicBezTo>
                    <a:pt x="117" y="92"/>
                    <a:pt x="117" y="92"/>
                    <a:pt x="117" y="92"/>
                  </a:cubicBezTo>
                  <a:cubicBezTo>
                    <a:pt x="117" y="92"/>
                    <a:pt x="117" y="92"/>
                    <a:pt x="117" y="92"/>
                  </a:cubicBezTo>
                  <a:cubicBezTo>
                    <a:pt x="117" y="93"/>
                    <a:pt x="116" y="95"/>
                    <a:pt x="118" y="96"/>
                  </a:cubicBezTo>
                  <a:cubicBezTo>
                    <a:pt x="119" y="98"/>
                    <a:pt x="121" y="98"/>
                    <a:pt x="124" y="98"/>
                  </a:cubicBezTo>
                  <a:cubicBezTo>
                    <a:pt x="125" y="98"/>
                    <a:pt x="127" y="98"/>
                    <a:pt x="128" y="98"/>
                  </a:cubicBezTo>
                  <a:cubicBezTo>
                    <a:pt x="131" y="97"/>
                    <a:pt x="135" y="94"/>
                    <a:pt x="139" y="92"/>
                  </a:cubicBezTo>
                  <a:cubicBezTo>
                    <a:pt x="141" y="90"/>
                    <a:pt x="142" y="89"/>
                    <a:pt x="144" y="88"/>
                  </a:cubicBezTo>
                  <a:cubicBezTo>
                    <a:pt x="145" y="88"/>
                    <a:pt x="145" y="88"/>
                    <a:pt x="145" y="88"/>
                  </a:cubicBezTo>
                  <a:cubicBezTo>
                    <a:pt x="147" y="86"/>
                    <a:pt x="151" y="84"/>
                    <a:pt x="154" y="84"/>
                  </a:cubicBezTo>
                  <a:cubicBezTo>
                    <a:pt x="154" y="84"/>
                    <a:pt x="154" y="84"/>
                    <a:pt x="155" y="85"/>
                  </a:cubicBezTo>
                  <a:cubicBezTo>
                    <a:pt x="156" y="85"/>
                    <a:pt x="159" y="85"/>
                    <a:pt x="161" y="85"/>
                  </a:cubicBezTo>
                  <a:cubicBezTo>
                    <a:pt x="162" y="85"/>
                    <a:pt x="163" y="85"/>
                    <a:pt x="164" y="84"/>
                  </a:cubicBezTo>
                  <a:cubicBezTo>
                    <a:pt x="165" y="83"/>
                    <a:pt x="165" y="81"/>
                    <a:pt x="164" y="78"/>
                  </a:cubicBezTo>
                  <a:cubicBezTo>
                    <a:pt x="163" y="77"/>
                    <a:pt x="163" y="76"/>
                    <a:pt x="163" y="76"/>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57">
              <a:extLst>
                <a:ext uri="{FF2B5EF4-FFF2-40B4-BE49-F238E27FC236}">
                  <a16:creationId xmlns:a16="http://schemas.microsoft.com/office/drawing/2014/main" id="{284257D1-914F-4682-ADAC-3E68FD14A57A}"/>
                </a:ext>
              </a:extLst>
            </p:cNvPr>
            <p:cNvSpPr>
              <a:spLocks/>
            </p:cNvSpPr>
            <p:nvPr/>
          </p:nvSpPr>
          <p:spPr bwMode="auto">
            <a:xfrm>
              <a:off x="3326407" y="2728662"/>
              <a:ext cx="843957" cy="1415017"/>
            </a:xfrm>
            <a:custGeom>
              <a:avLst/>
              <a:gdLst>
                <a:gd name="T0" fmla="*/ 738 w 760"/>
                <a:gd name="T1" fmla="*/ 1053 h 1272"/>
                <a:gd name="T2" fmla="*/ 726 w 760"/>
                <a:gd name="T3" fmla="*/ 1020 h 1272"/>
                <a:gd name="T4" fmla="*/ 340 w 760"/>
                <a:gd name="T5" fmla="*/ 437 h 1272"/>
                <a:gd name="T6" fmla="*/ 75 w 760"/>
                <a:gd name="T7" fmla="*/ 1 h 1272"/>
                <a:gd name="T8" fmla="*/ 62 w 760"/>
                <a:gd name="T9" fmla="*/ 32 h 1272"/>
                <a:gd name="T10" fmla="*/ 62 w 760"/>
                <a:gd name="T11" fmla="*/ 71 h 1272"/>
                <a:gd name="T12" fmla="*/ 45 w 760"/>
                <a:gd name="T13" fmla="*/ 112 h 1272"/>
                <a:gd name="T14" fmla="*/ 33 w 760"/>
                <a:gd name="T15" fmla="*/ 134 h 1272"/>
                <a:gd name="T16" fmla="*/ 16 w 760"/>
                <a:gd name="T17" fmla="*/ 152 h 1272"/>
                <a:gd name="T18" fmla="*/ 2 w 760"/>
                <a:gd name="T19" fmla="*/ 188 h 1272"/>
                <a:gd name="T20" fmla="*/ 16 w 760"/>
                <a:gd name="T21" fmla="*/ 222 h 1272"/>
                <a:gd name="T22" fmla="*/ 28 w 760"/>
                <a:gd name="T23" fmla="*/ 260 h 1272"/>
                <a:gd name="T24" fmla="*/ 27 w 760"/>
                <a:gd name="T25" fmla="*/ 278 h 1272"/>
                <a:gd name="T26" fmla="*/ 16 w 760"/>
                <a:gd name="T27" fmla="*/ 309 h 1272"/>
                <a:gd name="T28" fmla="*/ 9 w 760"/>
                <a:gd name="T29" fmla="*/ 358 h 1272"/>
                <a:gd name="T30" fmla="*/ 33 w 760"/>
                <a:gd name="T31" fmla="*/ 412 h 1272"/>
                <a:gd name="T32" fmla="*/ 48 w 760"/>
                <a:gd name="T33" fmla="*/ 439 h 1272"/>
                <a:gd name="T34" fmla="*/ 59 w 760"/>
                <a:gd name="T35" fmla="*/ 476 h 1272"/>
                <a:gd name="T36" fmla="*/ 73 w 760"/>
                <a:gd name="T37" fmla="*/ 504 h 1272"/>
                <a:gd name="T38" fmla="*/ 126 w 760"/>
                <a:gd name="T39" fmla="*/ 487 h 1272"/>
                <a:gd name="T40" fmla="*/ 114 w 760"/>
                <a:gd name="T41" fmla="*/ 523 h 1272"/>
                <a:gd name="T42" fmla="*/ 114 w 760"/>
                <a:gd name="T43" fmla="*/ 568 h 1272"/>
                <a:gd name="T44" fmla="*/ 97 w 760"/>
                <a:gd name="T45" fmla="*/ 534 h 1272"/>
                <a:gd name="T46" fmla="*/ 83 w 760"/>
                <a:gd name="T47" fmla="*/ 518 h 1272"/>
                <a:gd name="T48" fmla="*/ 72 w 760"/>
                <a:gd name="T49" fmla="*/ 549 h 1272"/>
                <a:gd name="T50" fmla="*/ 74 w 760"/>
                <a:gd name="T51" fmla="*/ 579 h 1272"/>
                <a:gd name="T52" fmla="*/ 88 w 760"/>
                <a:gd name="T53" fmla="*/ 622 h 1272"/>
                <a:gd name="T54" fmla="*/ 112 w 760"/>
                <a:gd name="T55" fmla="*/ 656 h 1272"/>
                <a:gd name="T56" fmla="*/ 91 w 760"/>
                <a:gd name="T57" fmla="*/ 693 h 1272"/>
                <a:gd name="T58" fmla="*/ 108 w 760"/>
                <a:gd name="T59" fmla="*/ 734 h 1272"/>
                <a:gd name="T60" fmla="*/ 118 w 760"/>
                <a:gd name="T61" fmla="*/ 764 h 1272"/>
                <a:gd name="T62" fmla="*/ 130 w 760"/>
                <a:gd name="T63" fmla="*/ 794 h 1272"/>
                <a:gd name="T64" fmla="*/ 150 w 760"/>
                <a:gd name="T65" fmla="*/ 825 h 1272"/>
                <a:gd name="T66" fmla="*/ 151 w 760"/>
                <a:gd name="T67" fmla="*/ 852 h 1272"/>
                <a:gd name="T68" fmla="*/ 170 w 760"/>
                <a:gd name="T69" fmla="*/ 876 h 1272"/>
                <a:gd name="T70" fmla="*/ 161 w 760"/>
                <a:gd name="T71" fmla="*/ 904 h 1272"/>
                <a:gd name="T72" fmla="*/ 155 w 760"/>
                <a:gd name="T73" fmla="*/ 925 h 1272"/>
                <a:gd name="T74" fmla="*/ 165 w 760"/>
                <a:gd name="T75" fmla="*/ 944 h 1272"/>
                <a:gd name="T76" fmla="*/ 198 w 760"/>
                <a:gd name="T77" fmla="*/ 957 h 1272"/>
                <a:gd name="T78" fmla="*/ 224 w 760"/>
                <a:gd name="T79" fmla="*/ 970 h 1272"/>
                <a:gd name="T80" fmla="*/ 264 w 760"/>
                <a:gd name="T81" fmla="*/ 991 h 1272"/>
                <a:gd name="T82" fmla="*/ 287 w 760"/>
                <a:gd name="T83" fmla="*/ 1024 h 1272"/>
                <a:gd name="T84" fmla="*/ 336 w 760"/>
                <a:gd name="T85" fmla="*/ 1042 h 1272"/>
                <a:gd name="T86" fmla="*/ 341 w 760"/>
                <a:gd name="T87" fmla="*/ 1078 h 1272"/>
                <a:gd name="T88" fmla="*/ 361 w 760"/>
                <a:gd name="T89" fmla="*/ 1080 h 1272"/>
                <a:gd name="T90" fmla="*/ 385 w 760"/>
                <a:gd name="T91" fmla="*/ 1106 h 1272"/>
                <a:gd name="T92" fmla="*/ 426 w 760"/>
                <a:gd name="T93" fmla="*/ 1187 h 1272"/>
                <a:gd name="T94" fmla="*/ 421 w 760"/>
                <a:gd name="T95" fmla="*/ 1219 h 1272"/>
                <a:gd name="T96" fmla="*/ 431 w 760"/>
                <a:gd name="T97" fmla="*/ 1244 h 1272"/>
                <a:gd name="T98" fmla="*/ 672 w 760"/>
                <a:gd name="T99" fmla="*/ 1268 h 1272"/>
                <a:gd name="T100" fmla="*/ 683 w 760"/>
                <a:gd name="T101" fmla="*/ 1272 h 1272"/>
                <a:gd name="T102" fmla="*/ 697 w 760"/>
                <a:gd name="T103" fmla="*/ 1258 h 1272"/>
                <a:gd name="T104" fmla="*/ 688 w 760"/>
                <a:gd name="T105" fmla="*/ 1230 h 1272"/>
                <a:gd name="T106" fmla="*/ 684 w 760"/>
                <a:gd name="T107" fmla="*/ 1215 h 1272"/>
                <a:gd name="T108" fmla="*/ 692 w 760"/>
                <a:gd name="T109" fmla="*/ 1189 h 1272"/>
                <a:gd name="T110" fmla="*/ 714 w 760"/>
                <a:gd name="T111" fmla="*/ 1145 h 1272"/>
                <a:gd name="T112" fmla="*/ 724 w 760"/>
                <a:gd name="T113" fmla="*/ 1123 h 1272"/>
                <a:gd name="T114" fmla="*/ 760 w 760"/>
                <a:gd name="T115" fmla="*/ 1093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60" h="1272">
                  <a:moveTo>
                    <a:pt x="754" y="1084"/>
                  </a:moveTo>
                  <a:cubicBezTo>
                    <a:pt x="741" y="1070"/>
                    <a:pt x="741" y="1070"/>
                    <a:pt x="741" y="1070"/>
                  </a:cubicBezTo>
                  <a:cubicBezTo>
                    <a:pt x="741" y="1067"/>
                    <a:pt x="742" y="1063"/>
                    <a:pt x="741" y="1061"/>
                  </a:cubicBezTo>
                  <a:cubicBezTo>
                    <a:pt x="741" y="1060"/>
                    <a:pt x="740" y="1058"/>
                    <a:pt x="740" y="1056"/>
                  </a:cubicBezTo>
                  <a:cubicBezTo>
                    <a:pt x="739" y="1055"/>
                    <a:pt x="739" y="1054"/>
                    <a:pt x="738" y="1053"/>
                  </a:cubicBezTo>
                  <a:cubicBezTo>
                    <a:pt x="738" y="1052"/>
                    <a:pt x="738" y="1051"/>
                    <a:pt x="738" y="1050"/>
                  </a:cubicBezTo>
                  <a:cubicBezTo>
                    <a:pt x="738" y="1048"/>
                    <a:pt x="738" y="1047"/>
                    <a:pt x="738" y="1046"/>
                  </a:cubicBezTo>
                  <a:cubicBezTo>
                    <a:pt x="737" y="1043"/>
                    <a:pt x="736" y="1038"/>
                    <a:pt x="735" y="1036"/>
                  </a:cubicBezTo>
                  <a:cubicBezTo>
                    <a:pt x="734" y="1034"/>
                    <a:pt x="732" y="1031"/>
                    <a:pt x="731" y="1029"/>
                  </a:cubicBezTo>
                  <a:cubicBezTo>
                    <a:pt x="729" y="1026"/>
                    <a:pt x="727" y="1022"/>
                    <a:pt x="726" y="1020"/>
                  </a:cubicBezTo>
                  <a:cubicBezTo>
                    <a:pt x="726" y="1019"/>
                    <a:pt x="726" y="1016"/>
                    <a:pt x="726" y="1013"/>
                  </a:cubicBezTo>
                  <a:cubicBezTo>
                    <a:pt x="728" y="1006"/>
                    <a:pt x="728" y="1006"/>
                    <a:pt x="728" y="1006"/>
                  </a:cubicBezTo>
                  <a:cubicBezTo>
                    <a:pt x="728" y="1005"/>
                    <a:pt x="728" y="1005"/>
                    <a:pt x="727" y="1004"/>
                  </a:cubicBezTo>
                  <a:cubicBezTo>
                    <a:pt x="612" y="834"/>
                    <a:pt x="612" y="834"/>
                    <a:pt x="612" y="834"/>
                  </a:cubicBezTo>
                  <a:cubicBezTo>
                    <a:pt x="340" y="437"/>
                    <a:pt x="340" y="437"/>
                    <a:pt x="340" y="437"/>
                  </a:cubicBezTo>
                  <a:cubicBezTo>
                    <a:pt x="359" y="361"/>
                    <a:pt x="359" y="361"/>
                    <a:pt x="359" y="361"/>
                  </a:cubicBezTo>
                  <a:cubicBezTo>
                    <a:pt x="423" y="96"/>
                    <a:pt x="423" y="96"/>
                    <a:pt x="423" y="96"/>
                  </a:cubicBezTo>
                  <a:cubicBezTo>
                    <a:pt x="424" y="95"/>
                    <a:pt x="423" y="93"/>
                    <a:pt x="421" y="93"/>
                  </a:cubicBezTo>
                  <a:cubicBezTo>
                    <a:pt x="263" y="53"/>
                    <a:pt x="263" y="53"/>
                    <a:pt x="263" y="53"/>
                  </a:cubicBezTo>
                  <a:cubicBezTo>
                    <a:pt x="75" y="1"/>
                    <a:pt x="75" y="1"/>
                    <a:pt x="75" y="1"/>
                  </a:cubicBezTo>
                  <a:cubicBezTo>
                    <a:pt x="71" y="0"/>
                    <a:pt x="71" y="0"/>
                    <a:pt x="71" y="0"/>
                  </a:cubicBezTo>
                  <a:cubicBezTo>
                    <a:pt x="70" y="0"/>
                    <a:pt x="69" y="0"/>
                    <a:pt x="69" y="2"/>
                  </a:cubicBezTo>
                  <a:cubicBezTo>
                    <a:pt x="64" y="17"/>
                    <a:pt x="64" y="17"/>
                    <a:pt x="64" y="17"/>
                  </a:cubicBezTo>
                  <a:cubicBezTo>
                    <a:pt x="62" y="19"/>
                    <a:pt x="59" y="23"/>
                    <a:pt x="59" y="26"/>
                  </a:cubicBezTo>
                  <a:cubicBezTo>
                    <a:pt x="59" y="28"/>
                    <a:pt x="61" y="30"/>
                    <a:pt x="62" y="32"/>
                  </a:cubicBezTo>
                  <a:cubicBezTo>
                    <a:pt x="63" y="33"/>
                    <a:pt x="64" y="34"/>
                    <a:pt x="64" y="35"/>
                  </a:cubicBezTo>
                  <a:cubicBezTo>
                    <a:pt x="64" y="35"/>
                    <a:pt x="64" y="37"/>
                    <a:pt x="64" y="38"/>
                  </a:cubicBezTo>
                  <a:cubicBezTo>
                    <a:pt x="64" y="39"/>
                    <a:pt x="63" y="40"/>
                    <a:pt x="63" y="41"/>
                  </a:cubicBezTo>
                  <a:cubicBezTo>
                    <a:pt x="63" y="45"/>
                    <a:pt x="65" y="54"/>
                    <a:pt x="65" y="56"/>
                  </a:cubicBezTo>
                  <a:cubicBezTo>
                    <a:pt x="64" y="61"/>
                    <a:pt x="63" y="69"/>
                    <a:pt x="62" y="71"/>
                  </a:cubicBezTo>
                  <a:cubicBezTo>
                    <a:pt x="61" y="73"/>
                    <a:pt x="59" y="75"/>
                    <a:pt x="58" y="78"/>
                  </a:cubicBezTo>
                  <a:cubicBezTo>
                    <a:pt x="52" y="88"/>
                    <a:pt x="44" y="103"/>
                    <a:pt x="44" y="103"/>
                  </a:cubicBezTo>
                  <a:cubicBezTo>
                    <a:pt x="43" y="104"/>
                    <a:pt x="43" y="104"/>
                    <a:pt x="43" y="104"/>
                  </a:cubicBezTo>
                  <a:cubicBezTo>
                    <a:pt x="43" y="106"/>
                    <a:pt x="44" y="108"/>
                    <a:pt x="44" y="109"/>
                  </a:cubicBezTo>
                  <a:cubicBezTo>
                    <a:pt x="44" y="110"/>
                    <a:pt x="45" y="111"/>
                    <a:pt x="45" y="112"/>
                  </a:cubicBezTo>
                  <a:cubicBezTo>
                    <a:pt x="45" y="113"/>
                    <a:pt x="43" y="117"/>
                    <a:pt x="42" y="119"/>
                  </a:cubicBezTo>
                  <a:cubicBezTo>
                    <a:pt x="42" y="120"/>
                    <a:pt x="40" y="121"/>
                    <a:pt x="39" y="122"/>
                  </a:cubicBezTo>
                  <a:cubicBezTo>
                    <a:pt x="39" y="124"/>
                    <a:pt x="38" y="125"/>
                    <a:pt x="37" y="126"/>
                  </a:cubicBezTo>
                  <a:cubicBezTo>
                    <a:pt x="36" y="127"/>
                    <a:pt x="35" y="129"/>
                    <a:pt x="35" y="131"/>
                  </a:cubicBezTo>
                  <a:cubicBezTo>
                    <a:pt x="34" y="132"/>
                    <a:pt x="34" y="133"/>
                    <a:pt x="33" y="134"/>
                  </a:cubicBezTo>
                  <a:cubicBezTo>
                    <a:pt x="32" y="137"/>
                    <a:pt x="31" y="139"/>
                    <a:pt x="29" y="140"/>
                  </a:cubicBezTo>
                  <a:cubicBezTo>
                    <a:pt x="29" y="141"/>
                    <a:pt x="27" y="141"/>
                    <a:pt x="26" y="141"/>
                  </a:cubicBezTo>
                  <a:cubicBezTo>
                    <a:pt x="24" y="142"/>
                    <a:pt x="22" y="143"/>
                    <a:pt x="21" y="144"/>
                  </a:cubicBezTo>
                  <a:cubicBezTo>
                    <a:pt x="20" y="145"/>
                    <a:pt x="19" y="147"/>
                    <a:pt x="18" y="149"/>
                  </a:cubicBezTo>
                  <a:cubicBezTo>
                    <a:pt x="17" y="150"/>
                    <a:pt x="17" y="151"/>
                    <a:pt x="16" y="152"/>
                  </a:cubicBezTo>
                  <a:cubicBezTo>
                    <a:pt x="16" y="153"/>
                    <a:pt x="14" y="154"/>
                    <a:pt x="13" y="155"/>
                  </a:cubicBezTo>
                  <a:cubicBezTo>
                    <a:pt x="12" y="157"/>
                    <a:pt x="10" y="158"/>
                    <a:pt x="9" y="160"/>
                  </a:cubicBezTo>
                  <a:cubicBezTo>
                    <a:pt x="7" y="163"/>
                    <a:pt x="3" y="171"/>
                    <a:pt x="2" y="176"/>
                  </a:cubicBezTo>
                  <a:cubicBezTo>
                    <a:pt x="2" y="178"/>
                    <a:pt x="2" y="180"/>
                    <a:pt x="2" y="183"/>
                  </a:cubicBezTo>
                  <a:cubicBezTo>
                    <a:pt x="2" y="185"/>
                    <a:pt x="2" y="187"/>
                    <a:pt x="2" y="188"/>
                  </a:cubicBezTo>
                  <a:cubicBezTo>
                    <a:pt x="2" y="189"/>
                    <a:pt x="2" y="190"/>
                    <a:pt x="1" y="190"/>
                  </a:cubicBezTo>
                  <a:cubicBezTo>
                    <a:pt x="0" y="193"/>
                    <a:pt x="0" y="195"/>
                    <a:pt x="0" y="197"/>
                  </a:cubicBezTo>
                  <a:cubicBezTo>
                    <a:pt x="1" y="201"/>
                    <a:pt x="5" y="205"/>
                    <a:pt x="9" y="210"/>
                  </a:cubicBezTo>
                  <a:cubicBezTo>
                    <a:pt x="12" y="213"/>
                    <a:pt x="15" y="217"/>
                    <a:pt x="16" y="219"/>
                  </a:cubicBezTo>
                  <a:cubicBezTo>
                    <a:pt x="16" y="220"/>
                    <a:pt x="16" y="221"/>
                    <a:pt x="16" y="222"/>
                  </a:cubicBezTo>
                  <a:cubicBezTo>
                    <a:pt x="16" y="224"/>
                    <a:pt x="15" y="225"/>
                    <a:pt x="16" y="227"/>
                  </a:cubicBezTo>
                  <a:cubicBezTo>
                    <a:pt x="16" y="228"/>
                    <a:pt x="18" y="230"/>
                    <a:pt x="19" y="232"/>
                  </a:cubicBezTo>
                  <a:cubicBezTo>
                    <a:pt x="20" y="233"/>
                    <a:pt x="21" y="234"/>
                    <a:pt x="21" y="234"/>
                  </a:cubicBezTo>
                  <a:cubicBezTo>
                    <a:pt x="24" y="239"/>
                    <a:pt x="28" y="251"/>
                    <a:pt x="28" y="256"/>
                  </a:cubicBezTo>
                  <a:cubicBezTo>
                    <a:pt x="28" y="257"/>
                    <a:pt x="28" y="259"/>
                    <a:pt x="28" y="260"/>
                  </a:cubicBezTo>
                  <a:cubicBezTo>
                    <a:pt x="28" y="261"/>
                    <a:pt x="27" y="263"/>
                    <a:pt x="27" y="264"/>
                  </a:cubicBezTo>
                  <a:cubicBezTo>
                    <a:pt x="27" y="265"/>
                    <a:pt x="28" y="266"/>
                    <a:pt x="28" y="268"/>
                  </a:cubicBezTo>
                  <a:cubicBezTo>
                    <a:pt x="28" y="269"/>
                    <a:pt x="29" y="271"/>
                    <a:pt x="29" y="271"/>
                  </a:cubicBezTo>
                  <a:cubicBezTo>
                    <a:pt x="29" y="272"/>
                    <a:pt x="28" y="274"/>
                    <a:pt x="28" y="275"/>
                  </a:cubicBezTo>
                  <a:cubicBezTo>
                    <a:pt x="28" y="276"/>
                    <a:pt x="27" y="277"/>
                    <a:pt x="27" y="278"/>
                  </a:cubicBezTo>
                  <a:cubicBezTo>
                    <a:pt x="27" y="279"/>
                    <a:pt x="27" y="281"/>
                    <a:pt x="27" y="282"/>
                  </a:cubicBezTo>
                  <a:cubicBezTo>
                    <a:pt x="28" y="284"/>
                    <a:pt x="28" y="286"/>
                    <a:pt x="27" y="287"/>
                  </a:cubicBezTo>
                  <a:cubicBezTo>
                    <a:pt x="27" y="288"/>
                    <a:pt x="26" y="290"/>
                    <a:pt x="24" y="292"/>
                  </a:cubicBezTo>
                  <a:cubicBezTo>
                    <a:pt x="24" y="292"/>
                    <a:pt x="23" y="293"/>
                    <a:pt x="23" y="294"/>
                  </a:cubicBezTo>
                  <a:cubicBezTo>
                    <a:pt x="21" y="297"/>
                    <a:pt x="17" y="305"/>
                    <a:pt x="16" y="309"/>
                  </a:cubicBezTo>
                  <a:cubicBezTo>
                    <a:pt x="15" y="315"/>
                    <a:pt x="16" y="325"/>
                    <a:pt x="17" y="333"/>
                  </a:cubicBezTo>
                  <a:cubicBezTo>
                    <a:pt x="17" y="335"/>
                    <a:pt x="17" y="338"/>
                    <a:pt x="17" y="340"/>
                  </a:cubicBezTo>
                  <a:cubicBezTo>
                    <a:pt x="17" y="344"/>
                    <a:pt x="17" y="349"/>
                    <a:pt x="16" y="350"/>
                  </a:cubicBezTo>
                  <a:cubicBezTo>
                    <a:pt x="16" y="351"/>
                    <a:pt x="15" y="352"/>
                    <a:pt x="14" y="352"/>
                  </a:cubicBezTo>
                  <a:cubicBezTo>
                    <a:pt x="12" y="354"/>
                    <a:pt x="10" y="356"/>
                    <a:pt x="9" y="358"/>
                  </a:cubicBezTo>
                  <a:cubicBezTo>
                    <a:pt x="9" y="362"/>
                    <a:pt x="12" y="368"/>
                    <a:pt x="15" y="374"/>
                  </a:cubicBezTo>
                  <a:cubicBezTo>
                    <a:pt x="16" y="375"/>
                    <a:pt x="16" y="375"/>
                    <a:pt x="16" y="375"/>
                  </a:cubicBezTo>
                  <a:cubicBezTo>
                    <a:pt x="19" y="379"/>
                    <a:pt x="23" y="386"/>
                    <a:pt x="25" y="390"/>
                  </a:cubicBezTo>
                  <a:cubicBezTo>
                    <a:pt x="26" y="392"/>
                    <a:pt x="27" y="396"/>
                    <a:pt x="28" y="400"/>
                  </a:cubicBezTo>
                  <a:cubicBezTo>
                    <a:pt x="30" y="405"/>
                    <a:pt x="31" y="409"/>
                    <a:pt x="33" y="412"/>
                  </a:cubicBezTo>
                  <a:cubicBezTo>
                    <a:pt x="34" y="415"/>
                    <a:pt x="37" y="419"/>
                    <a:pt x="38" y="421"/>
                  </a:cubicBezTo>
                  <a:cubicBezTo>
                    <a:pt x="39" y="422"/>
                    <a:pt x="40" y="423"/>
                    <a:pt x="41" y="424"/>
                  </a:cubicBezTo>
                  <a:cubicBezTo>
                    <a:pt x="42" y="425"/>
                    <a:pt x="44" y="427"/>
                    <a:pt x="44" y="428"/>
                  </a:cubicBezTo>
                  <a:cubicBezTo>
                    <a:pt x="45" y="429"/>
                    <a:pt x="47" y="433"/>
                    <a:pt x="48" y="434"/>
                  </a:cubicBezTo>
                  <a:cubicBezTo>
                    <a:pt x="48" y="435"/>
                    <a:pt x="48" y="437"/>
                    <a:pt x="48" y="439"/>
                  </a:cubicBezTo>
                  <a:cubicBezTo>
                    <a:pt x="49" y="440"/>
                    <a:pt x="49" y="441"/>
                    <a:pt x="49" y="442"/>
                  </a:cubicBezTo>
                  <a:cubicBezTo>
                    <a:pt x="49" y="443"/>
                    <a:pt x="50" y="446"/>
                    <a:pt x="51" y="447"/>
                  </a:cubicBezTo>
                  <a:cubicBezTo>
                    <a:pt x="51" y="449"/>
                    <a:pt x="53" y="452"/>
                    <a:pt x="54" y="455"/>
                  </a:cubicBezTo>
                  <a:cubicBezTo>
                    <a:pt x="55" y="458"/>
                    <a:pt x="56" y="461"/>
                    <a:pt x="57" y="463"/>
                  </a:cubicBezTo>
                  <a:cubicBezTo>
                    <a:pt x="58" y="466"/>
                    <a:pt x="60" y="473"/>
                    <a:pt x="59" y="476"/>
                  </a:cubicBezTo>
                  <a:cubicBezTo>
                    <a:pt x="59" y="477"/>
                    <a:pt x="59" y="477"/>
                    <a:pt x="59" y="478"/>
                  </a:cubicBezTo>
                  <a:cubicBezTo>
                    <a:pt x="58" y="481"/>
                    <a:pt x="58" y="483"/>
                    <a:pt x="61" y="490"/>
                  </a:cubicBezTo>
                  <a:cubicBezTo>
                    <a:pt x="61" y="491"/>
                    <a:pt x="61" y="492"/>
                    <a:pt x="61" y="493"/>
                  </a:cubicBezTo>
                  <a:cubicBezTo>
                    <a:pt x="62" y="495"/>
                    <a:pt x="62" y="496"/>
                    <a:pt x="63" y="498"/>
                  </a:cubicBezTo>
                  <a:cubicBezTo>
                    <a:pt x="65" y="500"/>
                    <a:pt x="69" y="504"/>
                    <a:pt x="73" y="504"/>
                  </a:cubicBezTo>
                  <a:cubicBezTo>
                    <a:pt x="73" y="504"/>
                    <a:pt x="73" y="504"/>
                    <a:pt x="73" y="504"/>
                  </a:cubicBezTo>
                  <a:cubicBezTo>
                    <a:pt x="79" y="504"/>
                    <a:pt x="86" y="499"/>
                    <a:pt x="94" y="494"/>
                  </a:cubicBezTo>
                  <a:cubicBezTo>
                    <a:pt x="102" y="489"/>
                    <a:pt x="112" y="483"/>
                    <a:pt x="120" y="483"/>
                  </a:cubicBezTo>
                  <a:cubicBezTo>
                    <a:pt x="123" y="483"/>
                    <a:pt x="127" y="484"/>
                    <a:pt x="130" y="486"/>
                  </a:cubicBezTo>
                  <a:cubicBezTo>
                    <a:pt x="128" y="487"/>
                    <a:pt x="127" y="487"/>
                    <a:pt x="126" y="487"/>
                  </a:cubicBezTo>
                  <a:cubicBezTo>
                    <a:pt x="120" y="489"/>
                    <a:pt x="110" y="491"/>
                    <a:pt x="101" y="496"/>
                  </a:cubicBezTo>
                  <a:cubicBezTo>
                    <a:pt x="99" y="498"/>
                    <a:pt x="96" y="501"/>
                    <a:pt x="95" y="504"/>
                  </a:cubicBezTo>
                  <a:cubicBezTo>
                    <a:pt x="95" y="506"/>
                    <a:pt x="95" y="507"/>
                    <a:pt x="96" y="508"/>
                  </a:cubicBezTo>
                  <a:cubicBezTo>
                    <a:pt x="97" y="510"/>
                    <a:pt x="100" y="511"/>
                    <a:pt x="102" y="512"/>
                  </a:cubicBezTo>
                  <a:cubicBezTo>
                    <a:pt x="105" y="513"/>
                    <a:pt x="109" y="514"/>
                    <a:pt x="114" y="523"/>
                  </a:cubicBezTo>
                  <a:cubicBezTo>
                    <a:pt x="117" y="527"/>
                    <a:pt x="117" y="530"/>
                    <a:pt x="116" y="540"/>
                  </a:cubicBezTo>
                  <a:cubicBezTo>
                    <a:pt x="116" y="546"/>
                    <a:pt x="116" y="546"/>
                    <a:pt x="116" y="546"/>
                  </a:cubicBezTo>
                  <a:cubicBezTo>
                    <a:pt x="116" y="550"/>
                    <a:pt x="116" y="550"/>
                    <a:pt x="116" y="550"/>
                  </a:cubicBezTo>
                  <a:cubicBezTo>
                    <a:pt x="116" y="554"/>
                    <a:pt x="117" y="558"/>
                    <a:pt x="116" y="560"/>
                  </a:cubicBezTo>
                  <a:cubicBezTo>
                    <a:pt x="116" y="564"/>
                    <a:pt x="115" y="568"/>
                    <a:pt x="114" y="568"/>
                  </a:cubicBezTo>
                  <a:cubicBezTo>
                    <a:pt x="113" y="568"/>
                    <a:pt x="112" y="567"/>
                    <a:pt x="110" y="565"/>
                  </a:cubicBezTo>
                  <a:cubicBezTo>
                    <a:pt x="108" y="563"/>
                    <a:pt x="105" y="559"/>
                    <a:pt x="103" y="557"/>
                  </a:cubicBezTo>
                  <a:cubicBezTo>
                    <a:pt x="103" y="556"/>
                    <a:pt x="102" y="554"/>
                    <a:pt x="101" y="553"/>
                  </a:cubicBezTo>
                  <a:cubicBezTo>
                    <a:pt x="100" y="552"/>
                    <a:pt x="100" y="550"/>
                    <a:pt x="99" y="549"/>
                  </a:cubicBezTo>
                  <a:cubicBezTo>
                    <a:pt x="96" y="545"/>
                    <a:pt x="97" y="539"/>
                    <a:pt x="97" y="534"/>
                  </a:cubicBezTo>
                  <a:cubicBezTo>
                    <a:pt x="97" y="533"/>
                    <a:pt x="97" y="532"/>
                    <a:pt x="97" y="531"/>
                  </a:cubicBezTo>
                  <a:cubicBezTo>
                    <a:pt x="97" y="529"/>
                    <a:pt x="97" y="525"/>
                    <a:pt x="96" y="522"/>
                  </a:cubicBezTo>
                  <a:cubicBezTo>
                    <a:pt x="96" y="520"/>
                    <a:pt x="95" y="519"/>
                    <a:pt x="94" y="518"/>
                  </a:cubicBezTo>
                  <a:cubicBezTo>
                    <a:pt x="92" y="517"/>
                    <a:pt x="90" y="517"/>
                    <a:pt x="89" y="517"/>
                  </a:cubicBezTo>
                  <a:cubicBezTo>
                    <a:pt x="87" y="517"/>
                    <a:pt x="85" y="517"/>
                    <a:pt x="83" y="518"/>
                  </a:cubicBezTo>
                  <a:cubicBezTo>
                    <a:pt x="81" y="519"/>
                    <a:pt x="79" y="524"/>
                    <a:pt x="79" y="526"/>
                  </a:cubicBezTo>
                  <a:cubicBezTo>
                    <a:pt x="78" y="527"/>
                    <a:pt x="78" y="529"/>
                    <a:pt x="78" y="530"/>
                  </a:cubicBezTo>
                  <a:cubicBezTo>
                    <a:pt x="78" y="531"/>
                    <a:pt x="78" y="533"/>
                    <a:pt x="78" y="533"/>
                  </a:cubicBezTo>
                  <a:cubicBezTo>
                    <a:pt x="78" y="534"/>
                    <a:pt x="77" y="536"/>
                    <a:pt x="76" y="538"/>
                  </a:cubicBezTo>
                  <a:cubicBezTo>
                    <a:pt x="74" y="542"/>
                    <a:pt x="72" y="546"/>
                    <a:pt x="72" y="549"/>
                  </a:cubicBezTo>
                  <a:cubicBezTo>
                    <a:pt x="72" y="551"/>
                    <a:pt x="74" y="553"/>
                    <a:pt x="75" y="555"/>
                  </a:cubicBezTo>
                  <a:cubicBezTo>
                    <a:pt x="76" y="556"/>
                    <a:pt x="76" y="557"/>
                    <a:pt x="77" y="557"/>
                  </a:cubicBezTo>
                  <a:cubicBezTo>
                    <a:pt x="78" y="560"/>
                    <a:pt x="78" y="567"/>
                    <a:pt x="77" y="571"/>
                  </a:cubicBezTo>
                  <a:cubicBezTo>
                    <a:pt x="77" y="573"/>
                    <a:pt x="76" y="576"/>
                    <a:pt x="75" y="578"/>
                  </a:cubicBezTo>
                  <a:cubicBezTo>
                    <a:pt x="75" y="578"/>
                    <a:pt x="75" y="579"/>
                    <a:pt x="74" y="579"/>
                  </a:cubicBezTo>
                  <a:cubicBezTo>
                    <a:pt x="73" y="581"/>
                    <a:pt x="72" y="582"/>
                    <a:pt x="72" y="583"/>
                  </a:cubicBezTo>
                  <a:cubicBezTo>
                    <a:pt x="72" y="585"/>
                    <a:pt x="72" y="589"/>
                    <a:pt x="72" y="591"/>
                  </a:cubicBezTo>
                  <a:cubicBezTo>
                    <a:pt x="72" y="593"/>
                    <a:pt x="74" y="596"/>
                    <a:pt x="75" y="598"/>
                  </a:cubicBezTo>
                  <a:cubicBezTo>
                    <a:pt x="75" y="599"/>
                    <a:pt x="75" y="599"/>
                    <a:pt x="75" y="599"/>
                  </a:cubicBezTo>
                  <a:cubicBezTo>
                    <a:pt x="78" y="605"/>
                    <a:pt x="83" y="617"/>
                    <a:pt x="88" y="622"/>
                  </a:cubicBezTo>
                  <a:cubicBezTo>
                    <a:pt x="90" y="624"/>
                    <a:pt x="94" y="628"/>
                    <a:pt x="97" y="629"/>
                  </a:cubicBezTo>
                  <a:cubicBezTo>
                    <a:pt x="99" y="630"/>
                    <a:pt x="102" y="630"/>
                    <a:pt x="105" y="630"/>
                  </a:cubicBezTo>
                  <a:cubicBezTo>
                    <a:pt x="108" y="630"/>
                    <a:pt x="110" y="630"/>
                    <a:pt x="111" y="631"/>
                  </a:cubicBezTo>
                  <a:cubicBezTo>
                    <a:pt x="118" y="633"/>
                    <a:pt x="121" y="636"/>
                    <a:pt x="121" y="640"/>
                  </a:cubicBezTo>
                  <a:cubicBezTo>
                    <a:pt x="122" y="646"/>
                    <a:pt x="115" y="654"/>
                    <a:pt x="112" y="656"/>
                  </a:cubicBezTo>
                  <a:cubicBezTo>
                    <a:pt x="111" y="656"/>
                    <a:pt x="109" y="657"/>
                    <a:pt x="108" y="657"/>
                  </a:cubicBezTo>
                  <a:cubicBezTo>
                    <a:pt x="102" y="658"/>
                    <a:pt x="94" y="661"/>
                    <a:pt x="92" y="672"/>
                  </a:cubicBezTo>
                  <a:cubicBezTo>
                    <a:pt x="92" y="674"/>
                    <a:pt x="92" y="678"/>
                    <a:pt x="92" y="681"/>
                  </a:cubicBezTo>
                  <a:cubicBezTo>
                    <a:pt x="92" y="684"/>
                    <a:pt x="92" y="686"/>
                    <a:pt x="92" y="688"/>
                  </a:cubicBezTo>
                  <a:cubicBezTo>
                    <a:pt x="92" y="689"/>
                    <a:pt x="92" y="691"/>
                    <a:pt x="91" y="693"/>
                  </a:cubicBezTo>
                  <a:cubicBezTo>
                    <a:pt x="91" y="697"/>
                    <a:pt x="90" y="701"/>
                    <a:pt x="90" y="704"/>
                  </a:cubicBezTo>
                  <a:cubicBezTo>
                    <a:pt x="91" y="707"/>
                    <a:pt x="93" y="711"/>
                    <a:pt x="94" y="713"/>
                  </a:cubicBezTo>
                  <a:cubicBezTo>
                    <a:pt x="95" y="715"/>
                    <a:pt x="97" y="717"/>
                    <a:pt x="100" y="719"/>
                  </a:cubicBezTo>
                  <a:cubicBezTo>
                    <a:pt x="102" y="722"/>
                    <a:pt x="105" y="725"/>
                    <a:pt x="106" y="728"/>
                  </a:cubicBezTo>
                  <a:cubicBezTo>
                    <a:pt x="107" y="729"/>
                    <a:pt x="107" y="731"/>
                    <a:pt x="108" y="734"/>
                  </a:cubicBezTo>
                  <a:cubicBezTo>
                    <a:pt x="108" y="737"/>
                    <a:pt x="109" y="741"/>
                    <a:pt x="110" y="743"/>
                  </a:cubicBezTo>
                  <a:cubicBezTo>
                    <a:pt x="111" y="744"/>
                    <a:pt x="112" y="745"/>
                    <a:pt x="114" y="746"/>
                  </a:cubicBezTo>
                  <a:cubicBezTo>
                    <a:pt x="115" y="747"/>
                    <a:pt x="116" y="748"/>
                    <a:pt x="116" y="748"/>
                  </a:cubicBezTo>
                  <a:cubicBezTo>
                    <a:pt x="117" y="750"/>
                    <a:pt x="117" y="753"/>
                    <a:pt x="117" y="756"/>
                  </a:cubicBezTo>
                  <a:cubicBezTo>
                    <a:pt x="117" y="759"/>
                    <a:pt x="117" y="762"/>
                    <a:pt x="118" y="764"/>
                  </a:cubicBezTo>
                  <a:cubicBezTo>
                    <a:pt x="118" y="766"/>
                    <a:pt x="120" y="769"/>
                    <a:pt x="122" y="772"/>
                  </a:cubicBezTo>
                  <a:cubicBezTo>
                    <a:pt x="123" y="774"/>
                    <a:pt x="125" y="777"/>
                    <a:pt x="126" y="778"/>
                  </a:cubicBezTo>
                  <a:cubicBezTo>
                    <a:pt x="126" y="779"/>
                    <a:pt x="126" y="781"/>
                    <a:pt x="126" y="782"/>
                  </a:cubicBezTo>
                  <a:cubicBezTo>
                    <a:pt x="126" y="784"/>
                    <a:pt x="126" y="785"/>
                    <a:pt x="126" y="786"/>
                  </a:cubicBezTo>
                  <a:cubicBezTo>
                    <a:pt x="127" y="788"/>
                    <a:pt x="128" y="792"/>
                    <a:pt x="130" y="794"/>
                  </a:cubicBezTo>
                  <a:cubicBezTo>
                    <a:pt x="131" y="796"/>
                    <a:pt x="133" y="797"/>
                    <a:pt x="134" y="798"/>
                  </a:cubicBezTo>
                  <a:cubicBezTo>
                    <a:pt x="136" y="800"/>
                    <a:pt x="138" y="801"/>
                    <a:pt x="139" y="802"/>
                  </a:cubicBezTo>
                  <a:cubicBezTo>
                    <a:pt x="140" y="803"/>
                    <a:pt x="140" y="806"/>
                    <a:pt x="141" y="809"/>
                  </a:cubicBezTo>
                  <a:cubicBezTo>
                    <a:pt x="141" y="812"/>
                    <a:pt x="142" y="815"/>
                    <a:pt x="143" y="817"/>
                  </a:cubicBezTo>
                  <a:cubicBezTo>
                    <a:pt x="144" y="820"/>
                    <a:pt x="147" y="822"/>
                    <a:pt x="150" y="825"/>
                  </a:cubicBezTo>
                  <a:cubicBezTo>
                    <a:pt x="153" y="827"/>
                    <a:pt x="156" y="830"/>
                    <a:pt x="157" y="831"/>
                  </a:cubicBezTo>
                  <a:cubicBezTo>
                    <a:pt x="158" y="833"/>
                    <a:pt x="158" y="837"/>
                    <a:pt x="158" y="837"/>
                  </a:cubicBezTo>
                  <a:cubicBezTo>
                    <a:pt x="158" y="838"/>
                    <a:pt x="157" y="839"/>
                    <a:pt x="156" y="839"/>
                  </a:cubicBezTo>
                  <a:cubicBezTo>
                    <a:pt x="155" y="840"/>
                    <a:pt x="153" y="841"/>
                    <a:pt x="153" y="842"/>
                  </a:cubicBezTo>
                  <a:cubicBezTo>
                    <a:pt x="151" y="844"/>
                    <a:pt x="150" y="849"/>
                    <a:pt x="151" y="852"/>
                  </a:cubicBezTo>
                  <a:cubicBezTo>
                    <a:pt x="152" y="855"/>
                    <a:pt x="156" y="859"/>
                    <a:pt x="157" y="860"/>
                  </a:cubicBezTo>
                  <a:cubicBezTo>
                    <a:pt x="159" y="861"/>
                    <a:pt x="160" y="862"/>
                    <a:pt x="162" y="862"/>
                  </a:cubicBezTo>
                  <a:cubicBezTo>
                    <a:pt x="164" y="863"/>
                    <a:pt x="165" y="863"/>
                    <a:pt x="165" y="863"/>
                  </a:cubicBezTo>
                  <a:cubicBezTo>
                    <a:pt x="167" y="864"/>
                    <a:pt x="170" y="868"/>
                    <a:pt x="170" y="870"/>
                  </a:cubicBezTo>
                  <a:cubicBezTo>
                    <a:pt x="170" y="871"/>
                    <a:pt x="170" y="874"/>
                    <a:pt x="170" y="876"/>
                  </a:cubicBezTo>
                  <a:cubicBezTo>
                    <a:pt x="169" y="877"/>
                    <a:pt x="168" y="879"/>
                    <a:pt x="167" y="880"/>
                  </a:cubicBezTo>
                  <a:cubicBezTo>
                    <a:pt x="165" y="882"/>
                    <a:pt x="164" y="885"/>
                    <a:pt x="163" y="887"/>
                  </a:cubicBezTo>
                  <a:cubicBezTo>
                    <a:pt x="162" y="889"/>
                    <a:pt x="163" y="892"/>
                    <a:pt x="163" y="895"/>
                  </a:cubicBezTo>
                  <a:cubicBezTo>
                    <a:pt x="163" y="898"/>
                    <a:pt x="163" y="900"/>
                    <a:pt x="163" y="902"/>
                  </a:cubicBezTo>
                  <a:cubicBezTo>
                    <a:pt x="163" y="902"/>
                    <a:pt x="162" y="903"/>
                    <a:pt x="161" y="904"/>
                  </a:cubicBezTo>
                  <a:cubicBezTo>
                    <a:pt x="160" y="906"/>
                    <a:pt x="159" y="907"/>
                    <a:pt x="159" y="909"/>
                  </a:cubicBezTo>
                  <a:cubicBezTo>
                    <a:pt x="158" y="911"/>
                    <a:pt x="159" y="913"/>
                    <a:pt x="159" y="914"/>
                  </a:cubicBezTo>
                  <a:cubicBezTo>
                    <a:pt x="160" y="915"/>
                    <a:pt x="160" y="917"/>
                    <a:pt x="160" y="917"/>
                  </a:cubicBezTo>
                  <a:cubicBezTo>
                    <a:pt x="160" y="918"/>
                    <a:pt x="159" y="919"/>
                    <a:pt x="158" y="920"/>
                  </a:cubicBezTo>
                  <a:cubicBezTo>
                    <a:pt x="157" y="922"/>
                    <a:pt x="156" y="923"/>
                    <a:pt x="155" y="925"/>
                  </a:cubicBezTo>
                  <a:cubicBezTo>
                    <a:pt x="154" y="927"/>
                    <a:pt x="153" y="932"/>
                    <a:pt x="155" y="935"/>
                  </a:cubicBezTo>
                  <a:cubicBezTo>
                    <a:pt x="156" y="936"/>
                    <a:pt x="158" y="937"/>
                    <a:pt x="159" y="937"/>
                  </a:cubicBezTo>
                  <a:cubicBezTo>
                    <a:pt x="160" y="937"/>
                    <a:pt x="160" y="937"/>
                    <a:pt x="160" y="937"/>
                  </a:cubicBezTo>
                  <a:cubicBezTo>
                    <a:pt x="161" y="937"/>
                    <a:pt x="162" y="940"/>
                    <a:pt x="163" y="941"/>
                  </a:cubicBezTo>
                  <a:cubicBezTo>
                    <a:pt x="164" y="942"/>
                    <a:pt x="164" y="944"/>
                    <a:pt x="165" y="944"/>
                  </a:cubicBezTo>
                  <a:cubicBezTo>
                    <a:pt x="166" y="945"/>
                    <a:pt x="166" y="945"/>
                    <a:pt x="166" y="945"/>
                  </a:cubicBezTo>
                  <a:cubicBezTo>
                    <a:pt x="168" y="948"/>
                    <a:pt x="170" y="951"/>
                    <a:pt x="172" y="952"/>
                  </a:cubicBezTo>
                  <a:cubicBezTo>
                    <a:pt x="176" y="954"/>
                    <a:pt x="181" y="955"/>
                    <a:pt x="187" y="955"/>
                  </a:cubicBezTo>
                  <a:cubicBezTo>
                    <a:pt x="190" y="955"/>
                    <a:pt x="193" y="955"/>
                    <a:pt x="195" y="956"/>
                  </a:cubicBezTo>
                  <a:cubicBezTo>
                    <a:pt x="196" y="956"/>
                    <a:pt x="197" y="957"/>
                    <a:pt x="198" y="957"/>
                  </a:cubicBezTo>
                  <a:cubicBezTo>
                    <a:pt x="200" y="958"/>
                    <a:pt x="201" y="959"/>
                    <a:pt x="202" y="959"/>
                  </a:cubicBezTo>
                  <a:cubicBezTo>
                    <a:pt x="203" y="959"/>
                    <a:pt x="205" y="959"/>
                    <a:pt x="206" y="960"/>
                  </a:cubicBezTo>
                  <a:cubicBezTo>
                    <a:pt x="207" y="960"/>
                    <a:pt x="209" y="960"/>
                    <a:pt x="210" y="960"/>
                  </a:cubicBezTo>
                  <a:cubicBezTo>
                    <a:pt x="212" y="961"/>
                    <a:pt x="215" y="964"/>
                    <a:pt x="218" y="966"/>
                  </a:cubicBezTo>
                  <a:cubicBezTo>
                    <a:pt x="220" y="968"/>
                    <a:pt x="222" y="969"/>
                    <a:pt x="224" y="970"/>
                  </a:cubicBezTo>
                  <a:cubicBezTo>
                    <a:pt x="226" y="971"/>
                    <a:pt x="230" y="973"/>
                    <a:pt x="232" y="973"/>
                  </a:cubicBezTo>
                  <a:cubicBezTo>
                    <a:pt x="234" y="974"/>
                    <a:pt x="236" y="974"/>
                    <a:pt x="239" y="974"/>
                  </a:cubicBezTo>
                  <a:cubicBezTo>
                    <a:pt x="242" y="974"/>
                    <a:pt x="245" y="974"/>
                    <a:pt x="247" y="975"/>
                  </a:cubicBezTo>
                  <a:cubicBezTo>
                    <a:pt x="249" y="976"/>
                    <a:pt x="255" y="981"/>
                    <a:pt x="258" y="983"/>
                  </a:cubicBezTo>
                  <a:cubicBezTo>
                    <a:pt x="264" y="991"/>
                    <a:pt x="264" y="991"/>
                    <a:pt x="264" y="991"/>
                  </a:cubicBezTo>
                  <a:cubicBezTo>
                    <a:pt x="264" y="991"/>
                    <a:pt x="264" y="991"/>
                    <a:pt x="264" y="991"/>
                  </a:cubicBezTo>
                  <a:cubicBezTo>
                    <a:pt x="267" y="993"/>
                    <a:pt x="270" y="996"/>
                    <a:pt x="271" y="997"/>
                  </a:cubicBezTo>
                  <a:cubicBezTo>
                    <a:pt x="271" y="998"/>
                    <a:pt x="271" y="1001"/>
                    <a:pt x="271" y="1003"/>
                  </a:cubicBezTo>
                  <a:cubicBezTo>
                    <a:pt x="272" y="1006"/>
                    <a:pt x="272" y="1010"/>
                    <a:pt x="273" y="1012"/>
                  </a:cubicBezTo>
                  <a:cubicBezTo>
                    <a:pt x="275" y="1016"/>
                    <a:pt x="282" y="1021"/>
                    <a:pt x="287" y="1024"/>
                  </a:cubicBezTo>
                  <a:cubicBezTo>
                    <a:pt x="288" y="1025"/>
                    <a:pt x="289" y="1026"/>
                    <a:pt x="290" y="1026"/>
                  </a:cubicBezTo>
                  <a:cubicBezTo>
                    <a:pt x="298" y="1032"/>
                    <a:pt x="303" y="1035"/>
                    <a:pt x="306" y="1036"/>
                  </a:cubicBezTo>
                  <a:cubicBezTo>
                    <a:pt x="310" y="1037"/>
                    <a:pt x="315" y="1038"/>
                    <a:pt x="320" y="1038"/>
                  </a:cubicBezTo>
                  <a:cubicBezTo>
                    <a:pt x="326" y="1039"/>
                    <a:pt x="332" y="1039"/>
                    <a:pt x="335" y="1041"/>
                  </a:cubicBezTo>
                  <a:cubicBezTo>
                    <a:pt x="335" y="1041"/>
                    <a:pt x="336" y="1041"/>
                    <a:pt x="336" y="1042"/>
                  </a:cubicBezTo>
                  <a:cubicBezTo>
                    <a:pt x="338" y="1044"/>
                    <a:pt x="340" y="1052"/>
                    <a:pt x="341" y="1056"/>
                  </a:cubicBezTo>
                  <a:cubicBezTo>
                    <a:pt x="342" y="1058"/>
                    <a:pt x="342" y="1061"/>
                    <a:pt x="342" y="1062"/>
                  </a:cubicBezTo>
                  <a:cubicBezTo>
                    <a:pt x="342" y="1063"/>
                    <a:pt x="341" y="1064"/>
                    <a:pt x="341" y="1065"/>
                  </a:cubicBezTo>
                  <a:cubicBezTo>
                    <a:pt x="340" y="1067"/>
                    <a:pt x="340" y="1068"/>
                    <a:pt x="340" y="1069"/>
                  </a:cubicBezTo>
                  <a:cubicBezTo>
                    <a:pt x="340" y="1071"/>
                    <a:pt x="339" y="1076"/>
                    <a:pt x="341" y="1078"/>
                  </a:cubicBezTo>
                  <a:cubicBezTo>
                    <a:pt x="342" y="1080"/>
                    <a:pt x="347" y="1085"/>
                    <a:pt x="350" y="1085"/>
                  </a:cubicBezTo>
                  <a:cubicBezTo>
                    <a:pt x="351" y="1085"/>
                    <a:pt x="351" y="1084"/>
                    <a:pt x="351" y="1084"/>
                  </a:cubicBezTo>
                  <a:cubicBezTo>
                    <a:pt x="354" y="1084"/>
                    <a:pt x="354" y="1082"/>
                    <a:pt x="355" y="1080"/>
                  </a:cubicBezTo>
                  <a:cubicBezTo>
                    <a:pt x="355" y="1079"/>
                    <a:pt x="356" y="1079"/>
                    <a:pt x="356" y="1079"/>
                  </a:cubicBezTo>
                  <a:cubicBezTo>
                    <a:pt x="357" y="1079"/>
                    <a:pt x="359" y="1079"/>
                    <a:pt x="361" y="1080"/>
                  </a:cubicBezTo>
                  <a:cubicBezTo>
                    <a:pt x="363" y="1081"/>
                    <a:pt x="367" y="1083"/>
                    <a:pt x="368" y="1084"/>
                  </a:cubicBezTo>
                  <a:cubicBezTo>
                    <a:pt x="369" y="1085"/>
                    <a:pt x="371" y="1089"/>
                    <a:pt x="372" y="1091"/>
                  </a:cubicBezTo>
                  <a:cubicBezTo>
                    <a:pt x="373" y="1093"/>
                    <a:pt x="374" y="1095"/>
                    <a:pt x="375" y="1096"/>
                  </a:cubicBezTo>
                  <a:cubicBezTo>
                    <a:pt x="376" y="1098"/>
                    <a:pt x="379" y="1101"/>
                    <a:pt x="381" y="1103"/>
                  </a:cubicBezTo>
                  <a:cubicBezTo>
                    <a:pt x="382" y="1104"/>
                    <a:pt x="383" y="1105"/>
                    <a:pt x="385" y="1106"/>
                  </a:cubicBezTo>
                  <a:cubicBezTo>
                    <a:pt x="386" y="1108"/>
                    <a:pt x="388" y="1109"/>
                    <a:pt x="389" y="1110"/>
                  </a:cubicBezTo>
                  <a:cubicBezTo>
                    <a:pt x="395" y="1116"/>
                    <a:pt x="408" y="1132"/>
                    <a:pt x="413" y="1141"/>
                  </a:cubicBezTo>
                  <a:cubicBezTo>
                    <a:pt x="415" y="1144"/>
                    <a:pt x="418" y="1152"/>
                    <a:pt x="420" y="1156"/>
                  </a:cubicBezTo>
                  <a:cubicBezTo>
                    <a:pt x="421" y="1160"/>
                    <a:pt x="424" y="1168"/>
                    <a:pt x="425" y="1173"/>
                  </a:cubicBezTo>
                  <a:cubicBezTo>
                    <a:pt x="426" y="1176"/>
                    <a:pt x="426" y="1184"/>
                    <a:pt x="426" y="1187"/>
                  </a:cubicBezTo>
                  <a:cubicBezTo>
                    <a:pt x="426" y="1191"/>
                    <a:pt x="425" y="1198"/>
                    <a:pt x="425" y="1202"/>
                  </a:cubicBezTo>
                  <a:cubicBezTo>
                    <a:pt x="425" y="1203"/>
                    <a:pt x="424" y="1204"/>
                    <a:pt x="423" y="1205"/>
                  </a:cubicBezTo>
                  <a:cubicBezTo>
                    <a:pt x="423" y="1206"/>
                    <a:pt x="421" y="1207"/>
                    <a:pt x="421" y="1210"/>
                  </a:cubicBezTo>
                  <a:cubicBezTo>
                    <a:pt x="421" y="1210"/>
                    <a:pt x="421" y="1211"/>
                    <a:pt x="421" y="1211"/>
                  </a:cubicBezTo>
                  <a:cubicBezTo>
                    <a:pt x="420" y="1215"/>
                    <a:pt x="420" y="1217"/>
                    <a:pt x="421" y="1219"/>
                  </a:cubicBezTo>
                  <a:cubicBezTo>
                    <a:pt x="422" y="1220"/>
                    <a:pt x="423" y="1220"/>
                    <a:pt x="424" y="1220"/>
                  </a:cubicBezTo>
                  <a:cubicBezTo>
                    <a:pt x="426" y="1220"/>
                    <a:pt x="428" y="1220"/>
                    <a:pt x="429" y="1221"/>
                  </a:cubicBezTo>
                  <a:cubicBezTo>
                    <a:pt x="430" y="1223"/>
                    <a:pt x="429" y="1226"/>
                    <a:pt x="428" y="1228"/>
                  </a:cubicBezTo>
                  <a:cubicBezTo>
                    <a:pt x="428" y="1229"/>
                    <a:pt x="428" y="1230"/>
                    <a:pt x="428" y="1231"/>
                  </a:cubicBezTo>
                  <a:cubicBezTo>
                    <a:pt x="428" y="1232"/>
                    <a:pt x="427" y="1241"/>
                    <a:pt x="431" y="1244"/>
                  </a:cubicBezTo>
                  <a:cubicBezTo>
                    <a:pt x="432" y="1245"/>
                    <a:pt x="433" y="1245"/>
                    <a:pt x="435" y="1245"/>
                  </a:cubicBezTo>
                  <a:cubicBezTo>
                    <a:pt x="436" y="1245"/>
                    <a:pt x="436" y="1245"/>
                    <a:pt x="436" y="1245"/>
                  </a:cubicBezTo>
                  <a:cubicBezTo>
                    <a:pt x="492" y="1254"/>
                    <a:pt x="665" y="1269"/>
                    <a:pt x="667" y="1269"/>
                  </a:cubicBezTo>
                  <a:cubicBezTo>
                    <a:pt x="667" y="1269"/>
                    <a:pt x="668" y="1269"/>
                    <a:pt x="668" y="1269"/>
                  </a:cubicBezTo>
                  <a:cubicBezTo>
                    <a:pt x="672" y="1268"/>
                    <a:pt x="672" y="1268"/>
                    <a:pt x="672" y="1268"/>
                  </a:cubicBezTo>
                  <a:cubicBezTo>
                    <a:pt x="672" y="1268"/>
                    <a:pt x="672" y="1268"/>
                    <a:pt x="673" y="1268"/>
                  </a:cubicBezTo>
                  <a:cubicBezTo>
                    <a:pt x="673" y="1268"/>
                    <a:pt x="674" y="1268"/>
                    <a:pt x="674" y="1268"/>
                  </a:cubicBezTo>
                  <a:cubicBezTo>
                    <a:pt x="674" y="1268"/>
                    <a:pt x="674" y="1268"/>
                    <a:pt x="675" y="1268"/>
                  </a:cubicBezTo>
                  <a:cubicBezTo>
                    <a:pt x="675" y="1269"/>
                    <a:pt x="676" y="1269"/>
                    <a:pt x="676" y="1270"/>
                  </a:cubicBezTo>
                  <a:cubicBezTo>
                    <a:pt x="679" y="1271"/>
                    <a:pt x="682" y="1272"/>
                    <a:pt x="683" y="1272"/>
                  </a:cubicBezTo>
                  <a:cubicBezTo>
                    <a:pt x="684" y="1272"/>
                    <a:pt x="685" y="1271"/>
                    <a:pt x="686" y="1271"/>
                  </a:cubicBezTo>
                  <a:cubicBezTo>
                    <a:pt x="688" y="1270"/>
                    <a:pt x="688" y="1267"/>
                    <a:pt x="689" y="1265"/>
                  </a:cubicBezTo>
                  <a:cubicBezTo>
                    <a:pt x="689" y="1265"/>
                    <a:pt x="689" y="1263"/>
                    <a:pt x="689" y="1263"/>
                  </a:cubicBezTo>
                  <a:cubicBezTo>
                    <a:pt x="689" y="1263"/>
                    <a:pt x="691" y="1262"/>
                    <a:pt x="692" y="1261"/>
                  </a:cubicBezTo>
                  <a:cubicBezTo>
                    <a:pt x="694" y="1261"/>
                    <a:pt x="696" y="1260"/>
                    <a:pt x="697" y="1258"/>
                  </a:cubicBezTo>
                  <a:cubicBezTo>
                    <a:pt x="699" y="1255"/>
                    <a:pt x="698" y="1250"/>
                    <a:pt x="698" y="1245"/>
                  </a:cubicBezTo>
                  <a:cubicBezTo>
                    <a:pt x="698" y="1244"/>
                    <a:pt x="698" y="1244"/>
                    <a:pt x="698" y="1244"/>
                  </a:cubicBezTo>
                  <a:cubicBezTo>
                    <a:pt x="698" y="1241"/>
                    <a:pt x="697" y="1237"/>
                    <a:pt x="696" y="1236"/>
                  </a:cubicBezTo>
                  <a:cubicBezTo>
                    <a:pt x="695" y="1234"/>
                    <a:pt x="692" y="1232"/>
                    <a:pt x="689" y="1231"/>
                  </a:cubicBezTo>
                  <a:cubicBezTo>
                    <a:pt x="688" y="1230"/>
                    <a:pt x="688" y="1230"/>
                    <a:pt x="688" y="1230"/>
                  </a:cubicBezTo>
                  <a:cubicBezTo>
                    <a:pt x="687" y="1230"/>
                    <a:pt x="686" y="1230"/>
                    <a:pt x="685" y="1229"/>
                  </a:cubicBezTo>
                  <a:cubicBezTo>
                    <a:pt x="683" y="1229"/>
                    <a:pt x="681" y="1229"/>
                    <a:pt x="681" y="1228"/>
                  </a:cubicBezTo>
                  <a:cubicBezTo>
                    <a:pt x="680" y="1228"/>
                    <a:pt x="680" y="1225"/>
                    <a:pt x="680" y="1223"/>
                  </a:cubicBezTo>
                  <a:cubicBezTo>
                    <a:pt x="680" y="1222"/>
                    <a:pt x="681" y="1220"/>
                    <a:pt x="682" y="1219"/>
                  </a:cubicBezTo>
                  <a:cubicBezTo>
                    <a:pt x="682" y="1218"/>
                    <a:pt x="683" y="1217"/>
                    <a:pt x="684" y="1215"/>
                  </a:cubicBezTo>
                  <a:cubicBezTo>
                    <a:pt x="684" y="1213"/>
                    <a:pt x="685" y="1209"/>
                    <a:pt x="684" y="1207"/>
                  </a:cubicBezTo>
                  <a:cubicBezTo>
                    <a:pt x="684" y="1206"/>
                    <a:pt x="683" y="1204"/>
                    <a:pt x="683" y="1203"/>
                  </a:cubicBezTo>
                  <a:cubicBezTo>
                    <a:pt x="682" y="1202"/>
                    <a:pt x="681" y="1200"/>
                    <a:pt x="681" y="1199"/>
                  </a:cubicBezTo>
                  <a:cubicBezTo>
                    <a:pt x="682" y="1198"/>
                    <a:pt x="683" y="1195"/>
                    <a:pt x="684" y="1193"/>
                  </a:cubicBezTo>
                  <a:cubicBezTo>
                    <a:pt x="685" y="1192"/>
                    <a:pt x="689" y="1190"/>
                    <a:pt x="692" y="1189"/>
                  </a:cubicBezTo>
                  <a:cubicBezTo>
                    <a:pt x="692" y="1189"/>
                    <a:pt x="692" y="1188"/>
                    <a:pt x="692" y="1188"/>
                  </a:cubicBezTo>
                  <a:cubicBezTo>
                    <a:pt x="693" y="1187"/>
                    <a:pt x="703" y="1177"/>
                    <a:pt x="706" y="1172"/>
                  </a:cubicBezTo>
                  <a:cubicBezTo>
                    <a:pt x="707" y="1170"/>
                    <a:pt x="708" y="1164"/>
                    <a:pt x="709" y="1162"/>
                  </a:cubicBezTo>
                  <a:cubicBezTo>
                    <a:pt x="710" y="1160"/>
                    <a:pt x="712" y="1156"/>
                    <a:pt x="713" y="1154"/>
                  </a:cubicBezTo>
                  <a:cubicBezTo>
                    <a:pt x="714" y="1152"/>
                    <a:pt x="714" y="1148"/>
                    <a:pt x="714" y="1145"/>
                  </a:cubicBezTo>
                  <a:cubicBezTo>
                    <a:pt x="714" y="1143"/>
                    <a:pt x="714" y="1141"/>
                    <a:pt x="714" y="1139"/>
                  </a:cubicBezTo>
                  <a:cubicBezTo>
                    <a:pt x="714" y="1138"/>
                    <a:pt x="714" y="1138"/>
                    <a:pt x="714" y="1138"/>
                  </a:cubicBezTo>
                  <a:cubicBezTo>
                    <a:pt x="715" y="1135"/>
                    <a:pt x="715" y="1129"/>
                    <a:pt x="717" y="1127"/>
                  </a:cubicBezTo>
                  <a:cubicBezTo>
                    <a:pt x="717" y="1126"/>
                    <a:pt x="719" y="1126"/>
                    <a:pt x="720" y="1125"/>
                  </a:cubicBezTo>
                  <a:cubicBezTo>
                    <a:pt x="722" y="1124"/>
                    <a:pt x="723" y="1124"/>
                    <a:pt x="724" y="1123"/>
                  </a:cubicBezTo>
                  <a:cubicBezTo>
                    <a:pt x="725" y="1122"/>
                    <a:pt x="726" y="1120"/>
                    <a:pt x="726" y="1118"/>
                  </a:cubicBezTo>
                  <a:cubicBezTo>
                    <a:pt x="727" y="1117"/>
                    <a:pt x="727" y="1116"/>
                    <a:pt x="728" y="1115"/>
                  </a:cubicBezTo>
                  <a:cubicBezTo>
                    <a:pt x="730" y="1113"/>
                    <a:pt x="736" y="1110"/>
                    <a:pt x="741" y="1108"/>
                  </a:cubicBezTo>
                  <a:cubicBezTo>
                    <a:pt x="745" y="1106"/>
                    <a:pt x="750" y="1104"/>
                    <a:pt x="753" y="1102"/>
                  </a:cubicBezTo>
                  <a:cubicBezTo>
                    <a:pt x="756" y="1099"/>
                    <a:pt x="760" y="1096"/>
                    <a:pt x="760" y="1093"/>
                  </a:cubicBezTo>
                  <a:cubicBezTo>
                    <a:pt x="760" y="1090"/>
                    <a:pt x="757" y="1086"/>
                    <a:pt x="754" y="1084"/>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58">
              <a:extLst>
                <a:ext uri="{FF2B5EF4-FFF2-40B4-BE49-F238E27FC236}">
                  <a16:creationId xmlns:a16="http://schemas.microsoft.com/office/drawing/2014/main" id="{50ADDF0D-7DED-4229-AB80-36F80A589ECC}"/>
                </a:ext>
              </a:extLst>
            </p:cNvPr>
            <p:cNvSpPr>
              <a:spLocks/>
            </p:cNvSpPr>
            <p:nvPr/>
          </p:nvSpPr>
          <p:spPr bwMode="auto">
            <a:xfrm>
              <a:off x="3697343" y="2832767"/>
              <a:ext cx="660004" cy="1016791"/>
            </a:xfrm>
            <a:custGeom>
              <a:avLst/>
              <a:gdLst>
                <a:gd name="T0" fmla="*/ 591 w 594"/>
                <a:gd name="T1" fmla="*/ 106 h 915"/>
                <a:gd name="T2" fmla="*/ 476 w 594"/>
                <a:gd name="T3" fmla="*/ 85 h 915"/>
                <a:gd name="T4" fmla="*/ 339 w 594"/>
                <a:gd name="T5" fmla="*/ 57 h 915"/>
                <a:gd name="T6" fmla="*/ 234 w 594"/>
                <a:gd name="T7" fmla="*/ 35 h 915"/>
                <a:gd name="T8" fmla="*/ 87 w 594"/>
                <a:gd name="T9" fmla="*/ 0 h 915"/>
                <a:gd name="T10" fmla="*/ 84 w 594"/>
                <a:gd name="T11" fmla="*/ 2 h 915"/>
                <a:gd name="T12" fmla="*/ 20 w 594"/>
                <a:gd name="T13" fmla="*/ 266 h 915"/>
                <a:gd name="T14" fmla="*/ 1 w 594"/>
                <a:gd name="T15" fmla="*/ 344 h 915"/>
                <a:gd name="T16" fmla="*/ 1 w 594"/>
                <a:gd name="T17" fmla="*/ 346 h 915"/>
                <a:gd name="T18" fmla="*/ 273 w 594"/>
                <a:gd name="T19" fmla="*/ 743 h 915"/>
                <a:gd name="T20" fmla="*/ 390 w 594"/>
                <a:gd name="T21" fmla="*/ 915 h 915"/>
                <a:gd name="T22" fmla="*/ 392 w 594"/>
                <a:gd name="T23" fmla="*/ 915 h 915"/>
                <a:gd name="T24" fmla="*/ 394 w 594"/>
                <a:gd name="T25" fmla="*/ 914 h 915"/>
                <a:gd name="T26" fmla="*/ 395 w 594"/>
                <a:gd name="T27" fmla="*/ 905 h 915"/>
                <a:gd name="T28" fmla="*/ 395 w 594"/>
                <a:gd name="T29" fmla="*/ 897 h 915"/>
                <a:gd name="T30" fmla="*/ 398 w 594"/>
                <a:gd name="T31" fmla="*/ 895 h 915"/>
                <a:gd name="T32" fmla="*/ 403 w 594"/>
                <a:gd name="T33" fmla="*/ 891 h 915"/>
                <a:gd name="T34" fmla="*/ 404 w 594"/>
                <a:gd name="T35" fmla="*/ 872 h 915"/>
                <a:gd name="T36" fmla="*/ 402 w 594"/>
                <a:gd name="T37" fmla="*/ 857 h 915"/>
                <a:gd name="T38" fmla="*/ 402 w 594"/>
                <a:gd name="T39" fmla="*/ 850 h 915"/>
                <a:gd name="T40" fmla="*/ 405 w 594"/>
                <a:gd name="T41" fmla="*/ 839 h 915"/>
                <a:gd name="T42" fmla="*/ 404 w 594"/>
                <a:gd name="T43" fmla="*/ 824 h 915"/>
                <a:gd name="T44" fmla="*/ 404 w 594"/>
                <a:gd name="T45" fmla="*/ 818 h 915"/>
                <a:gd name="T46" fmla="*/ 409 w 594"/>
                <a:gd name="T47" fmla="*/ 810 h 915"/>
                <a:gd name="T48" fmla="*/ 406 w 594"/>
                <a:gd name="T49" fmla="*/ 800 h 915"/>
                <a:gd name="T50" fmla="*/ 404 w 594"/>
                <a:gd name="T51" fmla="*/ 794 h 915"/>
                <a:gd name="T52" fmla="*/ 407 w 594"/>
                <a:gd name="T53" fmla="*/ 786 h 915"/>
                <a:gd name="T54" fmla="*/ 414 w 594"/>
                <a:gd name="T55" fmla="*/ 781 h 915"/>
                <a:gd name="T56" fmla="*/ 421 w 594"/>
                <a:gd name="T57" fmla="*/ 780 h 915"/>
                <a:gd name="T58" fmla="*/ 422 w 594"/>
                <a:gd name="T59" fmla="*/ 780 h 915"/>
                <a:gd name="T60" fmla="*/ 424 w 594"/>
                <a:gd name="T61" fmla="*/ 782 h 915"/>
                <a:gd name="T62" fmla="*/ 429 w 594"/>
                <a:gd name="T63" fmla="*/ 785 h 915"/>
                <a:gd name="T64" fmla="*/ 433 w 594"/>
                <a:gd name="T65" fmla="*/ 785 h 915"/>
                <a:gd name="T66" fmla="*/ 436 w 594"/>
                <a:gd name="T67" fmla="*/ 785 h 915"/>
                <a:gd name="T68" fmla="*/ 441 w 594"/>
                <a:gd name="T69" fmla="*/ 791 h 915"/>
                <a:gd name="T70" fmla="*/ 445 w 594"/>
                <a:gd name="T71" fmla="*/ 800 h 915"/>
                <a:gd name="T72" fmla="*/ 455 w 594"/>
                <a:gd name="T73" fmla="*/ 802 h 915"/>
                <a:gd name="T74" fmla="*/ 465 w 594"/>
                <a:gd name="T75" fmla="*/ 793 h 915"/>
                <a:gd name="T76" fmla="*/ 473 w 594"/>
                <a:gd name="T77" fmla="*/ 782 h 915"/>
                <a:gd name="T78" fmla="*/ 473 w 594"/>
                <a:gd name="T79" fmla="*/ 781 h 915"/>
                <a:gd name="T80" fmla="*/ 490 w 594"/>
                <a:gd name="T81" fmla="*/ 689 h 915"/>
                <a:gd name="T82" fmla="*/ 593 w 594"/>
                <a:gd name="T83" fmla="*/ 109 h 915"/>
                <a:gd name="T84" fmla="*/ 591 w 594"/>
                <a:gd name="T85" fmla="*/ 106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94" h="915">
                  <a:moveTo>
                    <a:pt x="591" y="106"/>
                  </a:moveTo>
                  <a:cubicBezTo>
                    <a:pt x="476" y="85"/>
                    <a:pt x="476" y="85"/>
                    <a:pt x="476" y="85"/>
                  </a:cubicBezTo>
                  <a:cubicBezTo>
                    <a:pt x="339" y="57"/>
                    <a:pt x="339" y="57"/>
                    <a:pt x="339" y="57"/>
                  </a:cubicBezTo>
                  <a:cubicBezTo>
                    <a:pt x="234" y="35"/>
                    <a:pt x="234" y="35"/>
                    <a:pt x="234" y="35"/>
                  </a:cubicBezTo>
                  <a:cubicBezTo>
                    <a:pt x="87" y="0"/>
                    <a:pt x="87" y="0"/>
                    <a:pt x="87" y="0"/>
                  </a:cubicBezTo>
                  <a:cubicBezTo>
                    <a:pt x="86" y="0"/>
                    <a:pt x="85" y="0"/>
                    <a:pt x="84" y="2"/>
                  </a:cubicBezTo>
                  <a:cubicBezTo>
                    <a:pt x="20" y="266"/>
                    <a:pt x="20" y="266"/>
                    <a:pt x="20" y="266"/>
                  </a:cubicBezTo>
                  <a:cubicBezTo>
                    <a:pt x="1" y="344"/>
                    <a:pt x="1" y="344"/>
                    <a:pt x="1" y="344"/>
                  </a:cubicBezTo>
                  <a:cubicBezTo>
                    <a:pt x="0" y="345"/>
                    <a:pt x="1" y="346"/>
                    <a:pt x="1" y="346"/>
                  </a:cubicBezTo>
                  <a:cubicBezTo>
                    <a:pt x="273" y="743"/>
                    <a:pt x="273" y="743"/>
                    <a:pt x="273" y="743"/>
                  </a:cubicBezTo>
                  <a:cubicBezTo>
                    <a:pt x="276" y="749"/>
                    <a:pt x="343" y="885"/>
                    <a:pt x="390" y="915"/>
                  </a:cubicBezTo>
                  <a:cubicBezTo>
                    <a:pt x="390" y="915"/>
                    <a:pt x="391" y="915"/>
                    <a:pt x="392" y="915"/>
                  </a:cubicBezTo>
                  <a:cubicBezTo>
                    <a:pt x="392" y="915"/>
                    <a:pt x="394" y="915"/>
                    <a:pt x="394" y="914"/>
                  </a:cubicBezTo>
                  <a:cubicBezTo>
                    <a:pt x="395" y="913"/>
                    <a:pt x="395" y="910"/>
                    <a:pt x="395" y="905"/>
                  </a:cubicBezTo>
                  <a:cubicBezTo>
                    <a:pt x="395" y="903"/>
                    <a:pt x="394" y="898"/>
                    <a:pt x="395" y="897"/>
                  </a:cubicBezTo>
                  <a:cubicBezTo>
                    <a:pt x="395" y="897"/>
                    <a:pt x="397" y="895"/>
                    <a:pt x="398" y="895"/>
                  </a:cubicBezTo>
                  <a:cubicBezTo>
                    <a:pt x="400" y="893"/>
                    <a:pt x="402" y="892"/>
                    <a:pt x="403" y="891"/>
                  </a:cubicBezTo>
                  <a:cubicBezTo>
                    <a:pt x="405" y="887"/>
                    <a:pt x="405" y="874"/>
                    <a:pt x="404" y="872"/>
                  </a:cubicBezTo>
                  <a:cubicBezTo>
                    <a:pt x="402" y="857"/>
                    <a:pt x="402" y="857"/>
                    <a:pt x="402" y="857"/>
                  </a:cubicBezTo>
                  <a:cubicBezTo>
                    <a:pt x="402" y="850"/>
                    <a:pt x="402" y="850"/>
                    <a:pt x="402" y="850"/>
                  </a:cubicBezTo>
                  <a:cubicBezTo>
                    <a:pt x="402" y="849"/>
                    <a:pt x="405" y="842"/>
                    <a:pt x="405" y="839"/>
                  </a:cubicBezTo>
                  <a:cubicBezTo>
                    <a:pt x="405" y="835"/>
                    <a:pt x="404" y="826"/>
                    <a:pt x="404" y="824"/>
                  </a:cubicBezTo>
                  <a:cubicBezTo>
                    <a:pt x="404" y="818"/>
                    <a:pt x="404" y="818"/>
                    <a:pt x="404" y="818"/>
                  </a:cubicBezTo>
                  <a:cubicBezTo>
                    <a:pt x="406" y="816"/>
                    <a:pt x="408" y="812"/>
                    <a:pt x="409" y="810"/>
                  </a:cubicBezTo>
                  <a:cubicBezTo>
                    <a:pt x="409" y="807"/>
                    <a:pt x="408" y="804"/>
                    <a:pt x="406" y="800"/>
                  </a:cubicBezTo>
                  <a:cubicBezTo>
                    <a:pt x="405" y="798"/>
                    <a:pt x="404" y="796"/>
                    <a:pt x="404" y="794"/>
                  </a:cubicBezTo>
                  <a:cubicBezTo>
                    <a:pt x="404" y="792"/>
                    <a:pt x="405" y="788"/>
                    <a:pt x="407" y="786"/>
                  </a:cubicBezTo>
                  <a:cubicBezTo>
                    <a:pt x="408" y="785"/>
                    <a:pt x="412" y="782"/>
                    <a:pt x="414" y="781"/>
                  </a:cubicBezTo>
                  <a:cubicBezTo>
                    <a:pt x="416" y="781"/>
                    <a:pt x="419" y="780"/>
                    <a:pt x="421" y="780"/>
                  </a:cubicBezTo>
                  <a:cubicBezTo>
                    <a:pt x="421" y="780"/>
                    <a:pt x="421" y="780"/>
                    <a:pt x="422" y="780"/>
                  </a:cubicBezTo>
                  <a:cubicBezTo>
                    <a:pt x="422" y="780"/>
                    <a:pt x="423" y="781"/>
                    <a:pt x="424" y="782"/>
                  </a:cubicBezTo>
                  <a:cubicBezTo>
                    <a:pt x="426" y="783"/>
                    <a:pt x="427" y="785"/>
                    <a:pt x="429" y="785"/>
                  </a:cubicBezTo>
                  <a:cubicBezTo>
                    <a:pt x="430" y="785"/>
                    <a:pt x="432" y="785"/>
                    <a:pt x="433" y="785"/>
                  </a:cubicBezTo>
                  <a:cubicBezTo>
                    <a:pt x="435" y="785"/>
                    <a:pt x="436" y="785"/>
                    <a:pt x="436" y="785"/>
                  </a:cubicBezTo>
                  <a:cubicBezTo>
                    <a:pt x="437" y="785"/>
                    <a:pt x="439" y="788"/>
                    <a:pt x="441" y="791"/>
                  </a:cubicBezTo>
                  <a:cubicBezTo>
                    <a:pt x="442" y="794"/>
                    <a:pt x="443" y="799"/>
                    <a:pt x="445" y="800"/>
                  </a:cubicBezTo>
                  <a:cubicBezTo>
                    <a:pt x="447" y="803"/>
                    <a:pt x="453" y="803"/>
                    <a:pt x="455" y="802"/>
                  </a:cubicBezTo>
                  <a:cubicBezTo>
                    <a:pt x="459" y="801"/>
                    <a:pt x="464" y="795"/>
                    <a:pt x="465" y="793"/>
                  </a:cubicBezTo>
                  <a:cubicBezTo>
                    <a:pt x="473" y="782"/>
                    <a:pt x="473" y="782"/>
                    <a:pt x="473" y="782"/>
                  </a:cubicBezTo>
                  <a:cubicBezTo>
                    <a:pt x="473" y="782"/>
                    <a:pt x="473" y="781"/>
                    <a:pt x="473" y="781"/>
                  </a:cubicBezTo>
                  <a:cubicBezTo>
                    <a:pt x="490" y="689"/>
                    <a:pt x="490" y="689"/>
                    <a:pt x="490" y="689"/>
                  </a:cubicBezTo>
                  <a:cubicBezTo>
                    <a:pt x="593" y="109"/>
                    <a:pt x="593" y="109"/>
                    <a:pt x="593" y="109"/>
                  </a:cubicBezTo>
                  <a:cubicBezTo>
                    <a:pt x="594" y="107"/>
                    <a:pt x="593" y="106"/>
                    <a:pt x="591" y="106"/>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59">
              <a:extLst>
                <a:ext uri="{FF2B5EF4-FFF2-40B4-BE49-F238E27FC236}">
                  <a16:creationId xmlns:a16="http://schemas.microsoft.com/office/drawing/2014/main" id="{5011C1D5-8A9F-4466-9D58-539F87FFFF51}"/>
                </a:ext>
              </a:extLst>
            </p:cNvPr>
            <p:cNvSpPr>
              <a:spLocks/>
            </p:cNvSpPr>
            <p:nvPr/>
          </p:nvSpPr>
          <p:spPr bwMode="auto">
            <a:xfrm>
              <a:off x="7709927" y="3163274"/>
              <a:ext cx="474031" cy="233478"/>
            </a:xfrm>
            <a:custGeom>
              <a:avLst/>
              <a:gdLst>
                <a:gd name="T0" fmla="*/ 420 w 426"/>
                <a:gd name="T1" fmla="*/ 139 h 210"/>
                <a:gd name="T2" fmla="*/ 364 w 426"/>
                <a:gd name="T3" fmla="*/ 138 h 210"/>
                <a:gd name="T4" fmla="*/ 5 w 426"/>
                <a:gd name="T5" fmla="*/ 65 h 210"/>
                <a:gd name="T6" fmla="*/ 10 w 426"/>
                <a:gd name="T7" fmla="*/ 129 h 210"/>
                <a:gd name="T8" fmla="*/ 30 w 426"/>
                <a:gd name="T9" fmla="*/ 112 h 210"/>
                <a:gd name="T10" fmla="*/ 42 w 426"/>
                <a:gd name="T11" fmla="*/ 94 h 210"/>
                <a:gd name="T12" fmla="*/ 67 w 426"/>
                <a:gd name="T13" fmla="*/ 72 h 210"/>
                <a:gd name="T14" fmla="*/ 85 w 426"/>
                <a:gd name="T15" fmla="*/ 79 h 210"/>
                <a:gd name="T16" fmla="*/ 103 w 426"/>
                <a:gd name="T17" fmla="*/ 68 h 210"/>
                <a:gd name="T18" fmla="*/ 119 w 426"/>
                <a:gd name="T19" fmla="*/ 57 h 210"/>
                <a:gd name="T20" fmla="*/ 147 w 426"/>
                <a:gd name="T21" fmla="*/ 58 h 210"/>
                <a:gd name="T22" fmla="*/ 153 w 426"/>
                <a:gd name="T23" fmla="*/ 69 h 210"/>
                <a:gd name="T24" fmla="*/ 162 w 426"/>
                <a:gd name="T25" fmla="*/ 86 h 210"/>
                <a:gd name="T26" fmla="*/ 187 w 426"/>
                <a:gd name="T27" fmla="*/ 99 h 210"/>
                <a:gd name="T28" fmla="*/ 214 w 426"/>
                <a:gd name="T29" fmla="*/ 114 h 210"/>
                <a:gd name="T30" fmla="*/ 233 w 426"/>
                <a:gd name="T31" fmla="*/ 117 h 210"/>
                <a:gd name="T32" fmla="*/ 238 w 426"/>
                <a:gd name="T33" fmla="*/ 130 h 210"/>
                <a:gd name="T34" fmla="*/ 233 w 426"/>
                <a:gd name="T35" fmla="*/ 151 h 210"/>
                <a:gd name="T36" fmla="*/ 226 w 426"/>
                <a:gd name="T37" fmla="*/ 180 h 210"/>
                <a:gd name="T38" fmla="*/ 243 w 426"/>
                <a:gd name="T39" fmla="*/ 174 h 210"/>
                <a:gd name="T40" fmla="*/ 265 w 426"/>
                <a:gd name="T41" fmla="*/ 193 h 210"/>
                <a:gd name="T42" fmla="*/ 286 w 426"/>
                <a:gd name="T43" fmla="*/ 191 h 210"/>
                <a:gd name="T44" fmla="*/ 302 w 426"/>
                <a:gd name="T45" fmla="*/ 197 h 210"/>
                <a:gd name="T46" fmla="*/ 317 w 426"/>
                <a:gd name="T47" fmla="*/ 205 h 210"/>
                <a:gd name="T48" fmla="*/ 294 w 426"/>
                <a:gd name="T49" fmla="*/ 178 h 210"/>
                <a:gd name="T50" fmla="*/ 271 w 426"/>
                <a:gd name="T51" fmla="*/ 149 h 210"/>
                <a:gd name="T52" fmla="*/ 293 w 426"/>
                <a:gd name="T53" fmla="*/ 171 h 210"/>
                <a:gd name="T54" fmla="*/ 309 w 426"/>
                <a:gd name="T55" fmla="*/ 167 h 210"/>
                <a:gd name="T56" fmla="*/ 288 w 426"/>
                <a:gd name="T57" fmla="*/ 133 h 210"/>
                <a:gd name="T58" fmla="*/ 285 w 426"/>
                <a:gd name="T59" fmla="*/ 115 h 210"/>
                <a:gd name="T60" fmla="*/ 285 w 426"/>
                <a:gd name="T61" fmla="*/ 92 h 210"/>
                <a:gd name="T62" fmla="*/ 272 w 426"/>
                <a:gd name="T63" fmla="*/ 73 h 210"/>
                <a:gd name="T64" fmla="*/ 286 w 426"/>
                <a:gd name="T65" fmla="*/ 72 h 210"/>
                <a:gd name="T66" fmla="*/ 284 w 426"/>
                <a:gd name="T67" fmla="*/ 52 h 210"/>
                <a:gd name="T68" fmla="*/ 294 w 426"/>
                <a:gd name="T69" fmla="*/ 51 h 210"/>
                <a:gd name="T70" fmla="*/ 305 w 426"/>
                <a:gd name="T71" fmla="*/ 29 h 210"/>
                <a:gd name="T72" fmla="*/ 320 w 426"/>
                <a:gd name="T73" fmla="*/ 27 h 210"/>
                <a:gd name="T74" fmla="*/ 322 w 426"/>
                <a:gd name="T75" fmla="*/ 40 h 210"/>
                <a:gd name="T76" fmla="*/ 296 w 426"/>
                <a:gd name="T77" fmla="*/ 79 h 210"/>
                <a:gd name="T78" fmla="*/ 308 w 426"/>
                <a:gd name="T79" fmla="*/ 90 h 210"/>
                <a:gd name="T80" fmla="*/ 296 w 426"/>
                <a:gd name="T81" fmla="*/ 115 h 210"/>
                <a:gd name="T82" fmla="*/ 306 w 426"/>
                <a:gd name="T83" fmla="*/ 106 h 210"/>
                <a:gd name="T84" fmla="*/ 311 w 426"/>
                <a:gd name="T85" fmla="*/ 112 h 210"/>
                <a:gd name="T86" fmla="*/ 308 w 426"/>
                <a:gd name="T87" fmla="*/ 133 h 210"/>
                <a:gd name="T88" fmla="*/ 318 w 426"/>
                <a:gd name="T89" fmla="*/ 133 h 210"/>
                <a:gd name="T90" fmla="*/ 313 w 426"/>
                <a:gd name="T91" fmla="*/ 159 h 210"/>
                <a:gd name="T92" fmla="*/ 325 w 426"/>
                <a:gd name="T93" fmla="*/ 170 h 210"/>
                <a:gd name="T94" fmla="*/ 338 w 426"/>
                <a:gd name="T95" fmla="*/ 177 h 210"/>
                <a:gd name="T96" fmla="*/ 351 w 426"/>
                <a:gd name="T97" fmla="*/ 165 h 210"/>
                <a:gd name="T98" fmla="*/ 353 w 426"/>
                <a:gd name="T99" fmla="*/ 192 h 210"/>
                <a:gd name="T100" fmla="*/ 365 w 426"/>
                <a:gd name="T101" fmla="*/ 193 h 210"/>
                <a:gd name="T102" fmla="*/ 377 w 426"/>
                <a:gd name="T103" fmla="*/ 205 h 210"/>
                <a:gd name="T104" fmla="*/ 397 w 426"/>
                <a:gd name="T105" fmla="*/ 195 h 210"/>
                <a:gd name="T106" fmla="*/ 413 w 426"/>
                <a:gd name="T107" fmla="*/ 17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6" h="210">
                  <a:moveTo>
                    <a:pt x="424" y="146"/>
                  </a:moveTo>
                  <a:cubicBezTo>
                    <a:pt x="424" y="144"/>
                    <a:pt x="422" y="143"/>
                    <a:pt x="420" y="142"/>
                  </a:cubicBezTo>
                  <a:cubicBezTo>
                    <a:pt x="419" y="141"/>
                    <a:pt x="418" y="141"/>
                    <a:pt x="418" y="141"/>
                  </a:cubicBezTo>
                  <a:cubicBezTo>
                    <a:pt x="418" y="140"/>
                    <a:pt x="419" y="140"/>
                    <a:pt x="419" y="140"/>
                  </a:cubicBezTo>
                  <a:cubicBezTo>
                    <a:pt x="420" y="139"/>
                    <a:pt x="420" y="139"/>
                    <a:pt x="420" y="139"/>
                  </a:cubicBezTo>
                  <a:cubicBezTo>
                    <a:pt x="422" y="136"/>
                    <a:pt x="422" y="136"/>
                    <a:pt x="422" y="136"/>
                  </a:cubicBezTo>
                  <a:cubicBezTo>
                    <a:pt x="422" y="135"/>
                    <a:pt x="422" y="134"/>
                    <a:pt x="422" y="133"/>
                  </a:cubicBezTo>
                  <a:cubicBezTo>
                    <a:pt x="421" y="132"/>
                    <a:pt x="420" y="132"/>
                    <a:pt x="419" y="132"/>
                  </a:cubicBezTo>
                  <a:cubicBezTo>
                    <a:pt x="368" y="144"/>
                    <a:pt x="368" y="144"/>
                    <a:pt x="368" y="144"/>
                  </a:cubicBezTo>
                  <a:cubicBezTo>
                    <a:pt x="364" y="138"/>
                    <a:pt x="364" y="138"/>
                    <a:pt x="364" y="138"/>
                  </a:cubicBezTo>
                  <a:cubicBezTo>
                    <a:pt x="352" y="87"/>
                    <a:pt x="352" y="87"/>
                    <a:pt x="352" y="87"/>
                  </a:cubicBezTo>
                  <a:cubicBezTo>
                    <a:pt x="328" y="2"/>
                    <a:pt x="328" y="2"/>
                    <a:pt x="328" y="2"/>
                  </a:cubicBezTo>
                  <a:cubicBezTo>
                    <a:pt x="327" y="1"/>
                    <a:pt x="326" y="0"/>
                    <a:pt x="325" y="0"/>
                  </a:cubicBezTo>
                  <a:cubicBezTo>
                    <a:pt x="153" y="37"/>
                    <a:pt x="153" y="37"/>
                    <a:pt x="153" y="37"/>
                  </a:cubicBezTo>
                  <a:cubicBezTo>
                    <a:pt x="5" y="65"/>
                    <a:pt x="5" y="65"/>
                    <a:pt x="5" y="65"/>
                  </a:cubicBezTo>
                  <a:cubicBezTo>
                    <a:pt x="2" y="65"/>
                    <a:pt x="2" y="65"/>
                    <a:pt x="2" y="65"/>
                  </a:cubicBezTo>
                  <a:cubicBezTo>
                    <a:pt x="2" y="65"/>
                    <a:pt x="1" y="65"/>
                    <a:pt x="1" y="66"/>
                  </a:cubicBezTo>
                  <a:cubicBezTo>
                    <a:pt x="0" y="66"/>
                    <a:pt x="0" y="67"/>
                    <a:pt x="0" y="68"/>
                  </a:cubicBezTo>
                  <a:cubicBezTo>
                    <a:pt x="0" y="68"/>
                    <a:pt x="0" y="70"/>
                    <a:pt x="0" y="71"/>
                  </a:cubicBezTo>
                  <a:cubicBezTo>
                    <a:pt x="1" y="86"/>
                    <a:pt x="9" y="127"/>
                    <a:pt x="10" y="129"/>
                  </a:cubicBezTo>
                  <a:cubicBezTo>
                    <a:pt x="10" y="130"/>
                    <a:pt x="11" y="131"/>
                    <a:pt x="12" y="131"/>
                  </a:cubicBezTo>
                  <a:cubicBezTo>
                    <a:pt x="13" y="131"/>
                    <a:pt x="14" y="131"/>
                    <a:pt x="14" y="130"/>
                  </a:cubicBezTo>
                  <a:cubicBezTo>
                    <a:pt x="20" y="123"/>
                    <a:pt x="20" y="123"/>
                    <a:pt x="20" y="123"/>
                  </a:cubicBezTo>
                  <a:cubicBezTo>
                    <a:pt x="21" y="122"/>
                    <a:pt x="26" y="118"/>
                    <a:pt x="28" y="116"/>
                  </a:cubicBezTo>
                  <a:cubicBezTo>
                    <a:pt x="29" y="115"/>
                    <a:pt x="30" y="113"/>
                    <a:pt x="30" y="112"/>
                  </a:cubicBezTo>
                  <a:cubicBezTo>
                    <a:pt x="31" y="110"/>
                    <a:pt x="32" y="109"/>
                    <a:pt x="32" y="109"/>
                  </a:cubicBezTo>
                  <a:cubicBezTo>
                    <a:pt x="33" y="108"/>
                    <a:pt x="34" y="107"/>
                    <a:pt x="35" y="105"/>
                  </a:cubicBezTo>
                  <a:cubicBezTo>
                    <a:pt x="37" y="104"/>
                    <a:pt x="39" y="102"/>
                    <a:pt x="40" y="100"/>
                  </a:cubicBezTo>
                  <a:cubicBezTo>
                    <a:pt x="40" y="99"/>
                    <a:pt x="41" y="98"/>
                    <a:pt x="41" y="97"/>
                  </a:cubicBezTo>
                  <a:cubicBezTo>
                    <a:pt x="41" y="96"/>
                    <a:pt x="42" y="94"/>
                    <a:pt x="42" y="94"/>
                  </a:cubicBezTo>
                  <a:cubicBezTo>
                    <a:pt x="43" y="93"/>
                    <a:pt x="46" y="92"/>
                    <a:pt x="47" y="92"/>
                  </a:cubicBezTo>
                  <a:cubicBezTo>
                    <a:pt x="47" y="92"/>
                    <a:pt x="48" y="92"/>
                    <a:pt x="49" y="92"/>
                  </a:cubicBezTo>
                  <a:cubicBezTo>
                    <a:pt x="51" y="93"/>
                    <a:pt x="53" y="93"/>
                    <a:pt x="55" y="93"/>
                  </a:cubicBezTo>
                  <a:cubicBezTo>
                    <a:pt x="60" y="91"/>
                    <a:pt x="65" y="81"/>
                    <a:pt x="67" y="76"/>
                  </a:cubicBezTo>
                  <a:cubicBezTo>
                    <a:pt x="67" y="75"/>
                    <a:pt x="67" y="74"/>
                    <a:pt x="67" y="72"/>
                  </a:cubicBezTo>
                  <a:cubicBezTo>
                    <a:pt x="67" y="72"/>
                    <a:pt x="67" y="70"/>
                    <a:pt x="66" y="70"/>
                  </a:cubicBezTo>
                  <a:cubicBezTo>
                    <a:pt x="67" y="70"/>
                    <a:pt x="69" y="72"/>
                    <a:pt x="70" y="73"/>
                  </a:cubicBezTo>
                  <a:cubicBezTo>
                    <a:pt x="71" y="75"/>
                    <a:pt x="72" y="76"/>
                    <a:pt x="74" y="77"/>
                  </a:cubicBezTo>
                  <a:cubicBezTo>
                    <a:pt x="76" y="78"/>
                    <a:pt x="80" y="78"/>
                    <a:pt x="82" y="79"/>
                  </a:cubicBezTo>
                  <a:cubicBezTo>
                    <a:pt x="82" y="79"/>
                    <a:pt x="83" y="79"/>
                    <a:pt x="85" y="79"/>
                  </a:cubicBezTo>
                  <a:cubicBezTo>
                    <a:pt x="92" y="79"/>
                    <a:pt x="94" y="77"/>
                    <a:pt x="95" y="76"/>
                  </a:cubicBezTo>
                  <a:cubicBezTo>
                    <a:pt x="97" y="75"/>
                    <a:pt x="97" y="73"/>
                    <a:pt x="97" y="71"/>
                  </a:cubicBezTo>
                  <a:cubicBezTo>
                    <a:pt x="97" y="70"/>
                    <a:pt x="97" y="69"/>
                    <a:pt x="97" y="69"/>
                  </a:cubicBezTo>
                  <a:cubicBezTo>
                    <a:pt x="97" y="69"/>
                    <a:pt x="98" y="68"/>
                    <a:pt x="99" y="68"/>
                  </a:cubicBezTo>
                  <a:cubicBezTo>
                    <a:pt x="100" y="68"/>
                    <a:pt x="101" y="68"/>
                    <a:pt x="103" y="68"/>
                  </a:cubicBezTo>
                  <a:cubicBezTo>
                    <a:pt x="104" y="68"/>
                    <a:pt x="104" y="68"/>
                    <a:pt x="105" y="68"/>
                  </a:cubicBezTo>
                  <a:cubicBezTo>
                    <a:pt x="107" y="68"/>
                    <a:pt x="110" y="68"/>
                    <a:pt x="111" y="68"/>
                  </a:cubicBezTo>
                  <a:cubicBezTo>
                    <a:pt x="113" y="66"/>
                    <a:pt x="113" y="64"/>
                    <a:pt x="114" y="62"/>
                  </a:cubicBezTo>
                  <a:cubicBezTo>
                    <a:pt x="114" y="61"/>
                    <a:pt x="115" y="59"/>
                    <a:pt x="115" y="59"/>
                  </a:cubicBezTo>
                  <a:cubicBezTo>
                    <a:pt x="116" y="58"/>
                    <a:pt x="118" y="57"/>
                    <a:pt x="119" y="57"/>
                  </a:cubicBezTo>
                  <a:cubicBezTo>
                    <a:pt x="120" y="57"/>
                    <a:pt x="123" y="58"/>
                    <a:pt x="125" y="59"/>
                  </a:cubicBezTo>
                  <a:cubicBezTo>
                    <a:pt x="127" y="61"/>
                    <a:pt x="131" y="64"/>
                    <a:pt x="133" y="65"/>
                  </a:cubicBezTo>
                  <a:cubicBezTo>
                    <a:pt x="134" y="65"/>
                    <a:pt x="134" y="65"/>
                    <a:pt x="135" y="65"/>
                  </a:cubicBezTo>
                  <a:cubicBezTo>
                    <a:pt x="137" y="65"/>
                    <a:pt x="140" y="63"/>
                    <a:pt x="143" y="61"/>
                  </a:cubicBezTo>
                  <a:cubicBezTo>
                    <a:pt x="144" y="60"/>
                    <a:pt x="145" y="59"/>
                    <a:pt x="147" y="58"/>
                  </a:cubicBezTo>
                  <a:cubicBezTo>
                    <a:pt x="147" y="58"/>
                    <a:pt x="147" y="58"/>
                    <a:pt x="147" y="59"/>
                  </a:cubicBezTo>
                  <a:cubicBezTo>
                    <a:pt x="146" y="61"/>
                    <a:pt x="144" y="63"/>
                    <a:pt x="146" y="65"/>
                  </a:cubicBezTo>
                  <a:cubicBezTo>
                    <a:pt x="147" y="67"/>
                    <a:pt x="149" y="67"/>
                    <a:pt x="151" y="67"/>
                  </a:cubicBezTo>
                  <a:cubicBezTo>
                    <a:pt x="152" y="67"/>
                    <a:pt x="153" y="67"/>
                    <a:pt x="153" y="67"/>
                  </a:cubicBezTo>
                  <a:cubicBezTo>
                    <a:pt x="153" y="68"/>
                    <a:pt x="153" y="69"/>
                    <a:pt x="153" y="69"/>
                  </a:cubicBezTo>
                  <a:cubicBezTo>
                    <a:pt x="153" y="71"/>
                    <a:pt x="153" y="73"/>
                    <a:pt x="153" y="74"/>
                  </a:cubicBezTo>
                  <a:cubicBezTo>
                    <a:pt x="154" y="76"/>
                    <a:pt x="156" y="77"/>
                    <a:pt x="158" y="79"/>
                  </a:cubicBezTo>
                  <a:cubicBezTo>
                    <a:pt x="159" y="79"/>
                    <a:pt x="160" y="80"/>
                    <a:pt x="160" y="81"/>
                  </a:cubicBezTo>
                  <a:cubicBezTo>
                    <a:pt x="160" y="81"/>
                    <a:pt x="160" y="82"/>
                    <a:pt x="160" y="82"/>
                  </a:cubicBezTo>
                  <a:cubicBezTo>
                    <a:pt x="161" y="83"/>
                    <a:pt x="161" y="85"/>
                    <a:pt x="162" y="86"/>
                  </a:cubicBezTo>
                  <a:cubicBezTo>
                    <a:pt x="164" y="88"/>
                    <a:pt x="169" y="87"/>
                    <a:pt x="173" y="87"/>
                  </a:cubicBezTo>
                  <a:cubicBezTo>
                    <a:pt x="175" y="87"/>
                    <a:pt x="178" y="86"/>
                    <a:pt x="179" y="86"/>
                  </a:cubicBezTo>
                  <a:cubicBezTo>
                    <a:pt x="180" y="87"/>
                    <a:pt x="184" y="89"/>
                    <a:pt x="185" y="91"/>
                  </a:cubicBezTo>
                  <a:cubicBezTo>
                    <a:pt x="186" y="92"/>
                    <a:pt x="188" y="95"/>
                    <a:pt x="188" y="97"/>
                  </a:cubicBezTo>
                  <a:cubicBezTo>
                    <a:pt x="188" y="97"/>
                    <a:pt x="187" y="98"/>
                    <a:pt x="187" y="99"/>
                  </a:cubicBezTo>
                  <a:cubicBezTo>
                    <a:pt x="187" y="101"/>
                    <a:pt x="186" y="103"/>
                    <a:pt x="187" y="104"/>
                  </a:cubicBezTo>
                  <a:cubicBezTo>
                    <a:pt x="188" y="108"/>
                    <a:pt x="194" y="110"/>
                    <a:pt x="196" y="111"/>
                  </a:cubicBezTo>
                  <a:cubicBezTo>
                    <a:pt x="198" y="111"/>
                    <a:pt x="200" y="111"/>
                    <a:pt x="203" y="111"/>
                  </a:cubicBezTo>
                  <a:cubicBezTo>
                    <a:pt x="204" y="110"/>
                    <a:pt x="205" y="110"/>
                    <a:pt x="207" y="110"/>
                  </a:cubicBezTo>
                  <a:cubicBezTo>
                    <a:pt x="207" y="110"/>
                    <a:pt x="209" y="111"/>
                    <a:pt x="214" y="114"/>
                  </a:cubicBezTo>
                  <a:cubicBezTo>
                    <a:pt x="214" y="114"/>
                    <a:pt x="215" y="115"/>
                    <a:pt x="216" y="115"/>
                  </a:cubicBezTo>
                  <a:cubicBezTo>
                    <a:pt x="217" y="116"/>
                    <a:pt x="218" y="117"/>
                    <a:pt x="220" y="118"/>
                  </a:cubicBezTo>
                  <a:cubicBezTo>
                    <a:pt x="221" y="119"/>
                    <a:pt x="224" y="120"/>
                    <a:pt x="227" y="120"/>
                  </a:cubicBezTo>
                  <a:cubicBezTo>
                    <a:pt x="227" y="120"/>
                    <a:pt x="227" y="120"/>
                    <a:pt x="227" y="120"/>
                  </a:cubicBezTo>
                  <a:cubicBezTo>
                    <a:pt x="229" y="119"/>
                    <a:pt x="231" y="118"/>
                    <a:pt x="233" y="117"/>
                  </a:cubicBezTo>
                  <a:cubicBezTo>
                    <a:pt x="234" y="116"/>
                    <a:pt x="236" y="115"/>
                    <a:pt x="236" y="115"/>
                  </a:cubicBezTo>
                  <a:cubicBezTo>
                    <a:pt x="238" y="115"/>
                    <a:pt x="242" y="117"/>
                    <a:pt x="243" y="119"/>
                  </a:cubicBezTo>
                  <a:cubicBezTo>
                    <a:pt x="243" y="119"/>
                    <a:pt x="243" y="122"/>
                    <a:pt x="242" y="123"/>
                  </a:cubicBezTo>
                  <a:cubicBezTo>
                    <a:pt x="242" y="124"/>
                    <a:pt x="241" y="125"/>
                    <a:pt x="241" y="126"/>
                  </a:cubicBezTo>
                  <a:cubicBezTo>
                    <a:pt x="239" y="127"/>
                    <a:pt x="238" y="129"/>
                    <a:pt x="238" y="130"/>
                  </a:cubicBezTo>
                  <a:cubicBezTo>
                    <a:pt x="237" y="132"/>
                    <a:pt x="238" y="134"/>
                    <a:pt x="238" y="136"/>
                  </a:cubicBezTo>
                  <a:cubicBezTo>
                    <a:pt x="239" y="137"/>
                    <a:pt x="239" y="139"/>
                    <a:pt x="239" y="140"/>
                  </a:cubicBezTo>
                  <a:cubicBezTo>
                    <a:pt x="239" y="140"/>
                    <a:pt x="238" y="142"/>
                    <a:pt x="237" y="142"/>
                  </a:cubicBezTo>
                  <a:cubicBezTo>
                    <a:pt x="235" y="144"/>
                    <a:pt x="234" y="145"/>
                    <a:pt x="233" y="147"/>
                  </a:cubicBezTo>
                  <a:cubicBezTo>
                    <a:pt x="233" y="148"/>
                    <a:pt x="233" y="149"/>
                    <a:pt x="233" y="151"/>
                  </a:cubicBezTo>
                  <a:cubicBezTo>
                    <a:pt x="233" y="152"/>
                    <a:pt x="233" y="153"/>
                    <a:pt x="233" y="154"/>
                  </a:cubicBezTo>
                  <a:cubicBezTo>
                    <a:pt x="232" y="155"/>
                    <a:pt x="230" y="158"/>
                    <a:pt x="229" y="160"/>
                  </a:cubicBezTo>
                  <a:cubicBezTo>
                    <a:pt x="228" y="161"/>
                    <a:pt x="227" y="161"/>
                    <a:pt x="227" y="162"/>
                  </a:cubicBezTo>
                  <a:cubicBezTo>
                    <a:pt x="225" y="164"/>
                    <a:pt x="224" y="168"/>
                    <a:pt x="224" y="170"/>
                  </a:cubicBezTo>
                  <a:cubicBezTo>
                    <a:pt x="224" y="173"/>
                    <a:pt x="224" y="177"/>
                    <a:pt x="226" y="180"/>
                  </a:cubicBezTo>
                  <a:cubicBezTo>
                    <a:pt x="229" y="186"/>
                    <a:pt x="231" y="188"/>
                    <a:pt x="234" y="188"/>
                  </a:cubicBezTo>
                  <a:cubicBezTo>
                    <a:pt x="234" y="188"/>
                    <a:pt x="234" y="188"/>
                    <a:pt x="234" y="188"/>
                  </a:cubicBezTo>
                  <a:cubicBezTo>
                    <a:pt x="237" y="188"/>
                    <a:pt x="240" y="185"/>
                    <a:pt x="242" y="179"/>
                  </a:cubicBezTo>
                  <a:cubicBezTo>
                    <a:pt x="243" y="178"/>
                    <a:pt x="243" y="177"/>
                    <a:pt x="243" y="176"/>
                  </a:cubicBezTo>
                  <a:cubicBezTo>
                    <a:pt x="243" y="175"/>
                    <a:pt x="243" y="174"/>
                    <a:pt x="243" y="174"/>
                  </a:cubicBezTo>
                  <a:cubicBezTo>
                    <a:pt x="243" y="174"/>
                    <a:pt x="246" y="172"/>
                    <a:pt x="247" y="172"/>
                  </a:cubicBezTo>
                  <a:cubicBezTo>
                    <a:pt x="248" y="173"/>
                    <a:pt x="249" y="176"/>
                    <a:pt x="250" y="179"/>
                  </a:cubicBezTo>
                  <a:cubicBezTo>
                    <a:pt x="250" y="179"/>
                    <a:pt x="250" y="179"/>
                    <a:pt x="250" y="179"/>
                  </a:cubicBezTo>
                  <a:cubicBezTo>
                    <a:pt x="256" y="187"/>
                    <a:pt x="256" y="187"/>
                    <a:pt x="256" y="187"/>
                  </a:cubicBezTo>
                  <a:cubicBezTo>
                    <a:pt x="258" y="189"/>
                    <a:pt x="262" y="193"/>
                    <a:pt x="265" y="193"/>
                  </a:cubicBezTo>
                  <a:cubicBezTo>
                    <a:pt x="266" y="193"/>
                    <a:pt x="267" y="192"/>
                    <a:pt x="267" y="192"/>
                  </a:cubicBezTo>
                  <a:cubicBezTo>
                    <a:pt x="268" y="192"/>
                    <a:pt x="269" y="191"/>
                    <a:pt x="269" y="188"/>
                  </a:cubicBezTo>
                  <a:cubicBezTo>
                    <a:pt x="271" y="191"/>
                    <a:pt x="274" y="195"/>
                    <a:pt x="277" y="195"/>
                  </a:cubicBezTo>
                  <a:cubicBezTo>
                    <a:pt x="279" y="196"/>
                    <a:pt x="282" y="194"/>
                    <a:pt x="284" y="192"/>
                  </a:cubicBezTo>
                  <a:cubicBezTo>
                    <a:pt x="284" y="192"/>
                    <a:pt x="285" y="191"/>
                    <a:pt x="286" y="191"/>
                  </a:cubicBezTo>
                  <a:cubicBezTo>
                    <a:pt x="286" y="190"/>
                    <a:pt x="287" y="190"/>
                    <a:pt x="287" y="190"/>
                  </a:cubicBezTo>
                  <a:cubicBezTo>
                    <a:pt x="289" y="190"/>
                    <a:pt x="291" y="191"/>
                    <a:pt x="292" y="191"/>
                  </a:cubicBezTo>
                  <a:cubicBezTo>
                    <a:pt x="292" y="191"/>
                    <a:pt x="293" y="193"/>
                    <a:pt x="293" y="194"/>
                  </a:cubicBezTo>
                  <a:cubicBezTo>
                    <a:pt x="295" y="196"/>
                    <a:pt x="296" y="198"/>
                    <a:pt x="299" y="198"/>
                  </a:cubicBezTo>
                  <a:cubicBezTo>
                    <a:pt x="301" y="198"/>
                    <a:pt x="302" y="198"/>
                    <a:pt x="302" y="197"/>
                  </a:cubicBezTo>
                  <a:cubicBezTo>
                    <a:pt x="302" y="197"/>
                    <a:pt x="303" y="197"/>
                    <a:pt x="303" y="197"/>
                  </a:cubicBezTo>
                  <a:cubicBezTo>
                    <a:pt x="305" y="197"/>
                    <a:pt x="307" y="197"/>
                    <a:pt x="308" y="198"/>
                  </a:cubicBezTo>
                  <a:cubicBezTo>
                    <a:pt x="309" y="198"/>
                    <a:pt x="310" y="199"/>
                    <a:pt x="310" y="200"/>
                  </a:cubicBezTo>
                  <a:cubicBezTo>
                    <a:pt x="312" y="203"/>
                    <a:pt x="314" y="206"/>
                    <a:pt x="316" y="206"/>
                  </a:cubicBezTo>
                  <a:cubicBezTo>
                    <a:pt x="316" y="206"/>
                    <a:pt x="317" y="205"/>
                    <a:pt x="317" y="205"/>
                  </a:cubicBezTo>
                  <a:cubicBezTo>
                    <a:pt x="321" y="204"/>
                    <a:pt x="321" y="198"/>
                    <a:pt x="321" y="196"/>
                  </a:cubicBezTo>
                  <a:cubicBezTo>
                    <a:pt x="321" y="191"/>
                    <a:pt x="315" y="183"/>
                    <a:pt x="311" y="180"/>
                  </a:cubicBezTo>
                  <a:cubicBezTo>
                    <a:pt x="309" y="179"/>
                    <a:pt x="306" y="179"/>
                    <a:pt x="303" y="180"/>
                  </a:cubicBezTo>
                  <a:cubicBezTo>
                    <a:pt x="301" y="181"/>
                    <a:pt x="299" y="181"/>
                    <a:pt x="298" y="181"/>
                  </a:cubicBezTo>
                  <a:cubicBezTo>
                    <a:pt x="297" y="180"/>
                    <a:pt x="296" y="179"/>
                    <a:pt x="294" y="178"/>
                  </a:cubicBezTo>
                  <a:cubicBezTo>
                    <a:pt x="293" y="176"/>
                    <a:pt x="292" y="175"/>
                    <a:pt x="291" y="175"/>
                  </a:cubicBezTo>
                  <a:cubicBezTo>
                    <a:pt x="289" y="174"/>
                    <a:pt x="287" y="173"/>
                    <a:pt x="285" y="172"/>
                  </a:cubicBezTo>
                  <a:cubicBezTo>
                    <a:pt x="283" y="171"/>
                    <a:pt x="281" y="170"/>
                    <a:pt x="280" y="169"/>
                  </a:cubicBezTo>
                  <a:cubicBezTo>
                    <a:pt x="279" y="168"/>
                    <a:pt x="277" y="165"/>
                    <a:pt x="276" y="163"/>
                  </a:cubicBezTo>
                  <a:cubicBezTo>
                    <a:pt x="274" y="159"/>
                    <a:pt x="271" y="152"/>
                    <a:pt x="271" y="149"/>
                  </a:cubicBezTo>
                  <a:cubicBezTo>
                    <a:pt x="271" y="148"/>
                    <a:pt x="272" y="147"/>
                    <a:pt x="273" y="145"/>
                  </a:cubicBezTo>
                  <a:cubicBezTo>
                    <a:pt x="273" y="147"/>
                    <a:pt x="273" y="148"/>
                    <a:pt x="273" y="148"/>
                  </a:cubicBezTo>
                  <a:cubicBezTo>
                    <a:pt x="276" y="156"/>
                    <a:pt x="279" y="162"/>
                    <a:pt x="282" y="164"/>
                  </a:cubicBezTo>
                  <a:cubicBezTo>
                    <a:pt x="283" y="166"/>
                    <a:pt x="288" y="169"/>
                    <a:pt x="290" y="170"/>
                  </a:cubicBezTo>
                  <a:cubicBezTo>
                    <a:pt x="291" y="170"/>
                    <a:pt x="292" y="171"/>
                    <a:pt x="293" y="171"/>
                  </a:cubicBezTo>
                  <a:cubicBezTo>
                    <a:pt x="295" y="171"/>
                    <a:pt x="297" y="172"/>
                    <a:pt x="297" y="172"/>
                  </a:cubicBezTo>
                  <a:cubicBezTo>
                    <a:pt x="297" y="172"/>
                    <a:pt x="297" y="173"/>
                    <a:pt x="298" y="173"/>
                  </a:cubicBezTo>
                  <a:cubicBezTo>
                    <a:pt x="298" y="175"/>
                    <a:pt x="300" y="177"/>
                    <a:pt x="302" y="177"/>
                  </a:cubicBezTo>
                  <a:cubicBezTo>
                    <a:pt x="304" y="177"/>
                    <a:pt x="305" y="177"/>
                    <a:pt x="306" y="175"/>
                  </a:cubicBezTo>
                  <a:cubicBezTo>
                    <a:pt x="308" y="173"/>
                    <a:pt x="309" y="170"/>
                    <a:pt x="309" y="167"/>
                  </a:cubicBezTo>
                  <a:cubicBezTo>
                    <a:pt x="308" y="163"/>
                    <a:pt x="304" y="160"/>
                    <a:pt x="300" y="157"/>
                  </a:cubicBezTo>
                  <a:cubicBezTo>
                    <a:pt x="297" y="155"/>
                    <a:pt x="295" y="153"/>
                    <a:pt x="294" y="152"/>
                  </a:cubicBezTo>
                  <a:cubicBezTo>
                    <a:pt x="293" y="150"/>
                    <a:pt x="292" y="147"/>
                    <a:pt x="292" y="144"/>
                  </a:cubicBezTo>
                  <a:cubicBezTo>
                    <a:pt x="291" y="141"/>
                    <a:pt x="291" y="138"/>
                    <a:pt x="290" y="136"/>
                  </a:cubicBezTo>
                  <a:cubicBezTo>
                    <a:pt x="290" y="135"/>
                    <a:pt x="289" y="134"/>
                    <a:pt x="288" y="133"/>
                  </a:cubicBezTo>
                  <a:cubicBezTo>
                    <a:pt x="287" y="132"/>
                    <a:pt x="286" y="130"/>
                    <a:pt x="286" y="129"/>
                  </a:cubicBezTo>
                  <a:cubicBezTo>
                    <a:pt x="286" y="129"/>
                    <a:pt x="286" y="127"/>
                    <a:pt x="287" y="127"/>
                  </a:cubicBezTo>
                  <a:cubicBezTo>
                    <a:pt x="287" y="125"/>
                    <a:pt x="288" y="124"/>
                    <a:pt x="288" y="122"/>
                  </a:cubicBezTo>
                  <a:cubicBezTo>
                    <a:pt x="288" y="121"/>
                    <a:pt x="287" y="119"/>
                    <a:pt x="286" y="117"/>
                  </a:cubicBezTo>
                  <a:cubicBezTo>
                    <a:pt x="286" y="116"/>
                    <a:pt x="285" y="115"/>
                    <a:pt x="285" y="115"/>
                  </a:cubicBezTo>
                  <a:cubicBezTo>
                    <a:pt x="285" y="114"/>
                    <a:pt x="285" y="111"/>
                    <a:pt x="286" y="110"/>
                  </a:cubicBezTo>
                  <a:cubicBezTo>
                    <a:pt x="286" y="106"/>
                    <a:pt x="287" y="103"/>
                    <a:pt x="286" y="100"/>
                  </a:cubicBezTo>
                  <a:cubicBezTo>
                    <a:pt x="285" y="99"/>
                    <a:pt x="283" y="98"/>
                    <a:pt x="282" y="97"/>
                  </a:cubicBezTo>
                  <a:cubicBezTo>
                    <a:pt x="282" y="97"/>
                    <a:pt x="281" y="97"/>
                    <a:pt x="281" y="97"/>
                  </a:cubicBezTo>
                  <a:cubicBezTo>
                    <a:pt x="284" y="95"/>
                    <a:pt x="285" y="94"/>
                    <a:pt x="285" y="92"/>
                  </a:cubicBezTo>
                  <a:cubicBezTo>
                    <a:pt x="285" y="92"/>
                    <a:pt x="285" y="91"/>
                    <a:pt x="286" y="90"/>
                  </a:cubicBezTo>
                  <a:cubicBezTo>
                    <a:pt x="286" y="88"/>
                    <a:pt x="287" y="85"/>
                    <a:pt x="286" y="83"/>
                  </a:cubicBezTo>
                  <a:cubicBezTo>
                    <a:pt x="285" y="80"/>
                    <a:pt x="281" y="78"/>
                    <a:pt x="276" y="77"/>
                  </a:cubicBezTo>
                  <a:cubicBezTo>
                    <a:pt x="274" y="76"/>
                    <a:pt x="270" y="75"/>
                    <a:pt x="269" y="74"/>
                  </a:cubicBezTo>
                  <a:cubicBezTo>
                    <a:pt x="270" y="74"/>
                    <a:pt x="271" y="73"/>
                    <a:pt x="272" y="73"/>
                  </a:cubicBezTo>
                  <a:cubicBezTo>
                    <a:pt x="273" y="73"/>
                    <a:pt x="273" y="73"/>
                    <a:pt x="274" y="74"/>
                  </a:cubicBezTo>
                  <a:cubicBezTo>
                    <a:pt x="274" y="74"/>
                    <a:pt x="275" y="75"/>
                    <a:pt x="275" y="75"/>
                  </a:cubicBezTo>
                  <a:cubicBezTo>
                    <a:pt x="276" y="75"/>
                    <a:pt x="279" y="76"/>
                    <a:pt x="281" y="76"/>
                  </a:cubicBezTo>
                  <a:cubicBezTo>
                    <a:pt x="284" y="76"/>
                    <a:pt x="285" y="74"/>
                    <a:pt x="286" y="73"/>
                  </a:cubicBezTo>
                  <a:cubicBezTo>
                    <a:pt x="286" y="73"/>
                    <a:pt x="286" y="73"/>
                    <a:pt x="286" y="72"/>
                  </a:cubicBezTo>
                  <a:cubicBezTo>
                    <a:pt x="286" y="71"/>
                    <a:pt x="286" y="69"/>
                    <a:pt x="286" y="69"/>
                  </a:cubicBezTo>
                  <a:cubicBezTo>
                    <a:pt x="287" y="66"/>
                    <a:pt x="287" y="60"/>
                    <a:pt x="287" y="58"/>
                  </a:cubicBezTo>
                  <a:cubicBezTo>
                    <a:pt x="286" y="57"/>
                    <a:pt x="286" y="55"/>
                    <a:pt x="284" y="53"/>
                  </a:cubicBezTo>
                  <a:cubicBezTo>
                    <a:pt x="284" y="53"/>
                    <a:pt x="283" y="53"/>
                    <a:pt x="283" y="53"/>
                  </a:cubicBezTo>
                  <a:cubicBezTo>
                    <a:pt x="283" y="53"/>
                    <a:pt x="283" y="53"/>
                    <a:pt x="284" y="52"/>
                  </a:cubicBezTo>
                  <a:cubicBezTo>
                    <a:pt x="285" y="52"/>
                    <a:pt x="285" y="52"/>
                    <a:pt x="286" y="52"/>
                  </a:cubicBezTo>
                  <a:cubicBezTo>
                    <a:pt x="288" y="50"/>
                    <a:pt x="289" y="47"/>
                    <a:pt x="290" y="45"/>
                  </a:cubicBezTo>
                  <a:cubicBezTo>
                    <a:pt x="291" y="45"/>
                    <a:pt x="292" y="44"/>
                    <a:pt x="292" y="44"/>
                  </a:cubicBezTo>
                  <a:cubicBezTo>
                    <a:pt x="292" y="44"/>
                    <a:pt x="292" y="45"/>
                    <a:pt x="292" y="45"/>
                  </a:cubicBezTo>
                  <a:cubicBezTo>
                    <a:pt x="292" y="47"/>
                    <a:pt x="291" y="49"/>
                    <a:pt x="294" y="51"/>
                  </a:cubicBezTo>
                  <a:cubicBezTo>
                    <a:pt x="294" y="51"/>
                    <a:pt x="295" y="51"/>
                    <a:pt x="296" y="51"/>
                  </a:cubicBezTo>
                  <a:cubicBezTo>
                    <a:pt x="298" y="51"/>
                    <a:pt x="302" y="49"/>
                    <a:pt x="303" y="49"/>
                  </a:cubicBezTo>
                  <a:cubicBezTo>
                    <a:pt x="304" y="48"/>
                    <a:pt x="305" y="48"/>
                    <a:pt x="305" y="47"/>
                  </a:cubicBezTo>
                  <a:cubicBezTo>
                    <a:pt x="305" y="46"/>
                    <a:pt x="306" y="35"/>
                    <a:pt x="305" y="31"/>
                  </a:cubicBezTo>
                  <a:cubicBezTo>
                    <a:pt x="305" y="30"/>
                    <a:pt x="305" y="29"/>
                    <a:pt x="305" y="29"/>
                  </a:cubicBezTo>
                  <a:cubicBezTo>
                    <a:pt x="306" y="29"/>
                    <a:pt x="307" y="29"/>
                    <a:pt x="308" y="28"/>
                  </a:cubicBezTo>
                  <a:cubicBezTo>
                    <a:pt x="309" y="28"/>
                    <a:pt x="311" y="28"/>
                    <a:pt x="312" y="28"/>
                  </a:cubicBezTo>
                  <a:cubicBezTo>
                    <a:pt x="312" y="28"/>
                    <a:pt x="313" y="27"/>
                    <a:pt x="314" y="27"/>
                  </a:cubicBezTo>
                  <a:cubicBezTo>
                    <a:pt x="314" y="26"/>
                    <a:pt x="315" y="26"/>
                    <a:pt x="315" y="26"/>
                  </a:cubicBezTo>
                  <a:cubicBezTo>
                    <a:pt x="316" y="26"/>
                    <a:pt x="318" y="26"/>
                    <a:pt x="320" y="27"/>
                  </a:cubicBezTo>
                  <a:cubicBezTo>
                    <a:pt x="320" y="27"/>
                    <a:pt x="320" y="27"/>
                    <a:pt x="320" y="27"/>
                  </a:cubicBezTo>
                  <a:cubicBezTo>
                    <a:pt x="319" y="28"/>
                    <a:pt x="318" y="30"/>
                    <a:pt x="317" y="31"/>
                  </a:cubicBezTo>
                  <a:cubicBezTo>
                    <a:pt x="317" y="33"/>
                    <a:pt x="317" y="35"/>
                    <a:pt x="318" y="37"/>
                  </a:cubicBezTo>
                  <a:cubicBezTo>
                    <a:pt x="319" y="37"/>
                    <a:pt x="319" y="37"/>
                    <a:pt x="319" y="38"/>
                  </a:cubicBezTo>
                  <a:cubicBezTo>
                    <a:pt x="320" y="38"/>
                    <a:pt x="322" y="39"/>
                    <a:pt x="322" y="40"/>
                  </a:cubicBezTo>
                  <a:cubicBezTo>
                    <a:pt x="322" y="40"/>
                    <a:pt x="322" y="41"/>
                    <a:pt x="321" y="42"/>
                  </a:cubicBezTo>
                  <a:cubicBezTo>
                    <a:pt x="315" y="45"/>
                    <a:pt x="315" y="45"/>
                    <a:pt x="315" y="45"/>
                  </a:cubicBezTo>
                  <a:cubicBezTo>
                    <a:pt x="313" y="45"/>
                    <a:pt x="309" y="46"/>
                    <a:pt x="307" y="46"/>
                  </a:cubicBezTo>
                  <a:cubicBezTo>
                    <a:pt x="305" y="48"/>
                    <a:pt x="301" y="52"/>
                    <a:pt x="300" y="55"/>
                  </a:cubicBezTo>
                  <a:cubicBezTo>
                    <a:pt x="297" y="60"/>
                    <a:pt x="295" y="72"/>
                    <a:pt x="296" y="79"/>
                  </a:cubicBezTo>
                  <a:cubicBezTo>
                    <a:pt x="296" y="79"/>
                    <a:pt x="298" y="89"/>
                    <a:pt x="304" y="89"/>
                  </a:cubicBezTo>
                  <a:cubicBezTo>
                    <a:pt x="305" y="89"/>
                    <a:pt x="306" y="88"/>
                    <a:pt x="307" y="86"/>
                  </a:cubicBezTo>
                  <a:cubicBezTo>
                    <a:pt x="307" y="87"/>
                    <a:pt x="307" y="87"/>
                    <a:pt x="307" y="88"/>
                  </a:cubicBezTo>
                  <a:cubicBezTo>
                    <a:pt x="307" y="88"/>
                    <a:pt x="308" y="89"/>
                    <a:pt x="308" y="89"/>
                  </a:cubicBezTo>
                  <a:cubicBezTo>
                    <a:pt x="308" y="89"/>
                    <a:pt x="308" y="90"/>
                    <a:pt x="308" y="90"/>
                  </a:cubicBezTo>
                  <a:cubicBezTo>
                    <a:pt x="307" y="91"/>
                    <a:pt x="305" y="92"/>
                    <a:pt x="302" y="94"/>
                  </a:cubicBezTo>
                  <a:cubicBezTo>
                    <a:pt x="301" y="94"/>
                    <a:pt x="301" y="94"/>
                    <a:pt x="300" y="94"/>
                  </a:cubicBezTo>
                  <a:cubicBezTo>
                    <a:pt x="298" y="94"/>
                    <a:pt x="296" y="95"/>
                    <a:pt x="294" y="96"/>
                  </a:cubicBezTo>
                  <a:cubicBezTo>
                    <a:pt x="292" y="99"/>
                    <a:pt x="291" y="108"/>
                    <a:pt x="292" y="112"/>
                  </a:cubicBezTo>
                  <a:cubicBezTo>
                    <a:pt x="293" y="115"/>
                    <a:pt x="295" y="115"/>
                    <a:pt x="296" y="115"/>
                  </a:cubicBezTo>
                  <a:cubicBezTo>
                    <a:pt x="297" y="115"/>
                    <a:pt x="298" y="115"/>
                    <a:pt x="299" y="114"/>
                  </a:cubicBezTo>
                  <a:cubicBezTo>
                    <a:pt x="300" y="113"/>
                    <a:pt x="300" y="112"/>
                    <a:pt x="300" y="111"/>
                  </a:cubicBezTo>
                  <a:cubicBezTo>
                    <a:pt x="300" y="111"/>
                    <a:pt x="300" y="110"/>
                    <a:pt x="300" y="110"/>
                  </a:cubicBezTo>
                  <a:cubicBezTo>
                    <a:pt x="300" y="110"/>
                    <a:pt x="302" y="109"/>
                    <a:pt x="303" y="108"/>
                  </a:cubicBezTo>
                  <a:cubicBezTo>
                    <a:pt x="304" y="108"/>
                    <a:pt x="305" y="107"/>
                    <a:pt x="306" y="106"/>
                  </a:cubicBezTo>
                  <a:cubicBezTo>
                    <a:pt x="306" y="106"/>
                    <a:pt x="306" y="106"/>
                    <a:pt x="307" y="105"/>
                  </a:cubicBezTo>
                  <a:cubicBezTo>
                    <a:pt x="307" y="106"/>
                    <a:pt x="307" y="106"/>
                    <a:pt x="307" y="106"/>
                  </a:cubicBezTo>
                  <a:cubicBezTo>
                    <a:pt x="308" y="108"/>
                    <a:pt x="309" y="110"/>
                    <a:pt x="310" y="111"/>
                  </a:cubicBezTo>
                  <a:cubicBezTo>
                    <a:pt x="311" y="111"/>
                    <a:pt x="311" y="111"/>
                    <a:pt x="312" y="111"/>
                  </a:cubicBezTo>
                  <a:cubicBezTo>
                    <a:pt x="311" y="111"/>
                    <a:pt x="311" y="112"/>
                    <a:pt x="311" y="112"/>
                  </a:cubicBezTo>
                  <a:cubicBezTo>
                    <a:pt x="311" y="112"/>
                    <a:pt x="311" y="112"/>
                    <a:pt x="310" y="112"/>
                  </a:cubicBezTo>
                  <a:cubicBezTo>
                    <a:pt x="310" y="112"/>
                    <a:pt x="310" y="112"/>
                    <a:pt x="309" y="112"/>
                  </a:cubicBezTo>
                  <a:cubicBezTo>
                    <a:pt x="307" y="112"/>
                    <a:pt x="301" y="113"/>
                    <a:pt x="300" y="117"/>
                  </a:cubicBezTo>
                  <a:cubicBezTo>
                    <a:pt x="300" y="121"/>
                    <a:pt x="301" y="129"/>
                    <a:pt x="304" y="132"/>
                  </a:cubicBezTo>
                  <a:cubicBezTo>
                    <a:pt x="305" y="132"/>
                    <a:pt x="306" y="133"/>
                    <a:pt x="308" y="133"/>
                  </a:cubicBezTo>
                  <a:cubicBezTo>
                    <a:pt x="310" y="133"/>
                    <a:pt x="312" y="132"/>
                    <a:pt x="314" y="131"/>
                  </a:cubicBezTo>
                  <a:cubicBezTo>
                    <a:pt x="315" y="131"/>
                    <a:pt x="317" y="130"/>
                    <a:pt x="318" y="130"/>
                  </a:cubicBezTo>
                  <a:cubicBezTo>
                    <a:pt x="320" y="131"/>
                    <a:pt x="323" y="132"/>
                    <a:pt x="324" y="132"/>
                  </a:cubicBezTo>
                  <a:cubicBezTo>
                    <a:pt x="324" y="132"/>
                    <a:pt x="323" y="133"/>
                    <a:pt x="323" y="133"/>
                  </a:cubicBezTo>
                  <a:cubicBezTo>
                    <a:pt x="322" y="133"/>
                    <a:pt x="320" y="133"/>
                    <a:pt x="318" y="133"/>
                  </a:cubicBezTo>
                  <a:cubicBezTo>
                    <a:pt x="316" y="132"/>
                    <a:pt x="314" y="132"/>
                    <a:pt x="312" y="133"/>
                  </a:cubicBezTo>
                  <a:cubicBezTo>
                    <a:pt x="309" y="135"/>
                    <a:pt x="308" y="144"/>
                    <a:pt x="309" y="147"/>
                  </a:cubicBezTo>
                  <a:cubicBezTo>
                    <a:pt x="309" y="148"/>
                    <a:pt x="310" y="150"/>
                    <a:pt x="311" y="151"/>
                  </a:cubicBezTo>
                  <a:cubicBezTo>
                    <a:pt x="312" y="153"/>
                    <a:pt x="313" y="155"/>
                    <a:pt x="313" y="157"/>
                  </a:cubicBezTo>
                  <a:cubicBezTo>
                    <a:pt x="313" y="157"/>
                    <a:pt x="313" y="158"/>
                    <a:pt x="313" y="159"/>
                  </a:cubicBezTo>
                  <a:cubicBezTo>
                    <a:pt x="313" y="161"/>
                    <a:pt x="313" y="163"/>
                    <a:pt x="313" y="165"/>
                  </a:cubicBezTo>
                  <a:cubicBezTo>
                    <a:pt x="314" y="165"/>
                    <a:pt x="317" y="175"/>
                    <a:pt x="322" y="175"/>
                  </a:cubicBezTo>
                  <a:cubicBezTo>
                    <a:pt x="323" y="175"/>
                    <a:pt x="324" y="175"/>
                    <a:pt x="324" y="174"/>
                  </a:cubicBezTo>
                  <a:cubicBezTo>
                    <a:pt x="325" y="174"/>
                    <a:pt x="326" y="173"/>
                    <a:pt x="326" y="172"/>
                  </a:cubicBezTo>
                  <a:cubicBezTo>
                    <a:pt x="326" y="171"/>
                    <a:pt x="326" y="170"/>
                    <a:pt x="325" y="170"/>
                  </a:cubicBezTo>
                  <a:cubicBezTo>
                    <a:pt x="326" y="170"/>
                    <a:pt x="326" y="170"/>
                    <a:pt x="327" y="171"/>
                  </a:cubicBezTo>
                  <a:cubicBezTo>
                    <a:pt x="328" y="171"/>
                    <a:pt x="328" y="171"/>
                    <a:pt x="329" y="172"/>
                  </a:cubicBezTo>
                  <a:cubicBezTo>
                    <a:pt x="329" y="172"/>
                    <a:pt x="330" y="173"/>
                    <a:pt x="331" y="173"/>
                  </a:cubicBezTo>
                  <a:cubicBezTo>
                    <a:pt x="331" y="173"/>
                    <a:pt x="332" y="174"/>
                    <a:pt x="332" y="174"/>
                  </a:cubicBezTo>
                  <a:cubicBezTo>
                    <a:pt x="334" y="176"/>
                    <a:pt x="336" y="177"/>
                    <a:pt x="338" y="177"/>
                  </a:cubicBezTo>
                  <a:cubicBezTo>
                    <a:pt x="339" y="177"/>
                    <a:pt x="340" y="177"/>
                    <a:pt x="341" y="176"/>
                  </a:cubicBezTo>
                  <a:cubicBezTo>
                    <a:pt x="341" y="175"/>
                    <a:pt x="343" y="173"/>
                    <a:pt x="344" y="172"/>
                  </a:cubicBezTo>
                  <a:cubicBezTo>
                    <a:pt x="347" y="171"/>
                    <a:pt x="348" y="168"/>
                    <a:pt x="349" y="165"/>
                  </a:cubicBezTo>
                  <a:cubicBezTo>
                    <a:pt x="350" y="164"/>
                    <a:pt x="351" y="162"/>
                    <a:pt x="352" y="161"/>
                  </a:cubicBezTo>
                  <a:cubicBezTo>
                    <a:pt x="351" y="162"/>
                    <a:pt x="351" y="164"/>
                    <a:pt x="351" y="165"/>
                  </a:cubicBezTo>
                  <a:cubicBezTo>
                    <a:pt x="350" y="168"/>
                    <a:pt x="350" y="171"/>
                    <a:pt x="350" y="172"/>
                  </a:cubicBezTo>
                  <a:cubicBezTo>
                    <a:pt x="350" y="173"/>
                    <a:pt x="350" y="175"/>
                    <a:pt x="350" y="177"/>
                  </a:cubicBezTo>
                  <a:cubicBezTo>
                    <a:pt x="349" y="179"/>
                    <a:pt x="349" y="180"/>
                    <a:pt x="349" y="182"/>
                  </a:cubicBezTo>
                  <a:cubicBezTo>
                    <a:pt x="348" y="188"/>
                    <a:pt x="349" y="191"/>
                    <a:pt x="352" y="192"/>
                  </a:cubicBezTo>
                  <a:cubicBezTo>
                    <a:pt x="352" y="192"/>
                    <a:pt x="353" y="192"/>
                    <a:pt x="353" y="192"/>
                  </a:cubicBezTo>
                  <a:cubicBezTo>
                    <a:pt x="355" y="192"/>
                    <a:pt x="357" y="190"/>
                    <a:pt x="359" y="189"/>
                  </a:cubicBezTo>
                  <a:cubicBezTo>
                    <a:pt x="360" y="188"/>
                    <a:pt x="361" y="187"/>
                    <a:pt x="361" y="187"/>
                  </a:cubicBezTo>
                  <a:cubicBezTo>
                    <a:pt x="362" y="187"/>
                    <a:pt x="363" y="186"/>
                    <a:pt x="365" y="186"/>
                  </a:cubicBezTo>
                  <a:cubicBezTo>
                    <a:pt x="367" y="186"/>
                    <a:pt x="367" y="187"/>
                    <a:pt x="367" y="187"/>
                  </a:cubicBezTo>
                  <a:cubicBezTo>
                    <a:pt x="367" y="188"/>
                    <a:pt x="366" y="191"/>
                    <a:pt x="365" y="193"/>
                  </a:cubicBezTo>
                  <a:cubicBezTo>
                    <a:pt x="364" y="194"/>
                    <a:pt x="360" y="199"/>
                    <a:pt x="360" y="202"/>
                  </a:cubicBezTo>
                  <a:cubicBezTo>
                    <a:pt x="359" y="204"/>
                    <a:pt x="358" y="208"/>
                    <a:pt x="361" y="209"/>
                  </a:cubicBezTo>
                  <a:cubicBezTo>
                    <a:pt x="361" y="210"/>
                    <a:pt x="362" y="210"/>
                    <a:pt x="364" y="210"/>
                  </a:cubicBezTo>
                  <a:cubicBezTo>
                    <a:pt x="366" y="210"/>
                    <a:pt x="369" y="209"/>
                    <a:pt x="372" y="207"/>
                  </a:cubicBezTo>
                  <a:cubicBezTo>
                    <a:pt x="374" y="206"/>
                    <a:pt x="376" y="205"/>
                    <a:pt x="377" y="205"/>
                  </a:cubicBezTo>
                  <a:cubicBezTo>
                    <a:pt x="378" y="205"/>
                    <a:pt x="378" y="205"/>
                    <a:pt x="379" y="205"/>
                  </a:cubicBezTo>
                  <a:cubicBezTo>
                    <a:pt x="381" y="205"/>
                    <a:pt x="383" y="205"/>
                    <a:pt x="384" y="205"/>
                  </a:cubicBezTo>
                  <a:cubicBezTo>
                    <a:pt x="386" y="204"/>
                    <a:pt x="387" y="202"/>
                    <a:pt x="389" y="200"/>
                  </a:cubicBezTo>
                  <a:cubicBezTo>
                    <a:pt x="390" y="199"/>
                    <a:pt x="391" y="198"/>
                    <a:pt x="391" y="197"/>
                  </a:cubicBezTo>
                  <a:cubicBezTo>
                    <a:pt x="393" y="197"/>
                    <a:pt x="395" y="196"/>
                    <a:pt x="397" y="195"/>
                  </a:cubicBezTo>
                  <a:cubicBezTo>
                    <a:pt x="402" y="195"/>
                    <a:pt x="406" y="194"/>
                    <a:pt x="408" y="191"/>
                  </a:cubicBezTo>
                  <a:cubicBezTo>
                    <a:pt x="409" y="189"/>
                    <a:pt x="409" y="187"/>
                    <a:pt x="408" y="185"/>
                  </a:cubicBezTo>
                  <a:cubicBezTo>
                    <a:pt x="408" y="184"/>
                    <a:pt x="408" y="183"/>
                    <a:pt x="408" y="183"/>
                  </a:cubicBezTo>
                  <a:cubicBezTo>
                    <a:pt x="408" y="182"/>
                    <a:pt x="409" y="181"/>
                    <a:pt x="410" y="180"/>
                  </a:cubicBezTo>
                  <a:cubicBezTo>
                    <a:pt x="411" y="178"/>
                    <a:pt x="413" y="177"/>
                    <a:pt x="413" y="176"/>
                  </a:cubicBezTo>
                  <a:cubicBezTo>
                    <a:pt x="415" y="173"/>
                    <a:pt x="420" y="163"/>
                    <a:pt x="421" y="163"/>
                  </a:cubicBezTo>
                  <a:cubicBezTo>
                    <a:pt x="422" y="160"/>
                    <a:pt x="426" y="150"/>
                    <a:pt x="424" y="146"/>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60">
              <a:extLst>
                <a:ext uri="{FF2B5EF4-FFF2-40B4-BE49-F238E27FC236}">
                  <a16:creationId xmlns:a16="http://schemas.microsoft.com/office/drawing/2014/main" id="{F22FFC82-6A2C-4D68-8DD6-095D3CED738D}"/>
                </a:ext>
              </a:extLst>
            </p:cNvPr>
            <p:cNvSpPr>
              <a:spLocks/>
            </p:cNvSpPr>
            <p:nvPr/>
          </p:nvSpPr>
          <p:spPr bwMode="auto">
            <a:xfrm>
              <a:off x="3563927" y="1889759"/>
              <a:ext cx="698412" cy="503342"/>
            </a:xfrm>
            <a:custGeom>
              <a:avLst/>
              <a:gdLst>
                <a:gd name="T0" fmla="*/ 191 w 628"/>
                <a:gd name="T1" fmla="*/ 0 h 453"/>
                <a:gd name="T2" fmla="*/ 188 w 628"/>
                <a:gd name="T3" fmla="*/ 25 h 453"/>
                <a:gd name="T4" fmla="*/ 200 w 628"/>
                <a:gd name="T5" fmla="*/ 47 h 453"/>
                <a:gd name="T6" fmla="*/ 193 w 628"/>
                <a:gd name="T7" fmla="*/ 52 h 453"/>
                <a:gd name="T8" fmla="*/ 188 w 628"/>
                <a:gd name="T9" fmla="*/ 62 h 453"/>
                <a:gd name="T10" fmla="*/ 189 w 628"/>
                <a:gd name="T11" fmla="*/ 79 h 453"/>
                <a:gd name="T12" fmla="*/ 194 w 628"/>
                <a:gd name="T13" fmla="*/ 94 h 453"/>
                <a:gd name="T14" fmla="*/ 198 w 628"/>
                <a:gd name="T15" fmla="*/ 120 h 453"/>
                <a:gd name="T16" fmla="*/ 183 w 628"/>
                <a:gd name="T17" fmla="*/ 150 h 453"/>
                <a:gd name="T18" fmla="*/ 174 w 628"/>
                <a:gd name="T19" fmla="*/ 171 h 453"/>
                <a:gd name="T20" fmla="*/ 152 w 628"/>
                <a:gd name="T21" fmla="*/ 202 h 453"/>
                <a:gd name="T22" fmla="*/ 138 w 628"/>
                <a:gd name="T23" fmla="*/ 215 h 453"/>
                <a:gd name="T24" fmla="*/ 123 w 628"/>
                <a:gd name="T25" fmla="*/ 209 h 453"/>
                <a:gd name="T26" fmla="*/ 136 w 628"/>
                <a:gd name="T27" fmla="*/ 192 h 453"/>
                <a:gd name="T28" fmla="*/ 148 w 628"/>
                <a:gd name="T29" fmla="*/ 189 h 453"/>
                <a:gd name="T30" fmla="*/ 163 w 628"/>
                <a:gd name="T31" fmla="*/ 161 h 453"/>
                <a:gd name="T32" fmla="*/ 165 w 628"/>
                <a:gd name="T33" fmla="*/ 159 h 453"/>
                <a:gd name="T34" fmla="*/ 179 w 628"/>
                <a:gd name="T35" fmla="*/ 142 h 453"/>
                <a:gd name="T36" fmla="*/ 148 w 628"/>
                <a:gd name="T37" fmla="*/ 148 h 453"/>
                <a:gd name="T38" fmla="*/ 133 w 628"/>
                <a:gd name="T39" fmla="*/ 173 h 453"/>
                <a:gd name="T40" fmla="*/ 118 w 628"/>
                <a:gd name="T41" fmla="*/ 158 h 453"/>
                <a:gd name="T42" fmla="*/ 147 w 628"/>
                <a:gd name="T43" fmla="*/ 129 h 453"/>
                <a:gd name="T44" fmla="*/ 159 w 628"/>
                <a:gd name="T45" fmla="*/ 128 h 453"/>
                <a:gd name="T46" fmla="*/ 166 w 628"/>
                <a:gd name="T47" fmla="*/ 93 h 453"/>
                <a:gd name="T48" fmla="*/ 145 w 628"/>
                <a:gd name="T49" fmla="*/ 97 h 453"/>
                <a:gd name="T50" fmla="*/ 133 w 628"/>
                <a:gd name="T51" fmla="*/ 85 h 453"/>
                <a:gd name="T52" fmla="*/ 102 w 628"/>
                <a:gd name="T53" fmla="*/ 76 h 453"/>
                <a:gd name="T54" fmla="*/ 68 w 628"/>
                <a:gd name="T55" fmla="*/ 58 h 453"/>
                <a:gd name="T56" fmla="*/ 35 w 628"/>
                <a:gd name="T57" fmla="*/ 29 h 453"/>
                <a:gd name="T58" fmla="*/ 22 w 628"/>
                <a:gd name="T59" fmla="*/ 42 h 453"/>
                <a:gd name="T60" fmla="*/ 16 w 628"/>
                <a:gd name="T61" fmla="*/ 64 h 453"/>
                <a:gd name="T62" fmla="*/ 25 w 628"/>
                <a:gd name="T63" fmla="*/ 108 h 453"/>
                <a:gd name="T64" fmla="*/ 23 w 628"/>
                <a:gd name="T65" fmla="*/ 186 h 453"/>
                <a:gd name="T66" fmla="*/ 33 w 628"/>
                <a:gd name="T67" fmla="*/ 193 h 453"/>
                <a:gd name="T68" fmla="*/ 31 w 628"/>
                <a:gd name="T69" fmla="*/ 208 h 453"/>
                <a:gd name="T70" fmla="*/ 16 w 628"/>
                <a:gd name="T71" fmla="*/ 220 h 453"/>
                <a:gd name="T72" fmla="*/ 33 w 628"/>
                <a:gd name="T73" fmla="*/ 233 h 453"/>
                <a:gd name="T74" fmla="*/ 30 w 628"/>
                <a:gd name="T75" fmla="*/ 260 h 453"/>
                <a:gd name="T76" fmla="*/ 19 w 628"/>
                <a:gd name="T77" fmla="*/ 260 h 453"/>
                <a:gd name="T78" fmla="*/ 9 w 628"/>
                <a:gd name="T79" fmla="*/ 281 h 453"/>
                <a:gd name="T80" fmla="*/ 37 w 628"/>
                <a:gd name="T81" fmla="*/ 284 h 453"/>
                <a:gd name="T82" fmla="*/ 55 w 628"/>
                <a:gd name="T83" fmla="*/ 296 h 453"/>
                <a:gd name="T84" fmla="*/ 78 w 628"/>
                <a:gd name="T85" fmla="*/ 312 h 453"/>
                <a:gd name="T86" fmla="*/ 89 w 628"/>
                <a:gd name="T87" fmla="*/ 379 h 453"/>
                <a:gd name="T88" fmla="*/ 116 w 628"/>
                <a:gd name="T89" fmla="*/ 395 h 453"/>
                <a:gd name="T90" fmla="*/ 156 w 628"/>
                <a:gd name="T91" fmla="*/ 397 h 453"/>
                <a:gd name="T92" fmla="*/ 197 w 628"/>
                <a:gd name="T93" fmla="*/ 401 h 453"/>
                <a:gd name="T94" fmla="*/ 229 w 628"/>
                <a:gd name="T95" fmla="*/ 415 h 453"/>
                <a:gd name="T96" fmla="*/ 305 w 628"/>
                <a:gd name="T97" fmla="*/ 419 h 453"/>
                <a:gd name="T98" fmla="*/ 357 w 628"/>
                <a:gd name="T99" fmla="*/ 416 h 453"/>
                <a:gd name="T100" fmla="*/ 398 w 628"/>
                <a:gd name="T101" fmla="*/ 416 h 453"/>
                <a:gd name="T102" fmla="*/ 568 w 628"/>
                <a:gd name="T103" fmla="*/ 449 h 453"/>
                <a:gd name="T104" fmla="*/ 568 w 628"/>
                <a:gd name="T105" fmla="*/ 39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8" h="453">
                  <a:moveTo>
                    <a:pt x="626" y="104"/>
                  </a:moveTo>
                  <a:cubicBezTo>
                    <a:pt x="553" y="89"/>
                    <a:pt x="553" y="89"/>
                    <a:pt x="553" y="89"/>
                  </a:cubicBezTo>
                  <a:cubicBezTo>
                    <a:pt x="416" y="57"/>
                    <a:pt x="416" y="57"/>
                    <a:pt x="416" y="57"/>
                  </a:cubicBezTo>
                  <a:cubicBezTo>
                    <a:pt x="298" y="28"/>
                    <a:pt x="298" y="28"/>
                    <a:pt x="298" y="28"/>
                  </a:cubicBezTo>
                  <a:cubicBezTo>
                    <a:pt x="193" y="0"/>
                    <a:pt x="193" y="0"/>
                    <a:pt x="193" y="0"/>
                  </a:cubicBezTo>
                  <a:cubicBezTo>
                    <a:pt x="192" y="0"/>
                    <a:pt x="192" y="0"/>
                    <a:pt x="191" y="0"/>
                  </a:cubicBezTo>
                  <a:cubicBezTo>
                    <a:pt x="189" y="2"/>
                    <a:pt x="185" y="4"/>
                    <a:pt x="184" y="6"/>
                  </a:cubicBezTo>
                  <a:cubicBezTo>
                    <a:pt x="183" y="8"/>
                    <a:pt x="184" y="11"/>
                    <a:pt x="185" y="15"/>
                  </a:cubicBezTo>
                  <a:cubicBezTo>
                    <a:pt x="185" y="16"/>
                    <a:pt x="186" y="18"/>
                    <a:pt x="187" y="19"/>
                  </a:cubicBezTo>
                  <a:cubicBezTo>
                    <a:pt x="188" y="20"/>
                    <a:pt x="188" y="22"/>
                    <a:pt x="188" y="22"/>
                  </a:cubicBezTo>
                  <a:cubicBezTo>
                    <a:pt x="188" y="22"/>
                    <a:pt x="188" y="23"/>
                    <a:pt x="188" y="23"/>
                  </a:cubicBezTo>
                  <a:cubicBezTo>
                    <a:pt x="188" y="24"/>
                    <a:pt x="188" y="24"/>
                    <a:pt x="188" y="25"/>
                  </a:cubicBezTo>
                  <a:cubicBezTo>
                    <a:pt x="189" y="28"/>
                    <a:pt x="193" y="33"/>
                    <a:pt x="195" y="35"/>
                  </a:cubicBezTo>
                  <a:cubicBezTo>
                    <a:pt x="196" y="35"/>
                    <a:pt x="197" y="36"/>
                    <a:pt x="199" y="36"/>
                  </a:cubicBezTo>
                  <a:cubicBezTo>
                    <a:pt x="200" y="36"/>
                    <a:pt x="201" y="37"/>
                    <a:pt x="202" y="37"/>
                  </a:cubicBezTo>
                  <a:cubicBezTo>
                    <a:pt x="202" y="37"/>
                    <a:pt x="201" y="39"/>
                    <a:pt x="201" y="40"/>
                  </a:cubicBezTo>
                  <a:cubicBezTo>
                    <a:pt x="200" y="41"/>
                    <a:pt x="200" y="42"/>
                    <a:pt x="200" y="43"/>
                  </a:cubicBezTo>
                  <a:cubicBezTo>
                    <a:pt x="200" y="44"/>
                    <a:pt x="200" y="46"/>
                    <a:pt x="200" y="47"/>
                  </a:cubicBezTo>
                  <a:cubicBezTo>
                    <a:pt x="200" y="49"/>
                    <a:pt x="201" y="50"/>
                    <a:pt x="201" y="50"/>
                  </a:cubicBezTo>
                  <a:cubicBezTo>
                    <a:pt x="201" y="52"/>
                    <a:pt x="201" y="52"/>
                    <a:pt x="201" y="52"/>
                  </a:cubicBezTo>
                  <a:cubicBezTo>
                    <a:pt x="201" y="52"/>
                    <a:pt x="201" y="54"/>
                    <a:pt x="201" y="55"/>
                  </a:cubicBezTo>
                  <a:cubicBezTo>
                    <a:pt x="200" y="54"/>
                    <a:pt x="200" y="54"/>
                    <a:pt x="200" y="54"/>
                  </a:cubicBezTo>
                  <a:cubicBezTo>
                    <a:pt x="198" y="53"/>
                    <a:pt x="197" y="51"/>
                    <a:pt x="195" y="51"/>
                  </a:cubicBezTo>
                  <a:cubicBezTo>
                    <a:pt x="194" y="51"/>
                    <a:pt x="193" y="52"/>
                    <a:pt x="193" y="52"/>
                  </a:cubicBezTo>
                  <a:cubicBezTo>
                    <a:pt x="190" y="55"/>
                    <a:pt x="193" y="58"/>
                    <a:pt x="194" y="60"/>
                  </a:cubicBezTo>
                  <a:cubicBezTo>
                    <a:pt x="195" y="60"/>
                    <a:pt x="195" y="61"/>
                    <a:pt x="196" y="62"/>
                  </a:cubicBezTo>
                  <a:cubicBezTo>
                    <a:pt x="196" y="63"/>
                    <a:pt x="195" y="66"/>
                    <a:pt x="195" y="67"/>
                  </a:cubicBezTo>
                  <a:cubicBezTo>
                    <a:pt x="194" y="66"/>
                    <a:pt x="193" y="65"/>
                    <a:pt x="192" y="65"/>
                  </a:cubicBezTo>
                  <a:cubicBezTo>
                    <a:pt x="191" y="64"/>
                    <a:pt x="190" y="63"/>
                    <a:pt x="189" y="63"/>
                  </a:cubicBezTo>
                  <a:cubicBezTo>
                    <a:pt x="188" y="62"/>
                    <a:pt x="188" y="62"/>
                    <a:pt x="188" y="62"/>
                  </a:cubicBezTo>
                  <a:cubicBezTo>
                    <a:pt x="187" y="62"/>
                    <a:pt x="185" y="61"/>
                    <a:pt x="184" y="61"/>
                  </a:cubicBezTo>
                  <a:cubicBezTo>
                    <a:pt x="183" y="61"/>
                    <a:pt x="182" y="61"/>
                    <a:pt x="181" y="62"/>
                  </a:cubicBezTo>
                  <a:cubicBezTo>
                    <a:pt x="181" y="62"/>
                    <a:pt x="180" y="64"/>
                    <a:pt x="179" y="69"/>
                  </a:cubicBezTo>
                  <a:cubicBezTo>
                    <a:pt x="179" y="71"/>
                    <a:pt x="179" y="77"/>
                    <a:pt x="181" y="79"/>
                  </a:cubicBezTo>
                  <a:cubicBezTo>
                    <a:pt x="182" y="80"/>
                    <a:pt x="185" y="80"/>
                    <a:pt x="187" y="80"/>
                  </a:cubicBezTo>
                  <a:cubicBezTo>
                    <a:pt x="188" y="79"/>
                    <a:pt x="188" y="79"/>
                    <a:pt x="189" y="79"/>
                  </a:cubicBezTo>
                  <a:cubicBezTo>
                    <a:pt x="189" y="80"/>
                    <a:pt x="189" y="81"/>
                    <a:pt x="189" y="81"/>
                  </a:cubicBezTo>
                  <a:cubicBezTo>
                    <a:pt x="189" y="83"/>
                    <a:pt x="190" y="84"/>
                    <a:pt x="190" y="85"/>
                  </a:cubicBezTo>
                  <a:cubicBezTo>
                    <a:pt x="191" y="87"/>
                    <a:pt x="194" y="88"/>
                    <a:pt x="195" y="88"/>
                  </a:cubicBezTo>
                  <a:cubicBezTo>
                    <a:pt x="196" y="88"/>
                    <a:pt x="196" y="88"/>
                    <a:pt x="196" y="88"/>
                  </a:cubicBezTo>
                  <a:cubicBezTo>
                    <a:pt x="196" y="89"/>
                    <a:pt x="196" y="89"/>
                    <a:pt x="195" y="90"/>
                  </a:cubicBezTo>
                  <a:cubicBezTo>
                    <a:pt x="195" y="91"/>
                    <a:pt x="194" y="92"/>
                    <a:pt x="194" y="94"/>
                  </a:cubicBezTo>
                  <a:cubicBezTo>
                    <a:pt x="194" y="95"/>
                    <a:pt x="194" y="95"/>
                    <a:pt x="195" y="96"/>
                  </a:cubicBezTo>
                  <a:cubicBezTo>
                    <a:pt x="195" y="96"/>
                    <a:pt x="195" y="97"/>
                    <a:pt x="195" y="97"/>
                  </a:cubicBezTo>
                  <a:cubicBezTo>
                    <a:pt x="195" y="98"/>
                    <a:pt x="195" y="101"/>
                    <a:pt x="194" y="103"/>
                  </a:cubicBezTo>
                  <a:cubicBezTo>
                    <a:pt x="194" y="106"/>
                    <a:pt x="193" y="110"/>
                    <a:pt x="193" y="112"/>
                  </a:cubicBezTo>
                  <a:cubicBezTo>
                    <a:pt x="194" y="114"/>
                    <a:pt x="195" y="116"/>
                    <a:pt x="196" y="117"/>
                  </a:cubicBezTo>
                  <a:cubicBezTo>
                    <a:pt x="197" y="118"/>
                    <a:pt x="198" y="119"/>
                    <a:pt x="198" y="120"/>
                  </a:cubicBezTo>
                  <a:cubicBezTo>
                    <a:pt x="199" y="122"/>
                    <a:pt x="199" y="125"/>
                    <a:pt x="199" y="126"/>
                  </a:cubicBezTo>
                  <a:cubicBezTo>
                    <a:pt x="198" y="127"/>
                    <a:pt x="196" y="129"/>
                    <a:pt x="194" y="130"/>
                  </a:cubicBezTo>
                  <a:cubicBezTo>
                    <a:pt x="193" y="131"/>
                    <a:pt x="192" y="132"/>
                    <a:pt x="191" y="132"/>
                  </a:cubicBezTo>
                  <a:cubicBezTo>
                    <a:pt x="187" y="136"/>
                    <a:pt x="183" y="140"/>
                    <a:pt x="182" y="144"/>
                  </a:cubicBezTo>
                  <a:cubicBezTo>
                    <a:pt x="182" y="145"/>
                    <a:pt x="182" y="147"/>
                    <a:pt x="182" y="148"/>
                  </a:cubicBezTo>
                  <a:cubicBezTo>
                    <a:pt x="183" y="149"/>
                    <a:pt x="183" y="150"/>
                    <a:pt x="183" y="150"/>
                  </a:cubicBezTo>
                  <a:cubicBezTo>
                    <a:pt x="183" y="151"/>
                    <a:pt x="181" y="151"/>
                    <a:pt x="181" y="152"/>
                  </a:cubicBezTo>
                  <a:cubicBezTo>
                    <a:pt x="178" y="153"/>
                    <a:pt x="176" y="154"/>
                    <a:pt x="175" y="156"/>
                  </a:cubicBezTo>
                  <a:cubicBezTo>
                    <a:pt x="175" y="159"/>
                    <a:pt x="177" y="161"/>
                    <a:pt x="179" y="162"/>
                  </a:cubicBezTo>
                  <a:cubicBezTo>
                    <a:pt x="179" y="163"/>
                    <a:pt x="180" y="164"/>
                    <a:pt x="180" y="164"/>
                  </a:cubicBezTo>
                  <a:cubicBezTo>
                    <a:pt x="180" y="165"/>
                    <a:pt x="179" y="166"/>
                    <a:pt x="178" y="167"/>
                  </a:cubicBezTo>
                  <a:cubicBezTo>
                    <a:pt x="176" y="168"/>
                    <a:pt x="175" y="169"/>
                    <a:pt x="174" y="171"/>
                  </a:cubicBezTo>
                  <a:cubicBezTo>
                    <a:pt x="173" y="173"/>
                    <a:pt x="174" y="177"/>
                    <a:pt x="175" y="180"/>
                  </a:cubicBezTo>
                  <a:cubicBezTo>
                    <a:pt x="175" y="183"/>
                    <a:pt x="176" y="186"/>
                    <a:pt x="176" y="187"/>
                  </a:cubicBezTo>
                  <a:cubicBezTo>
                    <a:pt x="175" y="188"/>
                    <a:pt x="171" y="192"/>
                    <a:pt x="170" y="193"/>
                  </a:cubicBezTo>
                  <a:cubicBezTo>
                    <a:pt x="168" y="193"/>
                    <a:pt x="166" y="194"/>
                    <a:pt x="164" y="195"/>
                  </a:cubicBezTo>
                  <a:cubicBezTo>
                    <a:pt x="161" y="196"/>
                    <a:pt x="157" y="197"/>
                    <a:pt x="155" y="199"/>
                  </a:cubicBezTo>
                  <a:cubicBezTo>
                    <a:pt x="154" y="199"/>
                    <a:pt x="153" y="201"/>
                    <a:pt x="152" y="202"/>
                  </a:cubicBezTo>
                  <a:cubicBezTo>
                    <a:pt x="151" y="203"/>
                    <a:pt x="151" y="203"/>
                    <a:pt x="150" y="204"/>
                  </a:cubicBezTo>
                  <a:cubicBezTo>
                    <a:pt x="149" y="205"/>
                    <a:pt x="148" y="207"/>
                    <a:pt x="147" y="210"/>
                  </a:cubicBezTo>
                  <a:cubicBezTo>
                    <a:pt x="146" y="213"/>
                    <a:pt x="144" y="217"/>
                    <a:pt x="144" y="217"/>
                  </a:cubicBezTo>
                  <a:cubicBezTo>
                    <a:pt x="143" y="217"/>
                    <a:pt x="141" y="218"/>
                    <a:pt x="139" y="218"/>
                  </a:cubicBezTo>
                  <a:cubicBezTo>
                    <a:pt x="139" y="218"/>
                    <a:pt x="139" y="218"/>
                    <a:pt x="139" y="218"/>
                  </a:cubicBezTo>
                  <a:cubicBezTo>
                    <a:pt x="139" y="217"/>
                    <a:pt x="138" y="216"/>
                    <a:pt x="138" y="215"/>
                  </a:cubicBezTo>
                  <a:cubicBezTo>
                    <a:pt x="137" y="213"/>
                    <a:pt x="136" y="211"/>
                    <a:pt x="134" y="210"/>
                  </a:cubicBezTo>
                  <a:cubicBezTo>
                    <a:pt x="131" y="209"/>
                    <a:pt x="125" y="212"/>
                    <a:pt x="123" y="214"/>
                  </a:cubicBezTo>
                  <a:cubicBezTo>
                    <a:pt x="123" y="215"/>
                    <a:pt x="123" y="216"/>
                    <a:pt x="122" y="216"/>
                  </a:cubicBezTo>
                  <a:cubicBezTo>
                    <a:pt x="122" y="216"/>
                    <a:pt x="122" y="215"/>
                    <a:pt x="122" y="215"/>
                  </a:cubicBezTo>
                  <a:cubicBezTo>
                    <a:pt x="122" y="214"/>
                    <a:pt x="122" y="213"/>
                    <a:pt x="122" y="212"/>
                  </a:cubicBezTo>
                  <a:cubicBezTo>
                    <a:pt x="123" y="211"/>
                    <a:pt x="123" y="210"/>
                    <a:pt x="123" y="209"/>
                  </a:cubicBezTo>
                  <a:cubicBezTo>
                    <a:pt x="123" y="209"/>
                    <a:pt x="123" y="208"/>
                    <a:pt x="123" y="208"/>
                  </a:cubicBezTo>
                  <a:cubicBezTo>
                    <a:pt x="123" y="207"/>
                    <a:pt x="123" y="207"/>
                    <a:pt x="123" y="207"/>
                  </a:cubicBezTo>
                  <a:cubicBezTo>
                    <a:pt x="123" y="204"/>
                    <a:pt x="126" y="197"/>
                    <a:pt x="128" y="195"/>
                  </a:cubicBezTo>
                  <a:cubicBezTo>
                    <a:pt x="130" y="191"/>
                    <a:pt x="136" y="185"/>
                    <a:pt x="139" y="185"/>
                  </a:cubicBezTo>
                  <a:cubicBezTo>
                    <a:pt x="139" y="185"/>
                    <a:pt x="139" y="187"/>
                    <a:pt x="137" y="189"/>
                  </a:cubicBezTo>
                  <a:cubicBezTo>
                    <a:pt x="137" y="190"/>
                    <a:pt x="137" y="191"/>
                    <a:pt x="136" y="192"/>
                  </a:cubicBezTo>
                  <a:cubicBezTo>
                    <a:pt x="135" y="194"/>
                    <a:pt x="134" y="195"/>
                    <a:pt x="134" y="197"/>
                  </a:cubicBezTo>
                  <a:cubicBezTo>
                    <a:pt x="133" y="197"/>
                    <a:pt x="132" y="201"/>
                    <a:pt x="134" y="204"/>
                  </a:cubicBezTo>
                  <a:cubicBezTo>
                    <a:pt x="135" y="206"/>
                    <a:pt x="138" y="206"/>
                    <a:pt x="141" y="204"/>
                  </a:cubicBezTo>
                  <a:cubicBezTo>
                    <a:pt x="143" y="203"/>
                    <a:pt x="143" y="200"/>
                    <a:pt x="143" y="197"/>
                  </a:cubicBezTo>
                  <a:cubicBezTo>
                    <a:pt x="143" y="196"/>
                    <a:pt x="143" y="195"/>
                    <a:pt x="144" y="195"/>
                  </a:cubicBezTo>
                  <a:cubicBezTo>
                    <a:pt x="144" y="193"/>
                    <a:pt x="146" y="190"/>
                    <a:pt x="148" y="189"/>
                  </a:cubicBezTo>
                  <a:cubicBezTo>
                    <a:pt x="148" y="189"/>
                    <a:pt x="149" y="188"/>
                    <a:pt x="151" y="187"/>
                  </a:cubicBezTo>
                  <a:cubicBezTo>
                    <a:pt x="151" y="187"/>
                    <a:pt x="151" y="188"/>
                    <a:pt x="152" y="189"/>
                  </a:cubicBezTo>
                  <a:cubicBezTo>
                    <a:pt x="154" y="191"/>
                    <a:pt x="159" y="194"/>
                    <a:pt x="162" y="193"/>
                  </a:cubicBezTo>
                  <a:cubicBezTo>
                    <a:pt x="168" y="191"/>
                    <a:pt x="169" y="180"/>
                    <a:pt x="170" y="171"/>
                  </a:cubicBezTo>
                  <a:cubicBezTo>
                    <a:pt x="170" y="168"/>
                    <a:pt x="168" y="163"/>
                    <a:pt x="165" y="162"/>
                  </a:cubicBezTo>
                  <a:cubicBezTo>
                    <a:pt x="164" y="161"/>
                    <a:pt x="163" y="161"/>
                    <a:pt x="163" y="161"/>
                  </a:cubicBezTo>
                  <a:cubicBezTo>
                    <a:pt x="162" y="161"/>
                    <a:pt x="160" y="162"/>
                    <a:pt x="159" y="162"/>
                  </a:cubicBezTo>
                  <a:cubicBezTo>
                    <a:pt x="159" y="162"/>
                    <a:pt x="158" y="163"/>
                    <a:pt x="158" y="163"/>
                  </a:cubicBezTo>
                  <a:cubicBezTo>
                    <a:pt x="158" y="161"/>
                    <a:pt x="157" y="158"/>
                    <a:pt x="158" y="157"/>
                  </a:cubicBezTo>
                  <a:cubicBezTo>
                    <a:pt x="158" y="157"/>
                    <a:pt x="158" y="157"/>
                    <a:pt x="159" y="158"/>
                  </a:cubicBezTo>
                  <a:cubicBezTo>
                    <a:pt x="160" y="158"/>
                    <a:pt x="161" y="159"/>
                    <a:pt x="163" y="159"/>
                  </a:cubicBezTo>
                  <a:cubicBezTo>
                    <a:pt x="163" y="159"/>
                    <a:pt x="164" y="159"/>
                    <a:pt x="165" y="159"/>
                  </a:cubicBezTo>
                  <a:cubicBezTo>
                    <a:pt x="167" y="157"/>
                    <a:pt x="167" y="153"/>
                    <a:pt x="167" y="150"/>
                  </a:cubicBezTo>
                  <a:cubicBezTo>
                    <a:pt x="167" y="149"/>
                    <a:pt x="167" y="149"/>
                    <a:pt x="167" y="149"/>
                  </a:cubicBezTo>
                  <a:cubicBezTo>
                    <a:pt x="167" y="148"/>
                    <a:pt x="167" y="148"/>
                    <a:pt x="166" y="147"/>
                  </a:cubicBezTo>
                  <a:cubicBezTo>
                    <a:pt x="168" y="148"/>
                    <a:pt x="169" y="148"/>
                    <a:pt x="170" y="148"/>
                  </a:cubicBezTo>
                  <a:cubicBezTo>
                    <a:pt x="170" y="148"/>
                    <a:pt x="171" y="148"/>
                    <a:pt x="171" y="148"/>
                  </a:cubicBezTo>
                  <a:cubicBezTo>
                    <a:pt x="174" y="148"/>
                    <a:pt x="178" y="145"/>
                    <a:pt x="179" y="142"/>
                  </a:cubicBezTo>
                  <a:cubicBezTo>
                    <a:pt x="180" y="140"/>
                    <a:pt x="180" y="134"/>
                    <a:pt x="180" y="133"/>
                  </a:cubicBezTo>
                  <a:cubicBezTo>
                    <a:pt x="180" y="132"/>
                    <a:pt x="178" y="125"/>
                    <a:pt x="174" y="124"/>
                  </a:cubicBezTo>
                  <a:cubicBezTo>
                    <a:pt x="168" y="123"/>
                    <a:pt x="163" y="130"/>
                    <a:pt x="158" y="136"/>
                  </a:cubicBezTo>
                  <a:cubicBezTo>
                    <a:pt x="157" y="138"/>
                    <a:pt x="155" y="139"/>
                    <a:pt x="154" y="140"/>
                  </a:cubicBezTo>
                  <a:cubicBezTo>
                    <a:pt x="154" y="141"/>
                    <a:pt x="153" y="142"/>
                    <a:pt x="152" y="144"/>
                  </a:cubicBezTo>
                  <a:cubicBezTo>
                    <a:pt x="151" y="145"/>
                    <a:pt x="150" y="147"/>
                    <a:pt x="148" y="148"/>
                  </a:cubicBezTo>
                  <a:cubicBezTo>
                    <a:pt x="147" y="148"/>
                    <a:pt x="146" y="148"/>
                    <a:pt x="145" y="147"/>
                  </a:cubicBezTo>
                  <a:cubicBezTo>
                    <a:pt x="143" y="147"/>
                    <a:pt x="140" y="147"/>
                    <a:pt x="139" y="147"/>
                  </a:cubicBezTo>
                  <a:cubicBezTo>
                    <a:pt x="133" y="149"/>
                    <a:pt x="124" y="157"/>
                    <a:pt x="122" y="163"/>
                  </a:cubicBezTo>
                  <a:cubicBezTo>
                    <a:pt x="121" y="166"/>
                    <a:pt x="122" y="172"/>
                    <a:pt x="125" y="174"/>
                  </a:cubicBezTo>
                  <a:cubicBezTo>
                    <a:pt x="126" y="175"/>
                    <a:pt x="129" y="174"/>
                    <a:pt x="131" y="173"/>
                  </a:cubicBezTo>
                  <a:cubicBezTo>
                    <a:pt x="132" y="173"/>
                    <a:pt x="132" y="173"/>
                    <a:pt x="133" y="173"/>
                  </a:cubicBezTo>
                  <a:cubicBezTo>
                    <a:pt x="133" y="174"/>
                    <a:pt x="134" y="175"/>
                    <a:pt x="134" y="176"/>
                  </a:cubicBezTo>
                  <a:cubicBezTo>
                    <a:pt x="133" y="176"/>
                    <a:pt x="131" y="177"/>
                    <a:pt x="127" y="177"/>
                  </a:cubicBezTo>
                  <a:cubicBezTo>
                    <a:pt x="124" y="177"/>
                    <a:pt x="122" y="177"/>
                    <a:pt x="122" y="177"/>
                  </a:cubicBezTo>
                  <a:cubicBezTo>
                    <a:pt x="120" y="175"/>
                    <a:pt x="114" y="165"/>
                    <a:pt x="114" y="163"/>
                  </a:cubicBezTo>
                  <a:cubicBezTo>
                    <a:pt x="114" y="162"/>
                    <a:pt x="116" y="160"/>
                    <a:pt x="117" y="159"/>
                  </a:cubicBezTo>
                  <a:cubicBezTo>
                    <a:pt x="118" y="158"/>
                    <a:pt x="118" y="158"/>
                    <a:pt x="118" y="158"/>
                  </a:cubicBezTo>
                  <a:cubicBezTo>
                    <a:pt x="121" y="154"/>
                    <a:pt x="129" y="148"/>
                    <a:pt x="132" y="145"/>
                  </a:cubicBezTo>
                  <a:cubicBezTo>
                    <a:pt x="133" y="145"/>
                    <a:pt x="134" y="144"/>
                    <a:pt x="135" y="144"/>
                  </a:cubicBezTo>
                  <a:cubicBezTo>
                    <a:pt x="137" y="143"/>
                    <a:pt x="139" y="142"/>
                    <a:pt x="140" y="141"/>
                  </a:cubicBezTo>
                  <a:cubicBezTo>
                    <a:pt x="141" y="139"/>
                    <a:pt x="143" y="137"/>
                    <a:pt x="144" y="134"/>
                  </a:cubicBezTo>
                  <a:cubicBezTo>
                    <a:pt x="145" y="132"/>
                    <a:pt x="146" y="130"/>
                    <a:pt x="147" y="128"/>
                  </a:cubicBezTo>
                  <a:cubicBezTo>
                    <a:pt x="147" y="129"/>
                    <a:pt x="147" y="129"/>
                    <a:pt x="147" y="129"/>
                  </a:cubicBezTo>
                  <a:cubicBezTo>
                    <a:pt x="147" y="130"/>
                    <a:pt x="147" y="130"/>
                    <a:pt x="147" y="130"/>
                  </a:cubicBezTo>
                  <a:cubicBezTo>
                    <a:pt x="146" y="133"/>
                    <a:pt x="145" y="138"/>
                    <a:pt x="149" y="139"/>
                  </a:cubicBezTo>
                  <a:cubicBezTo>
                    <a:pt x="149" y="139"/>
                    <a:pt x="150" y="139"/>
                    <a:pt x="150" y="139"/>
                  </a:cubicBezTo>
                  <a:cubicBezTo>
                    <a:pt x="153" y="139"/>
                    <a:pt x="154" y="136"/>
                    <a:pt x="155" y="133"/>
                  </a:cubicBezTo>
                  <a:cubicBezTo>
                    <a:pt x="155" y="133"/>
                    <a:pt x="155" y="131"/>
                    <a:pt x="155" y="131"/>
                  </a:cubicBezTo>
                  <a:cubicBezTo>
                    <a:pt x="156" y="130"/>
                    <a:pt x="157" y="129"/>
                    <a:pt x="159" y="128"/>
                  </a:cubicBezTo>
                  <a:cubicBezTo>
                    <a:pt x="160" y="127"/>
                    <a:pt x="162" y="125"/>
                    <a:pt x="163" y="124"/>
                  </a:cubicBezTo>
                  <a:cubicBezTo>
                    <a:pt x="165" y="121"/>
                    <a:pt x="166" y="116"/>
                    <a:pt x="167" y="113"/>
                  </a:cubicBezTo>
                  <a:cubicBezTo>
                    <a:pt x="167" y="110"/>
                    <a:pt x="166" y="109"/>
                    <a:pt x="166" y="107"/>
                  </a:cubicBezTo>
                  <a:cubicBezTo>
                    <a:pt x="166" y="106"/>
                    <a:pt x="165" y="105"/>
                    <a:pt x="165" y="103"/>
                  </a:cubicBezTo>
                  <a:cubicBezTo>
                    <a:pt x="165" y="103"/>
                    <a:pt x="166" y="102"/>
                    <a:pt x="166" y="101"/>
                  </a:cubicBezTo>
                  <a:cubicBezTo>
                    <a:pt x="167" y="99"/>
                    <a:pt x="169" y="95"/>
                    <a:pt x="166" y="93"/>
                  </a:cubicBezTo>
                  <a:cubicBezTo>
                    <a:pt x="166" y="93"/>
                    <a:pt x="165" y="93"/>
                    <a:pt x="164" y="93"/>
                  </a:cubicBezTo>
                  <a:cubicBezTo>
                    <a:pt x="161" y="93"/>
                    <a:pt x="157" y="97"/>
                    <a:pt x="155" y="99"/>
                  </a:cubicBezTo>
                  <a:cubicBezTo>
                    <a:pt x="155" y="97"/>
                    <a:pt x="154" y="96"/>
                    <a:pt x="152" y="95"/>
                  </a:cubicBezTo>
                  <a:cubicBezTo>
                    <a:pt x="152" y="95"/>
                    <a:pt x="151" y="95"/>
                    <a:pt x="151" y="95"/>
                  </a:cubicBezTo>
                  <a:cubicBezTo>
                    <a:pt x="149" y="95"/>
                    <a:pt x="148" y="96"/>
                    <a:pt x="146" y="97"/>
                  </a:cubicBezTo>
                  <a:cubicBezTo>
                    <a:pt x="146" y="97"/>
                    <a:pt x="145" y="97"/>
                    <a:pt x="145" y="97"/>
                  </a:cubicBezTo>
                  <a:cubicBezTo>
                    <a:pt x="145" y="97"/>
                    <a:pt x="145" y="96"/>
                    <a:pt x="145" y="95"/>
                  </a:cubicBezTo>
                  <a:cubicBezTo>
                    <a:pt x="145" y="94"/>
                    <a:pt x="145" y="93"/>
                    <a:pt x="145" y="92"/>
                  </a:cubicBezTo>
                  <a:cubicBezTo>
                    <a:pt x="145" y="92"/>
                    <a:pt x="145" y="91"/>
                    <a:pt x="145" y="91"/>
                  </a:cubicBezTo>
                  <a:cubicBezTo>
                    <a:pt x="144" y="88"/>
                    <a:pt x="144" y="84"/>
                    <a:pt x="142" y="83"/>
                  </a:cubicBezTo>
                  <a:cubicBezTo>
                    <a:pt x="140" y="82"/>
                    <a:pt x="137" y="83"/>
                    <a:pt x="135" y="84"/>
                  </a:cubicBezTo>
                  <a:cubicBezTo>
                    <a:pt x="134" y="84"/>
                    <a:pt x="133" y="85"/>
                    <a:pt x="133" y="85"/>
                  </a:cubicBezTo>
                  <a:cubicBezTo>
                    <a:pt x="131" y="85"/>
                    <a:pt x="129" y="86"/>
                    <a:pt x="127" y="86"/>
                  </a:cubicBezTo>
                  <a:cubicBezTo>
                    <a:pt x="126" y="86"/>
                    <a:pt x="126" y="86"/>
                    <a:pt x="126" y="86"/>
                  </a:cubicBezTo>
                  <a:cubicBezTo>
                    <a:pt x="125" y="85"/>
                    <a:pt x="123" y="84"/>
                    <a:pt x="122" y="83"/>
                  </a:cubicBezTo>
                  <a:cubicBezTo>
                    <a:pt x="120" y="82"/>
                    <a:pt x="119" y="81"/>
                    <a:pt x="118" y="80"/>
                  </a:cubicBezTo>
                  <a:cubicBezTo>
                    <a:pt x="116" y="79"/>
                    <a:pt x="113" y="79"/>
                    <a:pt x="109" y="78"/>
                  </a:cubicBezTo>
                  <a:cubicBezTo>
                    <a:pt x="107" y="77"/>
                    <a:pt x="104" y="77"/>
                    <a:pt x="102" y="76"/>
                  </a:cubicBezTo>
                  <a:cubicBezTo>
                    <a:pt x="102" y="76"/>
                    <a:pt x="100" y="75"/>
                    <a:pt x="99" y="74"/>
                  </a:cubicBezTo>
                  <a:cubicBezTo>
                    <a:pt x="97" y="73"/>
                    <a:pt x="96" y="72"/>
                    <a:pt x="95" y="71"/>
                  </a:cubicBezTo>
                  <a:cubicBezTo>
                    <a:pt x="93" y="70"/>
                    <a:pt x="90" y="70"/>
                    <a:pt x="87" y="69"/>
                  </a:cubicBezTo>
                  <a:cubicBezTo>
                    <a:pt x="84" y="68"/>
                    <a:pt x="82" y="68"/>
                    <a:pt x="80" y="67"/>
                  </a:cubicBezTo>
                  <a:cubicBezTo>
                    <a:pt x="77" y="66"/>
                    <a:pt x="72" y="63"/>
                    <a:pt x="70" y="61"/>
                  </a:cubicBezTo>
                  <a:cubicBezTo>
                    <a:pt x="69" y="60"/>
                    <a:pt x="69" y="59"/>
                    <a:pt x="68" y="58"/>
                  </a:cubicBezTo>
                  <a:cubicBezTo>
                    <a:pt x="67" y="56"/>
                    <a:pt x="66" y="55"/>
                    <a:pt x="65" y="54"/>
                  </a:cubicBezTo>
                  <a:cubicBezTo>
                    <a:pt x="64" y="53"/>
                    <a:pt x="62" y="52"/>
                    <a:pt x="60" y="51"/>
                  </a:cubicBezTo>
                  <a:cubicBezTo>
                    <a:pt x="58" y="50"/>
                    <a:pt x="57" y="50"/>
                    <a:pt x="57" y="49"/>
                  </a:cubicBezTo>
                  <a:cubicBezTo>
                    <a:pt x="55" y="48"/>
                    <a:pt x="51" y="45"/>
                    <a:pt x="49" y="43"/>
                  </a:cubicBezTo>
                  <a:cubicBezTo>
                    <a:pt x="48" y="42"/>
                    <a:pt x="46" y="40"/>
                    <a:pt x="44" y="38"/>
                  </a:cubicBezTo>
                  <a:cubicBezTo>
                    <a:pt x="41" y="34"/>
                    <a:pt x="38" y="31"/>
                    <a:pt x="35" y="29"/>
                  </a:cubicBezTo>
                  <a:cubicBezTo>
                    <a:pt x="35" y="29"/>
                    <a:pt x="34" y="28"/>
                    <a:pt x="34" y="28"/>
                  </a:cubicBezTo>
                  <a:cubicBezTo>
                    <a:pt x="30" y="25"/>
                    <a:pt x="27" y="23"/>
                    <a:pt x="24" y="25"/>
                  </a:cubicBezTo>
                  <a:cubicBezTo>
                    <a:pt x="22" y="27"/>
                    <a:pt x="23" y="30"/>
                    <a:pt x="24" y="33"/>
                  </a:cubicBezTo>
                  <a:cubicBezTo>
                    <a:pt x="25" y="34"/>
                    <a:pt x="25" y="35"/>
                    <a:pt x="25" y="36"/>
                  </a:cubicBezTo>
                  <a:cubicBezTo>
                    <a:pt x="25" y="36"/>
                    <a:pt x="24" y="36"/>
                    <a:pt x="24" y="37"/>
                  </a:cubicBezTo>
                  <a:cubicBezTo>
                    <a:pt x="23" y="38"/>
                    <a:pt x="22" y="40"/>
                    <a:pt x="22" y="42"/>
                  </a:cubicBezTo>
                  <a:cubicBezTo>
                    <a:pt x="22" y="43"/>
                    <a:pt x="22" y="45"/>
                    <a:pt x="21" y="45"/>
                  </a:cubicBezTo>
                  <a:cubicBezTo>
                    <a:pt x="21" y="46"/>
                    <a:pt x="20" y="47"/>
                    <a:pt x="19" y="48"/>
                  </a:cubicBezTo>
                  <a:cubicBezTo>
                    <a:pt x="18" y="50"/>
                    <a:pt x="17" y="52"/>
                    <a:pt x="16" y="54"/>
                  </a:cubicBezTo>
                  <a:cubicBezTo>
                    <a:pt x="16" y="55"/>
                    <a:pt x="16" y="57"/>
                    <a:pt x="16" y="59"/>
                  </a:cubicBezTo>
                  <a:cubicBezTo>
                    <a:pt x="17" y="59"/>
                    <a:pt x="17" y="61"/>
                    <a:pt x="17" y="61"/>
                  </a:cubicBezTo>
                  <a:cubicBezTo>
                    <a:pt x="17" y="62"/>
                    <a:pt x="16" y="63"/>
                    <a:pt x="16" y="64"/>
                  </a:cubicBezTo>
                  <a:cubicBezTo>
                    <a:pt x="15" y="66"/>
                    <a:pt x="15" y="67"/>
                    <a:pt x="15" y="68"/>
                  </a:cubicBezTo>
                  <a:cubicBezTo>
                    <a:pt x="14" y="70"/>
                    <a:pt x="14" y="75"/>
                    <a:pt x="15" y="77"/>
                  </a:cubicBezTo>
                  <a:cubicBezTo>
                    <a:pt x="15" y="78"/>
                    <a:pt x="15" y="82"/>
                    <a:pt x="16" y="85"/>
                  </a:cubicBezTo>
                  <a:cubicBezTo>
                    <a:pt x="17" y="86"/>
                    <a:pt x="18" y="88"/>
                    <a:pt x="19" y="90"/>
                  </a:cubicBezTo>
                  <a:cubicBezTo>
                    <a:pt x="20" y="91"/>
                    <a:pt x="22" y="92"/>
                    <a:pt x="22" y="93"/>
                  </a:cubicBezTo>
                  <a:cubicBezTo>
                    <a:pt x="23" y="96"/>
                    <a:pt x="25" y="103"/>
                    <a:pt x="25" y="108"/>
                  </a:cubicBezTo>
                  <a:cubicBezTo>
                    <a:pt x="26" y="110"/>
                    <a:pt x="26" y="114"/>
                    <a:pt x="26" y="115"/>
                  </a:cubicBezTo>
                  <a:cubicBezTo>
                    <a:pt x="26" y="119"/>
                    <a:pt x="25" y="123"/>
                    <a:pt x="24" y="128"/>
                  </a:cubicBezTo>
                  <a:cubicBezTo>
                    <a:pt x="23" y="135"/>
                    <a:pt x="22" y="141"/>
                    <a:pt x="23" y="146"/>
                  </a:cubicBezTo>
                  <a:cubicBezTo>
                    <a:pt x="23" y="148"/>
                    <a:pt x="23" y="152"/>
                    <a:pt x="24" y="156"/>
                  </a:cubicBezTo>
                  <a:cubicBezTo>
                    <a:pt x="25" y="159"/>
                    <a:pt x="25" y="162"/>
                    <a:pt x="25" y="165"/>
                  </a:cubicBezTo>
                  <a:cubicBezTo>
                    <a:pt x="26" y="170"/>
                    <a:pt x="24" y="181"/>
                    <a:pt x="23" y="186"/>
                  </a:cubicBezTo>
                  <a:cubicBezTo>
                    <a:pt x="23" y="187"/>
                    <a:pt x="23" y="188"/>
                    <a:pt x="22" y="189"/>
                  </a:cubicBezTo>
                  <a:cubicBezTo>
                    <a:pt x="21" y="191"/>
                    <a:pt x="20" y="193"/>
                    <a:pt x="20" y="195"/>
                  </a:cubicBezTo>
                  <a:cubicBezTo>
                    <a:pt x="21" y="199"/>
                    <a:pt x="29" y="199"/>
                    <a:pt x="29" y="199"/>
                  </a:cubicBezTo>
                  <a:cubicBezTo>
                    <a:pt x="30" y="199"/>
                    <a:pt x="30" y="199"/>
                    <a:pt x="31" y="199"/>
                  </a:cubicBezTo>
                  <a:cubicBezTo>
                    <a:pt x="33" y="199"/>
                    <a:pt x="33" y="196"/>
                    <a:pt x="33" y="193"/>
                  </a:cubicBezTo>
                  <a:cubicBezTo>
                    <a:pt x="33" y="193"/>
                    <a:pt x="33" y="193"/>
                    <a:pt x="33" y="193"/>
                  </a:cubicBezTo>
                  <a:cubicBezTo>
                    <a:pt x="34" y="194"/>
                    <a:pt x="35" y="195"/>
                    <a:pt x="36" y="195"/>
                  </a:cubicBezTo>
                  <a:cubicBezTo>
                    <a:pt x="37" y="196"/>
                    <a:pt x="37" y="196"/>
                    <a:pt x="37" y="197"/>
                  </a:cubicBezTo>
                  <a:cubicBezTo>
                    <a:pt x="38" y="197"/>
                    <a:pt x="38" y="198"/>
                    <a:pt x="38" y="199"/>
                  </a:cubicBezTo>
                  <a:cubicBezTo>
                    <a:pt x="38" y="201"/>
                    <a:pt x="39" y="203"/>
                    <a:pt x="40" y="204"/>
                  </a:cubicBezTo>
                  <a:cubicBezTo>
                    <a:pt x="39" y="204"/>
                    <a:pt x="37" y="204"/>
                    <a:pt x="37" y="205"/>
                  </a:cubicBezTo>
                  <a:cubicBezTo>
                    <a:pt x="35" y="205"/>
                    <a:pt x="33" y="206"/>
                    <a:pt x="31" y="208"/>
                  </a:cubicBezTo>
                  <a:cubicBezTo>
                    <a:pt x="30" y="209"/>
                    <a:pt x="27" y="210"/>
                    <a:pt x="27" y="211"/>
                  </a:cubicBezTo>
                  <a:cubicBezTo>
                    <a:pt x="27" y="210"/>
                    <a:pt x="26" y="209"/>
                    <a:pt x="26" y="208"/>
                  </a:cubicBezTo>
                  <a:cubicBezTo>
                    <a:pt x="25" y="206"/>
                    <a:pt x="24" y="202"/>
                    <a:pt x="21" y="202"/>
                  </a:cubicBezTo>
                  <a:cubicBezTo>
                    <a:pt x="21" y="202"/>
                    <a:pt x="21" y="202"/>
                    <a:pt x="21" y="202"/>
                  </a:cubicBezTo>
                  <a:cubicBezTo>
                    <a:pt x="15" y="203"/>
                    <a:pt x="16" y="213"/>
                    <a:pt x="16" y="219"/>
                  </a:cubicBezTo>
                  <a:cubicBezTo>
                    <a:pt x="16" y="220"/>
                    <a:pt x="16" y="220"/>
                    <a:pt x="16" y="220"/>
                  </a:cubicBezTo>
                  <a:cubicBezTo>
                    <a:pt x="16" y="227"/>
                    <a:pt x="18" y="229"/>
                    <a:pt x="19" y="230"/>
                  </a:cubicBezTo>
                  <a:cubicBezTo>
                    <a:pt x="21" y="231"/>
                    <a:pt x="22" y="231"/>
                    <a:pt x="24" y="230"/>
                  </a:cubicBezTo>
                  <a:cubicBezTo>
                    <a:pt x="24" y="230"/>
                    <a:pt x="25" y="230"/>
                    <a:pt x="25" y="230"/>
                  </a:cubicBezTo>
                  <a:cubicBezTo>
                    <a:pt x="29" y="230"/>
                    <a:pt x="36" y="232"/>
                    <a:pt x="38" y="234"/>
                  </a:cubicBezTo>
                  <a:cubicBezTo>
                    <a:pt x="39" y="234"/>
                    <a:pt x="39" y="235"/>
                    <a:pt x="39" y="235"/>
                  </a:cubicBezTo>
                  <a:cubicBezTo>
                    <a:pt x="37" y="234"/>
                    <a:pt x="34" y="232"/>
                    <a:pt x="33" y="233"/>
                  </a:cubicBezTo>
                  <a:cubicBezTo>
                    <a:pt x="29" y="233"/>
                    <a:pt x="26" y="240"/>
                    <a:pt x="25" y="242"/>
                  </a:cubicBezTo>
                  <a:cubicBezTo>
                    <a:pt x="25" y="245"/>
                    <a:pt x="28" y="246"/>
                    <a:pt x="30" y="247"/>
                  </a:cubicBezTo>
                  <a:cubicBezTo>
                    <a:pt x="30" y="247"/>
                    <a:pt x="31" y="247"/>
                    <a:pt x="31" y="247"/>
                  </a:cubicBezTo>
                  <a:cubicBezTo>
                    <a:pt x="30" y="248"/>
                    <a:pt x="30" y="248"/>
                    <a:pt x="29" y="249"/>
                  </a:cubicBezTo>
                  <a:cubicBezTo>
                    <a:pt x="28" y="250"/>
                    <a:pt x="26" y="252"/>
                    <a:pt x="26" y="254"/>
                  </a:cubicBezTo>
                  <a:cubicBezTo>
                    <a:pt x="26" y="256"/>
                    <a:pt x="26" y="258"/>
                    <a:pt x="30" y="260"/>
                  </a:cubicBezTo>
                  <a:cubicBezTo>
                    <a:pt x="32" y="262"/>
                    <a:pt x="33" y="264"/>
                    <a:pt x="33" y="265"/>
                  </a:cubicBezTo>
                  <a:cubicBezTo>
                    <a:pt x="33" y="265"/>
                    <a:pt x="32" y="265"/>
                    <a:pt x="29" y="265"/>
                  </a:cubicBezTo>
                  <a:cubicBezTo>
                    <a:pt x="29" y="265"/>
                    <a:pt x="29" y="264"/>
                    <a:pt x="29" y="263"/>
                  </a:cubicBezTo>
                  <a:cubicBezTo>
                    <a:pt x="28" y="262"/>
                    <a:pt x="27" y="260"/>
                    <a:pt x="25" y="259"/>
                  </a:cubicBezTo>
                  <a:cubicBezTo>
                    <a:pt x="24" y="258"/>
                    <a:pt x="22" y="259"/>
                    <a:pt x="20" y="259"/>
                  </a:cubicBezTo>
                  <a:cubicBezTo>
                    <a:pt x="20" y="259"/>
                    <a:pt x="19" y="259"/>
                    <a:pt x="19" y="260"/>
                  </a:cubicBezTo>
                  <a:cubicBezTo>
                    <a:pt x="19" y="258"/>
                    <a:pt x="20" y="256"/>
                    <a:pt x="21" y="255"/>
                  </a:cubicBezTo>
                  <a:cubicBezTo>
                    <a:pt x="22" y="252"/>
                    <a:pt x="23" y="249"/>
                    <a:pt x="22" y="247"/>
                  </a:cubicBezTo>
                  <a:cubicBezTo>
                    <a:pt x="22" y="243"/>
                    <a:pt x="21" y="237"/>
                    <a:pt x="16" y="237"/>
                  </a:cubicBezTo>
                  <a:cubicBezTo>
                    <a:pt x="14" y="237"/>
                    <a:pt x="10" y="239"/>
                    <a:pt x="6" y="246"/>
                  </a:cubicBezTo>
                  <a:cubicBezTo>
                    <a:pt x="2" y="257"/>
                    <a:pt x="0" y="273"/>
                    <a:pt x="5" y="279"/>
                  </a:cubicBezTo>
                  <a:cubicBezTo>
                    <a:pt x="6" y="280"/>
                    <a:pt x="7" y="281"/>
                    <a:pt x="9" y="281"/>
                  </a:cubicBezTo>
                  <a:cubicBezTo>
                    <a:pt x="10" y="281"/>
                    <a:pt x="11" y="280"/>
                    <a:pt x="13" y="280"/>
                  </a:cubicBezTo>
                  <a:cubicBezTo>
                    <a:pt x="14" y="280"/>
                    <a:pt x="15" y="279"/>
                    <a:pt x="15" y="279"/>
                  </a:cubicBezTo>
                  <a:cubicBezTo>
                    <a:pt x="16" y="280"/>
                    <a:pt x="16" y="281"/>
                    <a:pt x="17" y="282"/>
                  </a:cubicBezTo>
                  <a:cubicBezTo>
                    <a:pt x="18" y="284"/>
                    <a:pt x="19" y="287"/>
                    <a:pt x="21" y="287"/>
                  </a:cubicBezTo>
                  <a:cubicBezTo>
                    <a:pt x="24" y="288"/>
                    <a:pt x="28" y="287"/>
                    <a:pt x="31" y="285"/>
                  </a:cubicBezTo>
                  <a:cubicBezTo>
                    <a:pt x="33" y="285"/>
                    <a:pt x="35" y="284"/>
                    <a:pt x="37" y="284"/>
                  </a:cubicBezTo>
                  <a:cubicBezTo>
                    <a:pt x="38" y="284"/>
                    <a:pt x="39" y="287"/>
                    <a:pt x="40" y="289"/>
                  </a:cubicBezTo>
                  <a:cubicBezTo>
                    <a:pt x="40" y="290"/>
                    <a:pt x="41" y="291"/>
                    <a:pt x="42" y="291"/>
                  </a:cubicBezTo>
                  <a:cubicBezTo>
                    <a:pt x="49" y="292"/>
                    <a:pt x="49" y="292"/>
                    <a:pt x="49" y="292"/>
                  </a:cubicBezTo>
                  <a:cubicBezTo>
                    <a:pt x="50" y="293"/>
                    <a:pt x="50" y="293"/>
                    <a:pt x="50" y="293"/>
                  </a:cubicBezTo>
                  <a:cubicBezTo>
                    <a:pt x="55" y="295"/>
                    <a:pt x="55" y="295"/>
                    <a:pt x="55" y="295"/>
                  </a:cubicBezTo>
                  <a:cubicBezTo>
                    <a:pt x="55" y="296"/>
                    <a:pt x="55" y="296"/>
                    <a:pt x="55" y="296"/>
                  </a:cubicBezTo>
                  <a:cubicBezTo>
                    <a:pt x="57" y="302"/>
                    <a:pt x="57" y="302"/>
                    <a:pt x="57" y="302"/>
                  </a:cubicBezTo>
                  <a:cubicBezTo>
                    <a:pt x="57" y="302"/>
                    <a:pt x="58" y="302"/>
                    <a:pt x="58" y="303"/>
                  </a:cubicBezTo>
                  <a:cubicBezTo>
                    <a:pt x="65" y="310"/>
                    <a:pt x="65" y="310"/>
                    <a:pt x="65" y="310"/>
                  </a:cubicBezTo>
                  <a:cubicBezTo>
                    <a:pt x="66" y="310"/>
                    <a:pt x="66" y="311"/>
                    <a:pt x="67" y="311"/>
                  </a:cubicBezTo>
                  <a:cubicBezTo>
                    <a:pt x="74" y="310"/>
                    <a:pt x="74" y="310"/>
                    <a:pt x="74" y="310"/>
                  </a:cubicBezTo>
                  <a:cubicBezTo>
                    <a:pt x="78" y="312"/>
                    <a:pt x="78" y="312"/>
                    <a:pt x="78" y="312"/>
                  </a:cubicBezTo>
                  <a:cubicBezTo>
                    <a:pt x="82" y="318"/>
                    <a:pt x="82" y="318"/>
                    <a:pt x="82" y="318"/>
                  </a:cubicBezTo>
                  <a:cubicBezTo>
                    <a:pt x="82" y="318"/>
                    <a:pt x="82" y="318"/>
                    <a:pt x="82" y="319"/>
                  </a:cubicBezTo>
                  <a:cubicBezTo>
                    <a:pt x="90" y="325"/>
                    <a:pt x="90" y="325"/>
                    <a:pt x="90" y="325"/>
                  </a:cubicBezTo>
                  <a:cubicBezTo>
                    <a:pt x="93" y="339"/>
                    <a:pt x="93" y="339"/>
                    <a:pt x="93" y="339"/>
                  </a:cubicBezTo>
                  <a:cubicBezTo>
                    <a:pt x="89" y="377"/>
                    <a:pt x="89" y="377"/>
                    <a:pt x="89" y="377"/>
                  </a:cubicBezTo>
                  <a:cubicBezTo>
                    <a:pt x="89" y="378"/>
                    <a:pt x="89" y="378"/>
                    <a:pt x="89" y="379"/>
                  </a:cubicBezTo>
                  <a:cubicBezTo>
                    <a:pt x="92" y="383"/>
                    <a:pt x="92" y="383"/>
                    <a:pt x="92" y="383"/>
                  </a:cubicBezTo>
                  <a:cubicBezTo>
                    <a:pt x="92" y="383"/>
                    <a:pt x="93" y="384"/>
                    <a:pt x="93" y="384"/>
                  </a:cubicBezTo>
                  <a:cubicBezTo>
                    <a:pt x="104" y="389"/>
                    <a:pt x="104" y="389"/>
                    <a:pt x="104" y="389"/>
                  </a:cubicBezTo>
                  <a:cubicBezTo>
                    <a:pt x="112" y="394"/>
                    <a:pt x="112" y="394"/>
                    <a:pt x="112" y="394"/>
                  </a:cubicBezTo>
                  <a:cubicBezTo>
                    <a:pt x="113" y="394"/>
                    <a:pt x="113" y="394"/>
                    <a:pt x="113" y="394"/>
                  </a:cubicBezTo>
                  <a:cubicBezTo>
                    <a:pt x="116" y="395"/>
                    <a:pt x="116" y="395"/>
                    <a:pt x="116" y="395"/>
                  </a:cubicBezTo>
                  <a:cubicBezTo>
                    <a:pt x="124" y="400"/>
                    <a:pt x="124" y="400"/>
                    <a:pt x="124" y="400"/>
                  </a:cubicBezTo>
                  <a:cubicBezTo>
                    <a:pt x="124" y="400"/>
                    <a:pt x="125" y="400"/>
                    <a:pt x="125" y="400"/>
                  </a:cubicBezTo>
                  <a:cubicBezTo>
                    <a:pt x="133" y="401"/>
                    <a:pt x="133" y="401"/>
                    <a:pt x="133" y="401"/>
                  </a:cubicBezTo>
                  <a:cubicBezTo>
                    <a:pt x="148" y="399"/>
                    <a:pt x="148" y="399"/>
                    <a:pt x="148" y="399"/>
                  </a:cubicBezTo>
                  <a:cubicBezTo>
                    <a:pt x="155" y="398"/>
                    <a:pt x="155" y="398"/>
                    <a:pt x="155" y="398"/>
                  </a:cubicBezTo>
                  <a:cubicBezTo>
                    <a:pt x="156" y="398"/>
                    <a:pt x="156" y="398"/>
                    <a:pt x="156" y="397"/>
                  </a:cubicBezTo>
                  <a:cubicBezTo>
                    <a:pt x="163" y="393"/>
                    <a:pt x="163" y="393"/>
                    <a:pt x="163" y="393"/>
                  </a:cubicBezTo>
                  <a:cubicBezTo>
                    <a:pt x="169" y="393"/>
                    <a:pt x="169" y="393"/>
                    <a:pt x="169" y="393"/>
                  </a:cubicBezTo>
                  <a:cubicBezTo>
                    <a:pt x="176" y="396"/>
                    <a:pt x="176" y="396"/>
                    <a:pt x="176" y="396"/>
                  </a:cubicBezTo>
                  <a:cubicBezTo>
                    <a:pt x="176" y="396"/>
                    <a:pt x="177" y="396"/>
                    <a:pt x="177" y="396"/>
                  </a:cubicBezTo>
                  <a:cubicBezTo>
                    <a:pt x="189" y="397"/>
                    <a:pt x="189" y="397"/>
                    <a:pt x="189" y="397"/>
                  </a:cubicBezTo>
                  <a:cubicBezTo>
                    <a:pt x="197" y="401"/>
                    <a:pt x="197" y="401"/>
                    <a:pt x="197" y="401"/>
                  </a:cubicBezTo>
                  <a:cubicBezTo>
                    <a:pt x="197" y="401"/>
                    <a:pt x="197" y="401"/>
                    <a:pt x="198" y="401"/>
                  </a:cubicBezTo>
                  <a:cubicBezTo>
                    <a:pt x="204" y="403"/>
                    <a:pt x="204" y="403"/>
                    <a:pt x="204" y="403"/>
                  </a:cubicBezTo>
                  <a:cubicBezTo>
                    <a:pt x="211" y="408"/>
                    <a:pt x="211" y="408"/>
                    <a:pt x="211" y="408"/>
                  </a:cubicBezTo>
                  <a:cubicBezTo>
                    <a:pt x="212" y="414"/>
                    <a:pt x="212" y="414"/>
                    <a:pt x="212" y="414"/>
                  </a:cubicBezTo>
                  <a:cubicBezTo>
                    <a:pt x="212" y="415"/>
                    <a:pt x="214" y="416"/>
                    <a:pt x="215" y="416"/>
                  </a:cubicBezTo>
                  <a:cubicBezTo>
                    <a:pt x="229" y="415"/>
                    <a:pt x="229" y="415"/>
                    <a:pt x="229" y="415"/>
                  </a:cubicBezTo>
                  <a:cubicBezTo>
                    <a:pt x="236" y="418"/>
                    <a:pt x="236" y="418"/>
                    <a:pt x="236" y="418"/>
                  </a:cubicBezTo>
                  <a:cubicBezTo>
                    <a:pt x="237" y="418"/>
                    <a:pt x="237" y="418"/>
                    <a:pt x="238" y="418"/>
                  </a:cubicBezTo>
                  <a:cubicBezTo>
                    <a:pt x="248" y="415"/>
                    <a:pt x="255" y="413"/>
                    <a:pt x="260" y="413"/>
                  </a:cubicBezTo>
                  <a:cubicBezTo>
                    <a:pt x="265" y="413"/>
                    <a:pt x="267" y="415"/>
                    <a:pt x="269" y="417"/>
                  </a:cubicBezTo>
                  <a:cubicBezTo>
                    <a:pt x="272" y="421"/>
                    <a:pt x="277" y="425"/>
                    <a:pt x="291" y="422"/>
                  </a:cubicBezTo>
                  <a:cubicBezTo>
                    <a:pt x="305" y="419"/>
                    <a:pt x="305" y="419"/>
                    <a:pt x="305" y="419"/>
                  </a:cubicBezTo>
                  <a:cubicBezTo>
                    <a:pt x="320" y="417"/>
                    <a:pt x="320" y="417"/>
                    <a:pt x="320" y="417"/>
                  </a:cubicBezTo>
                  <a:cubicBezTo>
                    <a:pt x="344" y="418"/>
                    <a:pt x="344" y="418"/>
                    <a:pt x="344" y="418"/>
                  </a:cubicBezTo>
                  <a:cubicBezTo>
                    <a:pt x="344" y="418"/>
                    <a:pt x="345" y="418"/>
                    <a:pt x="345" y="418"/>
                  </a:cubicBezTo>
                  <a:cubicBezTo>
                    <a:pt x="351" y="414"/>
                    <a:pt x="351" y="414"/>
                    <a:pt x="351" y="414"/>
                  </a:cubicBezTo>
                  <a:cubicBezTo>
                    <a:pt x="356" y="416"/>
                    <a:pt x="356" y="416"/>
                    <a:pt x="356" y="416"/>
                  </a:cubicBezTo>
                  <a:cubicBezTo>
                    <a:pt x="356" y="416"/>
                    <a:pt x="356" y="416"/>
                    <a:pt x="357" y="416"/>
                  </a:cubicBezTo>
                  <a:cubicBezTo>
                    <a:pt x="374" y="417"/>
                    <a:pt x="374" y="417"/>
                    <a:pt x="374" y="417"/>
                  </a:cubicBezTo>
                  <a:cubicBezTo>
                    <a:pt x="381" y="419"/>
                    <a:pt x="381" y="419"/>
                    <a:pt x="381" y="419"/>
                  </a:cubicBezTo>
                  <a:cubicBezTo>
                    <a:pt x="381" y="419"/>
                    <a:pt x="382" y="419"/>
                    <a:pt x="382" y="419"/>
                  </a:cubicBezTo>
                  <a:cubicBezTo>
                    <a:pt x="390" y="420"/>
                    <a:pt x="390" y="420"/>
                    <a:pt x="390" y="420"/>
                  </a:cubicBezTo>
                  <a:cubicBezTo>
                    <a:pt x="390" y="420"/>
                    <a:pt x="391" y="420"/>
                    <a:pt x="391" y="420"/>
                  </a:cubicBezTo>
                  <a:cubicBezTo>
                    <a:pt x="398" y="416"/>
                    <a:pt x="398" y="416"/>
                    <a:pt x="398" y="416"/>
                  </a:cubicBezTo>
                  <a:cubicBezTo>
                    <a:pt x="471" y="433"/>
                    <a:pt x="471" y="433"/>
                    <a:pt x="471" y="433"/>
                  </a:cubicBezTo>
                  <a:cubicBezTo>
                    <a:pt x="565" y="453"/>
                    <a:pt x="565" y="453"/>
                    <a:pt x="565" y="453"/>
                  </a:cubicBezTo>
                  <a:cubicBezTo>
                    <a:pt x="566" y="453"/>
                    <a:pt x="566" y="453"/>
                    <a:pt x="566" y="453"/>
                  </a:cubicBezTo>
                  <a:cubicBezTo>
                    <a:pt x="566" y="453"/>
                    <a:pt x="566" y="453"/>
                    <a:pt x="566" y="453"/>
                  </a:cubicBezTo>
                  <a:cubicBezTo>
                    <a:pt x="567" y="453"/>
                    <a:pt x="569" y="451"/>
                    <a:pt x="569" y="450"/>
                  </a:cubicBezTo>
                  <a:cubicBezTo>
                    <a:pt x="569" y="450"/>
                    <a:pt x="568" y="449"/>
                    <a:pt x="568" y="449"/>
                  </a:cubicBezTo>
                  <a:cubicBezTo>
                    <a:pt x="566" y="443"/>
                    <a:pt x="566" y="443"/>
                    <a:pt x="566" y="443"/>
                  </a:cubicBezTo>
                  <a:cubicBezTo>
                    <a:pt x="570" y="420"/>
                    <a:pt x="570" y="420"/>
                    <a:pt x="570" y="420"/>
                  </a:cubicBezTo>
                  <a:cubicBezTo>
                    <a:pt x="570" y="420"/>
                    <a:pt x="570" y="419"/>
                    <a:pt x="570" y="419"/>
                  </a:cubicBezTo>
                  <a:cubicBezTo>
                    <a:pt x="565" y="405"/>
                    <a:pt x="565" y="405"/>
                    <a:pt x="565" y="405"/>
                  </a:cubicBezTo>
                  <a:cubicBezTo>
                    <a:pt x="568" y="399"/>
                    <a:pt x="568" y="399"/>
                    <a:pt x="568" y="399"/>
                  </a:cubicBezTo>
                  <a:cubicBezTo>
                    <a:pt x="568" y="398"/>
                    <a:pt x="568" y="398"/>
                    <a:pt x="568" y="398"/>
                  </a:cubicBezTo>
                  <a:cubicBezTo>
                    <a:pt x="571" y="374"/>
                    <a:pt x="571" y="374"/>
                    <a:pt x="571" y="374"/>
                  </a:cubicBezTo>
                  <a:cubicBezTo>
                    <a:pt x="628" y="112"/>
                    <a:pt x="628" y="112"/>
                    <a:pt x="628" y="112"/>
                  </a:cubicBezTo>
                  <a:cubicBezTo>
                    <a:pt x="628" y="107"/>
                    <a:pt x="628" y="107"/>
                    <a:pt x="628" y="107"/>
                  </a:cubicBezTo>
                  <a:cubicBezTo>
                    <a:pt x="628" y="106"/>
                    <a:pt x="628" y="105"/>
                    <a:pt x="626" y="104"/>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Rectangle 71">
              <a:extLst>
                <a:ext uri="{FF2B5EF4-FFF2-40B4-BE49-F238E27FC236}">
                  <a16:creationId xmlns:a16="http://schemas.microsoft.com/office/drawing/2014/main" id="{D4FA69E0-BED6-4885-A001-1C9D20027419}"/>
                </a:ext>
              </a:extLst>
            </p:cNvPr>
            <p:cNvSpPr/>
            <p:nvPr/>
          </p:nvSpPr>
          <p:spPr>
            <a:xfrm>
              <a:off x="8566749" y="3602965"/>
              <a:ext cx="956813" cy="169277"/>
            </a:xfrm>
            <a:prstGeom prst="rect">
              <a:avLst/>
            </a:prstGeom>
            <a:ln>
              <a:solidFill>
                <a:schemeClr val="bg1"/>
              </a:solidFill>
            </a:ln>
          </p:spPr>
          <p:txBody>
            <a:bodyPr wrap="square">
              <a:spAutoFit/>
            </a:bodyPr>
            <a:lstStyle/>
            <a:p>
              <a:pPr algn="ctr"/>
              <a:r>
                <a:rPr lang="en-US" sz="500">
                  <a:solidFill>
                    <a:schemeClr val="accent1"/>
                  </a:solidFill>
                </a:rPr>
                <a:t>Details</a:t>
              </a:r>
              <a:endParaRPr lang="en-US" sz="800">
                <a:solidFill>
                  <a:schemeClr val="accent1"/>
                </a:solidFill>
              </a:endParaRPr>
            </a:p>
          </p:txBody>
        </p:sp>
      </p:grpSp>
      <p:sp>
        <p:nvSpPr>
          <p:cNvPr id="73" name="Rectangle 72">
            <a:extLst>
              <a:ext uri="{FF2B5EF4-FFF2-40B4-BE49-F238E27FC236}">
                <a16:creationId xmlns:a16="http://schemas.microsoft.com/office/drawing/2014/main" id="{A4C9885F-9642-4D07-9A8D-C94A8C7AC334}"/>
              </a:ext>
            </a:extLst>
          </p:cNvPr>
          <p:cNvSpPr/>
          <p:nvPr userDrawn="1"/>
        </p:nvSpPr>
        <p:spPr>
          <a:xfrm>
            <a:off x="8637917" y="3688494"/>
            <a:ext cx="848983" cy="429884"/>
          </a:xfrm>
          <a:prstGeom prst="rect">
            <a:avLst/>
          </a:prstGeom>
          <a:no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pPr>
            <a:endParaRPr lang="en-US" sz="700">
              <a:solidFill>
                <a:schemeClr val="accent1"/>
              </a:solidFill>
            </a:endParaRPr>
          </a:p>
        </p:txBody>
      </p:sp>
      <p:sp>
        <p:nvSpPr>
          <p:cNvPr id="74" name="Rectangle 73">
            <a:extLst>
              <a:ext uri="{FF2B5EF4-FFF2-40B4-BE49-F238E27FC236}">
                <a16:creationId xmlns:a16="http://schemas.microsoft.com/office/drawing/2014/main" id="{C8BD8D5C-6350-409D-9A6B-E8B906E17FCB}"/>
              </a:ext>
            </a:extLst>
          </p:cNvPr>
          <p:cNvSpPr/>
          <p:nvPr userDrawn="1"/>
        </p:nvSpPr>
        <p:spPr>
          <a:xfrm>
            <a:off x="8745029" y="3699993"/>
            <a:ext cx="583002" cy="215444"/>
          </a:xfrm>
          <a:prstGeom prst="rect">
            <a:avLst/>
          </a:prstGeom>
        </p:spPr>
        <p:txBody>
          <a:bodyPr wrap="square">
            <a:spAutoFit/>
          </a:bodyPr>
          <a:lstStyle/>
          <a:p>
            <a:pPr algn="ctr"/>
            <a:r>
              <a:rPr lang="en-US" sz="800">
                <a:solidFill>
                  <a:schemeClr val="accent1"/>
                </a:solidFill>
                <a:latin typeface="+mj-lt"/>
              </a:rPr>
              <a:t>City</a:t>
            </a:r>
            <a:endParaRPr lang="en-US" sz="200">
              <a:solidFill>
                <a:schemeClr val="accent1"/>
              </a:solidFill>
              <a:latin typeface="+mj-lt"/>
            </a:endParaRPr>
          </a:p>
        </p:txBody>
      </p:sp>
      <p:cxnSp>
        <p:nvCxnSpPr>
          <p:cNvPr id="75" name="Straight Connector 74">
            <a:extLst>
              <a:ext uri="{FF2B5EF4-FFF2-40B4-BE49-F238E27FC236}">
                <a16:creationId xmlns:a16="http://schemas.microsoft.com/office/drawing/2014/main" id="{B72872ED-A7C1-4082-84CE-37BAFA85258E}"/>
              </a:ext>
            </a:extLst>
          </p:cNvPr>
          <p:cNvCxnSpPr>
            <a:cxnSpLocks/>
          </p:cNvCxnSpPr>
          <p:nvPr userDrawn="1"/>
        </p:nvCxnSpPr>
        <p:spPr>
          <a:xfrm flipH="1">
            <a:off x="6544575" y="3903436"/>
            <a:ext cx="2093342" cy="359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1415F540-D8DD-475F-AEAD-E2D32604F299}"/>
              </a:ext>
            </a:extLst>
          </p:cNvPr>
          <p:cNvCxnSpPr>
            <a:cxnSpLocks/>
          </p:cNvCxnSpPr>
          <p:nvPr userDrawn="1"/>
        </p:nvCxnSpPr>
        <p:spPr>
          <a:xfrm flipV="1">
            <a:off x="8781691" y="3915437"/>
            <a:ext cx="583720" cy="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7" name="Graphic 76" descr="Marker">
            <a:extLst>
              <a:ext uri="{FF2B5EF4-FFF2-40B4-BE49-F238E27FC236}">
                <a16:creationId xmlns:a16="http://schemas.microsoft.com/office/drawing/2014/main" id="{58265CF9-7496-445B-ADFC-5A5542B94210}"/>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232606" y="3678448"/>
            <a:ext cx="406402" cy="406402"/>
          </a:xfrm>
          <a:prstGeom prst="rect">
            <a:avLst/>
          </a:prstGeom>
        </p:spPr>
      </p:pic>
    </p:spTree>
    <p:extLst>
      <p:ext uri="{BB962C8B-B14F-4D97-AF65-F5344CB8AC3E}">
        <p14:creationId xmlns:p14="http://schemas.microsoft.com/office/powerpoint/2010/main" val="42052143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1344981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0" name="Rectangle 9">
            <a:extLst>
              <a:ext uri="{FF2B5EF4-FFF2-40B4-BE49-F238E27FC236}">
                <a16:creationId xmlns:a16="http://schemas.microsoft.com/office/drawing/2014/main" id="{CF8D282B-141A-4592-8956-EF2F480A728A}"/>
              </a:ext>
            </a:extLst>
          </p:cNvPr>
          <p:cNvSpPr/>
          <p:nvPr userDrawn="1"/>
        </p:nvSpPr>
        <p:spPr>
          <a:xfrm>
            <a:off x="2706449" y="5596645"/>
            <a:ext cx="577702" cy="5777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2"/>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accent1"/>
                </a:solidFill>
              </a:defRPr>
            </a:lvl1pPr>
          </a:lstStyle>
          <a:p>
            <a:r>
              <a:rPr lang="en-US"/>
              <a:t>Title Here</a:t>
            </a:r>
          </a:p>
        </p:txBody>
      </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accent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8" name="Picture Placeholder 27">
            <a:extLst>
              <a:ext uri="{FF2B5EF4-FFF2-40B4-BE49-F238E27FC236}">
                <a16:creationId xmlns:a16="http://schemas.microsoft.com/office/drawing/2014/main" id="{9218AEC5-B009-4CA6-8C15-D341FD6254C2}"/>
              </a:ext>
            </a:extLst>
          </p:cNvPr>
          <p:cNvSpPr>
            <a:spLocks noGrp="1"/>
          </p:cNvSpPr>
          <p:nvPr>
            <p:ph type="pic" sz="quarter" idx="11"/>
          </p:nvPr>
        </p:nvSpPr>
        <p:spPr>
          <a:xfrm>
            <a:off x="6210300" y="723900"/>
            <a:ext cx="5143500" cy="5448300"/>
          </a:xfrm>
          <a:custGeom>
            <a:avLst/>
            <a:gdLst>
              <a:gd name="connsiteX0" fmla="*/ 5143500 w 5143500"/>
              <a:gd name="connsiteY0" fmla="*/ 4187827 h 5448300"/>
              <a:gd name="connsiteX1" fmla="*/ 5143500 w 5143500"/>
              <a:gd name="connsiteY1" fmla="*/ 5448300 h 5448300"/>
              <a:gd name="connsiteX2" fmla="*/ 3912579 w 5143500"/>
              <a:gd name="connsiteY2" fmla="*/ 5448300 h 5448300"/>
              <a:gd name="connsiteX3" fmla="*/ 3918931 w 5143500"/>
              <a:gd name="connsiteY3" fmla="*/ 5319433 h 5448300"/>
              <a:gd name="connsiteX4" fmla="*/ 5017606 w 5143500"/>
              <a:gd name="connsiteY4" fmla="*/ 4194335 h 5448300"/>
              <a:gd name="connsiteX5" fmla="*/ 0 w 5143500"/>
              <a:gd name="connsiteY5" fmla="*/ 0 h 5448300"/>
              <a:gd name="connsiteX6" fmla="*/ 5143500 w 5143500"/>
              <a:gd name="connsiteY6" fmla="*/ 0 h 5448300"/>
              <a:gd name="connsiteX7" fmla="*/ 5143500 w 5143500"/>
              <a:gd name="connsiteY7" fmla="*/ 3408108 h 5448300"/>
              <a:gd name="connsiteX8" fmla="*/ 4939818 w 5143500"/>
              <a:gd name="connsiteY8" fmla="*/ 3418641 h 5448300"/>
              <a:gd name="connsiteX9" fmla="*/ 3161669 w 5143500"/>
              <a:gd name="connsiteY9" fmla="*/ 5239704 h 5448300"/>
              <a:gd name="connsiteX10" fmla="*/ 3151384 w 5143500"/>
              <a:gd name="connsiteY10" fmla="*/ 5448300 h 5448300"/>
              <a:gd name="connsiteX11" fmla="*/ 0 w 5143500"/>
              <a:gd name="connsiteY11" fmla="*/ 5448300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3500" h="5448300">
                <a:moveTo>
                  <a:pt x="5143500" y="4187827"/>
                </a:moveTo>
                <a:lnTo>
                  <a:pt x="5143500" y="5448300"/>
                </a:lnTo>
                <a:lnTo>
                  <a:pt x="3912579" y="5448300"/>
                </a:lnTo>
                <a:lnTo>
                  <a:pt x="3918931" y="5319433"/>
                </a:lnTo>
                <a:cubicBezTo>
                  <a:pt x="3977740" y="4726238"/>
                  <a:pt x="4438123" y="4254586"/>
                  <a:pt x="5017606" y="4194335"/>
                </a:cubicBezTo>
                <a:close/>
                <a:moveTo>
                  <a:pt x="0" y="0"/>
                </a:moveTo>
                <a:lnTo>
                  <a:pt x="5143500" y="0"/>
                </a:lnTo>
                <a:lnTo>
                  <a:pt x="5143500" y="3408108"/>
                </a:lnTo>
                <a:lnTo>
                  <a:pt x="4939818" y="3418641"/>
                </a:lnTo>
                <a:cubicBezTo>
                  <a:pt x="4002248" y="3516155"/>
                  <a:pt x="3256884" y="4279511"/>
                  <a:pt x="3161669" y="5239704"/>
                </a:cubicBezTo>
                <a:lnTo>
                  <a:pt x="3151384" y="5448300"/>
                </a:lnTo>
                <a:lnTo>
                  <a:pt x="0" y="5448300"/>
                </a:lnTo>
                <a:close/>
              </a:path>
            </a:pathLst>
          </a:custGeom>
          <a:solidFill>
            <a:schemeClr val="accent5"/>
          </a:solidFill>
        </p:spPr>
        <p:txBody>
          <a:bodyPr wrap="square">
            <a:noAutofit/>
          </a:bodyPr>
          <a:lstStyle/>
          <a:p>
            <a:endParaRPr lang="en-US"/>
          </a:p>
        </p:txBody>
      </p:sp>
    </p:spTree>
    <p:extLst>
      <p:ext uri="{BB962C8B-B14F-4D97-AF65-F5344CB8AC3E}">
        <p14:creationId xmlns:p14="http://schemas.microsoft.com/office/powerpoint/2010/main" val="4731803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 Subtitle + 3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1027294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a:off x="7043889" y="1"/>
            <a:ext cx="5148111" cy="535952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0" name="Picture Placeholder 6">
            <a:extLst>
              <a:ext uri="{FF2B5EF4-FFF2-40B4-BE49-F238E27FC236}">
                <a16:creationId xmlns:a16="http://schemas.microsoft.com/office/drawing/2014/main" id="{51F0FD9E-3AFB-4B29-92E4-ADCA8C32D219}"/>
              </a:ext>
            </a:extLst>
          </p:cNvPr>
          <p:cNvSpPr>
            <a:spLocks noGrp="1"/>
          </p:cNvSpPr>
          <p:nvPr>
            <p:ph type="pic" sz="quarter" idx="18"/>
          </p:nvPr>
        </p:nvSpPr>
        <p:spPr>
          <a:xfrm>
            <a:off x="1657350" y="2006600"/>
            <a:ext cx="1638300" cy="1638300"/>
          </a:xfrm>
        </p:spPr>
        <p:txBody>
          <a:bodyPr/>
          <a:lstStyle/>
          <a:p>
            <a:endParaRPr lang="en-US"/>
          </a:p>
        </p:txBody>
      </p:sp>
      <p:sp>
        <p:nvSpPr>
          <p:cNvPr id="23" name="Picture Placeholder 6">
            <a:extLst>
              <a:ext uri="{FF2B5EF4-FFF2-40B4-BE49-F238E27FC236}">
                <a16:creationId xmlns:a16="http://schemas.microsoft.com/office/drawing/2014/main" id="{963FF6B3-47CC-45EA-AEC0-F0B8E77D37DC}"/>
              </a:ext>
            </a:extLst>
          </p:cNvPr>
          <p:cNvSpPr>
            <a:spLocks noGrp="1"/>
          </p:cNvSpPr>
          <p:nvPr>
            <p:ph type="pic" sz="quarter" idx="19"/>
          </p:nvPr>
        </p:nvSpPr>
        <p:spPr>
          <a:xfrm>
            <a:off x="5276850" y="2006600"/>
            <a:ext cx="1638300" cy="1638300"/>
          </a:xfrm>
        </p:spPr>
        <p:txBody>
          <a:bodyPr/>
          <a:lstStyle/>
          <a:p>
            <a:endParaRPr lang="en-US"/>
          </a:p>
        </p:txBody>
      </p:sp>
      <p:sp>
        <p:nvSpPr>
          <p:cNvPr id="31" name="Text Placeholder 16">
            <a:extLst>
              <a:ext uri="{FF2B5EF4-FFF2-40B4-BE49-F238E27FC236}">
                <a16:creationId xmlns:a16="http://schemas.microsoft.com/office/drawing/2014/main" id="{D52115F0-9FFB-44A0-9536-7A92E8DD87FD}"/>
              </a:ext>
            </a:extLst>
          </p:cNvPr>
          <p:cNvSpPr>
            <a:spLocks noGrp="1"/>
          </p:cNvSpPr>
          <p:nvPr>
            <p:ph type="body" sz="quarter" idx="12"/>
          </p:nvPr>
        </p:nvSpPr>
        <p:spPr>
          <a:xfrm>
            <a:off x="838200" y="4313065"/>
            <a:ext cx="3390900" cy="1859135"/>
          </a:xfrm>
        </p:spPr>
        <p:txBody>
          <a:bodyPr/>
          <a:lstStyle>
            <a:lvl1pPr marL="0" indent="0">
              <a:buFont typeface="Arial" panose="020B0604020202020204" pitchFamily="34" charset="0"/>
              <a:buNone/>
              <a:defRPr sz="2000">
                <a:solidFill>
                  <a:schemeClr val="tx1"/>
                </a:solidFill>
              </a:defRPr>
            </a:lvl1pPr>
            <a:lvl2pPr marL="457200" indent="0">
              <a:buFont typeface="Arial" panose="020B0604020202020204" pitchFamily="34" charset="0"/>
              <a:buNone/>
              <a:defRPr sz="2000">
                <a:solidFill>
                  <a:schemeClr val="tx1"/>
                </a:solidFill>
              </a:defRPr>
            </a:lvl2pPr>
            <a:lvl3pPr marL="914400" indent="0">
              <a:buFont typeface="Arial" panose="020B0604020202020204" pitchFamily="34" charset="0"/>
              <a:buNone/>
              <a:defRPr sz="2000">
                <a:solidFill>
                  <a:schemeClr val="tx1"/>
                </a:solidFill>
              </a:defRPr>
            </a:lvl3pPr>
            <a:lvl4pPr marL="1371600" indent="0">
              <a:buFont typeface="Arial" panose="020B0604020202020204" pitchFamily="34" charset="0"/>
              <a:buNone/>
              <a:defRPr sz="2000">
                <a:solidFill>
                  <a:schemeClr val="tx1"/>
                </a:solidFill>
              </a:defRPr>
            </a:lvl4pPr>
            <a:lvl5pPr marL="1828800" indent="0">
              <a:buFont typeface="Arial" panose="020B0604020202020204" pitchFamily="34" charse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2" name="Text Placeholder 16">
            <a:extLst>
              <a:ext uri="{FF2B5EF4-FFF2-40B4-BE49-F238E27FC236}">
                <a16:creationId xmlns:a16="http://schemas.microsoft.com/office/drawing/2014/main" id="{62E1362D-EABA-407E-8EE8-E13D3342FFF9}"/>
              </a:ext>
            </a:extLst>
          </p:cNvPr>
          <p:cNvSpPr>
            <a:spLocks noGrp="1"/>
          </p:cNvSpPr>
          <p:nvPr>
            <p:ph type="body" sz="quarter" idx="14" hasCustomPrompt="1"/>
          </p:nvPr>
        </p:nvSpPr>
        <p:spPr>
          <a:xfrm>
            <a:off x="838200" y="3821287"/>
            <a:ext cx="33909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33" name="Text Placeholder 16">
            <a:extLst>
              <a:ext uri="{FF2B5EF4-FFF2-40B4-BE49-F238E27FC236}">
                <a16:creationId xmlns:a16="http://schemas.microsoft.com/office/drawing/2014/main" id="{73444CC1-6247-421E-AD6D-972404A78A28}"/>
              </a:ext>
            </a:extLst>
          </p:cNvPr>
          <p:cNvSpPr>
            <a:spLocks noGrp="1"/>
          </p:cNvSpPr>
          <p:nvPr>
            <p:ph type="body" sz="quarter" idx="20"/>
          </p:nvPr>
        </p:nvSpPr>
        <p:spPr>
          <a:xfrm>
            <a:off x="4457700" y="4313065"/>
            <a:ext cx="3276600" cy="1859135"/>
          </a:xfrm>
        </p:spPr>
        <p:txBody>
          <a:bodyPr/>
          <a:lstStyle>
            <a:lvl1pPr marL="0" indent="0">
              <a:buFont typeface="Arial" panose="020B0604020202020204" pitchFamily="34" charset="0"/>
              <a:buNone/>
              <a:defRPr sz="2000">
                <a:solidFill>
                  <a:schemeClr val="tx1"/>
                </a:solidFill>
              </a:defRPr>
            </a:lvl1pPr>
            <a:lvl2pPr marL="457200" indent="0">
              <a:buFont typeface="Arial" panose="020B0604020202020204" pitchFamily="34" charset="0"/>
              <a:buNone/>
              <a:defRPr sz="2000">
                <a:solidFill>
                  <a:schemeClr val="tx1"/>
                </a:solidFill>
              </a:defRPr>
            </a:lvl2pPr>
            <a:lvl3pPr marL="914400" indent="0">
              <a:buFont typeface="Arial" panose="020B0604020202020204" pitchFamily="34" charset="0"/>
              <a:buNone/>
              <a:defRPr sz="2000">
                <a:solidFill>
                  <a:schemeClr val="tx1"/>
                </a:solidFill>
              </a:defRPr>
            </a:lvl3pPr>
            <a:lvl4pPr marL="1371600" indent="0">
              <a:buFont typeface="Arial" panose="020B0604020202020204" pitchFamily="34" charset="0"/>
              <a:buNone/>
              <a:defRPr sz="2000">
                <a:solidFill>
                  <a:schemeClr val="tx1"/>
                </a:solidFill>
              </a:defRPr>
            </a:lvl4pPr>
            <a:lvl5pPr marL="1828800" indent="0">
              <a:buFont typeface="Arial" panose="020B0604020202020204" pitchFamily="34" charse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4" name="Text Placeholder 16">
            <a:extLst>
              <a:ext uri="{FF2B5EF4-FFF2-40B4-BE49-F238E27FC236}">
                <a16:creationId xmlns:a16="http://schemas.microsoft.com/office/drawing/2014/main" id="{A017B11C-6696-4537-8B33-B38F803B27FE}"/>
              </a:ext>
            </a:extLst>
          </p:cNvPr>
          <p:cNvSpPr>
            <a:spLocks noGrp="1"/>
          </p:cNvSpPr>
          <p:nvPr>
            <p:ph type="body" sz="quarter" idx="21" hasCustomPrompt="1"/>
          </p:nvPr>
        </p:nvSpPr>
        <p:spPr>
          <a:xfrm>
            <a:off x="4457700" y="3821287"/>
            <a:ext cx="32766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35" name="Picture Placeholder 6">
            <a:extLst>
              <a:ext uri="{FF2B5EF4-FFF2-40B4-BE49-F238E27FC236}">
                <a16:creationId xmlns:a16="http://schemas.microsoft.com/office/drawing/2014/main" id="{8D2FD841-A331-4B64-A0A5-3E0A3D1BFA0F}"/>
              </a:ext>
            </a:extLst>
          </p:cNvPr>
          <p:cNvSpPr>
            <a:spLocks noGrp="1"/>
          </p:cNvSpPr>
          <p:nvPr>
            <p:ph type="pic" sz="quarter" idx="22"/>
          </p:nvPr>
        </p:nvSpPr>
        <p:spPr>
          <a:xfrm>
            <a:off x="8782050" y="2006600"/>
            <a:ext cx="1638300" cy="1638300"/>
          </a:xfrm>
        </p:spPr>
        <p:txBody>
          <a:bodyPr/>
          <a:lstStyle/>
          <a:p>
            <a:endParaRPr lang="en-US"/>
          </a:p>
        </p:txBody>
      </p:sp>
      <p:sp>
        <p:nvSpPr>
          <p:cNvPr id="36" name="Text Placeholder 16">
            <a:extLst>
              <a:ext uri="{FF2B5EF4-FFF2-40B4-BE49-F238E27FC236}">
                <a16:creationId xmlns:a16="http://schemas.microsoft.com/office/drawing/2014/main" id="{C6451CE1-3582-4D94-B263-2AF5BEB1E85E}"/>
              </a:ext>
            </a:extLst>
          </p:cNvPr>
          <p:cNvSpPr>
            <a:spLocks noGrp="1"/>
          </p:cNvSpPr>
          <p:nvPr>
            <p:ph type="body" sz="quarter" idx="23"/>
          </p:nvPr>
        </p:nvSpPr>
        <p:spPr>
          <a:xfrm>
            <a:off x="7962900" y="4313065"/>
            <a:ext cx="3390900" cy="1859135"/>
          </a:xfrm>
        </p:spPr>
        <p:txBody>
          <a:bodyPr/>
          <a:lstStyle>
            <a:lvl1pPr marL="0" indent="0">
              <a:buFont typeface="Arial" panose="020B0604020202020204" pitchFamily="34" charset="0"/>
              <a:buNone/>
              <a:defRPr sz="2000">
                <a:solidFill>
                  <a:schemeClr val="tx1"/>
                </a:solidFill>
              </a:defRPr>
            </a:lvl1pPr>
            <a:lvl2pPr marL="457200" indent="0">
              <a:buFont typeface="Arial" panose="020B0604020202020204" pitchFamily="34" charset="0"/>
              <a:buNone/>
              <a:defRPr sz="2000">
                <a:solidFill>
                  <a:schemeClr val="tx1"/>
                </a:solidFill>
              </a:defRPr>
            </a:lvl2pPr>
            <a:lvl3pPr marL="914400" indent="0">
              <a:buFont typeface="Arial" panose="020B0604020202020204" pitchFamily="34" charset="0"/>
              <a:buNone/>
              <a:defRPr sz="2000">
                <a:solidFill>
                  <a:schemeClr val="tx1"/>
                </a:solidFill>
              </a:defRPr>
            </a:lvl3pPr>
            <a:lvl4pPr marL="1371600" indent="0">
              <a:buFont typeface="Arial" panose="020B0604020202020204" pitchFamily="34" charset="0"/>
              <a:buNone/>
              <a:defRPr sz="2000">
                <a:solidFill>
                  <a:schemeClr val="tx1"/>
                </a:solidFill>
              </a:defRPr>
            </a:lvl4pPr>
            <a:lvl5pPr marL="1828800" indent="0">
              <a:buFont typeface="Arial" panose="020B0604020202020204" pitchFamily="34" charse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7" name="Text Placeholder 16">
            <a:extLst>
              <a:ext uri="{FF2B5EF4-FFF2-40B4-BE49-F238E27FC236}">
                <a16:creationId xmlns:a16="http://schemas.microsoft.com/office/drawing/2014/main" id="{4AD9E344-7E5F-4F9F-9DA4-0599F10F492E}"/>
              </a:ext>
            </a:extLst>
          </p:cNvPr>
          <p:cNvSpPr>
            <a:spLocks noGrp="1"/>
          </p:cNvSpPr>
          <p:nvPr>
            <p:ph type="body" sz="quarter" idx="24" hasCustomPrompt="1"/>
          </p:nvPr>
        </p:nvSpPr>
        <p:spPr>
          <a:xfrm>
            <a:off x="7962900" y="3821287"/>
            <a:ext cx="33909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Tree>
    <p:extLst>
      <p:ext uri="{BB962C8B-B14F-4D97-AF65-F5344CB8AC3E}">
        <p14:creationId xmlns:p14="http://schemas.microsoft.com/office/powerpoint/2010/main" val="166402455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3_Content + Icon + Arc Imag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9D30C42F-D1DF-4DC7-BB9B-E099A6AA365E}"/>
              </a:ext>
            </a:extLst>
          </p:cNvPr>
          <p:cNvGraphicFramePr>
            <a:graphicFrameLocks noChangeAspect="1"/>
          </p:cNvGraphicFramePr>
          <p:nvPr userDrawn="1">
            <p:custDataLst>
              <p:tags r:id="rId1"/>
            </p:custDataLst>
            <p:extLst>
              <p:ext uri="{D42A27DB-BD31-4B8C-83A1-F6EECF244321}">
                <p14:modId xmlns:p14="http://schemas.microsoft.com/office/powerpoint/2010/main" val="1703389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9D30C42F-D1DF-4DC7-BB9B-E099A6AA36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C16794C-2337-4C40-A156-DC10DA4791A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F08B033D-F8A4-469B-9BEC-6C9B9720C696}"/>
              </a:ext>
            </a:extLst>
          </p:cNvPr>
          <p:cNvSpPr/>
          <p:nvPr userDrawn="1"/>
        </p:nvSpPr>
        <p:spPr>
          <a:xfrm>
            <a:off x="7962900" y="0"/>
            <a:ext cx="42291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5"/>
            <a:ext cx="6896100" cy="1806828"/>
          </a:xfrm>
        </p:spPr>
        <p:txBody>
          <a:bodyPr/>
          <a:lstStyle/>
          <a:p>
            <a:r>
              <a:rPr lang="en-US"/>
              <a:t>Click to edit Master title style</a:t>
            </a:r>
          </a:p>
        </p:txBody>
      </p:sp>
      <p:sp>
        <p:nvSpPr>
          <p:cNvPr id="7" name="Freeform: Shape 6">
            <a:extLst>
              <a:ext uri="{FF2B5EF4-FFF2-40B4-BE49-F238E27FC236}">
                <a16:creationId xmlns:a16="http://schemas.microsoft.com/office/drawing/2014/main" id="{E2276809-A9DE-422F-AFAA-F64539633E43}"/>
              </a:ext>
            </a:extLst>
          </p:cNvPr>
          <p:cNvSpPr/>
          <p:nvPr userDrawn="1"/>
        </p:nvSpPr>
        <p:spPr>
          <a:xfrm>
            <a:off x="1239225" y="3156255"/>
            <a:ext cx="8826528" cy="3190875"/>
          </a:xfrm>
          <a:custGeom>
            <a:avLst/>
            <a:gdLst>
              <a:gd name="connsiteX0" fmla="*/ 0 w 8353425"/>
              <a:gd name="connsiteY0" fmla="*/ 0 h 3190875"/>
              <a:gd name="connsiteX1" fmla="*/ 0 w 8353425"/>
              <a:gd name="connsiteY1" fmla="*/ 3190875 h 3190875"/>
              <a:gd name="connsiteX2" fmla="*/ 8353425 w 8353425"/>
              <a:gd name="connsiteY2" fmla="*/ 3190875 h 3190875"/>
              <a:gd name="connsiteX3" fmla="*/ 8353425 w 8353425"/>
              <a:gd name="connsiteY3" fmla="*/ 2733675 h 3190875"/>
            </a:gdLst>
            <a:ahLst/>
            <a:cxnLst>
              <a:cxn ang="0">
                <a:pos x="connsiteX0" y="connsiteY0"/>
              </a:cxn>
              <a:cxn ang="0">
                <a:pos x="connsiteX1" y="connsiteY1"/>
              </a:cxn>
              <a:cxn ang="0">
                <a:pos x="connsiteX2" y="connsiteY2"/>
              </a:cxn>
              <a:cxn ang="0">
                <a:pos x="connsiteX3" y="connsiteY3"/>
              </a:cxn>
            </a:cxnLst>
            <a:rect l="l" t="t" r="r" b="b"/>
            <a:pathLst>
              <a:path w="8353425" h="3190875">
                <a:moveTo>
                  <a:pt x="0" y="0"/>
                </a:moveTo>
                <a:lnTo>
                  <a:pt x="0" y="3190875"/>
                </a:lnTo>
                <a:lnTo>
                  <a:pt x="8353425" y="3190875"/>
                </a:lnTo>
                <a:lnTo>
                  <a:pt x="8353425" y="2733675"/>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7DB26AD-D582-41F9-9002-795358E4B4BD}"/>
              </a:ext>
            </a:extLst>
          </p:cNvPr>
          <p:cNvSpPr/>
          <p:nvPr userDrawn="1"/>
        </p:nvSpPr>
        <p:spPr>
          <a:xfrm>
            <a:off x="1239225" y="5570269"/>
            <a:ext cx="5303520"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11E1AE8A-CDFD-4A99-B8A2-9D047969B70E}"/>
              </a:ext>
            </a:extLst>
          </p:cNvPr>
          <p:cNvSpPr>
            <a:spLocks noGrp="1"/>
          </p:cNvSpPr>
          <p:nvPr userDrawn="1">
            <p:ph type="body" sz="quarter" idx="14"/>
          </p:nvPr>
        </p:nvSpPr>
        <p:spPr>
          <a:xfrm>
            <a:off x="1454944" y="4394502"/>
            <a:ext cx="4517231" cy="922338"/>
          </a:xfrm>
        </p:spPr>
        <p:txBody>
          <a:bodyPr>
            <a:noAutofit/>
          </a:bodyPr>
          <a:lstStyle>
            <a:lvl1pPr marL="171450" indent="-171450">
              <a:buFont typeface="Arial" panose="020B0604020202020204" pitchFamily="34" charset="0"/>
              <a:buChar char="•"/>
              <a:defRPr sz="2000"/>
            </a:lvl1pPr>
            <a:lvl2pPr marL="628650" indent="-171450">
              <a:buFont typeface="Arial" panose="020B0604020202020204" pitchFamily="34" charset="0"/>
              <a:buChar char="•"/>
              <a:defRPr sz="2000"/>
            </a:lvl2pPr>
            <a:lvl3pPr marL="1085850" indent="-171450">
              <a:buFont typeface="Arial" panose="020B0604020202020204" pitchFamily="34" charset="0"/>
              <a:buChar char="•"/>
              <a:defRPr sz="2000"/>
            </a:lvl3pPr>
            <a:lvl4pPr marL="1543050" indent="-171450">
              <a:buFont typeface="Arial" panose="020B0604020202020204" pitchFamily="34" charset="0"/>
              <a:buChar char="•"/>
              <a:defRPr sz="2000"/>
            </a:lvl4pPr>
            <a:lvl5pPr marL="2000250" indent="-17145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Oval 17">
            <a:extLst>
              <a:ext uri="{FF2B5EF4-FFF2-40B4-BE49-F238E27FC236}">
                <a16:creationId xmlns:a16="http://schemas.microsoft.com/office/drawing/2014/main" id="{AFBD5D6E-29F4-49E1-B5ED-AF6E60E1F591}"/>
              </a:ext>
            </a:extLst>
          </p:cNvPr>
          <p:cNvSpPr/>
          <p:nvPr userDrawn="1"/>
        </p:nvSpPr>
        <p:spPr>
          <a:xfrm>
            <a:off x="9061327" y="3337289"/>
            <a:ext cx="2032247" cy="20322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7">
            <a:extLst>
              <a:ext uri="{FF2B5EF4-FFF2-40B4-BE49-F238E27FC236}">
                <a16:creationId xmlns:a16="http://schemas.microsoft.com/office/drawing/2014/main" id="{91DB5F0C-83BA-4271-8671-F6945C0F0088}"/>
              </a:ext>
            </a:extLst>
          </p:cNvPr>
          <p:cNvSpPr>
            <a:spLocks noGrp="1"/>
          </p:cNvSpPr>
          <p:nvPr>
            <p:ph type="pic" sz="quarter" idx="16" hasCustomPrompt="1"/>
          </p:nvPr>
        </p:nvSpPr>
        <p:spPr>
          <a:xfrm>
            <a:off x="9498807" y="3773975"/>
            <a:ext cx="1157287" cy="1158875"/>
          </a:xfrm>
        </p:spPr>
        <p:txBody>
          <a:bodyPr anchor="ctr"/>
          <a:lstStyle>
            <a:lvl1pPr algn="ctr">
              <a:defRPr>
                <a:solidFill>
                  <a:schemeClr val="bg1"/>
                </a:solidFill>
              </a:defRPr>
            </a:lvl1pPr>
          </a:lstStyle>
          <a:p>
            <a:r>
              <a:rPr lang="en-US"/>
              <a:t>Add icon here</a:t>
            </a:r>
          </a:p>
        </p:txBody>
      </p:sp>
      <p:grpSp>
        <p:nvGrpSpPr>
          <p:cNvPr id="20" name="Graphic 6">
            <a:extLst>
              <a:ext uri="{FF2B5EF4-FFF2-40B4-BE49-F238E27FC236}">
                <a16:creationId xmlns:a16="http://schemas.microsoft.com/office/drawing/2014/main" id="{7A0A905F-5526-427F-8313-02DBD5CCF48A}"/>
              </a:ext>
            </a:extLst>
          </p:cNvPr>
          <p:cNvGrpSpPr/>
          <p:nvPr userDrawn="1"/>
        </p:nvGrpSpPr>
        <p:grpSpPr>
          <a:xfrm>
            <a:off x="891988" y="6394893"/>
            <a:ext cx="432890" cy="187030"/>
            <a:chOff x="85969" y="3646150"/>
            <a:chExt cx="1544103" cy="667132"/>
          </a:xfrm>
          <a:solidFill>
            <a:srgbClr val="FF9E18"/>
          </a:solidFill>
        </p:grpSpPr>
        <p:sp>
          <p:nvSpPr>
            <p:cNvPr id="25" name="Freeform: Shape 24">
              <a:extLst>
                <a:ext uri="{FF2B5EF4-FFF2-40B4-BE49-F238E27FC236}">
                  <a16:creationId xmlns:a16="http://schemas.microsoft.com/office/drawing/2014/main" id="{D744C706-56D9-4049-B600-54A1D543BEFD}"/>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8BC18EFB-EB46-4F5A-A17C-DF35BB1111D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2808B8E4-878B-41C7-88CD-89E4A3C9066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241375AE-39BD-4641-9E99-98B6749E5053}"/>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1" name="Text Placeholder 16">
            <a:extLst>
              <a:ext uri="{FF2B5EF4-FFF2-40B4-BE49-F238E27FC236}">
                <a16:creationId xmlns:a16="http://schemas.microsoft.com/office/drawing/2014/main" id="{6032DE2C-D49C-4BAD-8B30-05B8CE85FD1D}"/>
              </a:ext>
            </a:extLst>
          </p:cNvPr>
          <p:cNvSpPr>
            <a:spLocks noGrp="1"/>
          </p:cNvSpPr>
          <p:nvPr>
            <p:ph type="body" sz="quarter" idx="17" hasCustomPrompt="1"/>
          </p:nvPr>
        </p:nvSpPr>
        <p:spPr>
          <a:xfrm>
            <a:off x="8713812" y="1589793"/>
            <a:ext cx="2727276" cy="326472"/>
          </a:xfrm>
        </p:spPr>
        <p:txBody>
          <a:bodyPr anchor="ctr">
            <a:noAutofit/>
          </a:bodyPr>
          <a:lstStyle>
            <a:lvl1pPr marL="0" indent="0" algn="ctr">
              <a:buNone/>
              <a:defRPr sz="16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Title</a:t>
            </a:r>
          </a:p>
        </p:txBody>
      </p:sp>
      <p:sp>
        <p:nvSpPr>
          <p:cNvPr id="22" name="Text Placeholder 16">
            <a:extLst>
              <a:ext uri="{FF2B5EF4-FFF2-40B4-BE49-F238E27FC236}">
                <a16:creationId xmlns:a16="http://schemas.microsoft.com/office/drawing/2014/main" id="{35342DC0-67CA-404B-8E57-F8DDBB6D1CC5}"/>
              </a:ext>
            </a:extLst>
          </p:cNvPr>
          <p:cNvSpPr>
            <a:spLocks noGrp="1"/>
          </p:cNvSpPr>
          <p:nvPr>
            <p:ph type="body" sz="quarter" idx="18" hasCustomPrompt="1"/>
          </p:nvPr>
        </p:nvSpPr>
        <p:spPr>
          <a:xfrm>
            <a:off x="8713812" y="1956688"/>
            <a:ext cx="2727276" cy="811501"/>
          </a:xfrm>
        </p:spPr>
        <p:txBody>
          <a:bodyPr anchor="ctr">
            <a:normAutofit/>
          </a:bodyPr>
          <a:lstStyle>
            <a:lvl1pPr marL="0" indent="0" algn="ctr">
              <a:buNone/>
              <a:defRPr sz="32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Data</a:t>
            </a:r>
          </a:p>
        </p:txBody>
      </p:sp>
      <p:sp>
        <p:nvSpPr>
          <p:cNvPr id="23" name="Slide Number Placeholder 4">
            <a:extLst>
              <a:ext uri="{FF2B5EF4-FFF2-40B4-BE49-F238E27FC236}">
                <a16:creationId xmlns:a16="http://schemas.microsoft.com/office/drawing/2014/main" id="{1E331BA0-6428-45A6-BF48-497E6EAD7D92}"/>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
        <p:nvSpPr>
          <p:cNvPr id="3" name="Rectangle 2">
            <a:extLst>
              <a:ext uri="{FF2B5EF4-FFF2-40B4-BE49-F238E27FC236}">
                <a16:creationId xmlns:a16="http://schemas.microsoft.com/office/drawing/2014/main" id="{15EB5A79-63D9-58B0-57BB-EA6812F9ECD5}"/>
              </a:ext>
            </a:extLst>
          </p:cNvPr>
          <p:cNvSpPr/>
          <p:nvPr userDrawn="1"/>
        </p:nvSpPr>
        <p:spPr>
          <a:xfrm>
            <a:off x="1239225" y="4133819"/>
            <a:ext cx="5303520"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16">
            <a:extLst>
              <a:ext uri="{FF2B5EF4-FFF2-40B4-BE49-F238E27FC236}">
                <a16:creationId xmlns:a16="http://schemas.microsoft.com/office/drawing/2014/main" id="{3128D987-D847-7AED-9671-C0A6767783D6}"/>
              </a:ext>
            </a:extLst>
          </p:cNvPr>
          <p:cNvSpPr>
            <a:spLocks noGrp="1"/>
          </p:cNvSpPr>
          <p:nvPr>
            <p:ph type="body" sz="quarter" idx="19"/>
          </p:nvPr>
        </p:nvSpPr>
        <p:spPr>
          <a:xfrm>
            <a:off x="1352598" y="3093088"/>
            <a:ext cx="4517231" cy="922338"/>
          </a:xfrm>
        </p:spPr>
        <p:txBody>
          <a:bodyPr>
            <a:noAutofit/>
          </a:bodyPr>
          <a:lstStyle>
            <a:lvl1pPr marL="171450" indent="-171450">
              <a:buFont typeface="Arial" panose="020B0604020202020204" pitchFamily="34" charset="0"/>
              <a:buChar char="•"/>
              <a:defRPr sz="2000"/>
            </a:lvl1pPr>
            <a:lvl2pPr marL="628650" indent="-171450">
              <a:buFont typeface="Arial" panose="020B0604020202020204" pitchFamily="34" charset="0"/>
              <a:buChar char="•"/>
              <a:defRPr sz="2000"/>
            </a:lvl2pPr>
            <a:lvl3pPr marL="1085850" indent="-171450">
              <a:buFont typeface="Arial" panose="020B0604020202020204" pitchFamily="34" charset="0"/>
              <a:buChar char="•"/>
              <a:defRPr sz="2000"/>
            </a:lvl3pPr>
            <a:lvl4pPr marL="1543050" indent="-171450">
              <a:buFont typeface="Arial" panose="020B0604020202020204" pitchFamily="34" charset="0"/>
              <a:buChar char="•"/>
              <a:defRPr sz="2000"/>
            </a:lvl4pPr>
            <a:lvl5pPr marL="2000250" indent="-17145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430021F5-9ABE-BB9A-2609-C73DD6B2526B}"/>
              </a:ext>
            </a:extLst>
          </p:cNvPr>
          <p:cNvSpPr/>
          <p:nvPr userDrawn="1"/>
        </p:nvSpPr>
        <p:spPr>
          <a:xfrm>
            <a:off x="1221593" y="3047342"/>
            <a:ext cx="5303520"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2030779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8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945386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6" name="Rectangle 5">
            <a:extLst>
              <a:ext uri="{FF2B5EF4-FFF2-40B4-BE49-F238E27FC236}">
                <a16:creationId xmlns:a16="http://schemas.microsoft.com/office/drawing/2014/main" id="{2D7957A9-CF4A-4FD6-84D8-9CA19A006F43}"/>
              </a:ext>
            </a:extLst>
          </p:cNvPr>
          <p:cNvSpPr/>
          <p:nvPr userDrawn="1"/>
        </p:nvSpPr>
        <p:spPr>
          <a:xfrm>
            <a:off x="0" y="2202511"/>
            <a:ext cx="12192000" cy="396968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10515600" cy="1054127"/>
          </a:xfrm>
        </p:spPr>
        <p:txBody>
          <a:body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838200" y="2663686"/>
            <a:ext cx="10515600" cy="3077155"/>
          </a:xfrm>
        </p:spPr>
        <p:txBody>
          <a:bodyPr/>
          <a:lstStyle/>
          <a:p>
            <a:endParaRPr lang="en-US"/>
          </a:p>
        </p:txBody>
      </p:sp>
      <p:sp>
        <p:nvSpPr>
          <p:cNvPr id="20" name="Slide Number Placeholder 4">
            <a:extLst>
              <a:ext uri="{FF2B5EF4-FFF2-40B4-BE49-F238E27FC236}">
                <a16:creationId xmlns:a16="http://schemas.microsoft.com/office/drawing/2014/main" id="{B65F330A-D1F4-4FB5-BB01-F185461CA1B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86193363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6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632029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6" name="Rectangle 15">
            <a:extLst>
              <a:ext uri="{FF2B5EF4-FFF2-40B4-BE49-F238E27FC236}">
                <a16:creationId xmlns:a16="http://schemas.microsoft.com/office/drawing/2014/main" id="{EB3498FB-F8A7-4078-A087-AD1C8C95AD8A}"/>
              </a:ext>
            </a:extLst>
          </p:cNvPr>
          <p:cNvSpPr/>
          <p:nvPr userDrawn="1"/>
        </p:nvSpPr>
        <p:spPr>
          <a:xfrm>
            <a:off x="0" y="2012401"/>
            <a:ext cx="12192000" cy="41597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10515600" cy="1054127"/>
          </a:xfrm>
        </p:spPr>
        <p:txBody>
          <a:body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4457700" y="2612003"/>
            <a:ext cx="3276600" cy="3150704"/>
          </a:xfrm>
        </p:spPr>
        <p:txBody>
          <a:bodyPr/>
          <a:lstStyle/>
          <a:p>
            <a:endParaRPr lang="en-US"/>
          </a:p>
        </p:txBody>
      </p:sp>
      <p:sp>
        <p:nvSpPr>
          <p:cNvPr id="13" name="Chart Placeholder 3">
            <a:extLst>
              <a:ext uri="{FF2B5EF4-FFF2-40B4-BE49-F238E27FC236}">
                <a16:creationId xmlns:a16="http://schemas.microsoft.com/office/drawing/2014/main" id="{7048A711-B921-4306-90D3-1FDF9364209C}"/>
              </a:ext>
            </a:extLst>
          </p:cNvPr>
          <p:cNvSpPr>
            <a:spLocks noGrp="1"/>
          </p:cNvSpPr>
          <p:nvPr>
            <p:ph type="chart" sz="quarter" idx="13"/>
          </p:nvPr>
        </p:nvSpPr>
        <p:spPr>
          <a:xfrm>
            <a:off x="838200" y="2612003"/>
            <a:ext cx="3390900" cy="3150704"/>
          </a:xfrm>
        </p:spPr>
        <p:txBody>
          <a:bodyPr/>
          <a:lstStyle/>
          <a:p>
            <a:endParaRPr lang="en-US"/>
          </a:p>
        </p:txBody>
      </p:sp>
      <p:sp>
        <p:nvSpPr>
          <p:cNvPr id="14" name="Chart Placeholder 3">
            <a:extLst>
              <a:ext uri="{FF2B5EF4-FFF2-40B4-BE49-F238E27FC236}">
                <a16:creationId xmlns:a16="http://schemas.microsoft.com/office/drawing/2014/main" id="{AF558914-EDDB-4BEF-81BF-3077CD5C4955}"/>
              </a:ext>
            </a:extLst>
          </p:cNvPr>
          <p:cNvSpPr>
            <a:spLocks noGrp="1"/>
          </p:cNvSpPr>
          <p:nvPr>
            <p:ph type="chart" sz="quarter" idx="14"/>
          </p:nvPr>
        </p:nvSpPr>
        <p:spPr>
          <a:xfrm>
            <a:off x="7962900" y="2612003"/>
            <a:ext cx="3390900" cy="3150704"/>
          </a:xfrm>
        </p:spPr>
        <p:txBody>
          <a:bodyPr/>
          <a:lstStyle/>
          <a:p>
            <a:endParaRPr lang="en-US"/>
          </a:p>
        </p:txBody>
      </p:sp>
      <p:sp>
        <p:nvSpPr>
          <p:cNvPr id="15" name="Slide Number Placeholder 4">
            <a:extLst>
              <a:ext uri="{FF2B5EF4-FFF2-40B4-BE49-F238E27FC236}">
                <a16:creationId xmlns:a16="http://schemas.microsoft.com/office/drawing/2014/main" id="{9368823E-5B3B-4630-8848-17D5082D8979}"/>
              </a:ext>
            </a:extLst>
          </p:cNvPr>
          <p:cNvSpPr>
            <a:spLocks noGrp="1"/>
          </p:cNvSpPr>
          <p:nvPr>
            <p:ph type="sldNum" sz="quarter" idx="15"/>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383469915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9_Chart">
    <p:bg>
      <p:bgPr>
        <a:solidFill>
          <a:schemeClr val="accent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412919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3" name="Rectangle 2">
            <a:extLst>
              <a:ext uri="{FF2B5EF4-FFF2-40B4-BE49-F238E27FC236}">
                <a16:creationId xmlns:a16="http://schemas.microsoft.com/office/drawing/2014/main" id="{982EE070-8447-4BF8-BCAB-BAE87F583F9A}"/>
              </a:ext>
            </a:extLst>
          </p:cNvPr>
          <p:cNvSpPr/>
          <p:nvPr userDrawn="1"/>
        </p:nvSpPr>
        <p:spPr>
          <a:xfrm>
            <a:off x="4457700" y="2247900"/>
            <a:ext cx="7734300" cy="23050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0DAF48C-6E3B-4C2E-AB78-15301150B49B}"/>
              </a:ext>
            </a:extLst>
          </p:cNvPr>
          <p:cNvSpPr/>
          <p:nvPr userDrawn="1"/>
        </p:nvSpPr>
        <p:spPr>
          <a:xfrm>
            <a:off x="4457700" y="0"/>
            <a:ext cx="7734300" cy="2247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3390900" cy="3296395"/>
          </a:xfrm>
        </p:spPr>
        <p:txBody>
          <a:bodyPr anchor="t"/>
          <a:lstStyle>
            <a:lvl1pPr>
              <a:defRPr>
                <a:solidFill>
                  <a:schemeClr val="bg1"/>
                </a:solidFill>
              </a:defRPr>
            </a:lvl1p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4" name="Slide Number Placeholder 4">
            <a:extLst>
              <a:ext uri="{FF2B5EF4-FFF2-40B4-BE49-F238E27FC236}">
                <a16:creationId xmlns:a16="http://schemas.microsoft.com/office/drawing/2014/main" id="{02DA2DB2-0F75-424E-A015-267EF955B6D4}"/>
              </a:ext>
            </a:extLst>
          </p:cNvPr>
          <p:cNvSpPr>
            <a:spLocks noGrp="1"/>
          </p:cNvSpPr>
          <p:nvPr>
            <p:ph type="sldNum" sz="quarter" idx="14"/>
          </p:nvPr>
        </p:nvSpPr>
        <p:spPr>
          <a:xfrm>
            <a:off x="10564238" y="6001967"/>
            <a:ext cx="789562" cy="690326"/>
          </a:xfrm>
        </p:spPr>
        <p:txBody>
          <a:bodyPr/>
          <a:lstStyle/>
          <a:p>
            <a:fld id="{A1471D42-392E-4D14-982B-D9D765EA1509}" type="slidenum">
              <a:rPr lang="en-US" smtClean="0"/>
              <a:t>‹#›</a:t>
            </a:fld>
            <a:endParaRPr lang="en-US"/>
          </a:p>
        </p:txBody>
      </p:sp>
      <p:sp>
        <p:nvSpPr>
          <p:cNvPr id="5" name="Rectangle 4">
            <a:extLst>
              <a:ext uri="{FF2B5EF4-FFF2-40B4-BE49-F238E27FC236}">
                <a16:creationId xmlns:a16="http://schemas.microsoft.com/office/drawing/2014/main" id="{F6F8132D-748D-D91D-1418-97063A5BA3EB}"/>
              </a:ext>
            </a:extLst>
          </p:cNvPr>
          <p:cNvSpPr/>
          <p:nvPr userDrawn="1"/>
        </p:nvSpPr>
        <p:spPr>
          <a:xfrm>
            <a:off x="4457700" y="4552950"/>
            <a:ext cx="7734300" cy="23050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Shape 5">
            <a:extLst>
              <a:ext uri="{FF2B5EF4-FFF2-40B4-BE49-F238E27FC236}">
                <a16:creationId xmlns:a16="http://schemas.microsoft.com/office/drawing/2014/main" id="{99D76FC9-FCB7-9EA5-D2B5-37D64FF1C740}"/>
              </a:ext>
            </a:extLst>
          </p:cNvPr>
          <p:cNvSpPr/>
          <p:nvPr userDrawn="1"/>
        </p:nvSpPr>
        <p:spPr>
          <a:xfrm>
            <a:off x="2226468" y="4723392"/>
            <a:ext cx="2231232" cy="2134609"/>
          </a:xfrm>
          <a:custGeom>
            <a:avLst/>
            <a:gdLst>
              <a:gd name="connsiteX0" fmla="*/ 2063384 w 2231232"/>
              <a:gd name="connsiteY0" fmla="*/ 0 h 2134609"/>
              <a:gd name="connsiteX1" fmla="*/ 2231232 w 2231232"/>
              <a:gd name="connsiteY1" fmla="*/ 8677 h 2134609"/>
              <a:gd name="connsiteX2" fmla="*/ 2231232 w 2231232"/>
              <a:gd name="connsiteY2" fmla="*/ 820206 h 2134609"/>
              <a:gd name="connsiteX3" fmla="*/ 2193783 w 2231232"/>
              <a:gd name="connsiteY3" fmla="*/ 814354 h 2134609"/>
              <a:gd name="connsiteX4" fmla="*/ 2063384 w 2231232"/>
              <a:gd name="connsiteY4" fmla="*/ 807613 h 2134609"/>
              <a:gd name="connsiteX5" fmla="*/ 788426 w 2231232"/>
              <a:gd name="connsiteY5" fmla="*/ 2113180 h 2134609"/>
              <a:gd name="connsiteX6" fmla="*/ 789483 w 2231232"/>
              <a:gd name="connsiteY6" fmla="*/ 2134609 h 2134609"/>
              <a:gd name="connsiteX7" fmla="*/ 1057 w 2231232"/>
              <a:gd name="connsiteY7" fmla="*/ 2134609 h 2134609"/>
              <a:gd name="connsiteX8" fmla="*/ 0 w 2231232"/>
              <a:gd name="connsiteY8" fmla="*/ 2113180 h 2134609"/>
              <a:gd name="connsiteX9" fmla="*/ 2063384 w 2231232"/>
              <a:gd name="connsiteY9" fmla="*/ 0 h 213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1232" h="2134609">
                <a:moveTo>
                  <a:pt x="2063384" y="0"/>
                </a:moveTo>
                <a:lnTo>
                  <a:pt x="2231232" y="8677"/>
                </a:lnTo>
                <a:lnTo>
                  <a:pt x="2231232" y="820206"/>
                </a:lnTo>
                <a:lnTo>
                  <a:pt x="2193783" y="814354"/>
                </a:lnTo>
                <a:cubicBezTo>
                  <a:pt x="2150911" y="809897"/>
                  <a:pt x="2107409" y="807613"/>
                  <a:pt x="2063384" y="807613"/>
                </a:cubicBezTo>
                <a:cubicBezTo>
                  <a:pt x="1358991" y="807613"/>
                  <a:pt x="788426" y="1392186"/>
                  <a:pt x="788426" y="2113180"/>
                </a:cubicBezTo>
                <a:lnTo>
                  <a:pt x="789483" y="2134609"/>
                </a:lnTo>
                <a:lnTo>
                  <a:pt x="1057" y="2134609"/>
                </a:lnTo>
                <a:lnTo>
                  <a:pt x="0" y="2113180"/>
                </a:lnTo>
                <a:cubicBezTo>
                  <a:pt x="0" y="946106"/>
                  <a:pt x="923805" y="0"/>
                  <a:pt x="20633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5639889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Closing 05">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3304445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21F82D18-A7FF-456E-805E-A70AC625A2E8}"/>
              </a:ext>
            </a:extLst>
          </p:cNvPr>
          <p:cNvSpPr/>
          <p:nvPr userDrawn="1"/>
        </p:nvSpPr>
        <p:spPr>
          <a:xfrm>
            <a:off x="0" y="0"/>
            <a:ext cx="77343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9" name="Picture Placeholder 8">
            <a:extLst>
              <a:ext uri="{FF2B5EF4-FFF2-40B4-BE49-F238E27FC236}">
                <a16:creationId xmlns:a16="http://schemas.microsoft.com/office/drawing/2014/main" id="{58CE89ED-413D-47E7-B6FD-C32A75B80955}"/>
              </a:ext>
            </a:extLst>
          </p:cNvPr>
          <p:cNvSpPr>
            <a:spLocks noGrp="1"/>
          </p:cNvSpPr>
          <p:nvPr>
            <p:ph type="pic" sz="quarter" idx="11"/>
          </p:nvPr>
        </p:nvSpPr>
        <p:spPr>
          <a:xfrm>
            <a:off x="7734300" y="0"/>
            <a:ext cx="4457700" cy="6858000"/>
          </a:xfrm>
        </p:spPr>
        <p:txBody>
          <a:bodyPr/>
          <a:lstStyle/>
          <a:p>
            <a:endParaRPr lang="en-US"/>
          </a:p>
        </p:txBody>
      </p:sp>
      <p:sp>
        <p:nvSpPr>
          <p:cNvPr id="18" name="Text Placeholder 19">
            <a:extLst>
              <a:ext uri="{FF2B5EF4-FFF2-40B4-BE49-F238E27FC236}">
                <a16:creationId xmlns:a16="http://schemas.microsoft.com/office/drawing/2014/main" id="{1A430E2B-8ED8-4D85-9C56-176192A4A79D}"/>
              </a:ext>
            </a:extLst>
          </p:cNvPr>
          <p:cNvSpPr>
            <a:spLocks noGrp="1"/>
          </p:cNvSpPr>
          <p:nvPr>
            <p:ph type="body" sz="quarter" idx="10" hasCustomPrompt="1"/>
          </p:nvPr>
        </p:nvSpPr>
        <p:spPr>
          <a:xfrm>
            <a:off x="838200" y="1553029"/>
            <a:ext cx="5143500" cy="936624"/>
          </a:xfrm>
        </p:spPr>
        <p:txBody>
          <a:bodyPr anchor="ctr">
            <a:noAutofit/>
          </a:bodyPr>
          <a:lstStyle>
            <a:lvl1pPr marL="0" indent="0">
              <a:buNone/>
              <a:defRPr sz="3200" b="1">
                <a:solidFill>
                  <a:schemeClr val="bg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Get in touch</a:t>
            </a:r>
          </a:p>
        </p:txBody>
      </p:sp>
      <p:sp>
        <p:nvSpPr>
          <p:cNvPr id="19" name="Text Placeholder 19">
            <a:extLst>
              <a:ext uri="{FF2B5EF4-FFF2-40B4-BE49-F238E27FC236}">
                <a16:creationId xmlns:a16="http://schemas.microsoft.com/office/drawing/2014/main" id="{995DB472-FD40-4927-BF49-923A6B809C18}"/>
              </a:ext>
            </a:extLst>
          </p:cNvPr>
          <p:cNvSpPr>
            <a:spLocks noGrp="1"/>
          </p:cNvSpPr>
          <p:nvPr>
            <p:ph type="body" sz="quarter" idx="13" hasCustomPrompt="1"/>
          </p:nvPr>
        </p:nvSpPr>
        <p:spPr>
          <a:xfrm>
            <a:off x="838200" y="2660195"/>
            <a:ext cx="5143500" cy="381000"/>
          </a:xfrm>
        </p:spPr>
        <p:txBody>
          <a:bodyPr anchor="ctr">
            <a:noAutofit/>
          </a:bodyPr>
          <a:lstStyle>
            <a:lvl1pPr marL="0" indent="0">
              <a:buNone/>
              <a:defRPr sz="20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0" name="Text Placeholder 19">
            <a:extLst>
              <a:ext uri="{FF2B5EF4-FFF2-40B4-BE49-F238E27FC236}">
                <a16:creationId xmlns:a16="http://schemas.microsoft.com/office/drawing/2014/main" id="{556786F3-6457-4101-9D74-9846484E508D}"/>
              </a:ext>
            </a:extLst>
          </p:cNvPr>
          <p:cNvSpPr>
            <a:spLocks noGrp="1"/>
          </p:cNvSpPr>
          <p:nvPr>
            <p:ph type="body" sz="quarter" idx="14" hasCustomPrompt="1"/>
          </p:nvPr>
        </p:nvSpPr>
        <p:spPr>
          <a:xfrm>
            <a:off x="838200" y="3081108"/>
            <a:ext cx="3390900" cy="656320"/>
          </a:xfrm>
        </p:spPr>
        <p:txBody>
          <a:bodyPr anchor="t">
            <a:noAutofit/>
          </a:bodyPr>
          <a:lstStyle>
            <a:lvl1pPr marL="0" indent="0">
              <a:lnSpc>
                <a:spcPct val="100000"/>
              </a:lnSpc>
              <a:buNone/>
              <a:defRPr sz="20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2" name="Text Placeholder 19">
            <a:extLst>
              <a:ext uri="{FF2B5EF4-FFF2-40B4-BE49-F238E27FC236}">
                <a16:creationId xmlns:a16="http://schemas.microsoft.com/office/drawing/2014/main" id="{993CAD56-7ECD-4BCF-BCBE-E722F11EFAAD}"/>
              </a:ext>
            </a:extLst>
          </p:cNvPr>
          <p:cNvSpPr>
            <a:spLocks noGrp="1"/>
          </p:cNvSpPr>
          <p:nvPr>
            <p:ph type="body" sz="quarter" idx="15" hasCustomPrompt="1"/>
          </p:nvPr>
        </p:nvSpPr>
        <p:spPr>
          <a:xfrm>
            <a:off x="1157514" y="3846285"/>
            <a:ext cx="3390900" cy="395514"/>
          </a:xfrm>
        </p:spPr>
        <p:txBody>
          <a:bodyPr anchor="ctr">
            <a:noAutofit/>
          </a:bodyPr>
          <a:lstStyle>
            <a:lvl1pPr marL="0" indent="0">
              <a:buNone/>
              <a:defRPr sz="1600" b="0">
                <a:solidFill>
                  <a:schemeClr val="bg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Location</a:t>
            </a:r>
          </a:p>
        </p:txBody>
      </p:sp>
      <p:pic>
        <p:nvPicPr>
          <p:cNvPr id="25" name="Graphic 24" descr="Marker">
            <a:extLst>
              <a:ext uri="{FF2B5EF4-FFF2-40B4-BE49-F238E27FC236}">
                <a16:creationId xmlns:a16="http://schemas.microsoft.com/office/drawing/2014/main" id="{A1682CF7-DD18-4D06-AF3A-C6D45EEA71E8}"/>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6428" y="3839027"/>
            <a:ext cx="406402" cy="406402"/>
          </a:xfrm>
          <a:prstGeom prst="rect">
            <a:avLst/>
          </a:prstGeom>
        </p:spPr>
      </p:pic>
      <p:sp>
        <p:nvSpPr>
          <p:cNvPr id="27" name="Text Placeholder 19">
            <a:extLst>
              <a:ext uri="{FF2B5EF4-FFF2-40B4-BE49-F238E27FC236}">
                <a16:creationId xmlns:a16="http://schemas.microsoft.com/office/drawing/2014/main" id="{B9945815-D07B-4DC9-AE2F-444DEE42DEAA}"/>
              </a:ext>
            </a:extLst>
          </p:cNvPr>
          <p:cNvSpPr>
            <a:spLocks noGrp="1"/>
          </p:cNvSpPr>
          <p:nvPr>
            <p:ph type="body" sz="quarter" idx="16" hasCustomPrompt="1"/>
          </p:nvPr>
        </p:nvSpPr>
        <p:spPr>
          <a:xfrm>
            <a:off x="838200" y="4521652"/>
            <a:ext cx="5143500" cy="381000"/>
          </a:xfrm>
        </p:spPr>
        <p:txBody>
          <a:bodyPr anchor="ctr">
            <a:noAutofit/>
          </a:bodyPr>
          <a:lstStyle>
            <a:lvl1pPr marL="0" indent="0">
              <a:buNone/>
              <a:defRPr sz="20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8" name="Text Placeholder 19">
            <a:extLst>
              <a:ext uri="{FF2B5EF4-FFF2-40B4-BE49-F238E27FC236}">
                <a16:creationId xmlns:a16="http://schemas.microsoft.com/office/drawing/2014/main" id="{83C797FB-88CF-4E5D-9527-516888E34010}"/>
              </a:ext>
            </a:extLst>
          </p:cNvPr>
          <p:cNvSpPr>
            <a:spLocks noGrp="1"/>
          </p:cNvSpPr>
          <p:nvPr>
            <p:ph type="body" sz="quarter" idx="17" hasCustomPrompt="1"/>
          </p:nvPr>
        </p:nvSpPr>
        <p:spPr>
          <a:xfrm>
            <a:off x="838200" y="4957080"/>
            <a:ext cx="3390900" cy="656320"/>
          </a:xfrm>
        </p:spPr>
        <p:txBody>
          <a:bodyPr anchor="t">
            <a:noAutofit/>
          </a:bodyPr>
          <a:lstStyle>
            <a:lvl1pPr marL="0" indent="0">
              <a:lnSpc>
                <a:spcPct val="100000"/>
              </a:lnSpc>
              <a:buNone/>
              <a:defRPr sz="20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9" name="Text Placeholder 19">
            <a:extLst>
              <a:ext uri="{FF2B5EF4-FFF2-40B4-BE49-F238E27FC236}">
                <a16:creationId xmlns:a16="http://schemas.microsoft.com/office/drawing/2014/main" id="{4AD3F5B7-EE9D-4708-81E6-88D865106AD5}"/>
              </a:ext>
            </a:extLst>
          </p:cNvPr>
          <p:cNvSpPr>
            <a:spLocks noGrp="1"/>
          </p:cNvSpPr>
          <p:nvPr>
            <p:ph type="body" sz="quarter" idx="18" hasCustomPrompt="1"/>
          </p:nvPr>
        </p:nvSpPr>
        <p:spPr>
          <a:xfrm>
            <a:off x="1157514" y="5776686"/>
            <a:ext cx="3390900" cy="395514"/>
          </a:xfrm>
        </p:spPr>
        <p:txBody>
          <a:bodyPr anchor="ctr">
            <a:noAutofit/>
          </a:bodyPr>
          <a:lstStyle>
            <a:lvl1pPr marL="0" indent="0">
              <a:buNone/>
              <a:defRPr sz="1600" b="0">
                <a:solidFill>
                  <a:schemeClr val="bg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Location</a:t>
            </a:r>
          </a:p>
        </p:txBody>
      </p:sp>
      <p:cxnSp>
        <p:nvCxnSpPr>
          <p:cNvPr id="31" name="Straight Connector 30">
            <a:extLst>
              <a:ext uri="{FF2B5EF4-FFF2-40B4-BE49-F238E27FC236}">
                <a16:creationId xmlns:a16="http://schemas.microsoft.com/office/drawing/2014/main" id="{95A7297C-A002-42F4-8627-C9E3C2936A43}"/>
              </a:ext>
            </a:extLst>
          </p:cNvPr>
          <p:cNvCxnSpPr/>
          <p:nvPr userDrawn="1"/>
        </p:nvCxnSpPr>
        <p:spPr>
          <a:xfrm>
            <a:off x="838200" y="4434114"/>
            <a:ext cx="33909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298669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_closing 04">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528480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904999" y="0"/>
            <a:ext cx="10287001" cy="6857999"/>
          </a:xfrm>
          <a:prstGeom prst="rect">
            <a:avLst/>
          </a:prstGeom>
          <a:gradFill>
            <a:gsLst>
              <a:gs pos="0">
                <a:schemeClr val="accent5">
                  <a:lumMod val="10000"/>
                  <a:alpha val="73000"/>
                </a:schemeClr>
              </a:gs>
              <a:gs pos="46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4551896"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4457700" y="2288320"/>
            <a:ext cx="5143499" cy="2281360"/>
          </a:xfrm>
        </p:spPr>
        <p:txBody>
          <a:bodyPr anchor="ctr">
            <a:noAutofit/>
          </a:bodyPr>
          <a:lstStyle>
            <a:lvl1pPr>
              <a:defRPr sz="4400">
                <a:solidFill>
                  <a:schemeClr val="bg1"/>
                </a:solidFill>
              </a:defRPr>
            </a:lvl1pPr>
          </a:lstStyle>
          <a:p>
            <a:r>
              <a:rPr lang="en-US"/>
              <a:t>Closing slide</a:t>
            </a:r>
          </a:p>
        </p:txBody>
      </p:sp>
      <p:sp>
        <p:nvSpPr>
          <p:cNvPr id="26" name="Freeform: Shape 25">
            <a:extLst>
              <a:ext uri="{FF2B5EF4-FFF2-40B4-BE49-F238E27FC236}">
                <a16:creationId xmlns:a16="http://schemas.microsoft.com/office/drawing/2014/main" id="{F2A2AE34-7892-42F4-AFE1-463A5BEF0007}"/>
              </a:ext>
            </a:extLst>
          </p:cNvPr>
          <p:cNvSpPr/>
          <p:nvPr userDrawn="1"/>
        </p:nvSpPr>
        <p:spPr>
          <a:xfrm rot="10800000">
            <a:off x="1" y="0"/>
            <a:ext cx="3497357" cy="6858000"/>
          </a:xfrm>
          <a:custGeom>
            <a:avLst/>
            <a:gdLst>
              <a:gd name="connsiteX0" fmla="*/ 1398588 w 3497357"/>
              <a:gd name="connsiteY0" fmla="*/ 0 h 6858000"/>
              <a:gd name="connsiteX1" fmla="*/ 3497357 w 3497357"/>
              <a:gd name="connsiteY1" fmla="*/ 0 h 6858000"/>
              <a:gd name="connsiteX2" fmla="*/ 3497357 w 3497357"/>
              <a:gd name="connsiteY2" fmla="*/ 722525 h 6858000"/>
              <a:gd name="connsiteX3" fmla="*/ 3321786 w 3497357"/>
              <a:gd name="connsiteY3" fmla="*/ 809134 h 6858000"/>
              <a:gd name="connsiteX4" fmla="*/ 1799307 w 3497357"/>
              <a:gd name="connsiteY4" fmla="*/ 3429000 h 6858000"/>
              <a:gd name="connsiteX5" fmla="*/ 3322313 w 3497357"/>
              <a:gd name="connsiteY5" fmla="*/ 6048867 h 6858000"/>
              <a:gd name="connsiteX6" fmla="*/ 3497357 w 3497357"/>
              <a:gd name="connsiteY6" fmla="*/ 6135224 h 6858000"/>
              <a:gd name="connsiteX7" fmla="*/ 3497357 w 3497357"/>
              <a:gd name="connsiteY7" fmla="*/ 6858000 h 6858000"/>
              <a:gd name="connsiteX8" fmla="*/ 1398588 w 3497357"/>
              <a:gd name="connsiteY8" fmla="*/ 6858000 h 6858000"/>
              <a:gd name="connsiteX9" fmla="*/ 1379218 w 3497357"/>
              <a:gd name="connsiteY9" fmla="*/ 6839087 h 6858000"/>
              <a:gd name="connsiteX10" fmla="*/ 0 w 3497357"/>
              <a:gd name="connsiteY10" fmla="*/ 3429000 h 6858000"/>
              <a:gd name="connsiteX11" fmla="*/ 1379218 w 3497357"/>
              <a:gd name="connsiteY11" fmla="*/ 189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357" h="6858000">
                <a:moveTo>
                  <a:pt x="1398588" y="0"/>
                </a:moveTo>
                <a:lnTo>
                  <a:pt x="3497357" y="0"/>
                </a:lnTo>
                <a:lnTo>
                  <a:pt x="3497357" y="722525"/>
                </a:lnTo>
                <a:lnTo>
                  <a:pt x="3321786" y="809134"/>
                </a:lnTo>
                <a:cubicBezTo>
                  <a:pt x="2414760" y="1313706"/>
                  <a:pt x="1799307" y="2297777"/>
                  <a:pt x="1799307" y="3429000"/>
                </a:cubicBezTo>
                <a:cubicBezTo>
                  <a:pt x="1799307" y="4560224"/>
                  <a:pt x="2415321" y="5544294"/>
                  <a:pt x="3322313" y="6048867"/>
                </a:cubicBezTo>
                <a:lnTo>
                  <a:pt x="3497357" y="6135224"/>
                </a:lnTo>
                <a:lnTo>
                  <a:pt x="3497357" y="6858000"/>
                </a:lnTo>
                <a:lnTo>
                  <a:pt x="1398588" y="6858000"/>
                </a:lnTo>
                <a:lnTo>
                  <a:pt x="1379218" y="6839087"/>
                </a:lnTo>
                <a:cubicBezTo>
                  <a:pt x="527066" y="5966368"/>
                  <a:pt x="0" y="4760720"/>
                  <a:pt x="0" y="3429000"/>
                </a:cubicBezTo>
                <a:cubicBezTo>
                  <a:pt x="0" y="2097281"/>
                  <a:pt x="527066" y="891632"/>
                  <a:pt x="1379218" y="18914"/>
                </a:cubicBezTo>
                <a:close/>
              </a:path>
            </a:pathLst>
          </a:custGeom>
          <a:solidFill>
            <a:schemeClr val="accent2"/>
          </a:solidFill>
          <a:ln w="9264" cap="flat">
            <a:noFill/>
            <a:prstDash val="solid"/>
            <a:miter/>
          </a:ln>
        </p:spPr>
        <p:txBody>
          <a:bodyPr wrap="square" rtlCol="0" anchor="ctr">
            <a:noAutofit/>
          </a:bodyPr>
          <a:lstStyle/>
          <a:p>
            <a:endParaRPr lang="en-US"/>
          </a:p>
        </p:txBody>
      </p:sp>
      <p:sp>
        <p:nvSpPr>
          <p:cNvPr id="18" name="Freeform: Shape 17">
            <a:extLst>
              <a:ext uri="{FF2B5EF4-FFF2-40B4-BE49-F238E27FC236}">
                <a16:creationId xmlns:a16="http://schemas.microsoft.com/office/drawing/2014/main" id="{E16B03FA-0ED2-4DEC-8263-A2CD8B9152E6}"/>
              </a:ext>
            </a:extLst>
          </p:cNvPr>
          <p:cNvSpPr/>
          <p:nvPr userDrawn="1"/>
        </p:nvSpPr>
        <p:spPr>
          <a:xfrm>
            <a:off x="8655578" y="2750662"/>
            <a:ext cx="678922" cy="1356677"/>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a:p>
        </p:txBody>
      </p:sp>
    </p:spTree>
    <p:extLst>
      <p:ext uri="{BB962C8B-B14F-4D97-AF65-F5344CB8AC3E}">
        <p14:creationId xmlns:p14="http://schemas.microsoft.com/office/powerpoint/2010/main" val="170397000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3_Closing">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776882B-B6FA-4247-837A-97CF996CBF72}"/>
              </a:ext>
            </a:extLst>
          </p:cNvPr>
          <p:cNvGraphicFramePr>
            <a:graphicFrameLocks noChangeAspect="1"/>
          </p:cNvGraphicFramePr>
          <p:nvPr userDrawn="1">
            <p:custDataLst>
              <p:tags r:id="rId1"/>
            </p:custDataLst>
            <p:extLst>
              <p:ext uri="{D42A27DB-BD31-4B8C-83A1-F6EECF244321}">
                <p14:modId xmlns:p14="http://schemas.microsoft.com/office/powerpoint/2010/main" val="2232294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16" name="Object 15" hidden="1">
                        <a:extLst>
                          <a:ext uri="{FF2B5EF4-FFF2-40B4-BE49-F238E27FC236}">
                            <a16:creationId xmlns:a16="http://schemas.microsoft.com/office/drawing/2014/main" id="{1776882B-B6FA-4247-837A-97CF996CBF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EC76C1CB-1CF7-45DF-AB63-A29E3E1B98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7200" b="0" i="0" baseline="0">
              <a:latin typeface="Poppins ExtraBold" panose="00000900000000000000" pitchFamily="2" charset="0"/>
              <a:ea typeface="+mj-ea"/>
              <a:cs typeface="+mj-cs"/>
              <a:sym typeface="Poppins ExtraBold" panose="00000900000000000000" pitchFamily="2" charset="0"/>
            </a:endParaRPr>
          </a:p>
        </p:txBody>
      </p:sp>
      <p:sp>
        <p:nvSpPr>
          <p:cNvPr id="5" name="Rectangle 4">
            <a:extLst>
              <a:ext uri="{FF2B5EF4-FFF2-40B4-BE49-F238E27FC236}">
                <a16:creationId xmlns:a16="http://schemas.microsoft.com/office/drawing/2014/main" id="{A125620E-B7F4-47D4-9203-9C2D6590298E}"/>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E6C6DDF7-879A-4E7C-BAE9-0C03D0717054}"/>
              </a:ext>
            </a:extLst>
          </p:cNvPr>
          <p:cNvSpPr/>
          <p:nvPr userDrawn="1"/>
        </p:nvSpPr>
        <p:spPr>
          <a:xfrm rot="5400000">
            <a:off x="7290914" y="1956914"/>
            <a:ext cx="4985260" cy="4816912"/>
          </a:xfrm>
          <a:custGeom>
            <a:avLst/>
            <a:gdLst>
              <a:gd name="connsiteX0" fmla="*/ 0 w 4985260"/>
              <a:gd name="connsiteY0" fmla="*/ 0 h 4816912"/>
              <a:gd name="connsiteX1" fmla="*/ 1878781 w 4985260"/>
              <a:gd name="connsiteY1" fmla="*/ 0 h 4816912"/>
              <a:gd name="connsiteX2" fmla="*/ 1886645 w 4985260"/>
              <a:gd name="connsiteY2" fmla="*/ 105851 h 4816912"/>
              <a:gd name="connsiteX3" fmla="*/ 4904969 w 4985260"/>
              <a:gd name="connsiteY3" fmla="*/ 2895050 h 4816912"/>
              <a:gd name="connsiteX4" fmla="*/ 4985260 w 4985260"/>
              <a:gd name="connsiteY4" fmla="*/ 2892971 h 4816912"/>
              <a:gd name="connsiteX5" fmla="*/ 4985260 w 4985260"/>
              <a:gd name="connsiteY5" fmla="*/ 4814833 h 4816912"/>
              <a:gd name="connsiteX6" fmla="*/ 4904969 w 4985260"/>
              <a:gd name="connsiteY6" fmla="*/ 4816912 h 4816912"/>
              <a:gd name="connsiteX7" fmla="*/ 1160 w 4985260"/>
              <a:gd name="connsiteY7" fmla="*/ 46991 h 481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5260" h="4816912">
                <a:moveTo>
                  <a:pt x="0" y="0"/>
                </a:moveTo>
                <a:lnTo>
                  <a:pt x="1878781" y="0"/>
                </a:lnTo>
                <a:lnTo>
                  <a:pt x="1886645" y="105851"/>
                </a:lnTo>
                <a:cubicBezTo>
                  <a:pt x="2042084" y="1672405"/>
                  <a:pt x="3334663" y="2895050"/>
                  <a:pt x="4904969" y="2895050"/>
                </a:cubicBezTo>
                <a:lnTo>
                  <a:pt x="4985260" y="2892971"/>
                </a:lnTo>
                <a:lnTo>
                  <a:pt x="4985260" y="4814833"/>
                </a:lnTo>
                <a:lnTo>
                  <a:pt x="4904969" y="4816912"/>
                </a:lnTo>
                <a:cubicBezTo>
                  <a:pt x="2277879" y="4816912"/>
                  <a:pt x="132671" y="2703997"/>
                  <a:pt x="1160" y="46991"/>
                </a:cubicBezTo>
                <a:close/>
              </a:path>
            </a:pathLst>
          </a:custGeom>
          <a:solidFill>
            <a:srgbClr val="FF9E18"/>
          </a:solidFill>
          <a:ln w="9264" cap="flat">
            <a:noFill/>
            <a:prstDash val="solid"/>
            <a:miter/>
          </a:ln>
        </p:spPr>
        <p:txBody>
          <a:bodyPr wrap="square" rtlCol="0" anchor="ctr">
            <a:noAutofit/>
          </a:bodyPr>
          <a:lstStyle/>
          <a:p>
            <a:endParaRPr lang="en-US"/>
          </a:p>
        </p:txBody>
      </p:sp>
      <p:grpSp>
        <p:nvGrpSpPr>
          <p:cNvPr id="9" name="Graphic 6">
            <a:extLst>
              <a:ext uri="{FF2B5EF4-FFF2-40B4-BE49-F238E27FC236}">
                <a16:creationId xmlns:a16="http://schemas.microsoft.com/office/drawing/2014/main" id="{E1BA4648-BD6E-4E74-8851-45EBABEF72E7}"/>
              </a:ext>
            </a:extLst>
          </p:cNvPr>
          <p:cNvGrpSpPr/>
          <p:nvPr/>
        </p:nvGrpSpPr>
        <p:grpSpPr>
          <a:xfrm>
            <a:off x="932397" y="702032"/>
            <a:ext cx="1063488" cy="459481"/>
            <a:chOff x="85969" y="3646150"/>
            <a:chExt cx="1544103" cy="667132"/>
          </a:xfrm>
          <a:solidFill>
            <a:schemeClr val="bg1"/>
          </a:solidFill>
        </p:grpSpPr>
        <p:sp>
          <p:nvSpPr>
            <p:cNvPr id="11" name="Freeform: Shape 10">
              <a:extLst>
                <a:ext uri="{FF2B5EF4-FFF2-40B4-BE49-F238E27FC236}">
                  <a16:creationId xmlns:a16="http://schemas.microsoft.com/office/drawing/2014/main" id="{98C1CA3B-8903-4213-A8E6-83E0B43BD8C1}"/>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5836414-77CE-417A-9897-D3290681691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487FDF2-DA56-4525-800E-1EC016598F5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D217F72-15C5-468B-81F4-C205BCEC74DD}"/>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0DD8270-24BC-42A8-8EBA-64CB62DD4CD1}"/>
              </a:ext>
            </a:extLst>
          </p:cNvPr>
          <p:cNvSpPr>
            <a:spLocks noGrp="1"/>
          </p:cNvSpPr>
          <p:nvPr>
            <p:ph type="title" hasCustomPrompt="1"/>
          </p:nvPr>
        </p:nvSpPr>
        <p:spPr>
          <a:xfrm>
            <a:off x="838201" y="2399043"/>
            <a:ext cx="5143499" cy="2281360"/>
          </a:xfrm>
        </p:spPr>
        <p:txBody>
          <a:bodyPr anchor="ctr">
            <a:noAutofit/>
          </a:bodyPr>
          <a:lstStyle>
            <a:lvl1pPr>
              <a:defRPr sz="4400">
                <a:solidFill>
                  <a:schemeClr val="bg1"/>
                </a:solidFill>
              </a:defRPr>
            </a:lvl1pPr>
          </a:lstStyle>
          <a:p>
            <a:r>
              <a:rPr lang="en-US"/>
              <a:t>Thanks</a:t>
            </a:r>
          </a:p>
        </p:txBody>
      </p:sp>
    </p:spTree>
    <p:extLst>
      <p:ext uri="{BB962C8B-B14F-4D97-AF65-F5344CB8AC3E}">
        <p14:creationId xmlns:p14="http://schemas.microsoft.com/office/powerpoint/2010/main" val="234725312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D33939-6653-461A-B01F-B67893276041}"/>
              </a:ext>
            </a:extLst>
          </p:cNvPr>
          <p:cNvGraphicFramePr>
            <a:graphicFrameLocks noChangeAspect="1"/>
          </p:cNvGraphicFramePr>
          <p:nvPr userDrawn="1">
            <p:custDataLst>
              <p:tags r:id="rId1"/>
            </p:custDataLst>
            <p:extLst>
              <p:ext uri="{D42A27DB-BD31-4B8C-83A1-F6EECF244321}">
                <p14:modId xmlns:p14="http://schemas.microsoft.com/office/powerpoint/2010/main" val="4256850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2" name="Object 1" hidden="1">
                        <a:extLst>
                          <a:ext uri="{FF2B5EF4-FFF2-40B4-BE49-F238E27FC236}">
                            <a16:creationId xmlns:a16="http://schemas.microsoft.com/office/drawing/2014/main" id="{28D33939-6653-461A-B01F-B67893276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8C16C94-57E1-4111-9EAD-8B10F9166361}"/>
              </a:ext>
            </a:extLst>
          </p:cNvPr>
          <p:cNvSpPr>
            <a:spLocks noGrp="1"/>
          </p:cNvSpPr>
          <p:nvPr>
            <p:ph type="sldNum" sz="quarter" idx="12"/>
          </p:nvPr>
        </p:nvSpPr>
        <p:spPr>
          <a:xfrm>
            <a:off x="9715500" y="5924145"/>
            <a:ext cx="1638300"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01516023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3" name="Rectangle 22"/>
          <p:cNvSpPr/>
          <p:nvPr userDrawn="1"/>
        </p:nvSpPr>
        <p:spPr>
          <a:xfrm>
            <a:off x="0" y="6132286"/>
            <a:ext cx="12192000" cy="725714"/>
          </a:xfrm>
          <a:prstGeom prst="rect">
            <a:avLst/>
          </a:prstGeom>
          <a:solidFill>
            <a:schemeClr val="bg1"/>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800"/>
          </a:p>
        </p:txBody>
      </p:sp>
      <p:sp>
        <p:nvSpPr>
          <p:cNvPr id="7" name="Picture Placeholder 6"/>
          <p:cNvSpPr>
            <a:spLocks noGrp="1"/>
          </p:cNvSpPr>
          <p:nvPr>
            <p:ph type="pic" sz="quarter" idx="11"/>
          </p:nvPr>
        </p:nvSpPr>
        <p:spPr>
          <a:xfrm>
            <a:off x="0" y="0"/>
            <a:ext cx="12192000" cy="6858000"/>
          </a:xfrm>
        </p:spPr>
        <p:txBody>
          <a:bodyPr/>
          <a:lstStyle/>
          <a:p>
            <a:endParaRPr lang="en-US"/>
          </a:p>
        </p:txBody>
      </p:sp>
      <p:sp>
        <p:nvSpPr>
          <p:cNvPr id="6" name="Text Placeholder 5"/>
          <p:cNvSpPr>
            <a:spLocks noGrp="1"/>
          </p:cNvSpPr>
          <p:nvPr>
            <p:ph type="body" sz="quarter" idx="13"/>
          </p:nvPr>
        </p:nvSpPr>
        <p:spPr>
          <a:xfrm>
            <a:off x="314478" y="235403"/>
            <a:ext cx="3580189" cy="6214382"/>
          </a:xfrm>
          <a:solidFill>
            <a:srgbClr val="FFD833"/>
          </a:solidFill>
          <a:ln>
            <a:noFill/>
          </a:ln>
        </p:spPr>
        <p:txBody>
          <a:bodyPr/>
          <a:lstStyle>
            <a:lvl1pPr>
              <a:buFont typeface="Arial"/>
              <a:buChar char="•"/>
              <a:defRPr sz="2200">
                <a:solidFill>
                  <a:schemeClr val="tx1"/>
                </a:solidFill>
              </a:defRPr>
            </a:lvl1pPr>
            <a:lvl2pPr>
              <a:buFont typeface="Arial"/>
              <a:buChar char="•"/>
              <a:defRPr>
                <a:solidFill>
                  <a:schemeClr val="tx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6838054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cSld name="Just Table">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screen">
            <a:alphaModFix amt="28000"/>
            <a:extLst>
              <a:ext uri="{28A0092B-C50C-407E-A947-70E740481C1C}">
                <a14:useLocalDpi xmlns:a14="http://schemas.microsoft.com/office/drawing/2010/main"/>
              </a:ext>
            </a:extLst>
          </a:blip>
          <a:srcRect/>
          <a:stretch/>
        </p:blipFill>
        <p:spPr>
          <a:xfrm>
            <a:off x="1" y="6183857"/>
            <a:ext cx="12191999" cy="587061"/>
          </a:xfrm>
          <a:prstGeom prst="rect">
            <a:avLst/>
          </a:prstGeom>
        </p:spPr>
      </p:pic>
      <p:sp>
        <p:nvSpPr>
          <p:cNvPr id="7" name="Rectangle 6"/>
          <p:cNvSpPr/>
          <p:nvPr/>
        </p:nvSpPr>
        <p:spPr>
          <a:xfrm>
            <a:off x="4169229" y="6183857"/>
            <a:ext cx="8022770" cy="674143"/>
          </a:xfrm>
          <a:prstGeom prst="rect">
            <a:avLst/>
          </a:prstGeom>
          <a:gradFill flip="none" rotWithShape="1">
            <a:gsLst>
              <a:gs pos="0">
                <a:schemeClr val="accent1">
                  <a:lumMod val="5000"/>
                  <a:lumOff val="95000"/>
                  <a:alpha val="0"/>
                </a:schemeClr>
              </a:gs>
              <a:gs pos="98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914400" y="381001"/>
            <a:ext cx="10894260" cy="896654"/>
          </a:xfrm>
        </p:spPr>
        <p:txBody>
          <a:bodyPr anchor="t">
            <a:normAutofit/>
          </a:bodyPr>
          <a:lstStyle>
            <a:lvl1pPr algn="l">
              <a:defRPr sz="5400"/>
            </a:lvl1pPr>
          </a:lstStyle>
          <a:p>
            <a:r>
              <a:rPr lang="en-US"/>
              <a:t>Title</a:t>
            </a:r>
          </a:p>
        </p:txBody>
      </p:sp>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41950" y="6368783"/>
            <a:ext cx="1166710" cy="325298"/>
          </a:xfrm>
          <a:prstGeom prst="rect">
            <a:avLst/>
          </a:prstGeom>
        </p:spPr>
      </p:pic>
      <p:cxnSp>
        <p:nvCxnSpPr>
          <p:cNvPr id="18" name="Straight Connector 17"/>
          <p:cNvCxnSpPr/>
          <p:nvPr/>
        </p:nvCxnSpPr>
        <p:spPr>
          <a:xfrm>
            <a:off x="0" y="6183857"/>
            <a:ext cx="12192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able Placeholder 3"/>
          <p:cNvSpPr>
            <a:spLocks noGrp="1"/>
          </p:cNvSpPr>
          <p:nvPr>
            <p:ph type="tbl" sz="quarter" idx="10" hasCustomPrompt="1"/>
          </p:nvPr>
        </p:nvSpPr>
        <p:spPr>
          <a:xfrm>
            <a:off x="914400" y="1691014"/>
            <a:ext cx="9493268" cy="4307918"/>
          </a:xfrm>
        </p:spPr>
        <p:txBody>
          <a:bodyPr/>
          <a:lstStyle>
            <a:lvl1pPr>
              <a:defRPr/>
            </a:lvl1pPr>
          </a:lstStyle>
          <a:p>
            <a:r>
              <a:rPr lang="en-US"/>
              <a:t>Click icon to add table -&gt; use Style 2, Accent 5 design</a:t>
            </a:r>
          </a:p>
        </p:txBody>
      </p:sp>
      <p:pic>
        <p:nvPicPr>
          <p:cNvPr id="8" name="Picture 7"/>
          <p:cNvPicPr>
            <a:picLocks noChangeAspect="1"/>
          </p:cNvPicPr>
          <p:nvPr/>
        </p:nvPicPr>
        <p:blipFill rotWithShape="1">
          <a:blip r:embed="rId2" cstate="screen">
            <a:alphaModFix amt="28000"/>
            <a:extLst>
              <a:ext uri="{28A0092B-C50C-407E-A947-70E740481C1C}">
                <a14:useLocalDpi xmlns:a14="http://schemas.microsoft.com/office/drawing/2010/main"/>
              </a:ext>
            </a:extLst>
          </a:blip>
          <a:srcRect/>
          <a:stretch/>
        </p:blipFill>
        <p:spPr>
          <a:xfrm>
            <a:off x="1" y="6183857"/>
            <a:ext cx="12191999" cy="587061"/>
          </a:xfrm>
          <a:prstGeom prst="rect">
            <a:avLst/>
          </a:prstGeom>
        </p:spPr>
      </p:pic>
      <p:sp>
        <p:nvSpPr>
          <p:cNvPr id="10" name="Rectangle 9"/>
          <p:cNvSpPr/>
          <p:nvPr/>
        </p:nvSpPr>
        <p:spPr>
          <a:xfrm>
            <a:off x="4169229" y="6183857"/>
            <a:ext cx="8022770" cy="674143"/>
          </a:xfrm>
          <a:prstGeom prst="rect">
            <a:avLst/>
          </a:prstGeom>
          <a:gradFill flip="none" rotWithShape="1">
            <a:gsLst>
              <a:gs pos="0">
                <a:schemeClr val="accent1">
                  <a:lumMod val="5000"/>
                  <a:lumOff val="95000"/>
                  <a:alpha val="0"/>
                </a:schemeClr>
              </a:gs>
              <a:gs pos="98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41950" y="6368783"/>
            <a:ext cx="1166710" cy="325298"/>
          </a:xfrm>
          <a:prstGeom prst="rect">
            <a:avLst/>
          </a:prstGeom>
        </p:spPr>
      </p:pic>
      <p:cxnSp>
        <p:nvCxnSpPr>
          <p:cNvPr id="12" name="Straight Connector 11"/>
          <p:cNvCxnSpPr/>
          <p:nvPr/>
        </p:nvCxnSpPr>
        <p:spPr>
          <a:xfrm>
            <a:off x="0" y="6183857"/>
            <a:ext cx="12192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rotWithShape="1">
          <a:blip r:embed="rId2" cstate="screen">
            <a:alphaModFix amt="28000"/>
            <a:extLst>
              <a:ext uri="{28A0092B-C50C-407E-A947-70E740481C1C}">
                <a14:useLocalDpi xmlns:a14="http://schemas.microsoft.com/office/drawing/2010/main"/>
              </a:ext>
            </a:extLst>
          </a:blip>
          <a:srcRect/>
          <a:stretch/>
        </p:blipFill>
        <p:spPr>
          <a:xfrm>
            <a:off x="1" y="6183857"/>
            <a:ext cx="12191999" cy="587061"/>
          </a:xfrm>
          <a:prstGeom prst="rect">
            <a:avLst/>
          </a:prstGeom>
        </p:spPr>
      </p:pic>
      <p:sp>
        <p:nvSpPr>
          <p:cNvPr id="14" name="Rectangle 13"/>
          <p:cNvSpPr/>
          <p:nvPr userDrawn="1"/>
        </p:nvSpPr>
        <p:spPr>
          <a:xfrm>
            <a:off x="4169229" y="6183857"/>
            <a:ext cx="8022770" cy="674143"/>
          </a:xfrm>
          <a:prstGeom prst="rect">
            <a:avLst/>
          </a:prstGeom>
          <a:gradFill flip="none" rotWithShape="1">
            <a:gsLst>
              <a:gs pos="0">
                <a:schemeClr val="accent1">
                  <a:lumMod val="5000"/>
                  <a:lumOff val="95000"/>
                  <a:alpha val="0"/>
                </a:schemeClr>
              </a:gs>
              <a:gs pos="98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41950" y="6368783"/>
            <a:ext cx="1166710" cy="325298"/>
          </a:xfrm>
          <a:prstGeom prst="rect">
            <a:avLst/>
          </a:prstGeom>
        </p:spPr>
      </p:pic>
      <p:cxnSp>
        <p:nvCxnSpPr>
          <p:cNvPr id="17" name="Straight Connector 16"/>
          <p:cNvCxnSpPr/>
          <p:nvPr userDrawn="1"/>
        </p:nvCxnSpPr>
        <p:spPr>
          <a:xfrm>
            <a:off x="0" y="6183857"/>
            <a:ext cx="12192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44512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itle + Subtitle + 4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079476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a:off x="7043889" y="1"/>
            <a:ext cx="5148111" cy="535952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0" name="Picture Placeholder 6">
            <a:extLst>
              <a:ext uri="{FF2B5EF4-FFF2-40B4-BE49-F238E27FC236}">
                <a16:creationId xmlns:a16="http://schemas.microsoft.com/office/drawing/2014/main" id="{51F0FD9E-3AFB-4B29-92E4-ADCA8C32D219}"/>
              </a:ext>
            </a:extLst>
          </p:cNvPr>
          <p:cNvSpPr>
            <a:spLocks noGrp="1"/>
          </p:cNvSpPr>
          <p:nvPr>
            <p:ph type="pic" sz="quarter" idx="18"/>
          </p:nvPr>
        </p:nvSpPr>
        <p:spPr>
          <a:xfrm>
            <a:off x="1212850" y="2049566"/>
            <a:ext cx="1485900" cy="1485900"/>
          </a:xfrm>
        </p:spPr>
        <p:txBody>
          <a:bodyPr/>
          <a:lstStyle/>
          <a:p>
            <a:endParaRPr lang="en-US"/>
          </a:p>
        </p:txBody>
      </p:sp>
      <p:sp>
        <p:nvSpPr>
          <p:cNvPr id="23" name="Picture Placeholder 6">
            <a:extLst>
              <a:ext uri="{FF2B5EF4-FFF2-40B4-BE49-F238E27FC236}">
                <a16:creationId xmlns:a16="http://schemas.microsoft.com/office/drawing/2014/main" id="{963FF6B3-47CC-45EA-AEC0-F0B8E77D37DC}"/>
              </a:ext>
            </a:extLst>
          </p:cNvPr>
          <p:cNvSpPr>
            <a:spLocks noGrp="1"/>
          </p:cNvSpPr>
          <p:nvPr>
            <p:ph type="pic" sz="quarter" idx="19"/>
          </p:nvPr>
        </p:nvSpPr>
        <p:spPr>
          <a:xfrm>
            <a:off x="3931448" y="2049566"/>
            <a:ext cx="1485900" cy="1485900"/>
          </a:xfrm>
        </p:spPr>
        <p:txBody>
          <a:bodyPr/>
          <a:lstStyle/>
          <a:p>
            <a:endParaRPr lang="en-US"/>
          </a:p>
        </p:txBody>
      </p:sp>
      <p:sp>
        <p:nvSpPr>
          <p:cNvPr id="32" name="Text Placeholder 16">
            <a:extLst>
              <a:ext uri="{FF2B5EF4-FFF2-40B4-BE49-F238E27FC236}">
                <a16:creationId xmlns:a16="http://schemas.microsoft.com/office/drawing/2014/main" id="{62E1362D-EABA-407E-8EE8-E13D3342FFF9}"/>
              </a:ext>
            </a:extLst>
          </p:cNvPr>
          <p:cNvSpPr>
            <a:spLocks noGrp="1"/>
          </p:cNvSpPr>
          <p:nvPr>
            <p:ph type="body" sz="quarter" idx="14" hasCustomPrompt="1"/>
          </p:nvPr>
        </p:nvSpPr>
        <p:spPr>
          <a:xfrm>
            <a:off x="838200" y="3821287"/>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34" name="Text Placeholder 16">
            <a:extLst>
              <a:ext uri="{FF2B5EF4-FFF2-40B4-BE49-F238E27FC236}">
                <a16:creationId xmlns:a16="http://schemas.microsoft.com/office/drawing/2014/main" id="{A017B11C-6696-4537-8B33-B38F803B27FE}"/>
              </a:ext>
            </a:extLst>
          </p:cNvPr>
          <p:cNvSpPr>
            <a:spLocks noGrp="1"/>
          </p:cNvSpPr>
          <p:nvPr>
            <p:ph type="body" sz="quarter" idx="21" hasCustomPrompt="1"/>
          </p:nvPr>
        </p:nvSpPr>
        <p:spPr>
          <a:xfrm>
            <a:off x="3594470" y="3821287"/>
            <a:ext cx="2159856"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35" name="Picture Placeholder 6">
            <a:extLst>
              <a:ext uri="{FF2B5EF4-FFF2-40B4-BE49-F238E27FC236}">
                <a16:creationId xmlns:a16="http://schemas.microsoft.com/office/drawing/2014/main" id="{8D2FD841-A331-4B64-A0A5-3E0A3D1BFA0F}"/>
              </a:ext>
            </a:extLst>
          </p:cNvPr>
          <p:cNvSpPr>
            <a:spLocks noGrp="1"/>
          </p:cNvSpPr>
          <p:nvPr>
            <p:ph type="pic" sz="quarter" idx="22"/>
          </p:nvPr>
        </p:nvSpPr>
        <p:spPr>
          <a:xfrm>
            <a:off x="9453416" y="2053162"/>
            <a:ext cx="1485900" cy="1485900"/>
          </a:xfrm>
        </p:spPr>
        <p:txBody>
          <a:bodyPr/>
          <a:lstStyle/>
          <a:p>
            <a:endParaRPr lang="en-US"/>
          </a:p>
        </p:txBody>
      </p:sp>
      <p:sp>
        <p:nvSpPr>
          <p:cNvPr id="37" name="Text Placeholder 16">
            <a:extLst>
              <a:ext uri="{FF2B5EF4-FFF2-40B4-BE49-F238E27FC236}">
                <a16:creationId xmlns:a16="http://schemas.microsoft.com/office/drawing/2014/main" id="{4AD9E344-7E5F-4F9F-9DA4-0599F10F492E}"/>
              </a:ext>
            </a:extLst>
          </p:cNvPr>
          <p:cNvSpPr>
            <a:spLocks noGrp="1"/>
          </p:cNvSpPr>
          <p:nvPr>
            <p:ph type="body" sz="quarter" idx="24" hasCustomPrompt="1"/>
          </p:nvPr>
        </p:nvSpPr>
        <p:spPr>
          <a:xfrm>
            <a:off x="6327626" y="3821287"/>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6" name="Text Placeholder 16">
            <a:extLst>
              <a:ext uri="{FF2B5EF4-FFF2-40B4-BE49-F238E27FC236}">
                <a16:creationId xmlns:a16="http://schemas.microsoft.com/office/drawing/2014/main" id="{B88CB82A-9E2B-4C70-A96C-FB83F05CAAB0}"/>
              </a:ext>
            </a:extLst>
          </p:cNvPr>
          <p:cNvSpPr>
            <a:spLocks noGrp="1"/>
          </p:cNvSpPr>
          <p:nvPr>
            <p:ph type="body" sz="quarter" idx="26" hasCustomPrompt="1"/>
          </p:nvPr>
        </p:nvSpPr>
        <p:spPr>
          <a:xfrm>
            <a:off x="9078766" y="3821287"/>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7" name="Picture Placeholder 6">
            <a:extLst>
              <a:ext uri="{FF2B5EF4-FFF2-40B4-BE49-F238E27FC236}">
                <a16:creationId xmlns:a16="http://schemas.microsoft.com/office/drawing/2014/main" id="{D5A0D7A4-5125-43F6-B103-0F8056DE298F}"/>
              </a:ext>
            </a:extLst>
          </p:cNvPr>
          <p:cNvSpPr>
            <a:spLocks noGrp="1"/>
          </p:cNvSpPr>
          <p:nvPr>
            <p:ph type="pic" sz="quarter" idx="27"/>
          </p:nvPr>
        </p:nvSpPr>
        <p:spPr>
          <a:xfrm>
            <a:off x="6702276" y="2049566"/>
            <a:ext cx="1485900" cy="1485900"/>
          </a:xfrm>
        </p:spPr>
        <p:txBody>
          <a:bodyPr/>
          <a:lstStyle/>
          <a:p>
            <a:endParaRPr lang="en-US"/>
          </a:p>
        </p:txBody>
      </p:sp>
    </p:spTree>
    <p:extLst>
      <p:ext uri="{BB962C8B-B14F-4D97-AF65-F5344CB8AC3E}">
        <p14:creationId xmlns:p14="http://schemas.microsoft.com/office/powerpoint/2010/main" val="249898548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Copy">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screen">
            <a:alphaModFix amt="28000"/>
            <a:extLst>
              <a:ext uri="{28A0092B-C50C-407E-A947-70E740481C1C}">
                <a14:useLocalDpi xmlns:a14="http://schemas.microsoft.com/office/drawing/2010/main"/>
              </a:ext>
            </a:extLst>
          </a:blip>
          <a:srcRect/>
          <a:stretch/>
        </p:blipFill>
        <p:spPr>
          <a:xfrm>
            <a:off x="1" y="6183857"/>
            <a:ext cx="12191999" cy="587061"/>
          </a:xfrm>
          <a:prstGeom prst="rect">
            <a:avLst/>
          </a:prstGeom>
        </p:spPr>
      </p:pic>
      <p:sp>
        <p:nvSpPr>
          <p:cNvPr id="7" name="Rectangle 6"/>
          <p:cNvSpPr/>
          <p:nvPr/>
        </p:nvSpPr>
        <p:spPr>
          <a:xfrm>
            <a:off x="4169229" y="6183857"/>
            <a:ext cx="8022770" cy="674143"/>
          </a:xfrm>
          <a:prstGeom prst="rect">
            <a:avLst/>
          </a:prstGeom>
          <a:gradFill flip="none" rotWithShape="1">
            <a:gsLst>
              <a:gs pos="0">
                <a:schemeClr val="accent1">
                  <a:lumMod val="5000"/>
                  <a:lumOff val="95000"/>
                  <a:alpha val="0"/>
                </a:schemeClr>
              </a:gs>
              <a:gs pos="98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914400" y="381000"/>
            <a:ext cx="10894260" cy="890751"/>
          </a:xfrm>
        </p:spPr>
        <p:txBody>
          <a:bodyPr anchor="t">
            <a:normAutofit/>
          </a:bodyPr>
          <a:lstStyle>
            <a:lvl1pPr algn="l">
              <a:defRPr sz="5400"/>
            </a:lvl1pPr>
          </a:lstStyle>
          <a:p>
            <a:r>
              <a:rPr lang="en-US"/>
              <a:t>One Line Title</a:t>
            </a:r>
          </a:p>
        </p:txBody>
      </p:sp>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41950" y="6368783"/>
            <a:ext cx="1166710" cy="325298"/>
          </a:xfrm>
          <a:prstGeom prst="rect">
            <a:avLst/>
          </a:prstGeom>
        </p:spPr>
      </p:pic>
      <p:cxnSp>
        <p:nvCxnSpPr>
          <p:cNvPr id="18" name="Straight Connector 17"/>
          <p:cNvCxnSpPr/>
          <p:nvPr/>
        </p:nvCxnSpPr>
        <p:spPr>
          <a:xfrm>
            <a:off x="0" y="6183857"/>
            <a:ext cx="12192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0"/>
          </p:nvPr>
        </p:nvSpPr>
        <p:spPr>
          <a:xfrm>
            <a:off x="914400" y="1481959"/>
            <a:ext cx="10894260" cy="4516973"/>
          </a:xfrm>
        </p:spPr>
        <p:txBody>
          <a:bodyPr/>
          <a:lstStyle>
            <a:lvl1pPr>
              <a:defRPr sz="3400"/>
            </a:lvl1pPr>
            <a:lvl2pPr>
              <a:defRPr sz="2800"/>
            </a:lvl2pPr>
          </a:lstStyle>
          <a:p>
            <a:pPr lvl="0"/>
            <a:r>
              <a:rPr lang="en-US"/>
              <a:t>Edit Master text styles</a:t>
            </a:r>
          </a:p>
          <a:p>
            <a:pPr lvl="1"/>
            <a:r>
              <a:rPr lang="en-US"/>
              <a:t>Second level</a:t>
            </a:r>
          </a:p>
        </p:txBody>
      </p:sp>
      <p:pic>
        <p:nvPicPr>
          <p:cNvPr id="8" name="Picture 7"/>
          <p:cNvPicPr>
            <a:picLocks noChangeAspect="1"/>
          </p:cNvPicPr>
          <p:nvPr/>
        </p:nvPicPr>
        <p:blipFill rotWithShape="1">
          <a:blip r:embed="rId2" cstate="screen">
            <a:alphaModFix amt="28000"/>
            <a:extLst>
              <a:ext uri="{28A0092B-C50C-407E-A947-70E740481C1C}">
                <a14:useLocalDpi xmlns:a14="http://schemas.microsoft.com/office/drawing/2010/main"/>
              </a:ext>
            </a:extLst>
          </a:blip>
          <a:srcRect/>
          <a:stretch/>
        </p:blipFill>
        <p:spPr>
          <a:xfrm>
            <a:off x="1" y="6183857"/>
            <a:ext cx="12191999" cy="587061"/>
          </a:xfrm>
          <a:prstGeom prst="rect">
            <a:avLst/>
          </a:prstGeom>
        </p:spPr>
      </p:pic>
      <p:sp>
        <p:nvSpPr>
          <p:cNvPr id="10" name="Rectangle 9"/>
          <p:cNvSpPr/>
          <p:nvPr/>
        </p:nvSpPr>
        <p:spPr>
          <a:xfrm>
            <a:off x="4169229" y="6183857"/>
            <a:ext cx="8022770" cy="674143"/>
          </a:xfrm>
          <a:prstGeom prst="rect">
            <a:avLst/>
          </a:prstGeom>
          <a:gradFill flip="none" rotWithShape="1">
            <a:gsLst>
              <a:gs pos="0">
                <a:schemeClr val="accent1">
                  <a:lumMod val="5000"/>
                  <a:lumOff val="95000"/>
                  <a:alpha val="0"/>
                </a:schemeClr>
              </a:gs>
              <a:gs pos="98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41950" y="6368783"/>
            <a:ext cx="1166710" cy="325298"/>
          </a:xfrm>
          <a:prstGeom prst="rect">
            <a:avLst/>
          </a:prstGeom>
        </p:spPr>
      </p:pic>
      <p:cxnSp>
        <p:nvCxnSpPr>
          <p:cNvPr id="12" name="Straight Connector 11"/>
          <p:cNvCxnSpPr/>
          <p:nvPr/>
        </p:nvCxnSpPr>
        <p:spPr>
          <a:xfrm>
            <a:off x="0" y="6183857"/>
            <a:ext cx="12192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rotWithShape="1">
          <a:blip r:embed="rId2" cstate="screen">
            <a:alphaModFix amt="28000"/>
            <a:extLst>
              <a:ext uri="{28A0092B-C50C-407E-A947-70E740481C1C}">
                <a14:useLocalDpi xmlns:a14="http://schemas.microsoft.com/office/drawing/2010/main"/>
              </a:ext>
            </a:extLst>
          </a:blip>
          <a:srcRect/>
          <a:stretch/>
        </p:blipFill>
        <p:spPr>
          <a:xfrm>
            <a:off x="1" y="6183857"/>
            <a:ext cx="12191999" cy="587061"/>
          </a:xfrm>
          <a:prstGeom prst="rect">
            <a:avLst/>
          </a:prstGeom>
        </p:spPr>
      </p:pic>
      <p:sp>
        <p:nvSpPr>
          <p:cNvPr id="14" name="Rectangle 13"/>
          <p:cNvSpPr/>
          <p:nvPr userDrawn="1"/>
        </p:nvSpPr>
        <p:spPr>
          <a:xfrm>
            <a:off x="4169229" y="6183857"/>
            <a:ext cx="8022770" cy="674143"/>
          </a:xfrm>
          <a:prstGeom prst="rect">
            <a:avLst/>
          </a:prstGeom>
          <a:gradFill flip="none" rotWithShape="1">
            <a:gsLst>
              <a:gs pos="0">
                <a:schemeClr val="accent1">
                  <a:lumMod val="5000"/>
                  <a:lumOff val="95000"/>
                  <a:alpha val="0"/>
                </a:schemeClr>
              </a:gs>
              <a:gs pos="98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41950" y="6368783"/>
            <a:ext cx="1166710" cy="325298"/>
          </a:xfrm>
          <a:prstGeom prst="rect">
            <a:avLst/>
          </a:prstGeom>
        </p:spPr>
      </p:pic>
      <p:cxnSp>
        <p:nvCxnSpPr>
          <p:cNvPr id="17" name="Straight Connector 16"/>
          <p:cNvCxnSpPr/>
          <p:nvPr userDrawn="1"/>
        </p:nvCxnSpPr>
        <p:spPr>
          <a:xfrm>
            <a:off x="0" y="6183857"/>
            <a:ext cx="12192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200106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2_Full Screen Picture">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C40CC3A-9E47-4BEB-9B40-B428E961EEE9}"/>
              </a:ext>
            </a:extLst>
          </p:cNvPr>
          <p:cNvSpPr>
            <a:spLocks noGrp="1"/>
          </p:cNvSpPr>
          <p:nvPr>
            <p:ph type="pic" sz="quarter" idx="10" hasCustomPrompt="1"/>
          </p:nvPr>
        </p:nvSpPr>
        <p:spPr>
          <a:xfrm>
            <a:off x="0" y="0"/>
            <a:ext cx="12192000" cy="6858000"/>
          </a:xfrm>
        </p:spPr>
        <p:txBody>
          <a:bodyPr anchor="ctr"/>
          <a:lstStyle>
            <a:lvl1pPr marL="0" indent="0" algn="ctr">
              <a:buNone/>
              <a:defRPr/>
            </a:lvl1pPr>
          </a:lstStyle>
          <a:p>
            <a:r>
              <a:rPr lang="en-US"/>
              <a:t>Insert Full Screen Picture (no words)</a:t>
            </a:r>
          </a:p>
        </p:txBody>
      </p:sp>
    </p:spTree>
    <p:extLst>
      <p:ext uri="{BB962C8B-B14F-4D97-AF65-F5344CB8AC3E}">
        <p14:creationId xmlns:p14="http://schemas.microsoft.com/office/powerpoint/2010/main" val="3342291606"/>
      </p:ext>
    </p:extLst>
  </p:cSld>
  <p:clrMapOvr>
    <a:overrideClrMapping bg1="lt1" tx1="dk1" bg2="lt2" tx2="dk2" accent1="accent1" accent2="accent2" accent3="accent3" accent4="accent4" accent5="accent5" accent6="accent6" hlink="hlink" folHlink="folHlink"/>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3" name="Rectangle 22"/>
          <p:cNvSpPr/>
          <p:nvPr userDrawn="1"/>
        </p:nvSpPr>
        <p:spPr>
          <a:xfrm>
            <a:off x="0" y="6132286"/>
            <a:ext cx="12192000" cy="725714"/>
          </a:xfrm>
          <a:prstGeom prst="rect">
            <a:avLst/>
          </a:prstGeom>
          <a:solidFill>
            <a:schemeClr val="bg1"/>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800"/>
          </a:p>
        </p:txBody>
      </p:sp>
      <p:sp>
        <p:nvSpPr>
          <p:cNvPr id="7" name="Picture Placeholder 6"/>
          <p:cNvSpPr>
            <a:spLocks noGrp="1"/>
          </p:cNvSpPr>
          <p:nvPr>
            <p:ph type="pic" sz="quarter" idx="11"/>
          </p:nvPr>
        </p:nvSpPr>
        <p:spPr>
          <a:xfrm>
            <a:off x="0" y="0"/>
            <a:ext cx="12192000" cy="6858000"/>
          </a:xfrm>
        </p:spPr>
        <p:txBody>
          <a:bodyPr/>
          <a:lstStyle/>
          <a:p>
            <a:endParaRPr lang="en-US"/>
          </a:p>
        </p:txBody>
      </p:sp>
      <p:sp>
        <p:nvSpPr>
          <p:cNvPr id="25" name="Text Placeholder 24"/>
          <p:cNvSpPr>
            <a:spLocks noGrp="1"/>
          </p:cNvSpPr>
          <p:nvPr>
            <p:ph type="body" sz="quarter" idx="12" hasCustomPrompt="1"/>
          </p:nvPr>
        </p:nvSpPr>
        <p:spPr>
          <a:xfrm>
            <a:off x="654051" y="1443039"/>
            <a:ext cx="3276600" cy="1114425"/>
          </a:xfrm>
        </p:spPr>
        <p:txBody>
          <a:bodyPr anchor="ctr">
            <a:normAutofit/>
          </a:bodyPr>
          <a:lstStyle>
            <a:lvl1pPr>
              <a:buFontTx/>
              <a:buNone/>
              <a:defRPr sz="2000"/>
            </a:lvl1pPr>
          </a:lstStyle>
          <a:p>
            <a:pPr lvl="0"/>
            <a:r>
              <a:rPr lang="en-US"/>
              <a:t>Click to add text</a:t>
            </a:r>
          </a:p>
        </p:txBody>
      </p:sp>
    </p:spTree>
    <p:extLst>
      <p:ext uri="{BB962C8B-B14F-4D97-AF65-F5344CB8AC3E}">
        <p14:creationId xmlns:p14="http://schemas.microsoft.com/office/powerpoint/2010/main" val="16940569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_closing 04">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528480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904999" y="0"/>
            <a:ext cx="10287001" cy="6857999"/>
          </a:xfrm>
          <a:prstGeom prst="rect">
            <a:avLst/>
          </a:prstGeom>
          <a:gradFill>
            <a:gsLst>
              <a:gs pos="0">
                <a:schemeClr val="accent5">
                  <a:lumMod val="10000"/>
                  <a:alpha val="73000"/>
                </a:schemeClr>
              </a:gs>
              <a:gs pos="46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4551896"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4457700" y="2288320"/>
            <a:ext cx="5143499" cy="2281360"/>
          </a:xfrm>
        </p:spPr>
        <p:txBody>
          <a:bodyPr anchor="ctr">
            <a:noAutofit/>
          </a:bodyPr>
          <a:lstStyle>
            <a:lvl1pPr>
              <a:defRPr sz="4400">
                <a:solidFill>
                  <a:schemeClr val="bg1"/>
                </a:solidFill>
              </a:defRPr>
            </a:lvl1pPr>
          </a:lstStyle>
          <a:p>
            <a:r>
              <a:rPr lang="en-US"/>
              <a:t>Closing slide</a:t>
            </a:r>
          </a:p>
        </p:txBody>
      </p:sp>
      <p:sp>
        <p:nvSpPr>
          <p:cNvPr id="26" name="Freeform: Shape 25">
            <a:extLst>
              <a:ext uri="{FF2B5EF4-FFF2-40B4-BE49-F238E27FC236}">
                <a16:creationId xmlns:a16="http://schemas.microsoft.com/office/drawing/2014/main" id="{F2A2AE34-7892-42F4-AFE1-463A5BEF0007}"/>
              </a:ext>
            </a:extLst>
          </p:cNvPr>
          <p:cNvSpPr/>
          <p:nvPr userDrawn="1"/>
        </p:nvSpPr>
        <p:spPr>
          <a:xfrm rot="10800000">
            <a:off x="1" y="0"/>
            <a:ext cx="3497357" cy="6858000"/>
          </a:xfrm>
          <a:custGeom>
            <a:avLst/>
            <a:gdLst>
              <a:gd name="connsiteX0" fmla="*/ 1398588 w 3497357"/>
              <a:gd name="connsiteY0" fmla="*/ 0 h 6858000"/>
              <a:gd name="connsiteX1" fmla="*/ 3497357 w 3497357"/>
              <a:gd name="connsiteY1" fmla="*/ 0 h 6858000"/>
              <a:gd name="connsiteX2" fmla="*/ 3497357 w 3497357"/>
              <a:gd name="connsiteY2" fmla="*/ 722525 h 6858000"/>
              <a:gd name="connsiteX3" fmla="*/ 3321786 w 3497357"/>
              <a:gd name="connsiteY3" fmla="*/ 809134 h 6858000"/>
              <a:gd name="connsiteX4" fmla="*/ 1799307 w 3497357"/>
              <a:gd name="connsiteY4" fmla="*/ 3429000 h 6858000"/>
              <a:gd name="connsiteX5" fmla="*/ 3322313 w 3497357"/>
              <a:gd name="connsiteY5" fmla="*/ 6048867 h 6858000"/>
              <a:gd name="connsiteX6" fmla="*/ 3497357 w 3497357"/>
              <a:gd name="connsiteY6" fmla="*/ 6135224 h 6858000"/>
              <a:gd name="connsiteX7" fmla="*/ 3497357 w 3497357"/>
              <a:gd name="connsiteY7" fmla="*/ 6858000 h 6858000"/>
              <a:gd name="connsiteX8" fmla="*/ 1398588 w 3497357"/>
              <a:gd name="connsiteY8" fmla="*/ 6858000 h 6858000"/>
              <a:gd name="connsiteX9" fmla="*/ 1379218 w 3497357"/>
              <a:gd name="connsiteY9" fmla="*/ 6839087 h 6858000"/>
              <a:gd name="connsiteX10" fmla="*/ 0 w 3497357"/>
              <a:gd name="connsiteY10" fmla="*/ 3429000 h 6858000"/>
              <a:gd name="connsiteX11" fmla="*/ 1379218 w 3497357"/>
              <a:gd name="connsiteY11" fmla="*/ 189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357" h="6858000">
                <a:moveTo>
                  <a:pt x="1398588" y="0"/>
                </a:moveTo>
                <a:lnTo>
                  <a:pt x="3497357" y="0"/>
                </a:lnTo>
                <a:lnTo>
                  <a:pt x="3497357" y="722525"/>
                </a:lnTo>
                <a:lnTo>
                  <a:pt x="3321786" y="809134"/>
                </a:lnTo>
                <a:cubicBezTo>
                  <a:pt x="2414760" y="1313706"/>
                  <a:pt x="1799307" y="2297777"/>
                  <a:pt x="1799307" y="3429000"/>
                </a:cubicBezTo>
                <a:cubicBezTo>
                  <a:pt x="1799307" y="4560224"/>
                  <a:pt x="2415321" y="5544294"/>
                  <a:pt x="3322313" y="6048867"/>
                </a:cubicBezTo>
                <a:lnTo>
                  <a:pt x="3497357" y="6135224"/>
                </a:lnTo>
                <a:lnTo>
                  <a:pt x="3497357" y="6858000"/>
                </a:lnTo>
                <a:lnTo>
                  <a:pt x="1398588" y="6858000"/>
                </a:lnTo>
                <a:lnTo>
                  <a:pt x="1379218" y="6839087"/>
                </a:lnTo>
                <a:cubicBezTo>
                  <a:pt x="527066" y="5966368"/>
                  <a:pt x="0" y="4760720"/>
                  <a:pt x="0" y="3429000"/>
                </a:cubicBezTo>
                <a:cubicBezTo>
                  <a:pt x="0" y="2097281"/>
                  <a:pt x="527066" y="891632"/>
                  <a:pt x="1379218" y="18914"/>
                </a:cubicBezTo>
                <a:close/>
              </a:path>
            </a:pathLst>
          </a:custGeom>
          <a:solidFill>
            <a:schemeClr val="accent2"/>
          </a:solidFill>
          <a:ln w="9264" cap="flat">
            <a:noFill/>
            <a:prstDash val="solid"/>
            <a:miter/>
          </a:ln>
        </p:spPr>
        <p:txBody>
          <a:bodyPr wrap="square" rtlCol="0" anchor="ctr">
            <a:noAutofit/>
          </a:bodyPr>
          <a:lstStyle/>
          <a:p>
            <a:endParaRPr lang="en-US"/>
          </a:p>
        </p:txBody>
      </p:sp>
      <p:sp>
        <p:nvSpPr>
          <p:cNvPr id="18" name="Freeform: Shape 17">
            <a:extLst>
              <a:ext uri="{FF2B5EF4-FFF2-40B4-BE49-F238E27FC236}">
                <a16:creationId xmlns:a16="http://schemas.microsoft.com/office/drawing/2014/main" id="{E16B03FA-0ED2-4DEC-8263-A2CD8B9152E6}"/>
              </a:ext>
            </a:extLst>
          </p:cNvPr>
          <p:cNvSpPr/>
          <p:nvPr userDrawn="1"/>
        </p:nvSpPr>
        <p:spPr>
          <a:xfrm>
            <a:off x="8655578" y="2750662"/>
            <a:ext cx="678922" cy="1356677"/>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a:p>
        </p:txBody>
      </p:sp>
    </p:spTree>
    <p:extLst>
      <p:ext uri="{BB962C8B-B14F-4D97-AF65-F5344CB8AC3E}">
        <p14:creationId xmlns:p14="http://schemas.microsoft.com/office/powerpoint/2010/main" val="47066297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Closing">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776882B-B6FA-4247-837A-97CF996CBF72}"/>
              </a:ext>
            </a:extLst>
          </p:cNvPr>
          <p:cNvGraphicFramePr>
            <a:graphicFrameLocks noChangeAspect="1"/>
          </p:cNvGraphicFramePr>
          <p:nvPr userDrawn="1">
            <p:custDataLst>
              <p:tags r:id="rId1"/>
            </p:custDataLst>
            <p:extLst>
              <p:ext uri="{D42A27DB-BD31-4B8C-83A1-F6EECF244321}">
                <p14:modId xmlns:p14="http://schemas.microsoft.com/office/powerpoint/2010/main" val="2232294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16" name="Object 15" hidden="1">
                        <a:extLst>
                          <a:ext uri="{FF2B5EF4-FFF2-40B4-BE49-F238E27FC236}">
                            <a16:creationId xmlns:a16="http://schemas.microsoft.com/office/drawing/2014/main" id="{1776882B-B6FA-4247-837A-97CF996CBF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EC76C1CB-1CF7-45DF-AB63-A29E3E1B98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7200" b="0" i="0" baseline="0">
              <a:latin typeface="Poppins ExtraBold" panose="00000900000000000000" pitchFamily="2" charset="0"/>
              <a:ea typeface="+mj-ea"/>
              <a:cs typeface="+mj-cs"/>
              <a:sym typeface="Poppins ExtraBold" panose="00000900000000000000" pitchFamily="2" charset="0"/>
            </a:endParaRPr>
          </a:p>
        </p:txBody>
      </p:sp>
      <p:sp>
        <p:nvSpPr>
          <p:cNvPr id="5" name="Rectangle 4">
            <a:extLst>
              <a:ext uri="{FF2B5EF4-FFF2-40B4-BE49-F238E27FC236}">
                <a16:creationId xmlns:a16="http://schemas.microsoft.com/office/drawing/2014/main" id="{A125620E-B7F4-47D4-9203-9C2D6590298E}"/>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E6C6DDF7-879A-4E7C-BAE9-0C03D0717054}"/>
              </a:ext>
            </a:extLst>
          </p:cNvPr>
          <p:cNvSpPr/>
          <p:nvPr userDrawn="1"/>
        </p:nvSpPr>
        <p:spPr>
          <a:xfrm rot="5400000">
            <a:off x="7290914" y="1956914"/>
            <a:ext cx="4985260" cy="4816912"/>
          </a:xfrm>
          <a:custGeom>
            <a:avLst/>
            <a:gdLst>
              <a:gd name="connsiteX0" fmla="*/ 0 w 4985260"/>
              <a:gd name="connsiteY0" fmla="*/ 0 h 4816912"/>
              <a:gd name="connsiteX1" fmla="*/ 1878781 w 4985260"/>
              <a:gd name="connsiteY1" fmla="*/ 0 h 4816912"/>
              <a:gd name="connsiteX2" fmla="*/ 1886645 w 4985260"/>
              <a:gd name="connsiteY2" fmla="*/ 105851 h 4816912"/>
              <a:gd name="connsiteX3" fmla="*/ 4904969 w 4985260"/>
              <a:gd name="connsiteY3" fmla="*/ 2895050 h 4816912"/>
              <a:gd name="connsiteX4" fmla="*/ 4985260 w 4985260"/>
              <a:gd name="connsiteY4" fmla="*/ 2892971 h 4816912"/>
              <a:gd name="connsiteX5" fmla="*/ 4985260 w 4985260"/>
              <a:gd name="connsiteY5" fmla="*/ 4814833 h 4816912"/>
              <a:gd name="connsiteX6" fmla="*/ 4904969 w 4985260"/>
              <a:gd name="connsiteY6" fmla="*/ 4816912 h 4816912"/>
              <a:gd name="connsiteX7" fmla="*/ 1160 w 4985260"/>
              <a:gd name="connsiteY7" fmla="*/ 46991 h 481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5260" h="4816912">
                <a:moveTo>
                  <a:pt x="0" y="0"/>
                </a:moveTo>
                <a:lnTo>
                  <a:pt x="1878781" y="0"/>
                </a:lnTo>
                <a:lnTo>
                  <a:pt x="1886645" y="105851"/>
                </a:lnTo>
                <a:cubicBezTo>
                  <a:pt x="2042084" y="1672405"/>
                  <a:pt x="3334663" y="2895050"/>
                  <a:pt x="4904969" y="2895050"/>
                </a:cubicBezTo>
                <a:lnTo>
                  <a:pt x="4985260" y="2892971"/>
                </a:lnTo>
                <a:lnTo>
                  <a:pt x="4985260" y="4814833"/>
                </a:lnTo>
                <a:lnTo>
                  <a:pt x="4904969" y="4816912"/>
                </a:lnTo>
                <a:cubicBezTo>
                  <a:pt x="2277879" y="4816912"/>
                  <a:pt x="132671" y="2703997"/>
                  <a:pt x="1160" y="46991"/>
                </a:cubicBezTo>
                <a:close/>
              </a:path>
            </a:pathLst>
          </a:custGeom>
          <a:solidFill>
            <a:srgbClr val="FF9E18"/>
          </a:solidFill>
          <a:ln w="9264" cap="flat">
            <a:noFill/>
            <a:prstDash val="solid"/>
            <a:miter/>
          </a:ln>
        </p:spPr>
        <p:txBody>
          <a:bodyPr wrap="square" rtlCol="0" anchor="ctr">
            <a:noAutofit/>
          </a:bodyPr>
          <a:lstStyle/>
          <a:p>
            <a:endParaRPr lang="en-US"/>
          </a:p>
        </p:txBody>
      </p:sp>
      <p:grpSp>
        <p:nvGrpSpPr>
          <p:cNvPr id="9" name="Graphic 6">
            <a:extLst>
              <a:ext uri="{FF2B5EF4-FFF2-40B4-BE49-F238E27FC236}">
                <a16:creationId xmlns:a16="http://schemas.microsoft.com/office/drawing/2014/main" id="{E1BA4648-BD6E-4E74-8851-45EBABEF72E7}"/>
              </a:ext>
            </a:extLst>
          </p:cNvPr>
          <p:cNvGrpSpPr/>
          <p:nvPr/>
        </p:nvGrpSpPr>
        <p:grpSpPr>
          <a:xfrm>
            <a:off x="932397" y="702032"/>
            <a:ext cx="1063488" cy="459481"/>
            <a:chOff x="85969" y="3646150"/>
            <a:chExt cx="1544103" cy="667132"/>
          </a:xfrm>
          <a:solidFill>
            <a:schemeClr val="bg1"/>
          </a:solidFill>
        </p:grpSpPr>
        <p:sp>
          <p:nvSpPr>
            <p:cNvPr id="11" name="Freeform: Shape 10">
              <a:extLst>
                <a:ext uri="{FF2B5EF4-FFF2-40B4-BE49-F238E27FC236}">
                  <a16:creationId xmlns:a16="http://schemas.microsoft.com/office/drawing/2014/main" id="{98C1CA3B-8903-4213-A8E6-83E0B43BD8C1}"/>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5836414-77CE-417A-9897-D3290681691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487FDF2-DA56-4525-800E-1EC016598F5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D217F72-15C5-468B-81F4-C205BCEC74DD}"/>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0DD8270-24BC-42A8-8EBA-64CB62DD4CD1}"/>
              </a:ext>
            </a:extLst>
          </p:cNvPr>
          <p:cNvSpPr>
            <a:spLocks noGrp="1"/>
          </p:cNvSpPr>
          <p:nvPr>
            <p:ph type="title" hasCustomPrompt="1"/>
          </p:nvPr>
        </p:nvSpPr>
        <p:spPr>
          <a:xfrm>
            <a:off x="838201" y="2399043"/>
            <a:ext cx="5143499" cy="2281360"/>
          </a:xfrm>
        </p:spPr>
        <p:txBody>
          <a:bodyPr anchor="ctr">
            <a:noAutofit/>
          </a:bodyPr>
          <a:lstStyle>
            <a:lvl1pPr>
              <a:defRPr sz="4400">
                <a:solidFill>
                  <a:schemeClr val="bg1"/>
                </a:solidFill>
              </a:defRPr>
            </a:lvl1pPr>
          </a:lstStyle>
          <a:p>
            <a:r>
              <a:rPr lang="en-US"/>
              <a:t>Thanks</a:t>
            </a:r>
          </a:p>
        </p:txBody>
      </p:sp>
    </p:spTree>
    <p:extLst>
      <p:ext uri="{BB962C8B-B14F-4D97-AF65-F5344CB8AC3E}">
        <p14:creationId xmlns:p14="http://schemas.microsoft.com/office/powerpoint/2010/main" val="336318679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5_Timeline 1">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988429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9" name="Rectangle 8">
            <a:extLst>
              <a:ext uri="{FF2B5EF4-FFF2-40B4-BE49-F238E27FC236}">
                <a16:creationId xmlns:a16="http://schemas.microsoft.com/office/drawing/2014/main" id="{38A9244C-FE63-433B-BA27-6FB4AAB94D95}"/>
              </a:ext>
            </a:extLst>
          </p:cNvPr>
          <p:cNvSpPr/>
          <p:nvPr userDrawn="1"/>
        </p:nvSpPr>
        <p:spPr>
          <a:xfrm>
            <a:off x="1" y="0"/>
            <a:ext cx="4457699"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587469" y="131492"/>
            <a:ext cx="3048000" cy="2478880"/>
          </a:xfrm>
        </p:spPr>
        <p:txBody>
          <a:bodyPr anchor="b"/>
          <a:lstStyle>
            <a:lvl1pPr>
              <a:defRPr>
                <a:solidFill>
                  <a:schemeClr val="accent2"/>
                </a:solidFill>
              </a:defRPr>
            </a:lvl1pPr>
          </a:lstStyle>
          <a:p>
            <a:r>
              <a:rPr lang="en-US"/>
              <a:t>Click to edit Master title style</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cxnSp>
        <p:nvCxnSpPr>
          <p:cNvPr id="17" name="Straight Arrow Connector 16">
            <a:extLst>
              <a:ext uri="{FF2B5EF4-FFF2-40B4-BE49-F238E27FC236}">
                <a16:creationId xmlns:a16="http://schemas.microsoft.com/office/drawing/2014/main" id="{B191F46D-24FB-484B-8FE4-DAF4D3DF2A21}"/>
              </a:ext>
            </a:extLst>
          </p:cNvPr>
          <p:cNvCxnSpPr>
            <a:cxnSpLocks/>
          </p:cNvCxnSpPr>
          <p:nvPr userDrawn="1"/>
        </p:nvCxnSpPr>
        <p:spPr>
          <a:xfrm>
            <a:off x="6210300" y="0"/>
            <a:ext cx="0" cy="6120581"/>
          </a:xfrm>
          <a:prstGeom prst="straightConnector1">
            <a:avLst/>
          </a:prstGeom>
          <a:ln w="53975">
            <a:solidFill>
              <a:schemeClr val="accent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7" name="Picture Placeholder 13">
            <a:extLst>
              <a:ext uri="{FF2B5EF4-FFF2-40B4-BE49-F238E27FC236}">
                <a16:creationId xmlns:a16="http://schemas.microsoft.com/office/drawing/2014/main" id="{5108B657-645F-446B-8DD3-39C61A1552AE}"/>
              </a:ext>
            </a:extLst>
          </p:cNvPr>
          <p:cNvSpPr>
            <a:spLocks noGrp="1"/>
          </p:cNvSpPr>
          <p:nvPr>
            <p:ph type="pic" sz="quarter" idx="15"/>
          </p:nvPr>
        </p:nvSpPr>
        <p:spPr>
          <a:xfrm>
            <a:off x="4839661" y="959645"/>
            <a:ext cx="1070487" cy="1069339"/>
          </a:xfrm>
          <a:noFill/>
        </p:spPr>
        <p:txBody>
          <a:bodyPr/>
          <a:lstStyle/>
          <a:p>
            <a:endParaRPr lang="en-US"/>
          </a:p>
        </p:txBody>
      </p:sp>
      <p:sp>
        <p:nvSpPr>
          <p:cNvPr id="38" name="Picture Placeholder 13">
            <a:extLst>
              <a:ext uri="{FF2B5EF4-FFF2-40B4-BE49-F238E27FC236}">
                <a16:creationId xmlns:a16="http://schemas.microsoft.com/office/drawing/2014/main" id="{64885FA7-D8F4-4247-AA04-1BA479975716}"/>
              </a:ext>
            </a:extLst>
          </p:cNvPr>
          <p:cNvSpPr>
            <a:spLocks noGrp="1"/>
          </p:cNvSpPr>
          <p:nvPr>
            <p:ph type="pic" sz="quarter" idx="16"/>
          </p:nvPr>
        </p:nvSpPr>
        <p:spPr>
          <a:xfrm>
            <a:off x="4839661" y="2711145"/>
            <a:ext cx="1070487" cy="1069339"/>
          </a:xfrm>
          <a:noFill/>
        </p:spPr>
        <p:txBody>
          <a:bodyPr/>
          <a:lstStyle/>
          <a:p>
            <a:endParaRPr lang="en-US"/>
          </a:p>
        </p:txBody>
      </p:sp>
      <p:sp>
        <p:nvSpPr>
          <p:cNvPr id="39" name="Picture Placeholder 13">
            <a:extLst>
              <a:ext uri="{FF2B5EF4-FFF2-40B4-BE49-F238E27FC236}">
                <a16:creationId xmlns:a16="http://schemas.microsoft.com/office/drawing/2014/main" id="{1C6CB4DB-9AB8-461F-9522-F00958FE0528}"/>
              </a:ext>
            </a:extLst>
          </p:cNvPr>
          <p:cNvSpPr>
            <a:spLocks noGrp="1"/>
          </p:cNvSpPr>
          <p:nvPr>
            <p:ph type="pic" sz="quarter" idx="22"/>
          </p:nvPr>
        </p:nvSpPr>
        <p:spPr>
          <a:xfrm>
            <a:off x="4839661" y="4532571"/>
            <a:ext cx="1070487" cy="1069339"/>
          </a:xfrm>
          <a:noFill/>
        </p:spPr>
        <p:txBody>
          <a:bodyPr/>
          <a:lstStyle/>
          <a:p>
            <a:endParaRPr lang="en-US"/>
          </a:p>
        </p:txBody>
      </p:sp>
      <p:sp>
        <p:nvSpPr>
          <p:cNvPr id="40" name="Text Placeholder 6">
            <a:extLst>
              <a:ext uri="{FF2B5EF4-FFF2-40B4-BE49-F238E27FC236}">
                <a16:creationId xmlns:a16="http://schemas.microsoft.com/office/drawing/2014/main" id="{B811C772-B95C-46AE-8280-A6E63EF489B8}"/>
              </a:ext>
            </a:extLst>
          </p:cNvPr>
          <p:cNvSpPr>
            <a:spLocks noGrp="1"/>
          </p:cNvSpPr>
          <p:nvPr>
            <p:ph type="body" sz="quarter" idx="13" hasCustomPrompt="1"/>
          </p:nvPr>
        </p:nvSpPr>
        <p:spPr>
          <a:xfrm>
            <a:off x="6588919" y="1229262"/>
            <a:ext cx="4764881" cy="1034615"/>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41" name="Text Placeholder 6">
            <a:extLst>
              <a:ext uri="{FF2B5EF4-FFF2-40B4-BE49-F238E27FC236}">
                <a16:creationId xmlns:a16="http://schemas.microsoft.com/office/drawing/2014/main" id="{BC7792E3-0F00-4E5C-A24A-43DDA625A7D4}"/>
              </a:ext>
            </a:extLst>
          </p:cNvPr>
          <p:cNvSpPr>
            <a:spLocks noGrp="1"/>
          </p:cNvSpPr>
          <p:nvPr>
            <p:ph type="body" sz="quarter" idx="14" hasCustomPrompt="1"/>
          </p:nvPr>
        </p:nvSpPr>
        <p:spPr>
          <a:xfrm>
            <a:off x="6588919" y="532171"/>
            <a:ext cx="1497806" cy="687182"/>
          </a:xfrm>
        </p:spPr>
        <p:txBody>
          <a:bodyPr anchor="t">
            <a:noAutofit/>
          </a:bodyPr>
          <a:lstStyle>
            <a:lvl1pPr marL="0" indent="0" algn="l">
              <a:buNone/>
              <a:defRPr sz="3200" b="1">
                <a:solidFill>
                  <a:schemeClr val="accent2"/>
                </a:solidFill>
              </a:defRPr>
            </a:lvl1pPr>
          </a:lstStyle>
          <a:p>
            <a:pPr lvl="0"/>
            <a:r>
              <a:rPr lang="en-US"/>
              <a:t>0000</a:t>
            </a:r>
          </a:p>
        </p:txBody>
      </p:sp>
      <p:sp>
        <p:nvSpPr>
          <p:cNvPr id="42" name="Text Placeholder 6">
            <a:extLst>
              <a:ext uri="{FF2B5EF4-FFF2-40B4-BE49-F238E27FC236}">
                <a16:creationId xmlns:a16="http://schemas.microsoft.com/office/drawing/2014/main" id="{D1C5E190-114E-4F46-9D7E-19390CB9F47F}"/>
              </a:ext>
            </a:extLst>
          </p:cNvPr>
          <p:cNvSpPr>
            <a:spLocks noGrp="1"/>
          </p:cNvSpPr>
          <p:nvPr>
            <p:ph type="body" sz="quarter" idx="18" hasCustomPrompt="1"/>
          </p:nvPr>
        </p:nvSpPr>
        <p:spPr>
          <a:xfrm>
            <a:off x="6588919" y="2974566"/>
            <a:ext cx="4764881" cy="1103364"/>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43" name="Text Placeholder 6">
            <a:extLst>
              <a:ext uri="{FF2B5EF4-FFF2-40B4-BE49-F238E27FC236}">
                <a16:creationId xmlns:a16="http://schemas.microsoft.com/office/drawing/2014/main" id="{1D38EF96-4804-41E1-B46E-517B630B97EE}"/>
              </a:ext>
            </a:extLst>
          </p:cNvPr>
          <p:cNvSpPr>
            <a:spLocks noGrp="1"/>
          </p:cNvSpPr>
          <p:nvPr>
            <p:ph type="body" sz="quarter" idx="19" hasCustomPrompt="1"/>
          </p:nvPr>
        </p:nvSpPr>
        <p:spPr>
          <a:xfrm>
            <a:off x="6588919" y="2277474"/>
            <a:ext cx="1497806" cy="687182"/>
          </a:xfrm>
        </p:spPr>
        <p:txBody>
          <a:bodyPr anchor="t">
            <a:noAutofit/>
          </a:bodyPr>
          <a:lstStyle>
            <a:lvl1pPr marL="0" indent="0" algn="l">
              <a:buNone/>
              <a:defRPr sz="3200" b="1">
                <a:solidFill>
                  <a:schemeClr val="accent2"/>
                </a:solidFill>
              </a:defRPr>
            </a:lvl1pPr>
          </a:lstStyle>
          <a:p>
            <a:pPr lvl="0"/>
            <a:r>
              <a:rPr lang="en-US"/>
              <a:t>0000</a:t>
            </a:r>
          </a:p>
        </p:txBody>
      </p:sp>
      <p:sp>
        <p:nvSpPr>
          <p:cNvPr id="44" name="Text Placeholder 6">
            <a:extLst>
              <a:ext uri="{FF2B5EF4-FFF2-40B4-BE49-F238E27FC236}">
                <a16:creationId xmlns:a16="http://schemas.microsoft.com/office/drawing/2014/main" id="{9C330B96-DC27-4871-AF65-5A02FE12FE83}"/>
              </a:ext>
            </a:extLst>
          </p:cNvPr>
          <p:cNvSpPr>
            <a:spLocks noGrp="1"/>
          </p:cNvSpPr>
          <p:nvPr>
            <p:ph type="body" sz="quarter" idx="23" hasCustomPrompt="1"/>
          </p:nvPr>
        </p:nvSpPr>
        <p:spPr>
          <a:xfrm>
            <a:off x="6588919" y="4795992"/>
            <a:ext cx="4764881" cy="1103364"/>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45" name="Text Placeholder 6">
            <a:extLst>
              <a:ext uri="{FF2B5EF4-FFF2-40B4-BE49-F238E27FC236}">
                <a16:creationId xmlns:a16="http://schemas.microsoft.com/office/drawing/2014/main" id="{23BE1BB0-477A-438F-8EDE-4596C7C5D8F4}"/>
              </a:ext>
            </a:extLst>
          </p:cNvPr>
          <p:cNvSpPr>
            <a:spLocks noGrp="1"/>
          </p:cNvSpPr>
          <p:nvPr>
            <p:ph type="body" sz="quarter" idx="24" hasCustomPrompt="1"/>
          </p:nvPr>
        </p:nvSpPr>
        <p:spPr>
          <a:xfrm>
            <a:off x="6588919" y="4098900"/>
            <a:ext cx="1497806" cy="687182"/>
          </a:xfrm>
        </p:spPr>
        <p:txBody>
          <a:bodyPr anchor="t">
            <a:noAutofit/>
          </a:bodyPr>
          <a:lstStyle>
            <a:lvl1pPr marL="0" indent="0" algn="l">
              <a:buNone/>
              <a:defRPr sz="3200" b="1">
                <a:solidFill>
                  <a:schemeClr val="accent2"/>
                </a:solidFill>
              </a:defRPr>
            </a:lvl1pPr>
          </a:lstStyle>
          <a:p>
            <a:pPr lvl="0"/>
            <a:r>
              <a:rPr lang="en-US"/>
              <a:t>0000</a:t>
            </a:r>
          </a:p>
        </p:txBody>
      </p:sp>
      <p:sp>
        <p:nvSpPr>
          <p:cNvPr id="27" name="Slide Number Placeholder 4">
            <a:extLst>
              <a:ext uri="{FF2B5EF4-FFF2-40B4-BE49-F238E27FC236}">
                <a16:creationId xmlns:a16="http://schemas.microsoft.com/office/drawing/2014/main" id="{1E53760C-67B7-4DF5-9F4F-93FD50A1ADE4}"/>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
        <p:nvSpPr>
          <p:cNvPr id="3" name="Freeform: Shape 2">
            <a:extLst>
              <a:ext uri="{FF2B5EF4-FFF2-40B4-BE49-F238E27FC236}">
                <a16:creationId xmlns:a16="http://schemas.microsoft.com/office/drawing/2014/main" id="{CDDAA5DD-A7E6-2766-9137-5098A304E7AC}"/>
              </a:ext>
            </a:extLst>
          </p:cNvPr>
          <p:cNvSpPr/>
          <p:nvPr userDrawn="1"/>
        </p:nvSpPr>
        <p:spPr>
          <a:xfrm>
            <a:off x="2226468" y="4723392"/>
            <a:ext cx="2231232" cy="2134609"/>
          </a:xfrm>
          <a:custGeom>
            <a:avLst/>
            <a:gdLst>
              <a:gd name="connsiteX0" fmla="*/ 2063384 w 2231232"/>
              <a:gd name="connsiteY0" fmla="*/ 0 h 2134609"/>
              <a:gd name="connsiteX1" fmla="*/ 2231232 w 2231232"/>
              <a:gd name="connsiteY1" fmla="*/ 8677 h 2134609"/>
              <a:gd name="connsiteX2" fmla="*/ 2231232 w 2231232"/>
              <a:gd name="connsiteY2" fmla="*/ 820206 h 2134609"/>
              <a:gd name="connsiteX3" fmla="*/ 2193783 w 2231232"/>
              <a:gd name="connsiteY3" fmla="*/ 814354 h 2134609"/>
              <a:gd name="connsiteX4" fmla="*/ 2063384 w 2231232"/>
              <a:gd name="connsiteY4" fmla="*/ 807613 h 2134609"/>
              <a:gd name="connsiteX5" fmla="*/ 788426 w 2231232"/>
              <a:gd name="connsiteY5" fmla="*/ 2113180 h 2134609"/>
              <a:gd name="connsiteX6" fmla="*/ 789483 w 2231232"/>
              <a:gd name="connsiteY6" fmla="*/ 2134609 h 2134609"/>
              <a:gd name="connsiteX7" fmla="*/ 1057 w 2231232"/>
              <a:gd name="connsiteY7" fmla="*/ 2134609 h 2134609"/>
              <a:gd name="connsiteX8" fmla="*/ 0 w 2231232"/>
              <a:gd name="connsiteY8" fmla="*/ 2113180 h 2134609"/>
              <a:gd name="connsiteX9" fmla="*/ 2063384 w 2231232"/>
              <a:gd name="connsiteY9" fmla="*/ 0 h 213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1232" h="2134609">
                <a:moveTo>
                  <a:pt x="2063384" y="0"/>
                </a:moveTo>
                <a:lnTo>
                  <a:pt x="2231232" y="8677"/>
                </a:lnTo>
                <a:lnTo>
                  <a:pt x="2231232" y="820206"/>
                </a:lnTo>
                <a:lnTo>
                  <a:pt x="2193783" y="814354"/>
                </a:lnTo>
                <a:cubicBezTo>
                  <a:pt x="2150911" y="809897"/>
                  <a:pt x="2107409" y="807613"/>
                  <a:pt x="2063384" y="807613"/>
                </a:cubicBezTo>
                <a:cubicBezTo>
                  <a:pt x="1358991" y="807613"/>
                  <a:pt x="788426" y="1392186"/>
                  <a:pt x="788426" y="2113180"/>
                </a:cubicBezTo>
                <a:lnTo>
                  <a:pt x="789483" y="2134609"/>
                </a:lnTo>
                <a:lnTo>
                  <a:pt x="1057" y="2134609"/>
                </a:lnTo>
                <a:lnTo>
                  <a:pt x="0" y="2113180"/>
                </a:lnTo>
                <a:cubicBezTo>
                  <a:pt x="0" y="946106"/>
                  <a:pt x="923805" y="0"/>
                  <a:pt x="20633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9257931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losing 04">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528480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 y="0"/>
            <a:ext cx="12192000" cy="6857999"/>
          </a:xfrm>
          <a:prstGeom prst="rect">
            <a:avLst/>
          </a:prstGeom>
          <a:gradFill>
            <a:gsLst>
              <a:gs pos="0">
                <a:schemeClr val="accent5">
                  <a:lumMod val="10000"/>
                  <a:alpha val="73000"/>
                </a:schemeClr>
              </a:gs>
              <a:gs pos="46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4457700" y="2288320"/>
            <a:ext cx="5143499" cy="2281360"/>
          </a:xfrm>
        </p:spPr>
        <p:txBody>
          <a:bodyPr anchor="ctr">
            <a:noAutofit/>
          </a:bodyPr>
          <a:lstStyle>
            <a:lvl1pPr>
              <a:defRPr sz="4400">
                <a:solidFill>
                  <a:schemeClr val="bg1"/>
                </a:solidFill>
              </a:defRPr>
            </a:lvl1pPr>
          </a:lstStyle>
          <a:p>
            <a:r>
              <a:rPr lang="en-US"/>
              <a:t>Thank you </a:t>
            </a:r>
            <a:r>
              <a:rPr lang="en-US" err="1"/>
              <a:t>fo</a:t>
            </a:r>
            <a:endParaRPr lang="en-US"/>
          </a:p>
        </p:txBody>
      </p:sp>
      <p:sp>
        <p:nvSpPr>
          <p:cNvPr id="18" name="Freeform: Shape 17">
            <a:extLst>
              <a:ext uri="{FF2B5EF4-FFF2-40B4-BE49-F238E27FC236}">
                <a16:creationId xmlns:a16="http://schemas.microsoft.com/office/drawing/2014/main" id="{E16B03FA-0ED2-4DEC-8263-A2CD8B9152E6}"/>
              </a:ext>
            </a:extLst>
          </p:cNvPr>
          <p:cNvSpPr/>
          <p:nvPr userDrawn="1"/>
        </p:nvSpPr>
        <p:spPr>
          <a:xfrm>
            <a:off x="8655578" y="2750662"/>
            <a:ext cx="678922" cy="1356677"/>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a:p>
        </p:txBody>
      </p:sp>
      <p:sp>
        <p:nvSpPr>
          <p:cNvPr id="2" name="Freeform: Shape 1">
            <a:extLst>
              <a:ext uri="{FF2B5EF4-FFF2-40B4-BE49-F238E27FC236}">
                <a16:creationId xmlns:a16="http://schemas.microsoft.com/office/drawing/2014/main" id="{193E2510-2BC9-9EA8-336C-29415F888D44}"/>
              </a:ext>
            </a:extLst>
          </p:cNvPr>
          <p:cNvSpPr/>
          <p:nvPr userDrawn="1"/>
        </p:nvSpPr>
        <p:spPr>
          <a:xfrm rot="16200000">
            <a:off x="-84174" y="84174"/>
            <a:ext cx="4985260" cy="4816912"/>
          </a:xfrm>
          <a:custGeom>
            <a:avLst/>
            <a:gdLst>
              <a:gd name="connsiteX0" fmla="*/ 0 w 4985260"/>
              <a:gd name="connsiteY0" fmla="*/ 0 h 4816912"/>
              <a:gd name="connsiteX1" fmla="*/ 1878781 w 4985260"/>
              <a:gd name="connsiteY1" fmla="*/ 0 h 4816912"/>
              <a:gd name="connsiteX2" fmla="*/ 1886645 w 4985260"/>
              <a:gd name="connsiteY2" fmla="*/ 105851 h 4816912"/>
              <a:gd name="connsiteX3" fmla="*/ 4904969 w 4985260"/>
              <a:gd name="connsiteY3" fmla="*/ 2895050 h 4816912"/>
              <a:gd name="connsiteX4" fmla="*/ 4985260 w 4985260"/>
              <a:gd name="connsiteY4" fmla="*/ 2892971 h 4816912"/>
              <a:gd name="connsiteX5" fmla="*/ 4985260 w 4985260"/>
              <a:gd name="connsiteY5" fmla="*/ 4814833 h 4816912"/>
              <a:gd name="connsiteX6" fmla="*/ 4904969 w 4985260"/>
              <a:gd name="connsiteY6" fmla="*/ 4816912 h 4816912"/>
              <a:gd name="connsiteX7" fmla="*/ 1160 w 4985260"/>
              <a:gd name="connsiteY7" fmla="*/ 46991 h 481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5260" h="4816912">
                <a:moveTo>
                  <a:pt x="0" y="0"/>
                </a:moveTo>
                <a:lnTo>
                  <a:pt x="1878781" y="0"/>
                </a:lnTo>
                <a:lnTo>
                  <a:pt x="1886645" y="105851"/>
                </a:lnTo>
                <a:cubicBezTo>
                  <a:pt x="2042084" y="1672405"/>
                  <a:pt x="3334663" y="2895050"/>
                  <a:pt x="4904969" y="2895050"/>
                </a:cubicBezTo>
                <a:lnTo>
                  <a:pt x="4985260" y="2892971"/>
                </a:lnTo>
                <a:lnTo>
                  <a:pt x="4985260" y="4814833"/>
                </a:lnTo>
                <a:lnTo>
                  <a:pt x="4904969" y="4816912"/>
                </a:lnTo>
                <a:cubicBezTo>
                  <a:pt x="2277879" y="4816912"/>
                  <a:pt x="132671" y="2703997"/>
                  <a:pt x="1160" y="46991"/>
                </a:cubicBezTo>
                <a:close/>
              </a:path>
            </a:pathLst>
          </a:custGeom>
          <a:solidFill>
            <a:srgbClr val="FF9E18"/>
          </a:solidFill>
          <a:ln w="926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79014291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3_Custom Layout_Text">
  <p:cSld name="3_Custom Layout_Text">
    <p:spTree>
      <p:nvGrpSpPr>
        <p:cNvPr id="1" name="Shape 13"/>
        <p:cNvGrpSpPr/>
        <p:nvPr/>
      </p:nvGrpSpPr>
      <p:grpSpPr>
        <a:xfrm>
          <a:off x="0" y="0"/>
          <a:ext cx="0" cy="0"/>
          <a:chOff x="0" y="0"/>
          <a:chExt cx="0" cy="0"/>
        </a:xfrm>
      </p:grpSpPr>
      <p:sp>
        <p:nvSpPr>
          <p:cNvPr id="14" name="Google Shape;14;p31"/>
          <p:cNvSpPr/>
          <p:nvPr/>
        </p:nvSpPr>
        <p:spPr>
          <a:xfrm rot="5400000">
            <a:off x="5648785" y="314786"/>
            <a:ext cx="6411566" cy="6674864"/>
          </a:xfrm>
          <a:custGeom>
            <a:avLst/>
            <a:gdLst/>
            <a:ahLst/>
            <a:cxnLst/>
            <a:rect l="l" t="t" r="r" b="b"/>
            <a:pathLst>
              <a:path w="2011216" h="2093809" extrusionOk="0">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Quattrocento Sans"/>
              <a:ea typeface="Quattrocento Sans"/>
              <a:cs typeface="Quattrocento Sans"/>
              <a:sym typeface="Quattrocento Sans"/>
            </a:endParaRPr>
          </a:p>
        </p:txBody>
      </p:sp>
      <p:sp>
        <p:nvSpPr>
          <p:cNvPr id="15" name="Google Shape;15;p31"/>
          <p:cNvSpPr txBox="1">
            <a:spLocks noGrp="1"/>
          </p:cNvSpPr>
          <p:nvPr>
            <p:ph type="title"/>
          </p:nvPr>
        </p:nvSpPr>
        <p:spPr>
          <a:xfrm>
            <a:off x="838200" y="719015"/>
            <a:ext cx="10515600" cy="971673"/>
          </a:xfrm>
          <a:prstGeom prst="rect">
            <a:avLst/>
          </a:prstGeom>
          <a:noFill/>
          <a:ln>
            <a:noFill/>
          </a:ln>
        </p:spPr>
        <p:txBody>
          <a:bodyPr spcFirstLastPara="1" wrap="square" lIns="91425" tIns="45700" rIns="91425" bIns="45700" anchor="ctr" anchorCtr="0">
            <a:normAutofit/>
          </a:bodyPr>
          <a:lstStyle>
            <a:lvl1pPr lvl="0" algn="l">
              <a:lnSpc>
                <a:spcPct val="10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 name="Google Shape;16;p31"/>
          <p:cNvSpPr txBox="1">
            <a:spLocks noGrp="1"/>
          </p:cNvSpPr>
          <p:nvPr>
            <p:ph type="sldNum" idx="12"/>
          </p:nvPr>
        </p:nvSpPr>
        <p:spPr>
          <a:xfrm>
            <a:off x="10564238" y="6001967"/>
            <a:ext cx="789562" cy="690326"/>
          </a:xfrm>
          <a:prstGeom prst="rect">
            <a:avLst/>
          </a:prstGeom>
          <a:noFill/>
          <a:ln>
            <a:noFill/>
          </a:ln>
        </p:spPr>
        <p:txBody>
          <a:bodyPr spcFirstLastPara="1" wrap="square" lIns="91425" tIns="45700" rIns="91425" bIns="4570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7" name="Google Shape;17;p31"/>
          <p:cNvSpPr txBox="1">
            <a:spLocks noGrp="1"/>
          </p:cNvSpPr>
          <p:nvPr>
            <p:ph type="body" idx="1"/>
          </p:nvPr>
        </p:nvSpPr>
        <p:spPr>
          <a:xfrm>
            <a:off x="838200" y="1790700"/>
            <a:ext cx="10515600" cy="4381500"/>
          </a:xfrm>
          <a:prstGeom prst="rect">
            <a:avLst/>
          </a:prstGeom>
          <a:noFill/>
          <a:ln>
            <a:noFill/>
          </a:ln>
        </p:spPr>
        <p:txBody>
          <a:bodyPr spcFirstLastPara="1" wrap="square" lIns="91425" tIns="45700" rIns="91425" bIns="45700" anchor="t" anchorCtr="0">
            <a:normAutofit/>
          </a:bodyPr>
          <a:lstStyle>
            <a:lvl1pPr marL="457200" lvl="0" indent="-228600" algn="l">
              <a:lnSpc>
                <a:spcPct val="130000"/>
              </a:lnSpc>
              <a:spcBef>
                <a:spcPts val="1200"/>
              </a:spcBef>
              <a:spcAft>
                <a:spcPts val="0"/>
              </a:spcAft>
              <a:buClr>
                <a:schemeClr val="dk1"/>
              </a:buClr>
              <a:buSzPts val="2000"/>
              <a:buNone/>
              <a:defRPr sz="2000"/>
            </a:lvl1pPr>
            <a:lvl2pPr marL="914400" lvl="1" indent="-228600" algn="l">
              <a:lnSpc>
                <a:spcPct val="130000"/>
              </a:lnSpc>
              <a:spcBef>
                <a:spcPts val="1200"/>
              </a:spcBef>
              <a:spcAft>
                <a:spcPts val="0"/>
              </a:spcAft>
              <a:buClr>
                <a:schemeClr val="dk1"/>
              </a:buClr>
              <a:buSzPts val="2000"/>
              <a:buNone/>
              <a:defRPr sz="2000"/>
            </a:lvl2pPr>
            <a:lvl3pPr marL="1371600" lvl="2" indent="-228600" algn="l">
              <a:lnSpc>
                <a:spcPct val="130000"/>
              </a:lnSpc>
              <a:spcBef>
                <a:spcPts val="1200"/>
              </a:spcBef>
              <a:spcAft>
                <a:spcPts val="0"/>
              </a:spcAft>
              <a:buClr>
                <a:schemeClr val="dk1"/>
              </a:buClr>
              <a:buSzPts val="2000"/>
              <a:buNone/>
              <a:defRPr sz="2000"/>
            </a:lvl3pPr>
            <a:lvl4pPr marL="1828800" lvl="3" indent="-228600" algn="l">
              <a:lnSpc>
                <a:spcPct val="130000"/>
              </a:lnSpc>
              <a:spcBef>
                <a:spcPts val="1200"/>
              </a:spcBef>
              <a:spcAft>
                <a:spcPts val="0"/>
              </a:spcAft>
              <a:buClr>
                <a:schemeClr val="dk1"/>
              </a:buClr>
              <a:buSzPts val="2000"/>
              <a:buNone/>
              <a:defRPr sz="2000"/>
            </a:lvl4pPr>
            <a:lvl5pPr marL="2286000" lvl="4" indent="-228600" algn="l">
              <a:lnSpc>
                <a:spcPct val="130000"/>
              </a:lnSpc>
              <a:spcBef>
                <a:spcPts val="1200"/>
              </a:spcBef>
              <a:spcAft>
                <a:spcPts val="0"/>
              </a:spcAft>
              <a:buClr>
                <a:schemeClr val="dk1"/>
              </a:buClr>
              <a:buSzPts val="2000"/>
              <a:buNone/>
              <a:defRPr sz="2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 name="Google Shape;18;p31"/>
          <p:cNvGrpSpPr/>
          <p:nvPr/>
        </p:nvGrpSpPr>
        <p:grpSpPr>
          <a:xfrm>
            <a:off x="891988" y="6394893"/>
            <a:ext cx="432890" cy="187030"/>
            <a:chOff x="85969" y="3646150"/>
            <a:chExt cx="1544103" cy="667131"/>
          </a:xfrm>
        </p:grpSpPr>
        <p:sp>
          <p:nvSpPr>
            <p:cNvPr id="19" name="Google Shape;19;p31"/>
            <p:cNvSpPr/>
            <p:nvPr/>
          </p:nvSpPr>
          <p:spPr>
            <a:xfrm>
              <a:off x="85969" y="3854043"/>
              <a:ext cx="480639" cy="457107"/>
            </a:xfrm>
            <a:custGeom>
              <a:avLst/>
              <a:gdLst/>
              <a:ahLst/>
              <a:cxnLst/>
              <a:rect l="l" t="t" r="r" b="b"/>
              <a:pathLst>
                <a:path w="480639" h="457107" extrusionOk="0">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Quattrocento Sans"/>
                <a:ea typeface="Quattrocento Sans"/>
                <a:cs typeface="Quattrocento Sans"/>
                <a:sym typeface="Quattrocento Sans"/>
              </a:endParaRPr>
            </a:p>
          </p:txBody>
        </p:sp>
        <p:sp>
          <p:nvSpPr>
            <p:cNvPr id="20" name="Google Shape;20;p31"/>
            <p:cNvSpPr/>
            <p:nvPr/>
          </p:nvSpPr>
          <p:spPr>
            <a:xfrm>
              <a:off x="524918" y="3856823"/>
              <a:ext cx="464333" cy="456458"/>
            </a:xfrm>
            <a:custGeom>
              <a:avLst/>
              <a:gdLst/>
              <a:ahLst/>
              <a:cxnLst/>
              <a:rect l="l" t="t" r="r" b="b"/>
              <a:pathLst>
                <a:path w="464333" h="456458" extrusionOk="0">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Quattrocento Sans"/>
                <a:ea typeface="Quattrocento Sans"/>
                <a:cs typeface="Quattrocento Sans"/>
                <a:sym typeface="Quattrocento Sans"/>
              </a:endParaRPr>
            </a:p>
          </p:txBody>
        </p:sp>
        <p:sp>
          <p:nvSpPr>
            <p:cNvPr id="21" name="Google Shape;21;p31"/>
            <p:cNvSpPr/>
            <p:nvPr/>
          </p:nvSpPr>
          <p:spPr>
            <a:xfrm>
              <a:off x="994439" y="3646150"/>
              <a:ext cx="168612" cy="665001"/>
            </a:xfrm>
            <a:custGeom>
              <a:avLst/>
              <a:gdLst/>
              <a:ahLst/>
              <a:cxnLst/>
              <a:rect l="l" t="t" r="r" b="b"/>
              <a:pathLst>
                <a:path w="168612" h="665001" extrusionOk="0">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Quattrocento Sans"/>
                <a:ea typeface="Quattrocento Sans"/>
                <a:cs typeface="Quattrocento Sans"/>
                <a:sym typeface="Quattrocento Sans"/>
              </a:endParaRPr>
            </a:p>
          </p:txBody>
        </p:sp>
        <p:sp>
          <p:nvSpPr>
            <p:cNvPr id="22" name="Google Shape;22;p31"/>
            <p:cNvSpPr/>
            <p:nvPr/>
          </p:nvSpPr>
          <p:spPr>
            <a:xfrm>
              <a:off x="1170186" y="3854692"/>
              <a:ext cx="459886" cy="456366"/>
            </a:xfrm>
            <a:custGeom>
              <a:avLst/>
              <a:gdLst/>
              <a:ahLst/>
              <a:cxnLst/>
              <a:rect l="l" t="t" r="r" b="b"/>
              <a:pathLst>
                <a:path w="459886" h="456366" extrusionOk="0">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Quattrocento Sans"/>
                <a:ea typeface="Quattrocento Sans"/>
                <a:cs typeface="Quattrocento Sans"/>
                <a:sym typeface="Quattrocento Sans"/>
              </a:endParaRPr>
            </a:p>
          </p:txBody>
        </p:sp>
      </p:grpSp>
    </p:spTree>
    <p:extLst>
      <p:ext uri="{BB962C8B-B14F-4D97-AF65-F5344CB8AC3E}">
        <p14:creationId xmlns:p14="http://schemas.microsoft.com/office/powerpoint/2010/main" val="156020181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4_Timeline 1">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9" name="Rectangle 8">
            <a:extLst>
              <a:ext uri="{FF2B5EF4-FFF2-40B4-BE49-F238E27FC236}">
                <a16:creationId xmlns:a16="http://schemas.microsoft.com/office/drawing/2014/main" id="{38A9244C-FE63-433B-BA27-6FB4AAB94D95}"/>
              </a:ext>
            </a:extLst>
          </p:cNvPr>
          <p:cNvSpPr/>
          <p:nvPr userDrawn="1"/>
        </p:nvSpPr>
        <p:spPr>
          <a:xfrm>
            <a:off x="0" y="2936763"/>
            <a:ext cx="12192000" cy="40052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91988" y="724990"/>
            <a:ext cx="10577052" cy="1065541"/>
          </a:xfrm>
        </p:spPr>
        <p:txBody>
          <a:bodyPr/>
          <a:lstStyle/>
          <a:p>
            <a:r>
              <a:rPr lang="en-US"/>
              <a:t>Click to edit Master title style</a:t>
            </a:r>
          </a:p>
        </p:txBody>
      </p:sp>
      <p:sp>
        <p:nvSpPr>
          <p:cNvPr id="7" name="Text Placeholder 6">
            <a:extLst>
              <a:ext uri="{FF2B5EF4-FFF2-40B4-BE49-F238E27FC236}">
                <a16:creationId xmlns:a16="http://schemas.microsoft.com/office/drawing/2014/main" id="{03448144-7B66-4D27-B0CC-18F4D7D7B1F8}"/>
              </a:ext>
            </a:extLst>
          </p:cNvPr>
          <p:cNvSpPr>
            <a:spLocks noGrp="1"/>
          </p:cNvSpPr>
          <p:nvPr>
            <p:ph type="body" sz="quarter" idx="13"/>
          </p:nvPr>
        </p:nvSpPr>
        <p:spPr>
          <a:xfrm>
            <a:off x="963100" y="3688557"/>
            <a:ext cx="2508032"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8" name="Text Placeholder 6">
            <a:extLst>
              <a:ext uri="{FF2B5EF4-FFF2-40B4-BE49-F238E27FC236}">
                <a16:creationId xmlns:a16="http://schemas.microsoft.com/office/drawing/2014/main" id="{E0560DBA-D041-49A5-A4F7-C21CC3CBA5B0}"/>
              </a:ext>
            </a:extLst>
          </p:cNvPr>
          <p:cNvSpPr>
            <a:spLocks noGrp="1"/>
          </p:cNvSpPr>
          <p:nvPr>
            <p:ph type="body" sz="quarter" idx="14" hasCustomPrompt="1"/>
          </p:nvPr>
        </p:nvSpPr>
        <p:spPr>
          <a:xfrm>
            <a:off x="963100" y="2851356"/>
            <a:ext cx="1497806" cy="687182"/>
          </a:xfrm>
        </p:spPr>
        <p:txBody>
          <a:bodyPr anchor="ctr">
            <a:noAutofit/>
          </a:bodyPr>
          <a:lstStyle>
            <a:lvl1pPr marL="0" indent="0" algn="l">
              <a:buNone/>
              <a:defRPr sz="4000" b="1">
                <a:solidFill>
                  <a:schemeClr val="accent2"/>
                </a:solidFill>
              </a:defRPr>
            </a:lvl1pPr>
          </a:lstStyle>
          <a:p>
            <a:pPr lvl="0"/>
            <a:r>
              <a:rPr lang="en-US"/>
              <a:t>0000</a:t>
            </a:r>
          </a:p>
        </p:txBody>
      </p:sp>
      <p:sp>
        <p:nvSpPr>
          <p:cNvPr id="14" name="Picture Placeholder 13">
            <a:extLst>
              <a:ext uri="{FF2B5EF4-FFF2-40B4-BE49-F238E27FC236}">
                <a16:creationId xmlns:a16="http://schemas.microsoft.com/office/drawing/2014/main" id="{40F64B93-F8FD-4384-9EC9-0C5FE4B55E44}"/>
              </a:ext>
            </a:extLst>
          </p:cNvPr>
          <p:cNvSpPr>
            <a:spLocks noGrp="1"/>
          </p:cNvSpPr>
          <p:nvPr>
            <p:ph type="pic" sz="quarter" idx="15"/>
          </p:nvPr>
        </p:nvSpPr>
        <p:spPr>
          <a:xfrm>
            <a:off x="1080135" y="1637801"/>
            <a:ext cx="1070487" cy="1069339"/>
          </a:xfrm>
          <a:noFill/>
        </p:spPr>
        <p:txBody>
          <a:bodyPr/>
          <a:lstStyle>
            <a:lvl1pPr marL="0" indent="0">
              <a:buNone/>
              <a:defRPr/>
            </a:lvl1pPr>
          </a:lstStyle>
          <a:p>
            <a:endParaRPr lang="en-US"/>
          </a:p>
        </p:txBody>
      </p:sp>
      <p:sp>
        <p:nvSpPr>
          <p:cNvPr id="15" name="Picture Placeholder 13">
            <a:extLst>
              <a:ext uri="{FF2B5EF4-FFF2-40B4-BE49-F238E27FC236}">
                <a16:creationId xmlns:a16="http://schemas.microsoft.com/office/drawing/2014/main" id="{737282CA-0ECD-428F-954E-3B940B0152F7}"/>
              </a:ext>
            </a:extLst>
          </p:cNvPr>
          <p:cNvSpPr>
            <a:spLocks noGrp="1"/>
          </p:cNvSpPr>
          <p:nvPr>
            <p:ph type="pic" sz="quarter" idx="16"/>
          </p:nvPr>
        </p:nvSpPr>
        <p:spPr>
          <a:xfrm>
            <a:off x="3822305" y="1663698"/>
            <a:ext cx="1070487" cy="1069339"/>
          </a:xfrm>
          <a:noFill/>
        </p:spPr>
        <p:txBody>
          <a:bodyPr/>
          <a:lstStyle>
            <a:lvl1pPr marL="0" indent="0">
              <a:buNone/>
              <a:defRPr/>
            </a:lvl1pPr>
          </a:lstStyle>
          <a:p>
            <a:endParaRPr lang="en-US"/>
          </a:p>
        </p:txBody>
      </p:sp>
      <p:sp>
        <p:nvSpPr>
          <p:cNvPr id="16" name="Picture Placeholder 13">
            <a:extLst>
              <a:ext uri="{FF2B5EF4-FFF2-40B4-BE49-F238E27FC236}">
                <a16:creationId xmlns:a16="http://schemas.microsoft.com/office/drawing/2014/main" id="{27A19C05-4373-40B6-837A-81D7270C200E}"/>
              </a:ext>
            </a:extLst>
          </p:cNvPr>
          <p:cNvSpPr>
            <a:spLocks noGrp="1"/>
          </p:cNvSpPr>
          <p:nvPr>
            <p:ph type="pic" sz="quarter" idx="17"/>
          </p:nvPr>
        </p:nvSpPr>
        <p:spPr>
          <a:xfrm>
            <a:off x="6452618" y="1623759"/>
            <a:ext cx="1070487" cy="1069339"/>
          </a:xfrm>
          <a:noFill/>
        </p:spPr>
        <p:txBody>
          <a:bodyPr/>
          <a:lstStyle>
            <a:lvl1pPr marL="0" indent="0">
              <a:buNone/>
              <a:defRPr/>
            </a:lvl1pPr>
          </a:lstStyle>
          <a:p>
            <a:endParaRPr lang="en-US"/>
          </a:p>
        </p:txBody>
      </p:sp>
      <p:cxnSp>
        <p:nvCxnSpPr>
          <p:cNvPr id="17" name="Straight Arrow Connector 16">
            <a:extLst>
              <a:ext uri="{FF2B5EF4-FFF2-40B4-BE49-F238E27FC236}">
                <a16:creationId xmlns:a16="http://schemas.microsoft.com/office/drawing/2014/main" id="{B191F46D-24FB-484B-8FE4-DAF4D3DF2A21}"/>
              </a:ext>
            </a:extLst>
          </p:cNvPr>
          <p:cNvCxnSpPr>
            <a:cxnSpLocks/>
          </p:cNvCxnSpPr>
          <p:nvPr userDrawn="1"/>
        </p:nvCxnSpPr>
        <p:spPr>
          <a:xfrm flipV="1">
            <a:off x="-1" y="2889456"/>
            <a:ext cx="11953876" cy="8296"/>
          </a:xfrm>
          <a:prstGeom prst="straightConnector1">
            <a:avLst/>
          </a:prstGeom>
          <a:ln w="539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12D91811-49F2-49DE-A41C-90B55CDBCC3D}"/>
              </a:ext>
            </a:extLst>
          </p:cNvPr>
          <p:cNvSpPr>
            <a:spLocks noGrp="1"/>
          </p:cNvSpPr>
          <p:nvPr>
            <p:ph type="body" sz="quarter" idx="18"/>
          </p:nvPr>
        </p:nvSpPr>
        <p:spPr>
          <a:xfrm>
            <a:off x="3767901" y="3672004"/>
            <a:ext cx="2328095"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0" name="Text Placeholder 6">
            <a:extLst>
              <a:ext uri="{FF2B5EF4-FFF2-40B4-BE49-F238E27FC236}">
                <a16:creationId xmlns:a16="http://schemas.microsoft.com/office/drawing/2014/main" id="{D67037C5-BE6D-4CA0-94D0-FD8A28BB2281}"/>
              </a:ext>
            </a:extLst>
          </p:cNvPr>
          <p:cNvSpPr>
            <a:spLocks noGrp="1"/>
          </p:cNvSpPr>
          <p:nvPr>
            <p:ph type="body" sz="quarter" idx="19" hasCustomPrompt="1"/>
          </p:nvPr>
        </p:nvSpPr>
        <p:spPr>
          <a:xfrm>
            <a:off x="3730159" y="2941525"/>
            <a:ext cx="1497806" cy="687182"/>
          </a:xfrm>
        </p:spPr>
        <p:txBody>
          <a:bodyPr anchor="ctr">
            <a:noAutofit/>
          </a:bodyPr>
          <a:lstStyle>
            <a:lvl1pPr marL="0" indent="0" algn="l">
              <a:buNone/>
              <a:defRPr sz="4000" b="1">
                <a:solidFill>
                  <a:schemeClr val="accent2"/>
                </a:solidFill>
              </a:defRPr>
            </a:lvl1pPr>
          </a:lstStyle>
          <a:p>
            <a:pPr lvl="0"/>
            <a:r>
              <a:rPr lang="en-US"/>
              <a:t>0000</a:t>
            </a:r>
          </a:p>
        </p:txBody>
      </p:sp>
      <p:sp>
        <p:nvSpPr>
          <p:cNvPr id="31" name="Text Placeholder 6">
            <a:extLst>
              <a:ext uri="{FF2B5EF4-FFF2-40B4-BE49-F238E27FC236}">
                <a16:creationId xmlns:a16="http://schemas.microsoft.com/office/drawing/2014/main" id="{AD686306-F20F-4242-BE95-422BDAD1D207}"/>
              </a:ext>
            </a:extLst>
          </p:cNvPr>
          <p:cNvSpPr>
            <a:spLocks noGrp="1"/>
          </p:cNvSpPr>
          <p:nvPr>
            <p:ph type="body" sz="quarter" idx="20"/>
          </p:nvPr>
        </p:nvSpPr>
        <p:spPr>
          <a:xfrm>
            <a:off x="6382820" y="3736417"/>
            <a:ext cx="2227779"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2" name="Text Placeholder 6">
            <a:extLst>
              <a:ext uri="{FF2B5EF4-FFF2-40B4-BE49-F238E27FC236}">
                <a16:creationId xmlns:a16="http://schemas.microsoft.com/office/drawing/2014/main" id="{9BAEDCD1-68AA-4C1E-84F7-9BD7E0994001}"/>
              </a:ext>
            </a:extLst>
          </p:cNvPr>
          <p:cNvSpPr>
            <a:spLocks noGrp="1"/>
          </p:cNvSpPr>
          <p:nvPr>
            <p:ph type="body" sz="quarter" idx="21" hasCustomPrompt="1"/>
          </p:nvPr>
        </p:nvSpPr>
        <p:spPr>
          <a:xfrm>
            <a:off x="9137311" y="2936763"/>
            <a:ext cx="1497806" cy="687182"/>
          </a:xfrm>
        </p:spPr>
        <p:txBody>
          <a:bodyPr anchor="ctr">
            <a:noAutofit/>
          </a:bodyPr>
          <a:lstStyle>
            <a:lvl1pPr marL="0" indent="0" algn="l">
              <a:buNone/>
              <a:defRPr sz="4000" b="1">
                <a:solidFill>
                  <a:schemeClr val="accent2"/>
                </a:solidFill>
              </a:defRPr>
            </a:lvl1pPr>
          </a:lstStyle>
          <a:p>
            <a:pPr lvl="0"/>
            <a:r>
              <a:rPr lang="en-US"/>
              <a:t>0000</a:t>
            </a:r>
          </a:p>
        </p:txBody>
      </p:sp>
      <p:cxnSp>
        <p:nvCxnSpPr>
          <p:cNvPr id="4" name="Straight Connector 3">
            <a:extLst>
              <a:ext uri="{FF2B5EF4-FFF2-40B4-BE49-F238E27FC236}">
                <a16:creationId xmlns:a16="http://schemas.microsoft.com/office/drawing/2014/main" id="{EE3375A3-45F3-4D91-A38E-BA0466E1B9E2}"/>
              </a:ext>
            </a:extLst>
          </p:cNvPr>
          <p:cNvCxnSpPr/>
          <p:nvPr userDrawn="1"/>
        </p:nvCxnSpPr>
        <p:spPr>
          <a:xfrm flipV="1">
            <a:off x="452525" y="1650383"/>
            <a:ext cx="0" cy="4172068"/>
          </a:xfrm>
          <a:prstGeom prst="line">
            <a:avLst/>
          </a:prstGeom>
          <a:ln w="12700">
            <a:solidFill>
              <a:schemeClr val="accent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C6ABD93-F673-428C-8326-65F0A87F3C82}"/>
              </a:ext>
            </a:extLst>
          </p:cNvPr>
          <p:cNvCxnSpPr/>
          <p:nvPr userDrawn="1"/>
        </p:nvCxnSpPr>
        <p:spPr>
          <a:xfrm flipV="1">
            <a:off x="3556778" y="1616614"/>
            <a:ext cx="0" cy="4172068"/>
          </a:xfrm>
          <a:prstGeom prst="line">
            <a:avLst/>
          </a:prstGeom>
          <a:ln w="12700">
            <a:solidFill>
              <a:schemeClr val="accent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367EF3D-E0A5-4476-9AC2-9A90480395B0}"/>
              </a:ext>
            </a:extLst>
          </p:cNvPr>
          <p:cNvCxnSpPr/>
          <p:nvPr userDrawn="1"/>
        </p:nvCxnSpPr>
        <p:spPr>
          <a:xfrm flipV="1">
            <a:off x="6187092" y="1616614"/>
            <a:ext cx="0" cy="4172068"/>
          </a:xfrm>
          <a:prstGeom prst="line">
            <a:avLst/>
          </a:prstGeom>
          <a:ln w="12700">
            <a:solidFill>
              <a:schemeClr val="accent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104B7558-BE19-F007-8944-E112896D3BBF}"/>
              </a:ext>
            </a:extLst>
          </p:cNvPr>
          <p:cNvGrpSpPr/>
          <p:nvPr userDrawn="1"/>
        </p:nvGrpSpPr>
        <p:grpSpPr>
          <a:xfrm>
            <a:off x="6186349" y="1623759"/>
            <a:ext cx="5282443" cy="4172068"/>
            <a:chOff x="1039761" y="1845853"/>
            <a:chExt cx="7086599" cy="1673941"/>
          </a:xfrm>
        </p:grpSpPr>
        <p:cxnSp>
          <p:nvCxnSpPr>
            <p:cNvPr id="5" name="Straight Connector 4">
              <a:extLst>
                <a:ext uri="{FF2B5EF4-FFF2-40B4-BE49-F238E27FC236}">
                  <a16:creationId xmlns:a16="http://schemas.microsoft.com/office/drawing/2014/main" id="{EA976BF5-4436-D3F9-9AD3-D5448E15428D}"/>
                </a:ext>
              </a:extLst>
            </p:cNvPr>
            <p:cNvCxnSpPr/>
            <p:nvPr userDrawn="1"/>
          </p:nvCxnSpPr>
          <p:spPr>
            <a:xfrm flipV="1">
              <a:off x="1039761" y="1845853"/>
              <a:ext cx="0" cy="1673941"/>
            </a:xfrm>
            <a:prstGeom prst="line">
              <a:avLst/>
            </a:prstGeom>
            <a:ln w="12700">
              <a:solidFill>
                <a:schemeClr val="accent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17D1298-6C0B-A94B-B6D7-CC6B2A9E2D8D}"/>
                </a:ext>
              </a:extLst>
            </p:cNvPr>
            <p:cNvCxnSpPr/>
            <p:nvPr userDrawn="1"/>
          </p:nvCxnSpPr>
          <p:spPr>
            <a:xfrm flipV="1">
              <a:off x="4638367" y="1845853"/>
              <a:ext cx="0" cy="1673941"/>
            </a:xfrm>
            <a:prstGeom prst="line">
              <a:avLst/>
            </a:prstGeom>
            <a:ln w="12700">
              <a:solidFill>
                <a:schemeClr val="accent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4030D98-ADDF-6E54-87FF-9EF441B8DD47}"/>
                </a:ext>
              </a:extLst>
            </p:cNvPr>
            <p:cNvCxnSpPr/>
            <p:nvPr userDrawn="1"/>
          </p:nvCxnSpPr>
          <p:spPr>
            <a:xfrm flipV="1">
              <a:off x="8126360" y="1845853"/>
              <a:ext cx="0" cy="1673941"/>
            </a:xfrm>
            <a:prstGeom prst="line">
              <a:avLst/>
            </a:prstGeom>
            <a:ln w="12700">
              <a:solidFill>
                <a:schemeClr val="accent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sp>
        <p:nvSpPr>
          <p:cNvPr id="13" name="Picture Placeholder 13">
            <a:extLst>
              <a:ext uri="{FF2B5EF4-FFF2-40B4-BE49-F238E27FC236}">
                <a16:creationId xmlns:a16="http://schemas.microsoft.com/office/drawing/2014/main" id="{178BFC84-9EEC-28D9-69C8-1BF663A5755E}"/>
              </a:ext>
            </a:extLst>
          </p:cNvPr>
          <p:cNvSpPr>
            <a:spLocks noGrp="1"/>
          </p:cNvSpPr>
          <p:nvPr userDrawn="1">
            <p:ph type="pic" sz="quarter" idx="22"/>
          </p:nvPr>
        </p:nvSpPr>
        <p:spPr>
          <a:xfrm>
            <a:off x="9166346" y="1631998"/>
            <a:ext cx="1070487" cy="1069339"/>
          </a:xfrm>
          <a:noFill/>
        </p:spPr>
        <p:txBody>
          <a:bodyPr/>
          <a:lstStyle>
            <a:lvl1pPr marL="0" indent="0">
              <a:buNone/>
              <a:defRPr/>
            </a:lvl1pPr>
          </a:lstStyle>
          <a:p>
            <a:endParaRPr lang="en-US"/>
          </a:p>
        </p:txBody>
      </p:sp>
      <p:sp>
        <p:nvSpPr>
          <p:cNvPr id="19" name="Text Placeholder 6">
            <a:extLst>
              <a:ext uri="{FF2B5EF4-FFF2-40B4-BE49-F238E27FC236}">
                <a16:creationId xmlns:a16="http://schemas.microsoft.com/office/drawing/2014/main" id="{5A3D3EF2-582F-F2E3-B6D0-7C3318D919A2}"/>
              </a:ext>
            </a:extLst>
          </p:cNvPr>
          <p:cNvSpPr>
            <a:spLocks noGrp="1"/>
          </p:cNvSpPr>
          <p:nvPr userDrawn="1">
            <p:ph type="body" sz="quarter" idx="23" hasCustomPrompt="1"/>
          </p:nvPr>
        </p:nvSpPr>
        <p:spPr>
          <a:xfrm>
            <a:off x="6435069" y="2962011"/>
            <a:ext cx="1497806" cy="687182"/>
          </a:xfrm>
        </p:spPr>
        <p:txBody>
          <a:bodyPr anchor="ctr">
            <a:noAutofit/>
          </a:bodyPr>
          <a:lstStyle>
            <a:lvl1pPr marL="0" indent="0" algn="l">
              <a:buNone/>
              <a:defRPr sz="4000" b="1">
                <a:solidFill>
                  <a:schemeClr val="accent2"/>
                </a:solidFill>
              </a:defRPr>
            </a:lvl1pPr>
          </a:lstStyle>
          <a:p>
            <a:pPr lvl="0"/>
            <a:r>
              <a:rPr lang="en-US"/>
              <a:t>0000</a:t>
            </a:r>
          </a:p>
        </p:txBody>
      </p:sp>
      <p:sp>
        <p:nvSpPr>
          <p:cNvPr id="20" name="Text Placeholder 6">
            <a:extLst>
              <a:ext uri="{FF2B5EF4-FFF2-40B4-BE49-F238E27FC236}">
                <a16:creationId xmlns:a16="http://schemas.microsoft.com/office/drawing/2014/main" id="{0EE4E7BA-7BFB-D068-3E05-85DBC882369D}"/>
              </a:ext>
            </a:extLst>
          </p:cNvPr>
          <p:cNvSpPr>
            <a:spLocks noGrp="1"/>
          </p:cNvSpPr>
          <p:nvPr userDrawn="1">
            <p:ph type="body" sz="quarter" idx="24"/>
          </p:nvPr>
        </p:nvSpPr>
        <p:spPr>
          <a:xfrm>
            <a:off x="9114507" y="3724630"/>
            <a:ext cx="2227779"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8668879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matchingName="1_Blue_Title + Subtitle + 1 Colum + Photo">
  <p:cSld name="2_Blue_Title + Subtitle + 1 Colum + Photo">
    <p:bg>
      <p:bgPr>
        <a:solidFill>
          <a:schemeClr val="accent1"/>
        </a:solidFill>
        <a:effectLst/>
      </p:bgPr>
    </p:bg>
    <p:spTree>
      <p:nvGrpSpPr>
        <p:cNvPr id="1" name="Shape 443"/>
        <p:cNvGrpSpPr/>
        <p:nvPr/>
      </p:nvGrpSpPr>
      <p:grpSpPr>
        <a:xfrm>
          <a:off x="0" y="0"/>
          <a:ext cx="0" cy="0"/>
          <a:chOff x="0" y="0"/>
          <a:chExt cx="0" cy="0"/>
        </a:xfrm>
      </p:grpSpPr>
      <p:sp>
        <p:nvSpPr>
          <p:cNvPr id="444" name="Google Shape;444;p40"/>
          <p:cNvSpPr txBox="1">
            <a:spLocks noGrp="1"/>
          </p:cNvSpPr>
          <p:nvPr>
            <p:ph type="sldNum" idx="12"/>
          </p:nvPr>
        </p:nvSpPr>
        <p:spPr>
          <a:xfrm>
            <a:off x="10564238" y="6001967"/>
            <a:ext cx="789562" cy="690326"/>
          </a:xfrm>
          <a:prstGeom prst="rect">
            <a:avLst/>
          </a:prstGeom>
          <a:noFill/>
          <a:ln>
            <a:noFill/>
          </a:ln>
        </p:spPr>
        <p:txBody>
          <a:bodyPr spcFirstLastPara="1" wrap="square" lIns="91425" tIns="45700" rIns="91425" bIns="45700" anchor="b"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accent2"/>
                </a:solidFill>
                <a:latin typeface="Poppins Light"/>
                <a:ea typeface="Poppins Light"/>
                <a:cs typeface="Poppins Light"/>
                <a:sym typeface="Poppins Light"/>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accent2"/>
                </a:solidFill>
                <a:latin typeface="Poppins Light"/>
                <a:ea typeface="Poppins Light"/>
                <a:cs typeface="Poppins Light"/>
                <a:sym typeface="Poppins Light"/>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accent2"/>
                </a:solidFill>
                <a:latin typeface="Poppins Light"/>
                <a:ea typeface="Poppins Light"/>
                <a:cs typeface="Poppins Light"/>
                <a:sym typeface="Poppins Light"/>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accent2"/>
                </a:solidFill>
                <a:latin typeface="Poppins Light"/>
                <a:ea typeface="Poppins Light"/>
                <a:cs typeface="Poppins Light"/>
                <a:sym typeface="Poppins Light"/>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accent2"/>
                </a:solidFill>
                <a:latin typeface="Poppins Light"/>
                <a:ea typeface="Poppins Light"/>
                <a:cs typeface="Poppins Light"/>
                <a:sym typeface="Poppins Light"/>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accent2"/>
                </a:solidFill>
                <a:latin typeface="Poppins Light"/>
                <a:ea typeface="Poppins Light"/>
                <a:cs typeface="Poppins Light"/>
                <a:sym typeface="Poppins Light"/>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accent2"/>
                </a:solidFill>
                <a:latin typeface="Poppins Light"/>
                <a:ea typeface="Poppins Light"/>
                <a:cs typeface="Poppins Light"/>
                <a:sym typeface="Poppins Light"/>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accent2"/>
                </a:solidFill>
                <a:latin typeface="Poppins Light"/>
                <a:ea typeface="Poppins Light"/>
                <a:cs typeface="Poppins Light"/>
                <a:sym typeface="Poppins Light"/>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accent2"/>
                </a:solidFill>
                <a:latin typeface="Poppins Light"/>
                <a:ea typeface="Poppins Light"/>
                <a:cs typeface="Poppins Light"/>
                <a:sym typeface="Poppins Light"/>
              </a:defRPr>
            </a:lvl9pPr>
          </a:lstStyle>
          <a:p>
            <a:pPr marL="0" lvl="0" indent="0" algn="r" rtl="0">
              <a:spcBef>
                <a:spcPts val="0"/>
              </a:spcBef>
              <a:spcAft>
                <a:spcPts val="0"/>
              </a:spcAft>
              <a:buNone/>
            </a:pPr>
            <a:fld id="{00000000-1234-1234-1234-123412341234}" type="slidenum">
              <a:rPr lang="en-US"/>
              <a:t>‹#›</a:t>
            </a:fld>
            <a:endParaRPr/>
          </a:p>
        </p:txBody>
      </p:sp>
      <p:sp>
        <p:nvSpPr>
          <p:cNvPr id="445" name="Google Shape;445;p40"/>
          <p:cNvSpPr txBox="1">
            <a:spLocks noGrp="1"/>
          </p:cNvSpPr>
          <p:nvPr>
            <p:ph type="title"/>
          </p:nvPr>
        </p:nvSpPr>
        <p:spPr>
          <a:xfrm>
            <a:off x="838200" y="719015"/>
            <a:ext cx="5143500" cy="956104"/>
          </a:xfrm>
          <a:prstGeom prst="rect">
            <a:avLst/>
          </a:prstGeom>
          <a:noFill/>
          <a:ln>
            <a:noFill/>
          </a:ln>
        </p:spPr>
        <p:txBody>
          <a:bodyPr spcFirstLastPara="1" wrap="square" lIns="91425" tIns="45700" rIns="91425" bIns="45700" anchor="ctr" anchorCtr="0">
            <a:normAutofit/>
          </a:bodyPr>
          <a:lstStyle>
            <a:lvl1pPr lvl="0" algn="l">
              <a:lnSpc>
                <a:spcPct val="100000"/>
              </a:lnSpc>
              <a:spcBef>
                <a:spcPts val="0"/>
              </a:spcBef>
              <a:spcAft>
                <a:spcPts val="0"/>
              </a:spcAft>
              <a:buClr>
                <a:schemeClr val="lt1"/>
              </a:buClr>
              <a:buSzPts val="3200"/>
              <a:buFont typeface="Poppins ExtraBold"/>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46" name="Google Shape;446;p40"/>
          <p:cNvGrpSpPr/>
          <p:nvPr/>
        </p:nvGrpSpPr>
        <p:grpSpPr>
          <a:xfrm>
            <a:off x="891988" y="6394893"/>
            <a:ext cx="432890" cy="187030"/>
            <a:chOff x="85969" y="3646150"/>
            <a:chExt cx="1544103" cy="667131"/>
          </a:xfrm>
        </p:grpSpPr>
        <p:sp>
          <p:nvSpPr>
            <p:cNvPr id="447" name="Google Shape;447;p40"/>
            <p:cNvSpPr/>
            <p:nvPr/>
          </p:nvSpPr>
          <p:spPr>
            <a:xfrm>
              <a:off x="85969" y="3854043"/>
              <a:ext cx="480639" cy="457107"/>
            </a:xfrm>
            <a:custGeom>
              <a:avLst/>
              <a:gdLst/>
              <a:ahLst/>
              <a:cxnLst/>
              <a:rect l="l" t="t" r="r" b="b"/>
              <a:pathLst>
                <a:path w="480639" h="457107" extrusionOk="0">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448" name="Google Shape;448;p40"/>
            <p:cNvSpPr/>
            <p:nvPr/>
          </p:nvSpPr>
          <p:spPr>
            <a:xfrm>
              <a:off x="524918" y="3856823"/>
              <a:ext cx="464333" cy="456458"/>
            </a:xfrm>
            <a:custGeom>
              <a:avLst/>
              <a:gdLst/>
              <a:ahLst/>
              <a:cxnLst/>
              <a:rect l="l" t="t" r="r" b="b"/>
              <a:pathLst>
                <a:path w="464333" h="456458" extrusionOk="0">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449" name="Google Shape;449;p40"/>
            <p:cNvSpPr/>
            <p:nvPr/>
          </p:nvSpPr>
          <p:spPr>
            <a:xfrm>
              <a:off x="994439" y="3646150"/>
              <a:ext cx="168612" cy="665001"/>
            </a:xfrm>
            <a:custGeom>
              <a:avLst/>
              <a:gdLst/>
              <a:ahLst/>
              <a:cxnLst/>
              <a:rect l="l" t="t" r="r" b="b"/>
              <a:pathLst>
                <a:path w="168612" h="665001" extrusionOk="0">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450" name="Google Shape;450;p40"/>
            <p:cNvSpPr/>
            <p:nvPr/>
          </p:nvSpPr>
          <p:spPr>
            <a:xfrm>
              <a:off x="1170186" y="3854692"/>
              <a:ext cx="459886" cy="456366"/>
            </a:xfrm>
            <a:custGeom>
              <a:avLst/>
              <a:gdLst/>
              <a:ahLst/>
              <a:cxnLst/>
              <a:rect l="l" t="t" r="r" b="b"/>
              <a:pathLst>
                <a:path w="459886" h="456366" extrusionOk="0">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grpSp>
      <p:sp>
        <p:nvSpPr>
          <p:cNvPr id="451" name="Google Shape;451;p40"/>
          <p:cNvSpPr>
            <a:spLocks noGrp="1"/>
          </p:cNvSpPr>
          <p:nvPr>
            <p:ph type="pic" idx="2"/>
          </p:nvPr>
        </p:nvSpPr>
        <p:spPr>
          <a:xfrm>
            <a:off x="6210301" y="723900"/>
            <a:ext cx="5143500" cy="5448300"/>
          </a:xfrm>
          <a:prstGeom prst="rect">
            <a:avLst/>
          </a:prstGeom>
          <a:solidFill>
            <a:schemeClr val="accent5"/>
          </a:solidFill>
          <a:ln>
            <a:noFill/>
          </a:ln>
        </p:spPr>
      </p:sp>
      <p:sp>
        <p:nvSpPr>
          <p:cNvPr id="452" name="Google Shape;452;p40"/>
          <p:cNvSpPr/>
          <p:nvPr/>
        </p:nvSpPr>
        <p:spPr>
          <a:xfrm>
            <a:off x="9601200" y="1"/>
            <a:ext cx="2590800" cy="2693163"/>
          </a:xfrm>
          <a:custGeom>
            <a:avLst/>
            <a:gdLst/>
            <a:ahLst/>
            <a:cxnLst/>
            <a:rect l="l" t="t" r="r" b="b"/>
            <a:pathLst>
              <a:path w="2590800" h="2693163" extrusionOk="0">
                <a:moveTo>
                  <a:pt x="24892" y="0"/>
                </a:moveTo>
                <a:lnTo>
                  <a:pt x="919754" y="0"/>
                </a:lnTo>
                <a:lnTo>
                  <a:pt x="911114" y="34419"/>
                </a:lnTo>
                <a:cubicBezTo>
                  <a:pt x="892119" y="129507"/>
                  <a:pt x="882144" y="227959"/>
                  <a:pt x="882144" y="328796"/>
                </a:cubicBezTo>
                <a:cubicBezTo>
                  <a:pt x="882144" y="1135492"/>
                  <a:pt x="1521112" y="1789551"/>
                  <a:pt x="2308652" y="1789551"/>
                </a:cubicBezTo>
                <a:cubicBezTo>
                  <a:pt x="2357910" y="1789551"/>
                  <a:pt x="2406583" y="1786996"/>
                  <a:pt x="2454552" y="1782009"/>
                </a:cubicBezTo>
                <a:lnTo>
                  <a:pt x="2590800" y="1760720"/>
                </a:lnTo>
                <a:lnTo>
                  <a:pt x="2590800" y="2673751"/>
                </a:lnTo>
                <a:lnTo>
                  <a:pt x="2544700" y="2680956"/>
                </a:lnTo>
                <a:cubicBezTo>
                  <a:pt x="2467089" y="2689028"/>
                  <a:pt x="2388342" y="2693163"/>
                  <a:pt x="2308652" y="2693163"/>
                </a:cubicBezTo>
                <a:cubicBezTo>
                  <a:pt x="1033615" y="2693163"/>
                  <a:pt x="0" y="1634597"/>
                  <a:pt x="0" y="328796"/>
                </a:cubicBezTo>
                <a:cubicBezTo>
                  <a:pt x="0" y="247184"/>
                  <a:pt x="4038" y="166537"/>
                  <a:pt x="11919" y="87054"/>
                </a:cubicBezTo>
                <a:close/>
              </a:path>
            </a:pathLst>
          </a:custGeom>
          <a:solidFill>
            <a:srgbClr val="FF9E1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453" name="Google Shape;453;p40"/>
          <p:cNvSpPr>
            <a:spLocks noGrp="1"/>
          </p:cNvSpPr>
          <p:nvPr>
            <p:ph type="pic" idx="3"/>
          </p:nvPr>
        </p:nvSpPr>
        <p:spPr>
          <a:xfrm>
            <a:off x="1657350" y="2006600"/>
            <a:ext cx="1638300" cy="1638300"/>
          </a:xfrm>
          <a:prstGeom prst="rect">
            <a:avLst/>
          </a:prstGeom>
          <a:noFill/>
          <a:ln>
            <a:noFill/>
          </a:ln>
        </p:spPr>
      </p:sp>
      <p:sp>
        <p:nvSpPr>
          <p:cNvPr id="454" name="Google Shape;454;p40"/>
          <p:cNvSpPr txBox="1">
            <a:spLocks noGrp="1"/>
          </p:cNvSpPr>
          <p:nvPr>
            <p:ph type="body" idx="1"/>
          </p:nvPr>
        </p:nvSpPr>
        <p:spPr>
          <a:xfrm>
            <a:off x="838200" y="4313065"/>
            <a:ext cx="3390900" cy="1859135"/>
          </a:xfrm>
          <a:prstGeom prst="rect">
            <a:avLst/>
          </a:prstGeom>
          <a:noFill/>
          <a:ln>
            <a:noFill/>
          </a:ln>
        </p:spPr>
        <p:txBody>
          <a:bodyPr spcFirstLastPara="1" wrap="square" lIns="91425" tIns="45700" rIns="91425" bIns="45700" anchor="t" anchorCtr="0">
            <a:normAutofit/>
          </a:bodyPr>
          <a:lstStyle>
            <a:lvl1pPr marL="457200" lvl="0" indent="-228600" algn="l">
              <a:lnSpc>
                <a:spcPct val="130000"/>
              </a:lnSpc>
              <a:spcBef>
                <a:spcPts val="1200"/>
              </a:spcBef>
              <a:spcAft>
                <a:spcPts val="0"/>
              </a:spcAft>
              <a:buClr>
                <a:schemeClr val="lt1"/>
              </a:buClr>
              <a:buSzPts val="1200"/>
              <a:buNone/>
              <a:defRPr>
                <a:solidFill>
                  <a:schemeClr val="lt1"/>
                </a:solidFill>
              </a:defRPr>
            </a:lvl1pPr>
            <a:lvl2pPr marL="914400" lvl="1" indent="-228600" algn="l">
              <a:lnSpc>
                <a:spcPct val="130000"/>
              </a:lnSpc>
              <a:spcBef>
                <a:spcPts val="1200"/>
              </a:spcBef>
              <a:spcAft>
                <a:spcPts val="0"/>
              </a:spcAft>
              <a:buClr>
                <a:schemeClr val="lt1"/>
              </a:buClr>
              <a:buSzPts val="1200"/>
              <a:buNone/>
              <a:defRPr>
                <a:solidFill>
                  <a:schemeClr val="lt1"/>
                </a:solidFill>
              </a:defRPr>
            </a:lvl2pPr>
            <a:lvl3pPr marL="1371600" lvl="2" indent="-228600" algn="l">
              <a:lnSpc>
                <a:spcPct val="130000"/>
              </a:lnSpc>
              <a:spcBef>
                <a:spcPts val="1200"/>
              </a:spcBef>
              <a:spcAft>
                <a:spcPts val="0"/>
              </a:spcAft>
              <a:buClr>
                <a:schemeClr val="lt1"/>
              </a:buClr>
              <a:buSzPts val="1200"/>
              <a:buNone/>
              <a:defRPr>
                <a:solidFill>
                  <a:schemeClr val="lt1"/>
                </a:solidFill>
              </a:defRPr>
            </a:lvl3pPr>
            <a:lvl4pPr marL="1828800" lvl="3" indent="-228600" algn="l">
              <a:lnSpc>
                <a:spcPct val="130000"/>
              </a:lnSpc>
              <a:spcBef>
                <a:spcPts val="1200"/>
              </a:spcBef>
              <a:spcAft>
                <a:spcPts val="0"/>
              </a:spcAft>
              <a:buClr>
                <a:schemeClr val="lt1"/>
              </a:buClr>
              <a:buSzPts val="1200"/>
              <a:buNone/>
              <a:defRPr>
                <a:solidFill>
                  <a:schemeClr val="lt1"/>
                </a:solidFill>
              </a:defRPr>
            </a:lvl4pPr>
            <a:lvl5pPr marL="2286000" lvl="4" indent="-228600" algn="l">
              <a:lnSpc>
                <a:spcPct val="130000"/>
              </a:lnSpc>
              <a:spcBef>
                <a:spcPts val="1200"/>
              </a:spcBef>
              <a:spcAft>
                <a:spcPts val="0"/>
              </a:spcAft>
              <a:buClr>
                <a:schemeClr val="lt1"/>
              </a:buClr>
              <a:buSzPts val="1200"/>
              <a:buNone/>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5" name="Google Shape;455;p40"/>
          <p:cNvSpPr txBox="1">
            <a:spLocks noGrp="1"/>
          </p:cNvSpPr>
          <p:nvPr>
            <p:ph type="body" idx="4"/>
          </p:nvPr>
        </p:nvSpPr>
        <p:spPr>
          <a:xfrm>
            <a:off x="838200" y="3821287"/>
            <a:ext cx="3390900" cy="345782"/>
          </a:xfrm>
          <a:prstGeom prst="rect">
            <a:avLst/>
          </a:prstGeom>
          <a:noFill/>
          <a:ln>
            <a:noFill/>
          </a:ln>
        </p:spPr>
        <p:txBody>
          <a:bodyPr spcFirstLastPara="1" wrap="square" lIns="91425" tIns="45700" rIns="91425" bIns="45700" anchor="t" anchorCtr="0">
            <a:noAutofit/>
          </a:bodyPr>
          <a:lstStyle>
            <a:lvl1pPr marL="457200" lvl="0" indent="-228600" algn="l">
              <a:lnSpc>
                <a:spcPct val="130000"/>
              </a:lnSpc>
              <a:spcBef>
                <a:spcPts val="1200"/>
              </a:spcBef>
              <a:spcAft>
                <a:spcPts val="0"/>
              </a:spcAft>
              <a:buClr>
                <a:schemeClr val="accent2"/>
              </a:buClr>
              <a:buSzPts val="1600"/>
              <a:buNone/>
              <a:defRPr sz="1600">
                <a:solidFill>
                  <a:schemeClr val="accent2"/>
                </a:solidFill>
                <a:latin typeface="Poppins ExtraBold"/>
                <a:ea typeface="Poppins ExtraBold"/>
                <a:cs typeface="Poppins ExtraBold"/>
                <a:sym typeface="Poppins ExtraBold"/>
              </a:defRPr>
            </a:lvl1pPr>
            <a:lvl2pPr marL="914400" lvl="1" indent="-304800" algn="l">
              <a:lnSpc>
                <a:spcPct val="130000"/>
              </a:lnSpc>
              <a:spcBef>
                <a:spcPts val="1200"/>
              </a:spcBef>
              <a:spcAft>
                <a:spcPts val="0"/>
              </a:spcAft>
              <a:buClr>
                <a:schemeClr val="dk1"/>
              </a:buClr>
              <a:buSzPts val="1200"/>
              <a:buChar char="•"/>
              <a:defRPr>
                <a:solidFill>
                  <a:schemeClr val="dk1"/>
                </a:solidFill>
              </a:defRPr>
            </a:lvl2pPr>
            <a:lvl3pPr marL="1371600" lvl="2" indent="-304800" algn="l">
              <a:lnSpc>
                <a:spcPct val="130000"/>
              </a:lnSpc>
              <a:spcBef>
                <a:spcPts val="1200"/>
              </a:spcBef>
              <a:spcAft>
                <a:spcPts val="0"/>
              </a:spcAft>
              <a:buClr>
                <a:schemeClr val="dk1"/>
              </a:buClr>
              <a:buSzPts val="1200"/>
              <a:buChar char="•"/>
              <a:defRPr>
                <a:solidFill>
                  <a:schemeClr val="dk1"/>
                </a:solidFill>
              </a:defRPr>
            </a:lvl3pPr>
            <a:lvl4pPr marL="1828800" lvl="3" indent="-304800" algn="l">
              <a:lnSpc>
                <a:spcPct val="130000"/>
              </a:lnSpc>
              <a:spcBef>
                <a:spcPts val="1200"/>
              </a:spcBef>
              <a:spcAft>
                <a:spcPts val="0"/>
              </a:spcAft>
              <a:buClr>
                <a:schemeClr val="dk1"/>
              </a:buClr>
              <a:buSzPts val="1200"/>
              <a:buChar char="•"/>
              <a:defRPr>
                <a:solidFill>
                  <a:schemeClr val="dk1"/>
                </a:solidFill>
              </a:defRPr>
            </a:lvl4pPr>
            <a:lvl5pPr marL="2286000" lvl="4" indent="-304800" algn="l">
              <a:lnSpc>
                <a:spcPct val="130000"/>
              </a:lnSpc>
              <a:spcBef>
                <a:spcPts val="1200"/>
              </a:spcBef>
              <a:spcAft>
                <a:spcPts val="0"/>
              </a:spcAft>
              <a:buClr>
                <a:schemeClr val="dk1"/>
              </a:buClr>
              <a:buSzPts val="1200"/>
              <a:buChar char="•"/>
              <a:defRPr>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626577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1 Colum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290382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C28D76B-1E4B-4CAD-91D0-7031CCB234FF}"/>
              </a:ext>
            </a:extLst>
          </p:cNvPr>
          <p:cNvSpPr/>
          <p:nvPr userDrawn="1"/>
        </p:nvSpPr>
        <p:spPr>
          <a:xfrm>
            <a:off x="7962900" y="0"/>
            <a:ext cx="42291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838200" y="1859536"/>
            <a:ext cx="33909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5981699" y="723900"/>
            <a:ext cx="5394960" cy="5394960"/>
          </a:xfrm>
          <a:prstGeom prst="ellipse">
            <a:avLst/>
          </a:prstGeom>
          <a:solidFill>
            <a:schemeClr val="accent5"/>
          </a:solidFill>
        </p:spPr>
        <p:txBody>
          <a:bodyPr/>
          <a:lstStyle/>
          <a:p>
            <a:endParaRPr lang="en-US"/>
          </a:p>
        </p:txBody>
      </p:sp>
    </p:spTree>
    <p:extLst>
      <p:ext uri="{BB962C8B-B14F-4D97-AF65-F5344CB8AC3E}">
        <p14:creationId xmlns:p14="http://schemas.microsoft.com/office/powerpoint/2010/main" val="341087978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Disclaimer/Notes Slide">
  <p:cSld name="1_Disclaimer/Notes Slide">
    <p:spTree>
      <p:nvGrpSpPr>
        <p:cNvPr id="1" name="Shape 289"/>
        <p:cNvGrpSpPr/>
        <p:nvPr/>
      </p:nvGrpSpPr>
      <p:grpSpPr>
        <a:xfrm>
          <a:off x="0" y="0"/>
          <a:ext cx="0" cy="0"/>
          <a:chOff x="0" y="0"/>
          <a:chExt cx="0" cy="0"/>
        </a:xfrm>
      </p:grpSpPr>
      <p:sp>
        <p:nvSpPr>
          <p:cNvPr id="290" name="Google Shape;290;p28"/>
          <p:cNvSpPr/>
          <p:nvPr/>
        </p:nvSpPr>
        <p:spPr>
          <a:xfrm>
            <a:off x="6210300" y="1"/>
            <a:ext cx="5981700"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Poppins"/>
              <a:ea typeface="Poppins"/>
              <a:cs typeface="Poppins"/>
              <a:sym typeface="Poppins"/>
            </a:endParaRPr>
          </a:p>
        </p:txBody>
      </p:sp>
      <p:sp>
        <p:nvSpPr>
          <p:cNvPr id="291" name="Google Shape;291;p28"/>
          <p:cNvSpPr txBox="1">
            <a:spLocks noGrp="1"/>
          </p:cNvSpPr>
          <p:nvPr>
            <p:ph type="sldNum" idx="12"/>
          </p:nvPr>
        </p:nvSpPr>
        <p:spPr>
          <a:xfrm>
            <a:off x="10564238" y="6001967"/>
            <a:ext cx="789562" cy="690326"/>
          </a:xfrm>
          <a:prstGeom prst="rect">
            <a:avLst/>
          </a:prstGeom>
          <a:noFill/>
          <a:ln>
            <a:noFill/>
          </a:ln>
        </p:spPr>
        <p:txBody>
          <a:bodyPr spcFirstLastPara="1" wrap="square" lIns="91425" tIns="45700" rIns="91425" bIns="45700" anchor="b"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Poppins Light"/>
                <a:ea typeface="Poppins Light"/>
                <a:cs typeface="Poppins Light"/>
                <a:sym typeface="Poppins Light"/>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Poppins Light"/>
                <a:ea typeface="Poppins Light"/>
                <a:cs typeface="Poppins Light"/>
                <a:sym typeface="Poppins Light"/>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Poppins Light"/>
                <a:ea typeface="Poppins Light"/>
                <a:cs typeface="Poppins Light"/>
                <a:sym typeface="Poppins Light"/>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Poppins Light"/>
                <a:ea typeface="Poppins Light"/>
                <a:cs typeface="Poppins Light"/>
                <a:sym typeface="Poppins Light"/>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Poppins Light"/>
                <a:ea typeface="Poppins Light"/>
                <a:cs typeface="Poppins Light"/>
                <a:sym typeface="Poppins Light"/>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Poppins Light"/>
                <a:ea typeface="Poppins Light"/>
                <a:cs typeface="Poppins Light"/>
                <a:sym typeface="Poppins Light"/>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Poppins Light"/>
                <a:ea typeface="Poppins Light"/>
                <a:cs typeface="Poppins Light"/>
                <a:sym typeface="Poppins Light"/>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Poppins Light"/>
                <a:ea typeface="Poppins Light"/>
                <a:cs typeface="Poppins Light"/>
                <a:sym typeface="Poppins Light"/>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Poppins Light"/>
                <a:ea typeface="Poppins Light"/>
                <a:cs typeface="Poppins Light"/>
                <a:sym typeface="Poppins Light"/>
              </a:defRPr>
            </a:lvl9pPr>
          </a:lstStyle>
          <a:p>
            <a:pPr marL="0" lvl="0" indent="0" algn="r" rtl="0">
              <a:spcBef>
                <a:spcPts val="0"/>
              </a:spcBef>
              <a:spcAft>
                <a:spcPts val="0"/>
              </a:spcAft>
              <a:buNone/>
            </a:pPr>
            <a:fld id="{00000000-1234-1234-1234-123412341234}" type="slidenum">
              <a:rPr lang="en-US"/>
              <a:t>‹#›</a:t>
            </a:fld>
            <a:endParaRPr/>
          </a:p>
        </p:txBody>
      </p:sp>
      <p:sp>
        <p:nvSpPr>
          <p:cNvPr id="292" name="Google Shape;292;p28"/>
          <p:cNvSpPr txBox="1">
            <a:spLocks noGrp="1"/>
          </p:cNvSpPr>
          <p:nvPr>
            <p:ph type="body" idx="1"/>
          </p:nvPr>
        </p:nvSpPr>
        <p:spPr>
          <a:xfrm>
            <a:off x="7048500" y="723900"/>
            <a:ext cx="4305300" cy="5448300"/>
          </a:xfrm>
          <a:prstGeom prst="rect">
            <a:avLst/>
          </a:prstGeom>
          <a:noFill/>
          <a:ln>
            <a:noFill/>
          </a:ln>
        </p:spPr>
        <p:txBody>
          <a:bodyPr spcFirstLastPara="1" wrap="square" lIns="91425" tIns="45700" rIns="91425" bIns="45700" anchor="t" anchorCtr="0">
            <a:normAutofit/>
          </a:bodyPr>
          <a:lstStyle>
            <a:lvl1pPr marL="457200" lvl="0" indent="-228600" algn="l">
              <a:lnSpc>
                <a:spcPct val="130000"/>
              </a:lnSpc>
              <a:spcBef>
                <a:spcPts val="1200"/>
              </a:spcBef>
              <a:spcAft>
                <a:spcPts val="0"/>
              </a:spcAft>
              <a:buClr>
                <a:schemeClr val="lt1"/>
              </a:buClr>
              <a:buSzPts val="1200"/>
              <a:buNone/>
              <a:defRPr>
                <a:solidFill>
                  <a:schemeClr val="lt1"/>
                </a:solidFill>
              </a:defRPr>
            </a:lvl1pPr>
            <a:lvl2pPr marL="914400" lvl="1" indent="-228600" algn="l">
              <a:lnSpc>
                <a:spcPct val="130000"/>
              </a:lnSpc>
              <a:spcBef>
                <a:spcPts val="1200"/>
              </a:spcBef>
              <a:spcAft>
                <a:spcPts val="0"/>
              </a:spcAft>
              <a:buClr>
                <a:schemeClr val="lt1"/>
              </a:buClr>
              <a:buSzPts val="1200"/>
              <a:buNone/>
              <a:defRPr>
                <a:solidFill>
                  <a:schemeClr val="lt1"/>
                </a:solidFill>
              </a:defRPr>
            </a:lvl2pPr>
            <a:lvl3pPr marL="1371600" lvl="2" indent="-228600" algn="l">
              <a:lnSpc>
                <a:spcPct val="130000"/>
              </a:lnSpc>
              <a:spcBef>
                <a:spcPts val="1200"/>
              </a:spcBef>
              <a:spcAft>
                <a:spcPts val="0"/>
              </a:spcAft>
              <a:buClr>
                <a:schemeClr val="lt1"/>
              </a:buClr>
              <a:buSzPts val="1200"/>
              <a:buNone/>
              <a:defRPr>
                <a:solidFill>
                  <a:schemeClr val="lt1"/>
                </a:solidFill>
              </a:defRPr>
            </a:lvl3pPr>
            <a:lvl4pPr marL="1828800" lvl="3" indent="-228600" algn="l">
              <a:lnSpc>
                <a:spcPct val="130000"/>
              </a:lnSpc>
              <a:spcBef>
                <a:spcPts val="1200"/>
              </a:spcBef>
              <a:spcAft>
                <a:spcPts val="0"/>
              </a:spcAft>
              <a:buClr>
                <a:schemeClr val="lt1"/>
              </a:buClr>
              <a:buSzPts val="1200"/>
              <a:buNone/>
              <a:defRPr>
                <a:solidFill>
                  <a:schemeClr val="lt1"/>
                </a:solidFill>
              </a:defRPr>
            </a:lvl4pPr>
            <a:lvl5pPr marL="2286000" lvl="4" indent="-228600" algn="l">
              <a:lnSpc>
                <a:spcPct val="130000"/>
              </a:lnSpc>
              <a:spcBef>
                <a:spcPts val="1200"/>
              </a:spcBef>
              <a:spcAft>
                <a:spcPts val="0"/>
              </a:spcAft>
              <a:buClr>
                <a:schemeClr val="lt1"/>
              </a:buClr>
              <a:buSzPts val="1200"/>
              <a:buNone/>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3" name="Google Shape;293;p28"/>
          <p:cNvSpPr>
            <a:spLocks noGrp="1"/>
          </p:cNvSpPr>
          <p:nvPr>
            <p:ph type="pic" idx="2"/>
          </p:nvPr>
        </p:nvSpPr>
        <p:spPr>
          <a:xfrm>
            <a:off x="1982268" y="1251008"/>
            <a:ext cx="4229100" cy="5606992"/>
          </a:xfrm>
          <a:prstGeom prst="rect">
            <a:avLst/>
          </a:prstGeom>
          <a:solidFill>
            <a:schemeClr val="accent5"/>
          </a:solidFill>
          <a:ln>
            <a:noFill/>
          </a:ln>
        </p:spPr>
      </p:sp>
      <p:sp>
        <p:nvSpPr>
          <p:cNvPr id="294" name="Google Shape;294;p28"/>
          <p:cNvSpPr txBox="1">
            <a:spLocks noGrp="1"/>
          </p:cNvSpPr>
          <p:nvPr>
            <p:ph type="title"/>
          </p:nvPr>
        </p:nvSpPr>
        <p:spPr>
          <a:xfrm>
            <a:off x="838200" y="719015"/>
            <a:ext cx="3390900" cy="317671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95" name="Google Shape;295;p28"/>
          <p:cNvGrpSpPr/>
          <p:nvPr/>
        </p:nvGrpSpPr>
        <p:grpSpPr>
          <a:xfrm>
            <a:off x="891988" y="6394893"/>
            <a:ext cx="432890" cy="187030"/>
            <a:chOff x="85969" y="3646150"/>
            <a:chExt cx="1544103" cy="667131"/>
          </a:xfrm>
        </p:grpSpPr>
        <p:sp>
          <p:nvSpPr>
            <p:cNvPr id="296" name="Google Shape;296;p28"/>
            <p:cNvSpPr/>
            <p:nvPr/>
          </p:nvSpPr>
          <p:spPr>
            <a:xfrm>
              <a:off x="85969" y="3854043"/>
              <a:ext cx="480639" cy="457107"/>
            </a:xfrm>
            <a:custGeom>
              <a:avLst/>
              <a:gdLst/>
              <a:ahLst/>
              <a:cxnLst/>
              <a:rect l="l" t="t" r="r" b="b"/>
              <a:pathLst>
                <a:path w="480639" h="457107" extrusionOk="0">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297" name="Google Shape;297;p28"/>
            <p:cNvSpPr/>
            <p:nvPr/>
          </p:nvSpPr>
          <p:spPr>
            <a:xfrm>
              <a:off x="524918" y="3856823"/>
              <a:ext cx="464333" cy="456458"/>
            </a:xfrm>
            <a:custGeom>
              <a:avLst/>
              <a:gdLst/>
              <a:ahLst/>
              <a:cxnLst/>
              <a:rect l="l" t="t" r="r" b="b"/>
              <a:pathLst>
                <a:path w="464333" h="456458" extrusionOk="0">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298" name="Google Shape;298;p28"/>
            <p:cNvSpPr/>
            <p:nvPr/>
          </p:nvSpPr>
          <p:spPr>
            <a:xfrm>
              <a:off x="994439" y="3646150"/>
              <a:ext cx="168612" cy="665001"/>
            </a:xfrm>
            <a:custGeom>
              <a:avLst/>
              <a:gdLst/>
              <a:ahLst/>
              <a:cxnLst/>
              <a:rect l="l" t="t" r="r" b="b"/>
              <a:pathLst>
                <a:path w="168612" h="665001" extrusionOk="0">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299" name="Google Shape;299;p28"/>
            <p:cNvSpPr/>
            <p:nvPr/>
          </p:nvSpPr>
          <p:spPr>
            <a:xfrm>
              <a:off x="1170186" y="3854692"/>
              <a:ext cx="459886" cy="456366"/>
            </a:xfrm>
            <a:custGeom>
              <a:avLst/>
              <a:gdLst/>
              <a:ahLst/>
              <a:cxnLst/>
              <a:rect l="l" t="t" r="r" b="b"/>
              <a:pathLst>
                <a:path w="459886" h="456366" extrusionOk="0">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grpSp>
    </p:spTree>
    <p:extLst>
      <p:ext uri="{BB962C8B-B14F-4D97-AF65-F5344CB8AC3E}">
        <p14:creationId xmlns:p14="http://schemas.microsoft.com/office/powerpoint/2010/main" val="229695064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Section Divider_Gree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C6D5641-B741-49E8-8EFF-4DB7B7E19B9F}"/>
              </a:ext>
            </a:extLst>
          </p:cNvPr>
          <p:cNvSpPr/>
          <p:nvPr/>
        </p:nvSpPr>
        <p:spPr>
          <a:xfrm>
            <a:off x="6096000" y="-1"/>
            <a:ext cx="6096000" cy="6858000"/>
          </a:xfrm>
          <a:prstGeom prst="rect">
            <a:avLst/>
          </a:prstGeom>
          <a:solidFill>
            <a:srgbClr val="73AA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806D7531-2CEA-4446-8456-993CE401D4E7}"/>
              </a:ext>
            </a:extLst>
          </p:cNvPr>
          <p:cNvSpPr>
            <a:spLocks noGrp="1"/>
          </p:cNvSpPr>
          <p:nvPr>
            <p:ph sz="half" idx="1" hasCustomPrompt="1"/>
          </p:nvPr>
        </p:nvSpPr>
        <p:spPr>
          <a:xfrm>
            <a:off x="965051" y="1143000"/>
            <a:ext cx="4038600" cy="4571999"/>
          </a:xfrm>
        </p:spPr>
        <p:txBody>
          <a:bodyPr anchor="ctr">
            <a:noAutofit/>
          </a:bodyPr>
          <a:lstStyle>
            <a:lvl1pPr marL="0" indent="0">
              <a:lnSpc>
                <a:spcPct val="100000"/>
              </a:lnSpc>
              <a:spcBef>
                <a:spcPts val="3000"/>
              </a:spcBef>
              <a:buFont typeface="Museo Sans Rounded 500" panose="02000000000000000000" pitchFamily="50" charset="0"/>
              <a:buChar char=" "/>
              <a:defRPr sz="2600">
                <a:solidFill>
                  <a:schemeClr val="bg2"/>
                </a:solidFill>
                <a:latin typeface="Museo Sans 500" panose="02000000000000000000" pitchFamily="50" charset="0"/>
              </a:defRPr>
            </a:lvl1pPr>
          </a:lstStyle>
          <a:p>
            <a:pPr lvl="0"/>
            <a:r>
              <a:rPr lang="en-US"/>
              <a:t>Topic 1</a:t>
            </a:r>
          </a:p>
          <a:p>
            <a:pPr lvl="0"/>
            <a:r>
              <a:rPr lang="en-US"/>
              <a:t>Topic 2</a:t>
            </a:r>
          </a:p>
          <a:p>
            <a:pPr lvl="0"/>
            <a:r>
              <a:rPr lang="en-US"/>
              <a:t>Topic 3</a:t>
            </a:r>
          </a:p>
          <a:p>
            <a:pPr lvl="0"/>
            <a:r>
              <a:rPr lang="en-US"/>
              <a:t>Topic 4</a:t>
            </a:r>
          </a:p>
          <a:p>
            <a:pPr lvl="0"/>
            <a:r>
              <a:rPr lang="en-US"/>
              <a:t>Topic 5</a:t>
            </a:r>
          </a:p>
          <a:p>
            <a:pPr lvl="0"/>
            <a:r>
              <a:rPr lang="en-US"/>
              <a:t>Topic 6</a:t>
            </a:r>
          </a:p>
        </p:txBody>
      </p:sp>
      <p:sp>
        <p:nvSpPr>
          <p:cNvPr id="5" name="Text Placeholder 4">
            <a:extLst>
              <a:ext uri="{FF2B5EF4-FFF2-40B4-BE49-F238E27FC236}">
                <a16:creationId xmlns:a16="http://schemas.microsoft.com/office/drawing/2014/main" id="{EE73C53C-F54B-4F0B-9E63-B397CE5F682F}"/>
              </a:ext>
            </a:extLst>
          </p:cNvPr>
          <p:cNvSpPr>
            <a:spLocks noGrp="1"/>
          </p:cNvSpPr>
          <p:nvPr>
            <p:ph type="body" sz="quarter" idx="13" hasCustomPrompt="1"/>
          </p:nvPr>
        </p:nvSpPr>
        <p:spPr>
          <a:xfrm>
            <a:off x="7200731" y="1143001"/>
            <a:ext cx="3995738" cy="4571998"/>
          </a:xfrm>
        </p:spPr>
        <p:txBody>
          <a:bodyPr anchor="ctr">
            <a:normAutofit/>
          </a:bodyPr>
          <a:lstStyle>
            <a:lvl1pPr algn="l">
              <a:defRPr sz="45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opic title or </a:t>
            </a:r>
            <a:r>
              <a:rPr lang="en-US" err="1"/>
              <a:t>subheader</a:t>
            </a:r>
            <a:endParaRPr lang="en-US"/>
          </a:p>
        </p:txBody>
      </p:sp>
      <p:pic>
        <p:nvPicPr>
          <p:cNvPr id="10" name="Picture 9">
            <a:extLst>
              <a:ext uri="{FF2B5EF4-FFF2-40B4-BE49-F238E27FC236}">
                <a16:creationId xmlns:a16="http://schemas.microsoft.com/office/drawing/2014/main" id="{87BF9F6F-50D5-4A67-8713-68736DE8757B}"/>
              </a:ext>
            </a:extLst>
          </p:cNvPr>
          <p:cNvPicPr>
            <a:picLocks noChangeAspect="1"/>
          </p:cNvPicPr>
          <p:nvPr/>
        </p:nvPicPr>
        <p:blipFill>
          <a:blip r:embed="rId2"/>
          <a:stretch>
            <a:fillRect/>
          </a:stretch>
        </p:blipFill>
        <p:spPr>
          <a:xfrm>
            <a:off x="10439400" y="5995458"/>
            <a:ext cx="1514139" cy="595842"/>
          </a:xfrm>
          <a:prstGeom prst="rect">
            <a:avLst/>
          </a:prstGeom>
        </p:spPr>
      </p:pic>
      <p:pic>
        <p:nvPicPr>
          <p:cNvPr id="6" name="Picture 5">
            <a:extLst>
              <a:ext uri="{FF2B5EF4-FFF2-40B4-BE49-F238E27FC236}">
                <a16:creationId xmlns:a16="http://schemas.microsoft.com/office/drawing/2014/main" id="{56251896-BDD4-4027-8EE3-7EDA7FA536F2}"/>
              </a:ext>
            </a:extLst>
          </p:cNvPr>
          <p:cNvPicPr>
            <a:picLocks noChangeAspect="1"/>
          </p:cNvPicPr>
          <p:nvPr/>
        </p:nvPicPr>
        <p:blipFill>
          <a:blip r:embed="rId2"/>
          <a:stretch>
            <a:fillRect/>
          </a:stretch>
        </p:blipFill>
        <p:spPr>
          <a:xfrm>
            <a:off x="10439400" y="5995458"/>
            <a:ext cx="1514139" cy="595842"/>
          </a:xfrm>
          <a:prstGeom prst="rect">
            <a:avLst/>
          </a:prstGeom>
        </p:spPr>
      </p:pic>
    </p:spTree>
    <p:extLst>
      <p:ext uri="{BB962C8B-B14F-4D97-AF65-F5344CB8AC3E}">
        <p14:creationId xmlns:p14="http://schemas.microsoft.com/office/powerpoint/2010/main" val="53362133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Four Boxes_Gre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8671A-A135-408C-AC73-335D1F487A7B}"/>
              </a:ext>
            </a:extLst>
          </p:cNvPr>
          <p:cNvSpPr>
            <a:spLocks noGrp="1"/>
          </p:cNvSpPr>
          <p:nvPr>
            <p:ph type="title"/>
          </p:nvPr>
        </p:nvSpPr>
        <p:spPr/>
        <p:txBody>
          <a:bodyPr>
            <a:normAutofit/>
          </a:bodyPr>
          <a:lstStyle>
            <a:lvl1pPr>
              <a:defRPr sz="4400">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F0276EED-13B4-4043-A15D-727CB20013D0}"/>
              </a:ext>
            </a:extLst>
          </p:cNvPr>
          <p:cNvSpPr>
            <a:spLocks noGrp="1"/>
          </p:cNvSpPr>
          <p:nvPr>
            <p:ph type="sldNum" sz="quarter" idx="10"/>
          </p:nvPr>
        </p:nvSpPr>
        <p:spPr/>
        <p:txBody>
          <a:bodyPr/>
          <a:lstStyle/>
          <a:p>
            <a:fld id="{2351532B-CACF-6C4D-A445-B0C6B6CD419A}" type="slidenum">
              <a:rPr lang="en-US" smtClean="0"/>
              <a:t>‹#›</a:t>
            </a:fld>
            <a:endParaRPr lang="en-US"/>
          </a:p>
        </p:txBody>
      </p:sp>
      <p:sp>
        <p:nvSpPr>
          <p:cNvPr id="5" name="Content Placeholder 4">
            <a:extLst>
              <a:ext uri="{FF2B5EF4-FFF2-40B4-BE49-F238E27FC236}">
                <a16:creationId xmlns:a16="http://schemas.microsoft.com/office/drawing/2014/main" id="{5C8FC957-5E2E-4389-91AC-CC54DC0D1C23}"/>
              </a:ext>
            </a:extLst>
          </p:cNvPr>
          <p:cNvSpPr>
            <a:spLocks noGrp="1"/>
          </p:cNvSpPr>
          <p:nvPr>
            <p:ph sz="quarter" idx="11"/>
          </p:nvPr>
        </p:nvSpPr>
        <p:spPr>
          <a:xfrm>
            <a:off x="838200" y="2286000"/>
            <a:ext cx="2514600" cy="3581400"/>
          </a:xfrm>
          <a:solidFill>
            <a:srgbClr val="557E3C"/>
          </a:solidFill>
        </p:spPr>
        <p:txBody>
          <a:bodyPr lIns="182880" tIns="182880" rIns="182880"/>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4">
            <a:extLst>
              <a:ext uri="{FF2B5EF4-FFF2-40B4-BE49-F238E27FC236}">
                <a16:creationId xmlns:a16="http://schemas.microsoft.com/office/drawing/2014/main" id="{82D6F589-9A46-4CD9-B5A3-ED3A3FD5807E}"/>
              </a:ext>
            </a:extLst>
          </p:cNvPr>
          <p:cNvSpPr>
            <a:spLocks noGrp="1"/>
          </p:cNvSpPr>
          <p:nvPr>
            <p:ph sz="quarter" idx="12"/>
          </p:nvPr>
        </p:nvSpPr>
        <p:spPr>
          <a:xfrm>
            <a:off x="3505200" y="2287438"/>
            <a:ext cx="2514600" cy="3581400"/>
          </a:xfrm>
          <a:solidFill>
            <a:schemeClr val="bg2"/>
          </a:solidFill>
        </p:spPr>
        <p:txBody>
          <a:bodyPr lIns="182880" tIns="182880" rIns="182880"/>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7" name="Content Placeholder 4">
            <a:extLst>
              <a:ext uri="{FF2B5EF4-FFF2-40B4-BE49-F238E27FC236}">
                <a16:creationId xmlns:a16="http://schemas.microsoft.com/office/drawing/2014/main" id="{5DFE561B-C73B-44F1-96AB-E85B435B9B9D}"/>
              </a:ext>
            </a:extLst>
          </p:cNvPr>
          <p:cNvSpPr>
            <a:spLocks noGrp="1"/>
          </p:cNvSpPr>
          <p:nvPr>
            <p:ph sz="quarter" idx="13"/>
          </p:nvPr>
        </p:nvSpPr>
        <p:spPr>
          <a:xfrm>
            <a:off x="6172200" y="2287438"/>
            <a:ext cx="2514600" cy="3581400"/>
          </a:xfrm>
          <a:solidFill>
            <a:schemeClr val="accent5"/>
          </a:solidFill>
        </p:spPr>
        <p:txBody>
          <a:bodyPr lIns="182880" tIns="182880" rIns="182880"/>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4">
            <a:extLst>
              <a:ext uri="{FF2B5EF4-FFF2-40B4-BE49-F238E27FC236}">
                <a16:creationId xmlns:a16="http://schemas.microsoft.com/office/drawing/2014/main" id="{EBAC3B71-E65A-44A3-880E-A94C4BE7A70B}"/>
              </a:ext>
            </a:extLst>
          </p:cNvPr>
          <p:cNvSpPr>
            <a:spLocks noGrp="1"/>
          </p:cNvSpPr>
          <p:nvPr>
            <p:ph sz="quarter" idx="14"/>
          </p:nvPr>
        </p:nvSpPr>
        <p:spPr>
          <a:xfrm>
            <a:off x="8839200" y="2288876"/>
            <a:ext cx="2514600" cy="3581400"/>
          </a:xfrm>
          <a:solidFill>
            <a:schemeClr val="accent6"/>
          </a:solidFill>
        </p:spPr>
        <p:txBody>
          <a:bodyPr lIns="182880" tIns="182880" rIns="182880"/>
          <a:lstStyle>
            <a:lvl1pPr>
              <a:defRPr>
                <a:solidFill>
                  <a:srgbClr val="557E3C"/>
                </a:solidFill>
              </a:defRPr>
            </a:lvl1pPr>
            <a:lvl2pPr>
              <a:defRPr>
                <a:solidFill>
                  <a:srgbClr val="557E3C"/>
                </a:solidFill>
              </a:defRPr>
            </a:lvl2pPr>
            <a:lvl3pPr>
              <a:defRPr>
                <a:solidFill>
                  <a:srgbClr val="557E3C"/>
                </a:solidFill>
              </a:defRPr>
            </a:lvl3pPr>
          </a:lstStyle>
          <a:p>
            <a:pPr lvl="0"/>
            <a:r>
              <a:rPr lang="en-US"/>
              <a:t>Click to edit Master text styles</a:t>
            </a:r>
          </a:p>
          <a:p>
            <a:pPr lvl="1"/>
            <a:r>
              <a:rPr lang="en-US"/>
              <a:t>Second level</a:t>
            </a:r>
          </a:p>
          <a:p>
            <a:pPr lvl="2"/>
            <a:r>
              <a:rPr lang="en-US"/>
              <a:t>Third level</a:t>
            </a:r>
          </a:p>
        </p:txBody>
      </p:sp>
      <p:sp>
        <p:nvSpPr>
          <p:cNvPr id="9" name="Content Placeholder 4">
            <a:extLst>
              <a:ext uri="{FF2B5EF4-FFF2-40B4-BE49-F238E27FC236}">
                <a16:creationId xmlns:a16="http://schemas.microsoft.com/office/drawing/2014/main" id="{2D02E49E-D4F9-49A6-A378-BEAA61D7EA20}"/>
              </a:ext>
            </a:extLst>
          </p:cNvPr>
          <p:cNvSpPr>
            <a:spLocks noGrp="1"/>
          </p:cNvSpPr>
          <p:nvPr>
            <p:ph sz="quarter" idx="15" hasCustomPrompt="1"/>
          </p:nvPr>
        </p:nvSpPr>
        <p:spPr>
          <a:xfrm>
            <a:off x="838200" y="1905000"/>
            <a:ext cx="2514600" cy="457200"/>
          </a:xfrm>
          <a:noFill/>
        </p:spPr>
        <p:txBody>
          <a:bodyPr lIns="91440" tIns="91440" rIns="91440" anchor="b"/>
          <a:lstStyle>
            <a:lvl1pPr>
              <a:defRPr>
                <a:solidFill>
                  <a:srgbClr val="557E3C"/>
                </a:solidFill>
                <a:latin typeface="+mj-lt"/>
              </a:defRPr>
            </a:lvl1pPr>
            <a:lvl2pPr>
              <a:defRPr>
                <a:solidFill>
                  <a:schemeClr val="bg1"/>
                </a:solidFill>
              </a:defRPr>
            </a:lvl2pPr>
            <a:lvl3pPr>
              <a:defRPr>
                <a:solidFill>
                  <a:schemeClr val="bg1"/>
                </a:solidFill>
              </a:defRPr>
            </a:lvl3pPr>
          </a:lstStyle>
          <a:p>
            <a:pPr lvl="0"/>
            <a:r>
              <a:rPr lang="en-US"/>
              <a:t>Click to edit Text</a:t>
            </a:r>
          </a:p>
        </p:txBody>
      </p:sp>
      <p:sp>
        <p:nvSpPr>
          <p:cNvPr id="10" name="Content Placeholder 4">
            <a:extLst>
              <a:ext uri="{FF2B5EF4-FFF2-40B4-BE49-F238E27FC236}">
                <a16:creationId xmlns:a16="http://schemas.microsoft.com/office/drawing/2014/main" id="{D1881EC4-33FA-4D0E-AB0A-59BD095E8F00}"/>
              </a:ext>
            </a:extLst>
          </p:cNvPr>
          <p:cNvSpPr>
            <a:spLocks noGrp="1"/>
          </p:cNvSpPr>
          <p:nvPr>
            <p:ph sz="quarter" idx="16" hasCustomPrompt="1"/>
          </p:nvPr>
        </p:nvSpPr>
        <p:spPr>
          <a:xfrm>
            <a:off x="3505200" y="1905000"/>
            <a:ext cx="2514600" cy="457200"/>
          </a:xfrm>
          <a:noFill/>
        </p:spPr>
        <p:txBody>
          <a:bodyPr lIns="91440" tIns="91440" rIns="91440" anchor="b"/>
          <a:lstStyle>
            <a:lvl1pPr>
              <a:defRPr>
                <a:solidFill>
                  <a:schemeClr val="bg2"/>
                </a:solidFill>
                <a:latin typeface="+mj-lt"/>
              </a:defRPr>
            </a:lvl1pPr>
            <a:lvl2pPr>
              <a:defRPr>
                <a:solidFill>
                  <a:schemeClr val="bg1"/>
                </a:solidFill>
              </a:defRPr>
            </a:lvl2pPr>
            <a:lvl3pPr>
              <a:defRPr>
                <a:solidFill>
                  <a:schemeClr val="bg1"/>
                </a:solidFill>
              </a:defRPr>
            </a:lvl3pPr>
          </a:lstStyle>
          <a:p>
            <a:pPr lvl="0"/>
            <a:r>
              <a:rPr lang="en-US"/>
              <a:t>Click to edit Text</a:t>
            </a:r>
          </a:p>
        </p:txBody>
      </p:sp>
      <p:sp>
        <p:nvSpPr>
          <p:cNvPr id="11" name="Content Placeholder 4">
            <a:extLst>
              <a:ext uri="{FF2B5EF4-FFF2-40B4-BE49-F238E27FC236}">
                <a16:creationId xmlns:a16="http://schemas.microsoft.com/office/drawing/2014/main" id="{A07C833E-9519-499A-8A4D-0A08E8507A74}"/>
              </a:ext>
            </a:extLst>
          </p:cNvPr>
          <p:cNvSpPr>
            <a:spLocks noGrp="1"/>
          </p:cNvSpPr>
          <p:nvPr>
            <p:ph sz="quarter" idx="17" hasCustomPrompt="1"/>
          </p:nvPr>
        </p:nvSpPr>
        <p:spPr>
          <a:xfrm>
            <a:off x="6170428" y="1905000"/>
            <a:ext cx="2514600" cy="457200"/>
          </a:xfrm>
          <a:noFill/>
        </p:spPr>
        <p:txBody>
          <a:bodyPr lIns="91440" tIns="91440" rIns="91440" anchor="b"/>
          <a:lstStyle>
            <a:lvl1pPr>
              <a:defRPr>
                <a:solidFill>
                  <a:schemeClr val="accent5"/>
                </a:solidFill>
                <a:latin typeface="+mj-lt"/>
              </a:defRPr>
            </a:lvl1pPr>
            <a:lvl2pPr>
              <a:defRPr>
                <a:solidFill>
                  <a:schemeClr val="bg1"/>
                </a:solidFill>
              </a:defRPr>
            </a:lvl2pPr>
            <a:lvl3pPr>
              <a:defRPr>
                <a:solidFill>
                  <a:schemeClr val="bg1"/>
                </a:solidFill>
              </a:defRPr>
            </a:lvl3pPr>
          </a:lstStyle>
          <a:p>
            <a:pPr lvl="0"/>
            <a:r>
              <a:rPr lang="en-US"/>
              <a:t>Click to edit Text</a:t>
            </a:r>
          </a:p>
        </p:txBody>
      </p:sp>
      <p:sp>
        <p:nvSpPr>
          <p:cNvPr id="12" name="Content Placeholder 4">
            <a:extLst>
              <a:ext uri="{FF2B5EF4-FFF2-40B4-BE49-F238E27FC236}">
                <a16:creationId xmlns:a16="http://schemas.microsoft.com/office/drawing/2014/main" id="{35C79C62-7C34-499A-B691-2A853559516F}"/>
              </a:ext>
            </a:extLst>
          </p:cNvPr>
          <p:cNvSpPr>
            <a:spLocks noGrp="1"/>
          </p:cNvSpPr>
          <p:nvPr>
            <p:ph sz="quarter" idx="18" hasCustomPrompt="1"/>
          </p:nvPr>
        </p:nvSpPr>
        <p:spPr>
          <a:xfrm>
            <a:off x="8835656" y="1905000"/>
            <a:ext cx="2514600" cy="457200"/>
          </a:xfrm>
          <a:noFill/>
        </p:spPr>
        <p:txBody>
          <a:bodyPr lIns="91440" tIns="91440" rIns="91440" anchor="b"/>
          <a:lstStyle>
            <a:lvl1pPr>
              <a:defRPr>
                <a:solidFill>
                  <a:schemeClr val="bg2"/>
                </a:solidFill>
                <a:latin typeface="+mj-lt"/>
              </a:defRPr>
            </a:lvl1pPr>
            <a:lvl2pPr>
              <a:defRPr>
                <a:solidFill>
                  <a:schemeClr val="bg1"/>
                </a:solidFill>
              </a:defRPr>
            </a:lvl2pPr>
            <a:lvl3pPr>
              <a:defRPr>
                <a:solidFill>
                  <a:schemeClr val="bg1"/>
                </a:solidFill>
              </a:defRPr>
            </a:lvl3pPr>
          </a:lstStyle>
          <a:p>
            <a:pPr lvl="0"/>
            <a:r>
              <a:rPr lang="en-US"/>
              <a:t>Click to edit Text</a:t>
            </a:r>
          </a:p>
        </p:txBody>
      </p:sp>
    </p:spTree>
    <p:extLst>
      <p:ext uri="{BB962C8B-B14F-4D97-AF65-F5344CB8AC3E}">
        <p14:creationId xmlns:p14="http://schemas.microsoft.com/office/powerpoint/2010/main" val="678932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Four Boxes_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8671A-A135-408C-AC73-335D1F487A7B}"/>
              </a:ext>
            </a:extLst>
          </p:cNvPr>
          <p:cNvSpPr>
            <a:spLocks noGrp="1"/>
          </p:cNvSpPr>
          <p:nvPr>
            <p:ph type="title"/>
          </p:nvPr>
        </p:nvSpPr>
        <p:spPr/>
        <p:txBody>
          <a:bodyPr>
            <a:normAutofit/>
          </a:bodyPr>
          <a:lstStyle>
            <a:lvl1pPr>
              <a:defRPr sz="4400"/>
            </a:lvl1pPr>
          </a:lstStyle>
          <a:p>
            <a:r>
              <a:rPr lang="en-US"/>
              <a:t>Click to edit Master title style</a:t>
            </a:r>
          </a:p>
        </p:txBody>
      </p:sp>
      <p:sp>
        <p:nvSpPr>
          <p:cNvPr id="3" name="Slide Number Placeholder 2">
            <a:extLst>
              <a:ext uri="{FF2B5EF4-FFF2-40B4-BE49-F238E27FC236}">
                <a16:creationId xmlns:a16="http://schemas.microsoft.com/office/drawing/2014/main" id="{F0276EED-13B4-4043-A15D-727CB20013D0}"/>
              </a:ext>
            </a:extLst>
          </p:cNvPr>
          <p:cNvSpPr>
            <a:spLocks noGrp="1"/>
          </p:cNvSpPr>
          <p:nvPr>
            <p:ph type="sldNum" sz="quarter" idx="10"/>
          </p:nvPr>
        </p:nvSpPr>
        <p:spPr/>
        <p:txBody>
          <a:bodyPr/>
          <a:lstStyle/>
          <a:p>
            <a:fld id="{2351532B-CACF-6C4D-A445-B0C6B6CD419A}" type="slidenum">
              <a:rPr lang="en-US" smtClean="0"/>
              <a:t>‹#›</a:t>
            </a:fld>
            <a:endParaRPr lang="en-US"/>
          </a:p>
        </p:txBody>
      </p:sp>
      <p:sp>
        <p:nvSpPr>
          <p:cNvPr id="5" name="Content Placeholder 4">
            <a:extLst>
              <a:ext uri="{FF2B5EF4-FFF2-40B4-BE49-F238E27FC236}">
                <a16:creationId xmlns:a16="http://schemas.microsoft.com/office/drawing/2014/main" id="{5C8FC957-5E2E-4389-91AC-CC54DC0D1C23}"/>
              </a:ext>
            </a:extLst>
          </p:cNvPr>
          <p:cNvSpPr>
            <a:spLocks noGrp="1"/>
          </p:cNvSpPr>
          <p:nvPr>
            <p:ph sz="quarter" idx="11"/>
          </p:nvPr>
        </p:nvSpPr>
        <p:spPr>
          <a:xfrm>
            <a:off x="838200" y="2286000"/>
            <a:ext cx="2514600" cy="3581400"/>
          </a:xfrm>
          <a:solidFill>
            <a:srgbClr val="003A55"/>
          </a:solidFill>
        </p:spPr>
        <p:txBody>
          <a:bodyPr lIns="182880" tIns="182880" rIns="182880"/>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4">
            <a:extLst>
              <a:ext uri="{FF2B5EF4-FFF2-40B4-BE49-F238E27FC236}">
                <a16:creationId xmlns:a16="http://schemas.microsoft.com/office/drawing/2014/main" id="{82D6F589-9A46-4CD9-B5A3-ED3A3FD5807E}"/>
              </a:ext>
            </a:extLst>
          </p:cNvPr>
          <p:cNvSpPr>
            <a:spLocks noGrp="1"/>
          </p:cNvSpPr>
          <p:nvPr>
            <p:ph sz="quarter" idx="12"/>
          </p:nvPr>
        </p:nvSpPr>
        <p:spPr>
          <a:xfrm>
            <a:off x="3505200" y="2287438"/>
            <a:ext cx="2514600" cy="3581400"/>
          </a:xfrm>
          <a:solidFill>
            <a:schemeClr val="tx2"/>
          </a:solidFill>
        </p:spPr>
        <p:txBody>
          <a:bodyPr lIns="182880" tIns="182880" rIns="182880"/>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7" name="Content Placeholder 4">
            <a:extLst>
              <a:ext uri="{FF2B5EF4-FFF2-40B4-BE49-F238E27FC236}">
                <a16:creationId xmlns:a16="http://schemas.microsoft.com/office/drawing/2014/main" id="{5DFE561B-C73B-44F1-96AB-E85B435B9B9D}"/>
              </a:ext>
            </a:extLst>
          </p:cNvPr>
          <p:cNvSpPr>
            <a:spLocks noGrp="1"/>
          </p:cNvSpPr>
          <p:nvPr>
            <p:ph sz="quarter" idx="13"/>
          </p:nvPr>
        </p:nvSpPr>
        <p:spPr>
          <a:xfrm>
            <a:off x="6172200" y="2287438"/>
            <a:ext cx="2514600" cy="3581400"/>
          </a:xfrm>
          <a:solidFill>
            <a:schemeClr val="accent1"/>
          </a:solidFill>
        </p:spPr>
        <p:txBody>
          <a:bodyPr lIns="182880" tIns="182880" rIns="182880"/>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4">
            <a:extLst>
              <a:ext uri="{FF2B5EF4-FFF2-40B4-BE49-F238E27FC236}">
                <a16:creationId xmlns:a16="http://schemas.microsoft.com/office/drawing/2014/main" id="{EBAC3B71-E65A-44A3-880E-A94C4BE7A70B}"/>
              </a:ext>
            </a:extLst>
          </p:cNvPr>
          <p:cNvSpPr>
            <a:spLocks noGrp="1"/>
          </p:cNvSpPr>
          <p:nvPr>
            <p:ph sz="quarter" idx="14"/>
          </p:nvPr>
        </p:nvSpPr>
        <p:spPr>
          <a:xfrm>
            <a:off x="8839200" y="2288876"/>
            <a:ext cx="2514600" cy="3581400"/>
          </a:xfrm>
          <a:solidFill>
            <a:schemeClr val="accent2"/>
          </a:solidFill>
        </p:spPr>
        <p:txBody>
          <a:bodyPr lIns="182880" tIns="182880" rIns="182880"/>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Content Placeholder 4">
            <a:extLst>
              <a:ext uri="{FF2B5EF4-FFF2-40B4-BE49-F238E27FC236}">
                <a16:creationId xmlns:a16="http://schemas.microsoft.com/office/drawing/2014/main" id="{870BEE88-F138-4A7C-883F-2BAA823938B1}"/>
              </a:ext>
            </a:extLst>
          </p:cNvPr>
          <p:cNvSpPr>
            <a:spLocks noGrp="1"/>
          </p:cNvSpPr>
          <p:nvPr>
            <p:ph sz="quarter" idx="15" hasCustomPrompt="1"/>
          </p:nvPr>
        </p:nvSpPr>
        <p:spPr>
          <a:xfrm>
            <a:off x="838200" y="1905000"/>
            <a:ext cx="2514600" cy="457200"/>
          </a:xfrm>
          <a:noFill/>
        </p:spPr>
        <p:txBody>
          <a:bodyPr lIns="91440" tIns="91440" rIns="91440" anchor="b"/>
          <a:lstStyle>
            <a:lvl1pPr>
              <a:defRPr>
                <a:solidFill>
                  <a:srgbClr val="003A55"/>
                </a:solidFill>
                <a:latin typeface="+mj-lt"/>
              </a:defRPr>
            </a:lvl1pPr>
            <a:lvl2pPr>
              <a:defRPr>
                <a:solidFill>
                  <a:schemeClr val="bg1"/>
                </a:solidFill>
              </a:defRPr>
            </a:lvl2pPr>
            <a:lvl3pPr>
              <a:defRPr>
                <a:solidFill>
                  <a:schemeClr val="bg1"/>
                </a:solidFill>
              </a:defRPr>
            </a:lvl3pPr>
          </a:lstStyle>
          <a:p>
            <a:pPr lvl="0"/>
            <a:r>
              <a:rPr lang="en-US"/>
              <a:t>Click to edit Text</a:t>
            </a:r>
          </a:p>
        </p:txBody>
      </p:sp>
      <p:sp>
        <p:nvSpPr>
          <p:cNvPr id="10" name="Content Placeholder 4">
            <a:extLst>
              <a:ext uri="{FF2B5EF4-FFF2-40B4-BE49-F238E27FC236}">
                <a16:creationId xmlns:a16="http://schemas.microsoft.com/office/drawing/2014/main" id="{B328707B-654C-4BFE-BF1F-A3C84938474C}"/>
              </a:ext>
            </a:extLst>
          </p:cNvPr>
          <p:cNvSpPr>
            <a:spLocks noGrp="1"/>
          </p:cNvSpPr>
          <p:nvPr>
            <p:ph sz="quarter" idx="16" hasCustomPrompt="1"/>
          </p:nvPr>
        </p:nvSpPr>
        <p:spPr>
          <a:xfrm>
            <a:off x="3505200" y="1905000"/>
            <a:ext cx="2514600" cy="457200"/>
          </a:xfrm>
          <a:noFill/>
        </p:spPr>
        <p:txBody>
          <a:bodyPr lIns="91440" tIns="91440" rIns="91440" anchor="b"/>
          <a:lstStyle>
            <a:lvl1pPr>
              <a:defRPr>
                <a:solidFill>
                  <a:schemeClr val="tx2"/>
                </a:solidFill>
                <a:latin typeface="+mj-lt"/>
              </a:defRPr>
            </a:lvl1pPr>
            <a:lvl2pPr>
              <a:defRPr>
                <a:solidFill>
                  <a:schemeClr val="bg1"/>
                </a:solidFill>
              </a:defRPr>
            </a:lvl2pPr>
            <a:lvl3pPr>
              <a:defRPr>
                <a:solidFill>
                  <a:schemeClr val="bg1"/>
                </a:solidFill>
              </a:defRPr>
            </a:lvl3pPr>
          </a:lstStyle>
          <a:p>
            <a:pPr lvl="0"/>
            <a:r>
              <a:rPr lang="en-US"/>
              <a:t>Click to edit Text</a:t>
            </a:r>
          </a:p>
        </p:txBody>
      </p:sp>
      <p:sp>
        <p:nvSpPr>
          <p:cNvPr id="11" name="Content Placeholder 4">
            <a:extLst>
              <a:ext uri="{FF2B5EF4-FFF2-40B4-BE49-F238E27FC236}">
                <a16:creationId xmlns:a16="http://schemas.microsoft.com/office/drawing/2014/main" id="{B5C69759-E80C-4B7A-BCD1-C6D72F19A9A4}"/>
              </a:ext>
            </a:extLst>
          </p:cNvPr>
          <p:cNvSpPr>
            <a:spLocks noGrp="1"/>
          </p:cNvSpPr>
          <p:nvPr>
            <p:ph sz="quarter" idx="17" hasCustomPrompt="1"/>
          </p:nvPr>
        </p:nvSpPr>
        <p:spPr>
          <a:xfrm>
            <a:off x="6170428" y="1905000"/>
            <a:ext cx="2514600" cy="457200"/>
          </a:xfrm>
          <a:noFill/>
        </p:spPr>
        <p:txBody>
          <a:bodyPr lIns="91440" tIns="91440" rIns="91440" anchor="b"/>
          <a:lstStyle>
            <a:lvl1pPr>
              <a:defRPr>
                <a:solidFill>
                  <a:schemeClr val="accent1"/>
                </a:solidFill>
                <a:latin typeface="+mj-lt"/>
              </a:defRPr>
            </a:lvl1pPr>
            <a:lvl2pPr>
              <a:defRPr>
                <a:solidFill>
                  <a:schemeClr val="bg1"/>
                </a:solidFill>
              </a:defRPr>
            </a:lvl2pPr>
            <a:lvl3pPr>
              <a:defRPr>
                <a:solidFill>
                  <a:schemeClr val="bg1"/>
                </a:solidFill>
              </a:defRPr>
            </a:lvl3pPr>
          </a:lstStyle>
          <a:p>
            <a:pPr lvl="0"/>
            <a:r>
              <a:rPr lang="en-US"/>
              <a:t>Click to edit Text</a:t>
            </a:r>
          </a:p>
        </p:txBody>
      </p:sp>
      <p:sp>
        <p:nvSpPr>
          <p:cNvPr id="12" name="Content Placeholder 4">
            <a:extLst>
              <a:ext uri="{FF2B5EF4-FFF2-40B4-BE49-F238E27FC236}">
                <a16:creationId xmlns:a16="http://schemas.microsoft.com/office/drawing/2014/main" id="{4CB1FFE0-4C3A-4FE3-9EA5-DA3C05B6727A}"/>
              </a:ext>
            </a:extLst>
          </p:cNvPr>
          <p:cNvSpPr>
            <a:spLocks noGrp="1"/>
          </p:cNvSpPr>
          <p:nvPr>
            <p:ph sz="quarter" idx="18" hasCustomPrompt="1"/>
          </p:nvPr>
        </p:nvSpPr>
        <p:spPr>
          <a:xfrm>
            <a:off x="8835656" y="1905000"/>
            <a:ext cx="2514600" cy="457200"/>
          </a:xfrm>
          <a:noFill/>
        </p:spPr>
        <p:txBody>
          <a:bodyPr lIns="91440" tIns="91440" rIns="91440" anchor="b"/>
          <a:lstStyle>
            <a:lvl1pPr>
              <a:defRPr>
                <a:solidFill>
                  <a:schemeClr val="accent2"/>
                </a:solidFill>
                <a:latin typeface="+mj-lt"/>
              </a:defRPr>
            </a:lvl1pPr>
            <a:lvl2pPr>
              <a:defRPr>
                <a:solidFill>
                  <a:schemeClr val="bg1"/>
                </a:solidFill>
              </a:defRPr>
            </a:lvl2pPr>
            <a:lvl3pPr>
              <a:defRPr>
                <a:solidFill>
                  <a:schemeClr val="bg1"/>
                </a:solidFill>
              </a:defRPr>
            </a:lvl3pPr>
          </a:lstStyle>
          <a:p>
            <a:pPr lvl="0"/>
            <a:r>
              <a:rPr lang="en-US"/>
              <a:t>Click to edit Text</a:t>
            </a:r>
          </a:p>
        </p:txBody>
      </p:sp>
    </p:spTree>
    <p:extLst>
      <p:ext uri="{BB962C8B-B14F-4D97-AF65-F5344CB8AC3E}">
        <p14:creationId xmlns:p14="http://schemas.microsoft.com/office/powerpoint/2010/main" val="29392298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Divider_Image_Blu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D516355F-EBB9-4B82-81BF-583AC68C9760}"/>
              </a:ext>
            </a:extLst>
          </p:cNvPr>
          <p:cNvSpPr>
            <a:spLocks noGrp="1"/>
          </p:cNvSpPr>
          <p:nvPr>
            <p:ph type="pic" sz="quarter" idx="14"/>
          </p:nvPr>
        </p:nvSpPr>
        <p:spPr>
          <a:xfrm>
            <a:off x="6096000" y="0"/>
            <a:ext cx="6096000" cy="6858000"/>
          </a:xfrm>
        </p:spPr>
        <p:txBody>
          <a:bodyPr/>
          <a:lstStyle/>
          <a:p>
            <a:r>
              <a:rPr lang="en-US"/>
              <a:t>Click icon to add picture</a:t>
            </a:r>
          </a:p>
        </p:txBody>
      </p:sp>
      <p:sp>
        <p:nvSpPr>
          <p:cNvPr id="8" name="Rectangle 7">
            <a:extLst>
              <a:ext uri="{FF2B5EF4-FFF2-40B4-BE49-F238E27FC236}">
                <a16:creationId xmlns:a16="http://schemas.microsoft.com/office/drawing/2014/main" id="{FC6D5641-B741-49E8-8EFF-4DB7B7E19B9F}"/>
              </a:ext>
            </a:extLst>
          </p:cNvPr>
          <p:cNvSpPr/>
          <p:nvPr/>
        </p:nvSpPr>
        <p:spPr>
          <a:xfrm>
            <a:off x="0" y="-7374"/>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EE73C53C-F54B-4F0B-9E63-B397CE5F682F}"/>
              </a:ext>
            </a:extLst>
          </p:cNvPr>
          <p:cNvSpPr>
            <a:spLocks noGrp="1"/>
          </p:cNvSpPr>
          <p:nvPr>
            <p:ph type="body" sz="quarter" idx="13" hasCustomPrompt="1"/>
          </p:nvPr>
        </p:nvSpPr>
        <p:spPr>
          <a:xfrm>
            <a:off x="445690" y="584200"/>
            <a:ext cx="5204619" cy="3781425"/>
          </a:xfrm>
        </p:spPr>
        <p:txBody>
          <a:bodyPr>
            <a:normAutofit/>
          </a:bodyPr>
          <a:lstStyle>
            <a:lvl1pPr>
              <a:defRPr sz="45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opic title or </a:t>
            </a:r>
            <a:r>
              <a:rPr lang="en-US" err="1"/>
              <a:t>subheader</a:t>
            </a:r>
            <a:endParaRPr lang="en-US"/>
          </a:p>
        </p:txBody>
      </p:sp>
      <p:pic>
        <p:nvPicPr>
          <p:cNvPr id="13" name="Picture 12">
            <a:extLst>
              <a:ext uri="{FF2B5EF4-FFF2-40B4-BE49-F238E27FC236}">
                <a16:creationId xmlns:a16="http://schemas.microsoft.com/office/drawing/2014/main" id="{08BFA284-361C-4932-87AA-3A694945D886}"/>
              </a:ext>
            </a:extLst>
          </p:cNvPr>
          <p:cNvPicPr>
            <a:picLocks noChangeAspect="1"/>
          </p:cNvPicPr>
          <p:nvPr/>
        </p:nvPicPr>
        <p:blipFill>
          <a:blip r:embed="rId2"/>
          <a:stretch>
            <a:fillRect/>
          </a:stretch>
        </p:blipFill>
        <p:spPr>
          <a:xfrm>
            <a:off x="445690" y="5943072"/>
            <a:ext cx="1514139" cy="595842"/>
          </a:xfrm>
          <a:prstGeom prst="rect">
            <a:avLst/>
          </a:prstGeom>
        </p:spPr>
      </p:pic>
      <p:pic>
        <p:nvPicPr>
          <p:cNvPr id="6" name="Picture 5">
            <a:extLst>
              <a:ext uri="{FF2B5EF4-FFF2-40B4-BE49-F238E27FC236}">
                <a16:creationId xmlns:a16="http://schemas.microsoft.com/office/drawing/2014/main" id="{D0D8F451-F926-49EE-AA4B-5997CD6102F8}"/>
              </a:ext>
            </a:extLst>
          </p:cNvPr>
          <p:cNvPicPr>
            <a:picLocks noChangeAspect="1"/>
          </p:cNvPicPr>
          <p:nvPr/>
        </p:nvPicPr>
        <p:blipFill>
          <a:blip r:embed="rId2"/>
          <a:stretch>
            <a:fillRect/>
          </a:stretch>
        </p:blipFill>
        <p:spPr>
          <a:xfrm>
            <a:off x="445690" y="5943072"/>
            <a:ext cx="1514139" cy="595842"/>
          </a:xfrm>
          <a:prstGeom prst="rect">
            <a:avLst/>
          </a:prstGeom>
        </p:spPr>
      </p:pic>
    </p:spTree>
    <p:extLst>
      <p:ext uri="{BB962C8B-B14F-4D97-AF65-F5344CB8AC3E}">
        <p14:creationId xmlns:p14="http://schemas.microsoft.com/office/powerpoint/2010/main" val="302129050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2301923" y="1122363"/>
            <a:ext cx="7588155" cy="2621154"/>
          </a:xfrm>
        </p:spPr>
        <p:txBody>
          <a:bodyPr anchor="b">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2301923" y="3843708"/>
            <a:ext cx="7588155" cy="1414091"/>
          </a:xfrm>
        </p:spPr>
        <p:txBody>
          <a:bodyPr>
            <a:norm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p>
            <a:fld id="{CC057153-B650-4DEB-B370-79DDCFDCE934}" type="slidenum">
              <a:rPr lang="en-US" smtClean="0"/>
              <a:t>‹#›</a:t>
            </a:fld>
            <a:endParaRPr lang="en-US"/>
          </a:p>
        </p:txBody>
      </p:sp>
    </p:spTree>
    <p:extLst>
      <p:ext uri="{BB962C8B-B14F-4D97-AF65-F5344CB8AC3E}">
        <p14:creationId xmlns:p14="http://schemas.microsoft.com/office/powerpoint/2010/main" val="28575906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2DD052-3E45-E789-01F8-33250024ECB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a:p>
        </p:txBody>
      </p:sp>
    </p:spTree>
    <p:extLst>
      <p:ext uri="{BB962C8B-B14F-4D97-AF65-F5344CB8AC3E}">
        <p14:creationId xmlns:p14="http://schemas.microsoft.com/office/powerpoint/2010/main" val="285644647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Left Text + Image">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4A933A74-89AC-002F-DA44-325187D0F68E}"/>
              </a:ext>
            </a:extLst>
          </p:cNvPr>
          <p:cNvSpPr>
            <a:spLocks noGrp="1"/>
          </p:cNvSpPr>
          <p:nvPr>
            <p:ph type="pic" sz="quarter" idx="10"/>
          </p:nvPr>
        </p:nvSpPr>
        <p:spPr>
          <a:xfrm>
            <a:off x="7934324" y="0"/>
            <a:ext cx="4257675" cy="6858000"/>
          </a:xfrm>
          <a:prstGeom prst="rect">
            <a:avLst/>
          </a:prstGeom>
          <a:solidFill>
            <a:schemeClr val="bg2"/>
          </a:solidFill>
        </p:spPr>
        <p:txBody>
          <a:bodyPr anchor="ctr"/>
          <a:lstStyle>
            <a:lvl1pPr marL="0" indent="0" algn="ctr">
              <a:buNone/>
              <a:defRPr sz="1800">
                <a:solidFill>
                  <a:schemeClr val="tx2">
                    <a:lumMod val="20000"/>
                    <a:lumOff val="80000"/>
                  </a:schemeClr>
                </a:solidFill>
              </a:defRPr>
            </a:lvl1pPr>
          </a:lstStyle>
          <a:p>
            <a:endParaRPr lang="en-US"/>
          </a:p>
        </p:txBody>
      </p:sp>
      <p:sp>
        <p:nvSpPr>
          <p:cNvPr id="8" name="Slide Number Placeholder 5">
            <a:extLst>
              <a:ext uri="{FF2B5EF4-FFF2-40B4-BE49-F238E27FC236}">
                <a16:creationId xmlns:a16="http://schemas.microsoft.com/office/drawing/2014/main" id="{C4612B0D-CBA9-7BE5-4773-E5AFEC7BCB36}"/>
              </a:ext>
            </a:extLst>
          </p:cNvPr>
          <p:cNvSpPr>
            <a:spLocks noGrp="1"/>
          </p:cNvSpPr>
          <p:nvPr>
            <p:ph type="sldNum" sz="quarter" idx="12"/>
          </p:nvPr>
        </p:nvSpPr>
        <p:spPr>
          <a:xfrm>
            <a:off x="10677525" y="6329544"/>
            <a:ext cx="904875" cy="365125"/>
          </a:xfrm>
          <a:prstGeom prst="rect">
            <a:avLst/>
          </a:prstGeom>
        </p:spPr>
        <p:txBody>
          <a:bodyPr lIns="0" tIns="0" rIns="0" bIns="0" anchor="ctr"/>
          <a:lstStyle>
            <a:lvl1pPr algn="r">
              <a:defRPr sz="900">
                <a:solidFill>
                  <a:srgbClr val="54565A"/>
                </a:solidFill>
              </a:defRPr>
            </a:lvl1pPr>
          </a:lstStyle>
          <a:p>
            <a:fld id="{D2DBED22-070C-4701-87FB-D5DC65302CDC}" type="slidenum">
              <a:rPr lang="en-US" smtClean="0"/>
              <a:pPr/>
              <a:t>‹#›</a:t>
            </a:fld>
            <a:endParaRPr lang="en-US"/>
          </a:p>
        </p:txBody>
      </p:sp>
      <p:sp>
        <p:nvSpPr>
          <p:cNvPr id="9" name="Rectangle 8">
            <a:extLst>
              <a:ext uri="{FF2B5EF4-FFF2-40B4-BE49-F238E27FC236}">
                <a16:creationId xmlns:a16="http://schemas.microsoft.com/office/drawing/2014/main" id="{4793C773-DA9F-07EB-07F7-257903402E27}"/>
              </a:ext>
            </a:extLst>
          </p:cNvPr>
          <p:cNvSpPr/>
          <p:nvPr userDrawn="1"/>
        </p:nvSpPr>
        <p:spPr>
          <a:xfrm>
            <a:off x="609600" y="0"/>
            <a:ext cx="504825"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BEB9EFD9-90D6-BEE4-EBBE-F24676D6AEC0}"/>
              </a:ext>
            </a:extLst>
          </p:cNvPr>
          <p:cNvSpPr>
            <a:spLocks noGrp="1"/>
          </p:cNvSpPr>
          <p:nvPr>
            <p:ph type="title" hasCustomPrompt="1"/>
          </p:nvPr>
        </p:nvSpPr>
        <p:spPr>
          <a:xfrm>
            <a:off x="609598" y="685800"/>
            <a:ext cx="6953251" cy="533399"/>
          </a:xfrm>
          <a:prstGeom prst="rect">
            <a:avLst/>
          </a:prstGeom>
        </p:spPr>
        <p:txBody>
          <a:bodyPr lIns="0" tIns="0" rIns="0" bIns="0" anchor="t"/>
          <a:lstStyle>
            <a:lvl1pPr>
              <a:lnSpc>
                <a:spcPct val="100000"/>
              </a:lnSpc>
              <a:defRPr sz="2800" b="1">
                <a:solidFill>
                  <a:schemeClr val="accent2"/>
                </a:solidFill>
              </a:defRPr>
            </a:lvl1pPr>
          </a:lstStyle>
          <a:p>
            <a:r>
              <a:rPr lang="en-US"/>
              <a:t>CLICK TO EDIT MASTER TITLE STYLE</a:t>
            </a:r>
          </a:p>
        </p:txBody>
      </p:sp>
      <p:sp>
        <p:nvSpPr>
          <p:cNvPr id="12" name="Text Placeholder 11">
            <a:extLst>
              <a:ext uri="{FF2B5EF4-FFF2-40B4-BE49-F238E27FC236}">
                <a16:creationId xmlns:a16="http://schemas.microsoft.com/office/drawing/2014/main" id="{29F920D7-2F19-C63A-7BB3-8526E49D73C4}"/>
              </a:ext>
            </a:extLst>
          </p:cNvPr>
          <p:cNvSpPr>
            <a:spLocks noGrp="1"/>
          </p:cNvSpPr>
          <p:nvPr>
            <p:ph type="body" sz="quarter" idx="13"/>
          </p:nvPr>
        </p:nvSpPr>
        <p:spPr>
          <a:xfrm>
            <a:off x="609600" y="1400175"/>
            <a:ext cx="6953250" cy="4772025"/>
          </a:xfrm>
          <a:prstGeom prst="rect">
            <a:avLst/>
          </a:prstGeom>
          <a:ln>
            <a:noFill/>
          </a:ln>
        </p:spPr>
        <p:txBody>
          <a:bodyPr lIns="0" tIns="0" rIns="0" bIns="0"/>
          <a:lstStyle>
            <a:lvl1pPr marL="0" indent="0">
              <a:buNone/>
              <a:defRPr sz="1600"/>
            </a:lvl1pPr>
            <a:lvl2pPr>
              <a:defRPr sz="1600"/>
            </a:lvl2pPr>
            <a:lvl3pPr>
              <a:defRPr sz="1600"/>
            </a:lvl3pPr>
            <a:lvl4pPr>
              <a:defRPr sz="1600"/>
            </a:lvl4pPr>
            <a:lvl5pPr>
              <a:defRPr sz="1600"/>
            </a:lvl5pPr>
          </a:lstStyle>
          <a:p>
            <a:pPr lvl="0"/>
            <a:r>
              <a:rPr lang="en-US"/>
              <a:t>Click to edit Master text styles</a:t>
            </a:r>
          </a:p>
        </p:txBody>
      </p:sp>
      <p:pic>
        <p:nvPicPr>
          <p:cNvPr id="2" name="Picture 1" descr="A black background with white text&#10;&#10;AI-generated content may be incorrect.">
            <a:extLst>
              <a:ext uri="{FF2B5EF4-FFF2-40B4-BE49-F238E27FC236}">
                <a16:creationId xmlns:a16="http://schemas.microsoft.com/office/drawing/2014/main" id="{63721C34-0E97-5218-8513-3868E8EF73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9596" y="6328619"/>
            <a:ext cx="1197939" cy="220710"/>
          </a:xfrm>
          <a:prstGeom prst="rect">
            <a:avLst/>
          </a:prstGeom>
        </p:spPr>
      </p:pic>
    </p:spTree>
    <p:extLst>
      <p:ext uri="{BB962C8B-B14F-4D97-AF65-F5344CB8AC3E}">
        <p14:creationId xmlns:p14="http://schemas.microsoft.com/office/powerpoint/2010/main" val="21516687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793C773-DA9F-07EB-07F7-257903402E27}"/>
              </a:ext>
            </a:extLst>
          </p:cNvPr>
          <p:cNvSpPr/>
          <p:nvPr userDrawn="1"/>
        </p:nvSpPr>
        <p:spPr>
          <a:xfrm>
            <a:off x="609600" y="0"/>
            <a:ext cx="504825"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BEB9EFD9-90D6-BEE4-EBBE-F24676D6AEC0}"/>
              </a:ext>
            </a:extLst>
          </p:cNvPr>
          <p:cNvSpPr>
            <a:spLocks noGrp="1"/>
          </p:cNvSpPr>
          <p:nvPr>
            <p:ph type="title" hasCustomPrompt="1"/>
          </p:nvPr>
        </p:nvSpPr>
        <p:spPr>
          <a:xfrm>
            <a:off x="609598" y="685800"/>
            <a:ext cx="10972802" cy="533399"/>
          </a:xfrm>
          <a:prstGeom prst="rect">
            <a:avLst/>
          </a:prstGeom>
        </p:spPr>
        <p:txBody>
          <a:bodyPr lIns="0" tIns="0" rIns="0" bIns="0" anchor="t"/>
          <a:lstStyle>
            <a:lvl1pPr>
              <a:lnSpc>
                <a:spcPct val="100000"/>
              </a:lnSpc>
              <a:defRPr sz="2800" b="1">
                <a:solidFill>
                  <a:schemeClr val="accent2"/>
                </a:solidFill>
              </a:defRPr>
            </a:lvl1pPr>
          </a:lstStyle>
          <a:p>
            <a:r>
              <a:rPr lang="en-US"/>
              <a:t>CLICK TO EDIT MASTER TITLE STYLE</a:t>
            </a:r>
          </a:p>
        </p:txBody>
      </p:sp>
      <p:sp>
        <p:nvSpPr>
          <p:cNvPr id="12" name="Text Placeholder 11">
            <a:extLst>
              <a:ext uri="{FF2B5EF4-FFF2-40B4-BE49-F238E27FC236}">
                <a16:creationId xmlns:a16="http://schemas.microsoft.com/office/drawing/2014/main" id="{29F920D7-2F19-C63A-7BB3-8526E49D73C4}"/>
              </a:ext>
            </a:extLst>
          </p:cNvPr>
          <p:cNvSpPr>
            <a:spLocks noGrp="1"/>
          </p:cNvSpPr>
          <p:nvPr>
            <p:ph type="body" sz="quarter" idx="13"/>
          </p:nvPr>
        </p:nvSpPr>
        <p:spPr>
          <a:xfrm>
            <a:off x="609600" y="1400175"/>
            <a:ext cx="10972800" cy="4772025"/>
          </a:xfrm>
          <a:prstGeom prst="rect">
            <a:avLst/>
          </a:prstGeom>
          <a:ln>
            <a:noFill/>
          </a:ln>
        </p:spPr>
        <p:txBody>
          <a:bodyPr lIns="0" tIns="0" rIns="0" bIns="0"/>
          <a:lstStyle>
            <a:lvl1pPr marL="0" indent="0">
              <a:buNone/>
              <a:defRPr sz="1600"/>
            </a:lvl1pPr>
            <a:lvl2pPr>
              <a:defRPr sz="1600"/>
            </a:lvl2pPr>
            <a:lvl3pPr>
              <a:defRPr sz="1600"/>
            </a:lvl3pPr>
            <a:lvl4pPr>
              <a:defRPr sz="1600"/>
            </a:lvl4pPr>
            <a:lvl5pPr>
              <a:defRPr sz="1600"/>
            </a:lvl5pPr>
          </a:lstStyle>
          <a:p>
            <a:pPr lvl="0"/>
            <a:r>
              <a:rPr lang="en-US"/>
              <a:t>Click to edit Master text styles</a:t>
            </a:r>
          </a:p>
        </p:txBody>
      </p:sp>
      <p:sp>
        <p:nvSpPr>
          <p:cNvPr id="2" name="Slide Number Placeholder 5">
            <a:extLst>
              <a:ext uri="{FF2B5EF4-FFF2-40B4-BE49-F238E27FC236}">
                <a16:creationId xmlns:a16="http://schemas.microsoft.com/office/drawing/2014/main" id="{A9F42ABE-0BD6-8E90-5654-819EBA673092}"/>
              </a:ext>
            </a:extLst>
          </p:cNvPr>
          <p:cNvSpPr>
            <a:spLocks noGrp="1"/>
          </p:cNvSpPr>
          <p:nvPr>
            <p:ph type="sldNum" sz="quarter" idx="12"/>
          </p:nvPr>
        </p:nvSpPr>
        <p:spPr>
          <a:xfrm>
            <a:off x="10677525" y="6329544"/>
            <a:ext cx="904875" cy="365125"/>
          </a:xfrm>
          <a:prstGeom prst="rect">
            <a:avLst/>
          </a:prstGeom>
        </p:spPr>
        <p:txBody>
          <a:bodyPr lIns="0" tIns="0" rIns="0" bIns="0" anchor="ctr"/>
          <a:lstStyle>
            <a:lvl1pPr algn="r">
              <a:defRPr sz="900">
                <a:solidFill>
                  <a:srgbClr val="54565A"/>
                </a:solidFill>
              </a:defRPr>
            </a:lvl1pPr>
          </a:lstStyle>
          <a:p>
            <a:fld id="{D2DBED22-070C-4701-87FB-D5DC65302CDC}" type="slidenum">
              <a:rPr lang="en-US" smtClean="0"/>
              <a:pPr/>
              <a:t>‹#›</a:t>
            </a:fld>
            <a:endParaRPr lang="en-US"/>
          </a:p>
        </p:txBody>
      </p:sp>
      <p:pic>
        <p:nvPicPr>
          <p:cNvPr id="3" name="Graphic 2">
            <a:extLst>
              <a:ext uri="{FF2B5EF4-FFF2-40B4-BE49-F238E27FC236}">
                <a16:creationId xmlns:a16="http://schemas.microsoft.com/office/drawing/2014/main" id="{3F33FD9B-D768-7DBC-4252-2598AF1729E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1728580" y="116633"/>
            <a:ext cx="357673" cy="357673"/>
          </a:xfrm>
          <a:prstGeom prst="rect">
            <a:avLst/>
          </a:prstGeom>
        </p:spPr>
      </p:pic>
      <p:pic>
        <p:nvPicPr>
          <p:cNvPr id="4" name="Picture 3" descr="A black background with white text&#10;&#10;AI-generated content may be incorrect.">
            <a:extLst>
              <a:ext uri="{FF2B5EF4-FFF2-40B4-BE49-F238E27FC236}">
                <a16:creationId xmlns:a16="http://schemas.microsoft.com/office/drawing/2014/main" id="{BD646777-37EB-7286-2DD1-A21A59C7B40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9596" y="6328619"/>
            <a:ext cx="1197939" cy="220710"/>
          </a:xfrm>
          <a:prstGeom prst="rect">
            <a:avLst/>
          </a:prstGeom>
        </p:spPr>
      </p:pic>
    </p:spTree>
    <p:extLst>
      <p:ext uri="{BB962C8B-B14F-4D97-AF65-F5344CB8AC3E}">
        <p14:creationId xmlns:p14="http://schemas.microsoft.com/office/powerpoint/2010/main" val="214731321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hree Columns + Imag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33008A2C-3815-FBD2-31A1-177BAB388802}"/>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609600" y="6293587"/>
            <a:ext cx="373913" cy="373913"/>
          </a:xfrm>
          <a:prstGeom prst="rect">
            <a:avLst/>
          </a:prstGeom>
        </p:spPr>
      </p:pic>
      <p:sp>
        <p:nvSpPr>
          <p:cNvPr id="9" name="Rectangle 8">
            <a:extLst>
              <a:ext uri="{FF2B5EF4-FFF2-40B4-BE49-F238E27FC236}">
                <a16:creationId xmlns:a16="http://schemas.microsoft.com/office/drawing/2014/main" id="{4793C773-DA9F-07EB-07F7-257903402E27}"/>
              </a:ext>
            </a:extLst>
          </p:cNvPr>
          <p:cNvSpPr/>
          <p:nvPr userDrawn="1"/>
        </p:nvSpPr>
        <p:spPr>
          <a:xfrm>
            <a:off x="609600" y="0"/>
            <a:ext cx="504825"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BEB9EFD9-90D6-BEE4-EBBE-F24676D6AEC0}"/>
              </a:ext>
            </a:extLst>
          </p:cNvPr>
          <p:cNvSpPr>
            <a:spLocks noGrp="1"/>
          </p:cNvSpPr>
          <p:nvPr>
            <p:ph type="title" hasCustomPrompt="1"/>
          </p:nvPr>
        </p:nvSpPr>
        <p:spPr>
          <a:xfrm>
            <a:off x="609598" y="685800"/>
            <a:ext cx="10972802" cy="533399"/>
          </a:xfrm>
          <a:prstGeom prst="rect">
            <a:avLst/>
          </a:prstGeom>
        </p:spPr>
        <p:txBody>
          <a:bodyPr lIns="0" tIns="0" rIns="0" bIns="0" anchor="t"/>
          <a:lstStyle>
            <a:lvl1pPr>
              <a:lnSpc>
                <a:spcPct val="100000"/>
              </a:lnSpc>
              <a:defRPr sz="2800" b="1">
                <a:solidFill>
                  <a:schemeClr val="accent2"/>
                </a:solidFill>
              </a:defRPr>
            </a:lvl1pPr>
          </a:lstStyle>
          <a:p>
            <a:r>
              <a:rPr lang="en-US"/>
              <a:t>CLICK TO EDIT MASTER TITLE STYLE</a:t>
            </a:r>
          </a:p>
        </p:txBody>
      </p:sp>
      <p:sp>
        <p:nvSpPr>
          <p:cNvPr id="12" name="Text Placeholder 11">
            <a:extLst>
              <a:ext uri="{FF2B5EF4-FFF2-40B4-BE49-F238E27FC236}">
                <a16:creationId xmlns:a16="http://schemas.microsoft.com/office/drawing/2014/main" id="{29F920D7-2F19-C63A-7BB3-8526E49D73C4}"/>
              </a:ext>
            </a:extLst>
          </p:cNvPr>
          <p:cNvSpPr>
            <a:spLocks noGrp="1"/>
          </p:cNvSpPr>
          <p:nvPr>
            <p:ph type="body" sz="quarter" idx="13"/>
          </p:nvPr>
        </p:nvSpPr>
        <p:spPr>
          <a:xfrm>
            <a:off x="609599" y="3088433"/>
            <a:ext cx="3575902" cy="2789854"/>
          </a:xfrm>
          <a:prstGeom prst="rect">
            <a:avLst/>
          </a:prstGeom>
          <a:ln>
            <a:noFill/>
          </a:ln>
        </p:spPr>
        <p:txBody>
          <a:bodyPr lIns="0" tIns="0" rIns="0" bIns="0"/>
          <a:lstStyle>
            <a:lvl1pPr marL="0" indent="0">
              <a:buNone/>
              <a:defRPr sz="1600"/>
            </a:lvl1pPr>
            <a:lvl2pPr>
              <a:defRPr sz="1600"/>
            </a:lvl2pPr>
            <a:lvl3pPr>
              <a:defRPr sz="1600"/>
            </a:lvl3pPr>
            <a:lvl4pPr>
              <a:defRPr sz="1600"/>
            </a:lvl4pPr>
            <a:lvl5pPr>
              <a:defRPr sz="1600"/>
            </a:lvl5pPr>
          </a:lstStyle>
          <a:p>
            <a:pPr lvl="0"/>
            <a:r>
              <a:rPr lang="en-US"/>
              <a:t>Click to edit Master text styles</a:t>
            </a:r>
          </a:p>
        </p:txBody>
      </p:sp>
      <p:sp>
        <p:nvSpPr>
          <p:cNvPr id="2" name="Slide Number Placeholder 5">
            <a:extLst>
              <a:ext uri="{FF2B5EF4-FFF2-40B4-BE49-F238E27FC236}">
                <a16:creationId xmlns:a16="http://schemas.microsoft.com/office/drawing/2014/main" id="{A9F42ABE-0BD6-8E90-5654-819EBA673092}"/>
              </a:ext>
            </a:extLst>
          </p:cNvPr>
          <p:cNvSpPr>
            <a:spLocks noGrp="1"/>
          </p:cNvSpPr>
          <p:nvPr>
            <p:ph type="sldNum" sz="quarter" idx="12"/>
          </p:nvPr>
        </p:nvSpPr>
        <p:spPr>
          <a:xfrm>
            <a:off x="10677525" y="6329544"/>
            <a:ext cx="904875" cy="365125"/>
          </a:xfrm>
          <a:prstGeom prst="rect">
            <a:avLst/>
          </a:prstGeom>
        </p:spPr>
        <p:txBody>
          <a:bodyPr lIns="0" tIns="0" rIns="0" bIns="0" anchor="ctr"/>
          <a:lstStyle>
            <a:lvl1pPr algn="r">
              <a:defRPr sz="900">
                <a:solidFill>
                  <a:srgbClr val="54565A"/>
                </a:solidFill>
              </a:defRPr>
            </a:lvl1pPr>
          </a:lstStyle>
          <a:p>
            <a:fld id="{D2DBED22-070C-4701-87FB-D5DC65302CDC}" type="slidenum">
              <a:rPr lang="en-US" smtClean="0"/>
              <a:pPr/>
              <a:t>‹#›</a:t>
            </a:fld>
            <a:endParaRPr lang="en-US"/>
          </a:p>
        </p:txBody>
      </p:sp>
      <p:sp>
        <p:nvSpPr>
          <p:cNvPr id="6" name="Text Placeholder 11">
            <a:extLst>
              <a:ext uri="{FF2B5EF4-FFF2-40B4-BE49-F238E27FC236}">
                <a16:creationId xmlns:a16="http://schemas.microsoft.com/office/drawing/2014/main" id="{CF2E61C2-423D-37D9-D644-80DA744840FB}"/>
              </a:ext>
            </a:extLst>
          </p:cNvPr>
          <p:cNvSpPr>
            <a:spLocks noGrp="1"/>
          </p:cNvSpPr>
          <p:nvPr>
            <p:ph type="body" sz="quarter" idx="14"/>
          </p:nvPr>
        </p:nvSpPr>
        <p:spPr>
          <a:xfrm>
            <a:off x="4308048" y="3088433"/>
            <a:ext cx="3575902" cy="2789854"/>
          </a:xfrm>
          <a:prstGeom prst="rect">
            <a:avLst/>
          </a:prstGeom>
          <a:ln>
            <a:noFill/>
          </a:ln>
        </p:spPr>
        <p:txBody>
          <a:bodyPr lIns="0" tIns="0" rIns="0" bIns="0"/>
          <a:lstStyle>
            <a:lvl1pPr marL="0" indent="0">
              <a:buNone/>
              <a:defRPr sz="1600"/>
            </a:lvl1pPr>
            <a:lvl2pPr>
              <a:defRPr sz="1600"/>
            </a:lvl2pPr>
            <a:lvl3pPr>
              <a:defRPr sz="1600"/>
            </a:lvl3pPr>
            <a:lvl4pPr>
              <a:defRPr sz="1600"/>
            </a:lvl4pPr>
            <a:lvl5pPr>
              <a:defRPr sz="1600"/>
            </a:lvl5pPr>
          </a:lstStyle>
          <a:p>
            <a:pPr lvl="0"/>
            <a:r>
              <a:rPr lang="en-US"/>
              <a:t>Click to edit Master text styles</a:t>
            </a:r>
          </a:p>
        </p:txBody>
      </p:sp>
      <p:sp>
        <p:nvSpPr>
          <p:cNvPr id="8" name="Text Placeholder 11">
            <a:extLst>
              <a:ext uri="{FF2B5EF4-FFF2-40B4-BE49-F238E27FC236}">
                <a16:creationId xmlns:a16="http://schemas.microsoft.com/office/drawing/2014/main" id="{BC5CAFA3-42B5-FD79-5E49-15C483AAE6D7}"/>
              </a:ext>
            </a:extLst>
          </p:cNvPr>
          <p:cNvSpPr>
            <a:spLocks noGrp="1"/>
          </p:cNvSpPr>
          <p:nvPr>
            <p:ph type="body" sz="quarter" idx="15"/>
          </p:nvPr>
        </p:nvSpPr>
        <p:spPr>
          <a:xfrm>
            <a:off x="8006497" y="3088433"/>
            <a:ext cx="3575902" cy="2789854"/>
          </a:xfrm>
          <a:prstGeom prst="rect">
            <a:avLst/>
          </a:prstGeom>
          <a:ln>
            <a:noFill/>
          </a:ln>
        </p:spPr>
        <p:txBody>
          <a:bodyPr lIns="0" tIns="0" rIns="0" bIns="0"/>
          <a:lstStyle>
            <a:lvl1pPr marL="0" indent="0">
              <a:buNone/>
              <a:defRPr sz="1600"/>
            </a:lvl1pPr>
            <a:lvl2pPr>
              <a:defRPr sz="1600"/>
            </a:lvl2pPr>
            <a:lvl3pPr>
              <a:defRPr sz="1600"/>
            </a:lvl3pPr>
            <a:lvl4pPr>
              <a:defRPr sz="1600"/>
            </a:lvl4pPr>
            <a:lvl5pPr>
              <a:defRPr sz="1600"/>
            </a:lvl5pPr>
          </a:lstStyle>
          <a:p>
            <a:pPr lvl="0"/>
            <a:r>
              <a:rPr lang="en-US"/>
              <a:t>Click to edit Master text styles</a:t>
            </a:r>
          </a:p>
        </p:txBody>
      </p:sp>
      <p:sp>
        <p:nvSpPr>
          <p:cNvPr id="3" name="Text Placeholder 11">
            <a:extLst>
              <a:ext uri="{FF2B5EF4-FFF2-40B4-BE49-F238E27FC236}">
                <a16:creationId xmlns:a16="http://schemas.microsoft.com/office/drawing/2014/main" id="{40A93DFE-1027-DC06-95D9-0F07409F1C87}"/>
              </a:ext>
            </a:extLst>
          </p:cNvPr>
          <p:cNvSpPr>
            <a:spLocks noGrp="1"/>
          </p:cNvSpPr>
          <p:nvPr>
            <p:ph type="body" sz="quarter" idx="16" hasCustomPrompt="1"/>
          </p:nvPr>
        </p:nvSpPr>
        <p:spPr>
          <a:xfrm>
            <a:off x="609600" y="2565961"/>
            <a:ext cx="3575902" cy="365126"/>
          </a:xfrm>
          <a:prstGeom prst="rect">
            <a:avLst/>
          </a:prstGeom>
          <a:ln>
            <a:noFill/>
          </a:ln>
        </p:spPr>
        <p:txBody>
          <a:bodyPr lIns="0" tIns="0" rIns="0" bIns="0" anchor="b"/>
          <a:lstStyle>
            <a:lvl1pPr marL="0" indent="0">
              <a:buNone/>
              <a:defRPr sz="1600" b="1">
                <a:solidFill>
                  <a:schemeClr val="accent1"/>
                </a:solidFill>
                <a:latin typeface="+mj-lt"/>
              </a:defRPr>
            </a:lvl1pPr>
            <a:lvl2pPr>
              <a:defRPr sz="1600"/>
            </a:lvl2pPr>
            <a:lvl3pPr>
              <a:defRPr sz="1600"/>
            </a:lvl3pPr>
            <a:lvl4pPr>
              <a:defRPr sz="1600"/>
            </a:lvl4pPr>
            <a:lvl5pPr>
              <a:defRPr sz="1600"/>
            </a:lvl5pPr>
          </a:lstStyle>
          <a:p>
            <a:pPr lvl="0"/>
            <a:r>
              <a:rPr lang="en-US"/>
              <a:t>CLICK TO EDIT MASTER TEXT STYLES</a:t>
            </a:r>
          </a:p>
        </p:txBody>
      </p:sp>
      <p:sp>
        <p:nvSpPr>
          <p:cNvPr id="4" name="Text Placeholder 11">
            <a:extLst>
              <a:ext uri="{FF2B5EF4-FFF2-40B4-BE49-F238E27FC236}">
                <a16:creationId xmlns:a16="http://schemas.microsoft.com/office/drawing/2014/main" id="{6D1D707E-C305-85E9-ED5F-B9C5F6EF414C}"/>
              </a:ext>
            </a:extLst>
          </p:cNvPr>
          <p:cNvSpPr>
            <a:spLocks noGrp="1"/>
          </p:cNvSpPr>
          <p:nvPr>
            <p:ph type="body" sz="quarter" idx="17" hasCustomPrompt="1"/>
          </p:nvPr>
        </p:nvSpPr>
        <p:spPr>
          <a:xfrm>
            <a:off x="4308049" y="2565961"/>
            <a:ext cx="3575902" cy="365126"/>
          </a:xfrm>
          <a:prstGeom prst="rect">
            <a:avLst/>
          </a:prstGeom>
          <a:ln>
            <a:noFill/>
          </a:ln>
        </p:spPr>
        <p:txBody>
          <a:bodyPr lIns="0" tIns="0" rIns="0" bIns="0" anchor="b"/>
          <a:lstStyle>
            <a:lvl1pPr marL="0" indent="0">
              <a:buNone/>
              <a:defRPr sz="1600" b="1">
                <a:solidFill>
                  <a:schemeClr val="accent1"/>
                </a:solidFill>
                <a:latin typeface="+mj-lt"/>
              </a:defRPr>
            </a:lvl1pPr>
            <a:lvl2pPr>
              <a:defRPr sz="1600"/>
            </a:lvl2pPr>
            <a:lvl3pPr>
              <a:defRPr sz="1600"/>
            </a:lvl3pPr>
            <a:lvl4pPr>
              <a:defRPr sz="1600"/>
            </a:lvl4pPr>
            <a:lvl5pPr>
              <a:defRPr sz="1600"/>
            </a:lvl5pPr>
          </a:lstStyle>
          <a:p>
            <a:pPr lvl="0"/>
            <a:r>
              <a:rPr lang="en-US"/>
              <a:t>CLICK TO EDIT MASTER TEXT STYLES</a:t>
            </a:r>
          </a:p>
        </p:txBody>
      </p:sp>
      <p:sp>
        <p:nvSpPr>
          <p:cNvPr id="5" name="Text Placeholder 11">
            <a:extLst>
              <a:ext uri="{FF2B5EF4-FFF2-40B4-BE49-F238E27FC236}">
                <a16:creationId xmlns:a16="http://schemas.microsoft.com/office/drawing/2014/main" id="{6C9D272D-4034-A3A0-8377-F0C8719C2E19}"/>
              </a:ext>
            </a:extLst>
          </p:cNvPr>
          <p:cNvSpPr>
            <a:spLocks noGrp="1"/>
          </p:cNvSpPr>
          <p:nvPr>
            <p:ph type="body" sz="quarter" idx="18" hasCustomPrompt="1"/>
          </p:nvPr>
        </p:nvSpPr>
        <p:spPr>
          <a:xfrm>
            <a:off x="8006498" y="2565961"/>
            <a:ext cx="3575902" cy="365126"/>
          </a:xfrm>
          <a:prstGeom prst="rect">
            <a:avLst/>
          </a:prstGeom>
          <a:ln>
            <a:noFill/>
          </a:ln>
        </p:spPr>
        <p:txBody>
          <a:bodyPr lIns="0" tIns="0" rIns="0" bIns="0" anchor="b"/>
          <a:lstStyle>
            <a:lvl1pPr marL="0" indent="0">
              <a:buNone/>
              <a:defRPr sz="1600" b="1">
                <a:solidFill>
                  <a:schemeClr val="accent1"/>
                </a:solidFill>
                <a:latin typeface="+mj-lt"/>
              </a:defRPr>
            </a:lvl1pPr>
            <a:lvl2pPr>
              <a:defRPr sz="1600"/>
            </a:lvl2pPr>
            <a:lvl3pPr>
              <a:defRPr sz="1600"/>
            </a:lvl3pPr>
            <a:lvl4pPr>
              <a:defRPr sz="1600"/>
            </a:lvl4pPr>
            <a:lvl5pPr>
              <a:defRPr sz="1600"/>
            </a:lvl5pPr>
          </a:lstStyle>
          <a:p>
            <a:pPr lvl="0"/>
            <a:r>
              <a:rPr lang="en-US"/>
              <a:t>CLICK TO EDIT MASTER TEXT STYLES</a:t>
            </a:r>
          </a:p>
        </p:txBody>
      </p:sp>
      <p:sp>
        <p:nvSpPr>
          <p:cNvPr id="13" name="Picture Placeholder 17">
            <a:extLst>
              <a:ext uri="{FF2B5EF4-FFF2-40B4-BE49-F238E27FC236}">
                <a16:creationId xmlns:a16="http://schemas.microsoft.com/office/drawing/2014/main" id="{AAB878C8-70F8-4000-2323-84597D9D7B84}"/>
              </a:ext>
            </a:extLst>
          </p:cNvPr>
          <p:cNvSpPr>
            <a:spLocks noGrp="1"/>
          </p:cNvSpPr>
          <p:nvPr>
            <p:ph type="pic" sz="quarter" idx="19"/>
          </p:nvPr>
        </p:nvSpPr>
        <p:spPr>
          <a:xfrm>
            <a:off x="609600" y="1520891"/>
            <a:ext cx="924836" cy="887342"/>
          </a:xfrm>
          <a:prstGeom prst="ellipse">
            <a:avLst/>
          </a:prstGeom>
          <a:solidFill>
            <a:schemeClr val="bg1">
              <a:lumMod val="95000"/>
            </a:schemeClr>
          </a:solidFill>
        </p:spPr>
        <p:txBody>
          <a:bodyPr lIns="0" rIns="0" anchor="ctr"/>
          <a:lstStyle>
            <a:lvl1pPr marL="0" indent="0" algn="ctr">
              <a:buNone/>
              <a:defRPr sz="1100">
                <a:solidFill>
                  <a:schemeClr val="bg1">
                    <a:lumMod val="75000"/>
                  </a:schemeClr>
                </a:solidFill>
              </a:defRPr>
            </a:lvl1pPr>
          </a:lstStyle>
          <a:p>
            <a:endParaRPr lang="en-US"/>
          </a:p>
        </p:txBody>
      </p:sp>
      <p:sp>
        <p:nvSpPr>
          <p:cNvPr id="14" name="Picture Placeholder 17">
            <a:extLst>
              <a:ext uri="{FF2B5EF4-FFF2-40B4-BE49-F238E27FC236}">
                <a16:creationId xmlns:a16="http://schemas.microsoft.com/office/drawing/2014/main" id="{6E05DA3D-8787-07CB-9654-778367199F1E}"/>
              </a:ext>
            </a:extLst>
          </p:cNvPr>
          <p:cNvSpPr>
            <a:spLocks noGrp="1"/>
          </p:cNvSpPr>
          <p:nvPr>
            <p:ph type="pic" sz="quarter" idx="20"/>
          </p:nvPr>
        </p:nvSpPr>
        <p:spPr>
          <a:xfrm>
            <a:off x="4572000" y="1520891"/>
            <a:ext cx="924836" cy="887342"/>
          </a:xfrm>
          <a:prstGeom prst="ellipse">
            <a:avLst/>
          </a:prstGeom>
          <a:solidFill>
            <a:schemeClr val="bg1">
              <a:lumMod val="95000"/>
            </a:schemeClr>
          </a:solidFill>
        </p:spPr>
        <p:txBody>
          <a:bodyPr lIns="0" rIns="0" anchor="ctr"/>
          <a:lstStyle>
            <a:lvl1pPr marL="0" indent="0" algn="ctr">
              <a:buNone/>
              <a:defRPr sz="1100">
                <a:solidFill>
                  <a:schemeClr val="bg1">
                    <a:lumMod val="75000"/>
                  </a:schemeClr>
                </a:solidFill>
              </a:defRPr>
            </a:lvl1pPr>
          </a:lstStyle>
          <a:p>
            <a:endParaRPr lang="en-US"/>
          </a:p>
        </p:txBody>
      </p:sp>
      <p:sp>
        <p:nvSpPr>
          <p:cNvPr id="15" name="Picture Placeholder 17">
            <a:extLst>
              <a:ext uri="{FF2B5EF4-FFF2-40B4-BE49-F238E27FC236}">
                <a16:creationId xmlns:a16="http://schemas.microsoft.com/office/drawing/2014/main" id="{42545E10-DE6B-1CAA-02E2-E304258A9EE4}"/>
              </a:ext>
            </a:extLst>
          </p:cNvPr>
          <p:cNvSpPr>
            <a:spLocks noGrp="1"/>
          </p:cNvSpPr>
          <p:nvPr>
            <p:ph type="pic" sz="quarter" idx="21"/>
          </p:nvPr>
        </p:nvSpPr>
        <p:spPr>
          <a:xfrm>
            <a:off x="8534398" y="1520891"/>
            <a:ext cx="924836" cy="887342"/>
          </a:xfrm>
          <a:prstGeom prst="ellipse">
            <a:avLst/>
          </a:prstGeom>
          <a:solidFill>
            <a:schemeClr val="bg1">
              <a:lumMod val="95000"/>
            </a:schemeClr>
          </a:solidFill>
        </p:spPr>
        <p:txBody>
          <a:bodyPr lIns="0" rIns="0" anchor="ctr"/>
          <a:lstStyle>
            <a:lvl1pPr marL="0" indent="0" algn="ctr">
              <a:buNone/>
              <a:defRPr sz="1100">
                <a:solidFill>
                  <a:schemeClr val="bg1">
                    <a:lumMod val="75000"/>
                  </a:schemeClr>
                </a:solidFill>
              </a:defRPr>
            </a:lvl1pPr>
          </a:lstStyle>
          <a:p>
            <a:endParaRPr lang="en-US"/>
          </a:p>
        </p:txBody>
      </p:sp>
      <p:pic>
        <p:nvPicPr>
          <p:cNvPr id="16" name="Graphic 15">
            <a:extLst>
              <a:ext uri="{FF2B5EF4-FFF2-40B4-BE49-F238E27FC236}">
                <a16:creationId xmlns:a16="http://schemas.microsoft.com/office/drawing/2014/main" id="{FC7BF664-449C-8123-8A32-955CBC2D2D2B}"/>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28580" y="116633"/>
            <a:ext cx="357673" cy="357673"/>
          </a:xfrm>
          <a:prstGeom prst="rect">
            <a:avLst/>
          </a:prstGeom>
        </p:spPr>
      </p:pic>
    </p:spTree>
    <p:extLst>
      <p:ext uri="{BB962C8B-B14F-4D97-AF65-F5344CB8AC3E}">
        <p14:creationId xmlns:p14="http://schemas.microsoft.com/office/powerpoint/2010/main" val="37482002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 1 Colum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693474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C28D76B-1E4B-4CAD-91D0-7031CCB234FF}"/>
              </a:ext>
            </a:extLst>
          </p:cNvPr>
          <p:cNvSpPr/>
          <p:nvPr userDrawn="1"/>
        </p:nvSpPr>
        <p:spPr>
          <a:xfrm flipH="1">
            <a:off x="0" y="0"/>
            <a:ext cx="79629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838200" y="1859536"/>
            <a:ext cx="3390900" cy="4312664"/>
          </a:xfrm>
        </p:spPr>
        <p:txBody>
          <a:bodyPr>
            <a:norm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solidFill>
                  <a:schemeClr val="bg1"/>
                </a:solidFill>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0" name="Picture Placeholder 27">
            <a:extLst>
              <a:ext uri="{FF2B5EF4-FFF2-40B4-BE49-F238E27FC236}">
                <a16:creationId xmlns:a16="http://schemas.microsoft.com/office/drawing/2014/main" id="{95272455-2B2E-42EC-97C3-8716AEB4463A}"/>
              </a:ext>
            </a:extLst>
          </p:cNvPr>
          <p:cNvSpPr>
            <a:spLocks noGrp="1"/>
          </p:cNvSpPr>
          <p:nvPr>
            <p:ph type="pic" sz="quarter" idx="13"/>
          </p:nvPr>
        </p:nvSpPr>
        <p:spPr>
          <a:xfrm>
            <a:off x="6210300" y="723900"/>
            <a:ext cx="5143500" cy="5448300"/>
          </a:xfrm>
          <a:custGeom>
            <a:avLst/>
            <a:gdLst>
              <a:gd name="connsiteX0" fmla="*/ 5143500 w 5143500"/>
              <a:gd name="connsiteY0" fmla="*/ 4187827 h 5448300"/>
              <a:gd name="connsiteX1" fmla="*/ 5143500 w 5143500"/>
              <a:gd name="connsiteY1" fmla="*/ 5448300 h 5448300"/>
              <a:gd name="connsiteX2" fmla="*/ 3912579 w 5143500"/>
              <a:gd name="connsiteY2" fmla="*/ 5448300 h 5448300"/>
              <a:gd name="connsiteX3" fmla="*/ 3918931 w 5143500"/>
              <a:gd name="connsiteY3" fmla="*/ 5319433 h 5448300"/>
              <a:gd name="connsiteX4" fmla="*/ 5017606 w 5143500"/>
              <a:gd name="connsiteY4" fmla="*/ 4194335 h 5448300"/>
              <a:gd name="connsiteX5" fmla="*/ 0 w 5143500"/>
              <a:gd name="connsiteY5" fmla="*/ 0 h 5448300"/>
              <a:gd name="connsiteX6" fmla="*/ 5143500 w 5143500"/>
              <a:gd name="connsiteY6" fmla="*/ 0 h 5448300"/>
              <a:gd name="connsiteX7" fmla="*/ 5143500 w 5143500"/>
              <a:gd name="connsiteY7" fmla="*/ 3408108 h 5448300"/>
              <a:gd name="connsiteX8" fmla="*/ 4939818 w 5143500"/>
              <a:gd name="connsiteY8" fmla="*/ 3418641 h 5448300"/>
              <a:gd name="connsiteX9" fmla="*/ 3161669 w 5143500"/>
              <a:gd name="connsiteY9" fmla="*/ 5239704 h 5448300"/>
              <a:gd name="connsiteX10" fmla="*/ 3151384 w 5143500"/>
              <a:gd name="connsiteY10" fmla="*/ 5448300 h 5448300"/>
              <a:gd name="connsiteX11" fmla="*/ 0 w 5143500"/>
              <a:gd name="connsiteY11" fmla="*/ 5448300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3500" h="5448300">
                <a:moveTo>
                  <a:pt x="5143500" y="4187827"/>
                </a:moveTo>
                <a:lnTo>
                  <a:pt x="5143500" y="5448300"/>
                </a:lnTo>
                <a:lnTo>
                  <a:pt x="3912579" y="5448300"/>
                </a:lnTo>
                <a:lnTo>
                  <a:pt x="3918931" y="5319433"/>
                </a:lnTo>
                <a:cubicBezTo>
                  <a:pt x="3977740" y="4726238"/>
                  <a:pt x="4438123" y="4254586"/>
                  <a:pt x="5017606" y="4194335"/>
                </a:cubicBezTo>
                <a:close/>
                <a:moveTo>
                  <a:pt x="0" y="0"/>
                </a:moveTo>
                <a:lnTo>
                  <a:pt x="5143500" y="0"/>
                </a:lnTo>
                <a:lnTo>
                  <a:pt x="5143500" y="3408108"/>
                </a:lnTo>
                <a:lnTo>
                  <a:pt x="4939818" y="3418641"/>
                </a:lnTo>
                <a:cubicBezTo>
                  <a:pt x="4002248" y="3516155"/>
                  <a:pt x="3256884" y="4279511"/>
                  <a:pt x="3161669" y="5239704"/>
                </a:cubicBezTo>
                <a:lnTo>
                  <a:pt x="3151384" y="5448300"/>
                </a:lnTo>
                <a:lnTo>
                  <a:pt x="0" y="5448300"/>
                </a:lnTo>
                <a:close/>
              </a:path>
            </a:pathLst>
          </a:custGeom>
          <a:solidFill>
            <a:schemeClr val="accent5"/>
          </a:solidFill>
        </p:spPr>
        <p:txBody>
          <a:bodyPr wrap="square">
            <a:noAutofit/>
          </a:bodyPr>
          <a:lstStyle/>
          <a:p>
            <a:endParaRPr lang="en-US"/>
          </a:p>
        </p:txBody>
      </p:sp>
    </p:spTree>
    <p:extLst>
      <p:ext uri="{BB962C8B-B14F-4D97-AF65-F5344CB8AC3E}">
        <p14:creationId xmlns:p14="http://schemas.microsoft.com/office/powerpoint/2010/main" val="235211692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1_One Colum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793C773-DA9F-07EB-07F7-257903402E27}"/>
              </a:ext>
            </a:extLst>
          </p:cNvPr>
          <p:cNvSpPr/>
          <p:nvPr userDrawn="1"/>
        </p:nvSpPr>
        <p:spPr>
          <a:xfrm>
            <a:off x="609600" y="0"/>
            <a:ext cx="504825"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BEB9EFD9-90D6-BEE4-EBBE-F24676D6AEC0}"/>
              </a:ext>
            </a:extLst>
          </p:cNvPr>
          <p:cNvSpPr>
            <a:spLocks noGrp="1"/>
          </p:cNvSpPr>
          <p:nvPr>
            <p:ph type="title" hasCustomPrompt="1"/>
          </p:nvPr>
        </p:nvSpPr>
        <p:spPr>
          <a:xfrm>
            <a:off x="609598" y="685800"/>
            <a:ext cx="10972802" cy="533399"/>
          </a:xfrm>
          <a:prstGeom prst="rect">
            <a:avLst/>
          </a:prstGeom>
        </p:spPr>
        <p:txBody>
          <a:bodyPr lIns="0" tIns="0" rIns="0" bIns="0" anchor="t"/>
          <a:lstStyle>
            <a:lvl1pPr>
              <a:lnSpc>
                <a:spcPct val="100000"/>
              </a:lnSpc>
              <a:defRPr sz="2800" b="1">
                <a:solidFill>
                  <a:schemeClr val="tx1"/>
                </a:solidFill>
              </a:defRPr>
            </a:lvl1pPr>
          </a:lstStyle>
          <a:p>
            <a:r>
              <a:rPr lang="en-US"/>
              <a:t>Slide Title Goes Here</a:t>
            </a:r>
          </a:p>
        </p:txBody>
      </p:sp>
      <p:sp>
        <p:nvSpPr>
          <p:cNvPr id="12" name="Text Placeholder 11">
            <a:extLst>
              <a:ext uri="{FF2B5EF4-FFF2-40B4-BE49-F238E27FC236}">
                <a16:creationId xmlns:a16="http://schemas.microsoft.com/office/drawing/2014/main" id="{29F920D7-2F19-C63A-7BB3-8526E49D73C4}"/>
              </a:ext>
            </a:extLst>
          </p:cNvPr>
          <p:cNvSpPr>
            <a:spLocks noGrp="1"/>
          </p:cNvSpPr>
          <p:nvPr>
            <p:ph type="body" sz="quarter" idx="13" hasCustomPrompt="1"/>
          </p:nvPr>
        </p:nvSpPr>
        <p:spPr>
          <a:xfrm>
            <a:off x="609600" y="2031100"/>
            <a:ext cx="10972800" cy="4141099"/>
          </a:xfrm>
          <a:prstGeom prst="rect">
            <a:avLst/>
          </a:prstGeom>
          <a:ln>
            <a:noFill/>
          </a:ln>
        </p:spPr>
        <p:txBody>
          <a:bodyPr lIns="0" tIns="0" rIns="0" bIns="0"/>
          <a:lstStyle>
            <a:lvl1pPr marL="0" indent="0">
              <a:buNone/>
              <a:defRPr sz="1400">
                <a:solidFill>
                  <a:schemeClr val="tx1"/>
                </a:solidFill>
              </a:defRPr>
            </a:lvl1pPr>
            <a:lvl2pPr>
              <a:defRPr sz="1600"/>
            </a:lvl2pPr>
            <a:lvl3pPr>
              <a:defRPr sz="1600"/>
            </a:lvl3pPr>
            <a:lvl4pPr>
              <a:defRPr sz="1600"/>
            </a:lvl4pPr>
            <a:lvl5pPr>
              <a:defRPr sz="1600"/>
            </a:lvl5pPr>
          </a:lstStyle>
          <a:p>
            <a:pPr lvl="0"/>
            <a:r>
              <a:rPr lang="en-US"/>
              <a:t>Click to edit text</a:t>
            </a:r>
          </a:p>
        </p:txBody>
      </p:sp>
      <p:sp>
        <p:nvSpPr>
          <p:cNvPr id="2" name="Slide Number Placeholder 5">
            <a:extLst>
              <a:ext uri="{FF2B5EF4-FFF2-40B4-BE49-F238E27FC236}">
                <a16:creationId xmlns:a16="http://schemas.microsoft.com/office/drawing/2014/main" id="{A9F42ABE-0BD6-8E90-5654-819EBA673092}"/>
              </a:ext>
            </a:extLst>
          </p:cNvPr>
          <p:cNvSpPr>
            <a:spLocks noGrp="1"/>
          </p:cNvSpPr>
          <p:nvPr>
            <p:ph type="sldNum" sz="quarter" idx="12"/>
          </p:nvPr>
        </p:nvSpPr>
        <p:spPr>
          <a:xfrm>
            <a:off x="10677525" y="6329544"/>
            <a:ext cx="904875" cy="365125"/>
          </a:xfrm>
          <a:prstGeom prst="rect">
            <a:avLst/>
          </a:prstGeom>
        </p:spPr>
        <p:txBody>
          <a:bodyPr lIns="0" tIns="0" rIns="0" bIns="0" anchor="ctr"/>
          <a:lstStyle>
            <a:lvl1pPr algn="r">
              <a:defRPr sz="900">
                <a:solidFill>
                  <a:srgbClr val="54565A"/>
                </a:solidFill>
              </a:defRPr>
            </a:lvl1pPr>
          </a:lstStyle>
          <a:p>
            <a:fld id="{D2DBED22-070C-4701-87FB-D5DC65302CDC}" type="slidenum">
              <a:rPr lang="en-US" smtClean="0"/>
              <a:pPr/>
              <a:t>‹#›</a:t>
            </a:fld>
            <a:endParaRPr lang="en-US"/>
          </a:p>
        </p:txBody>
      </p:sp>
      <p:pic>
        <p:nvPicPr>
          <p:cNvPr id="3" name="Graphic 2">
            <a:extLst>
              <a:ext uri="{FF2B5EF4-FFF2-40B4-BE49-F238E27FC236}">
                <a16:creationId xmlns:a16="http://schemas.microsoft.com/office/drawing/2014/main" id="{3F33FD9B-D768-7DBC-4252-2598AF1729E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1728580" y="116633"/>
            <a:ext cx="357673" cy="357673"/>
          </a:xfrm>
          <a:prstGeom prst="rect">
            <a:avLst/>
          </a:prstGeom>
        </p:spPr>
      </p:pic>
      <p:sp>
        <p:nvSpPr>
          <p:cNvPr id="4" name="Text Placeholder 11">
            <a:extLst>
              <a:ext uri="{FF2B5EF4-FFF2-40B4-BE49-F238E27FC236}">
                <a16:creationId xmlns:a16="http://schemas.microsoft.com/office/drawing/2014/main" id="{D9757B30-807C-E442-3027-682D821373FF}"/>
              </a:ext>
            </a:extLst>
          </p:cNvPr>
          <p:cNvSpPr>
            <a:spLocks noGrp="1"/>
          </p:cNvSpPr>
          <p:nvPr>
            <p:ph type="body" sz="quarter" idx="15" hasCustomPrompt="1"/>
          </p:nvPr>
        </p:nvSpPr>
        <p:spPr>
          <a:xfrm>
            <a:off x="609599" y="1506071"/>
            <a:ext cx="10972799" cy="369332"/>
          </a:xfrm>
          <a:prstGeom prst="rect">
            <a:avLst/>
          </a:prstGeom>
          <a:ln>
            <a:noFill/>
          </a:ln>
        </p:spPr>
        <p:txBody>
          <a:bodyPr lIns="0" tIns="0" rIns="0" bIns="0"/>
          <a:lstStyle>
            <a:lvl1pPr marL="0" indent="0">
              <a:buNone/>
              <a:defRPr sz="1600" b="1">
                <a:solidFill>
                  <a:schemeClr val="accent1"/>
                </a:solidFill>
              </a:defRPr>
            </a:lvl1pPr>
            <a:lvl2pPr>
              <a:defRPr sz="1600"/>
            </a:lvl2pPr>
            <a:lvl3pPr>
              <a:defRPr sz="1600"/>
            </a:lvl3pPr>
            <a:lvl4pPr>
              <a:defRPr sz="1600"/>
            </a:lvl4pPr>
            <a:lvl5pPr>
              <a:defRPr sz="1600"/>
            </a:lvl5pPr>
          </a:lstStyle>
          <a:p>
            <a:pPr lvl="0"/>
            <a:r>
              <a:rPr lang="en-US"/>
              <a:t>Click to edit secondary title</a:t>
            </a:r>
          </a:p>
        </p:txBody>
      </p:sp>
      <p:pic>
        <p:nvPicPr>
          <p:cNvPr id="6" name="Graphic 12">
            <a:extLst>
              <a:ext uri="{FF2B5EF4-FFF2-40B4-BE49-F238E27FC236}">
                <a16:creationId xmlns:a16="http://schemas.microsoft.com/office/drawing/2014/main" id="{1DF5F96C-4682-A2D4-3D08-3F520C52C9F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04158" y="6315638"/>
            <a:ext cx="1338846" cy="246670"/>
          </a:xfrm>
          <a:prstGeom prst="rect">
            <a:avLst/>
          </a:prstGeom>
        </p:spPr>
      </p:pic>
    </p:spTree>
    <p:extLst>
      <p:ext uri="{BB962C8B-B14F-4D97-AF65-F5344CB8AC3E}">
        <p14:creationId xmlns:p14="http://schemas.microsoft.com/office/powerpoint/2010/main" val="267802287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wo Columns + Image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5EACAC-82ED-429B-09F2-E4BD7A78529B}"/>
              </a:ext>
            </a:extLst>
          </p:cNvPr>
          <p:cNvSpPr/>
          <p:nvPr userDrawn="1"/>
        </p:nvSpPr>
        <p:spPr>
          <a:xfrm>
            <a:off x="609598" y="1485900"/>
            <a:ext cx="5395275" cy="4381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a:extLst>
              <a:ext uri="{FF2B5EF4-FFF2-40B4-BE49-F238E27FC236}">
                <a16:creationId xmlns:a16="http://schemas.microsoft.com/office/drawing/2014/main" id="{33008A2C-3815-FBD2-31A1-177BAB388802}"/>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609600" y="6293587"/>
            <a:ext cx="373913" cy="373913"/>
          </a:xfrm>
          <a:prstGeom prst="rect">
            <a:avLst/>
          </a:prstGeom>
        </p:spPr>
      </p:pic>
      <p:sp>
        <p:nvSpPr>
          <p:cNvPr id="9" name="Rectangle 8">
            <a:extLst>
              <a:ext uri="{FF2B5EF4-FFF2-40B4-BE49-F238E27FC236}">
                <a16:creationId xmlns:a16="http://schemas.microsoft.com/office/drawing/2014/main" id="{4793C773-DA9F-07EB-07F7-257903402E27}"/>
              </a:ext>
            </a:extLst>
          </p:cNvPr>
          <p:cNvSpPr/>
          <p:nvPr userDrawn="1"/>
        </p:nvSpPr>
        <p:spPr>
          <a:xfrm>
            <a:off x="609600" y="0"/>
            <a:ext cx="504825"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BEB9EFD9-90D6-BEE4-EBBE-F24676D6AEC0}"/>
              </a:ext>
            </a:extLst>
          </p:cNvPr>
          <p:cNvSpPr>
            <a:spLocks noGrp="1"/>
          </p:cNvSpPr>
          <p:nvPr>
            <p:ph type="title" hasCustomPrompt="1"/>
          </p:nvPr>
        </p:nvSpPr>
        <p:spPr>
          <a:xfrm>
            <a:off x="609598" y="685800"/>
            <a:ext cx="10972802" cy="533399"/>
          </a:xfrm>
          <a:prstGeom prst="rect">
            <a:avLst/>
          </a:prstGeom>
        </p:spPr>
        <p:txBody>
          <a:bodyPr lIns="0" tIns="0" rIns="0" bIns="0" anchor="t"/>
          <a:lstStyle>
            <a:lvl1pPr>
              <a:lnSpc>
                <a:spcPct val="100000"/>
              </a:lnSpc>
              <a:defRPr sz="2800" b="1">
                <a:solidFill>
                  <a:schemeClr val="accent2"/>
                </a:solidFill>
              </a:defRPr>
            </a:lvl1pPr>
          </a:lstStyle>
          <a:p>
            <a:r>
              <a:rPr lang="en-US"/>
              <a:t>CLICK TO EDIT MASTER TITLE STYLE</a:t>
            </a:r>
          </a:p>
        </p:txBody>
      </p:sp>
      <p:sp>
        <p:nvSpPr>
          <p:cNvPr id="12" name="Text Placeholder 11">
            <a:extLst>
              <a:ext uri="{FF2B5EF4-FFF2-40B4-BE49-F238E27FC236}">
                <a16:creationId xmlns:a16="http://schemas.microsoft.com/office/drawing/2014/main" id="{29F920D7-2F19-C63A-7BB3-8526E49D73C4}"/>
              </a:ext>
            </a:extLst>
          </p:cNvPr>
          <p:cNvSpPr>
            <a:spLocks noGrp="1"/>
          </p:cNvSpPr>
          <p:nvPr>
            <p:ph type="body" sz="quarter" idx="13"/>
          </p:nvPr>
        </p:nvSpPr>
        <p:spPr>
          <a:xfrm>
            <a:off x="914400" y="2833941"/>
            <a:ext cx="4800600" cy="2728660"/>
          </a:xfrm>
          <a:prstGeom prst="rect">
            <a:avLst/>
          </a:prstGeom>
          <a:ln>
            <a:noFill/>
          </a:ln>
        </p:spPr>
        <p:txBody>
          <a:bodyPr lIns="0" tIns="0" rIns="0" bIns="0"/>
          <a:lstStyle>
            <a:lvl1pPr marL="0" indent="0">
              <a:buNone/>
              <a:defRPr sz="1600"/>
            </a:lvl1pPr>
            <a:lvl2pPr>
              <a:defRPr sz="1600"/>
            </a:lvl2pPr>
            <a:lvl3pPr>
              <a:defRPr sz="1600"/>
            </a:lvl3pPr>
            <a:lvl4pPr>
              <a:defRPr sz="1600"/>
            </a:lvl4pPr>
            <a:lvl5pPr>
              <a:defRPr sz="1600"/>
            </a:lvl5pPr>
          </a:lstStyle>
          <a:p>
            <a:pPr lvl="0"/>
            <a:r>
              <a:rPr lang="en-US"/>
              <a:t>Click to edit Master text styles</a:t>
            </a:r>
          </a:p>
        </p:txBody>
      </p:sp>
      <p:sp>
        <p:nvSpPr>
          <p:cNvPr id="2" name="Slide Number Placeholder 5">
            <a:extLst>
              <a:ext uri="{FF2B5EF4-FFF2-40B4-BE49-F238E27FC236}">
                <a16:creationId xmlns:a16="http://schemas.microsoft.com/office/drawing/2014/main" id="{A9F42ABE-0BD6-8E90-5654-819EBA673092}"/>
              </a:ext>
            </a:extLst>
          </p:cNvPr>
          <p:cNvSpPr>
            <a:spLocks noGrp="1"/>
          </p:cNvSpPr>
          <p:nvPr>
            <p:ph type="sldNum" sz="quarter" idx="12"/>
          </p:nvPr>
        </p:nvSpPr>
        <p:spPr>
          <a:xfrm>
            <a:off x="10677525" y="6329544"/>
            <a:ext cx="904875" cy="365125"/>
          </a:xfrm>
          <a:prstGeom prst="rect">
            <a:avLst/>
          </a:prstGeom>
        </p:spPr>
        <p:txBody>
          <a:bodyPr lIns="0" tIns="0" rIns="0" bIns="0" anchor="ctr"/>
          <a:lstStyle>
            <a:lvl1pPr algn="r">
              <a:defRPr sz="900">
                <a:solidFill>
                  <a:srgbClr val="54565A"/>
                </a:solidFill>
              </a:defRPr>
            </a:lvl1pPr>
          </a:lstStyle>
          <a:p>
            <a:fld id="{D2DBED22-070C-4701-87FB-D5DC65302CDC}" type="slidenum">
              <a:rPr lang="en-US" smtClean="0"/>
              <a:pPr/>
              <a:t>‹#›</a:t>
            </a:fld>
            <a:endParaRPr lang="en-US"/>
          </a:p>
        </p:txBody>
      </p:sp>
      <p:pic>
        <p:nvPicPr>
          <p:cNvPr id="4" name="Graphic 3">
            <a:extLst>
              <a:ext uri="{FF2B5EF4-FFF2-40B4-BE49-F238E27FC236}">
                <a16:creationId xmlns:a16="http://schemas.microsoft.com/office/drawing/2014/main" id="{3D4F9E72-B3BF-980F-BAB7-C7EDE6F0474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28580" y="116633"/>
            <a:ext cx="357673" cy="357673"/>
          </a:xfrm>
          <a:prstGeom prst="rect">
            <a:avLst/>
          </a:prstGeom>
        </p:spPr>
      </p:pic>
      <p:sp>
        <p:nvSpPr>
          <p:cNvPr id="5" name="Text Placeholder 11">
            <a:extLst>
              <a:ext uri="{FF2B5EF4-FFF2-40B4-BE49-F238E27FC236}">
                <a16:creationId xmlns:a16="http://schemas.microsoft.com/office/drawing/2014/main" id="{CAD53EC8-7FD0-79A4-3B4E-E575A2D83285}"/>
              </a:ext>
            </a:extLst>
          </p:cNvPr>
          <p:cNvSpPr>
            <a:spLocks noGrp="1"/>
          </p:cNvSpPr>
          <p:nvPr>
            <p:ph type="body" sz="quarter" idx="16" hasCustomPrompt="1"/>
          </p:nvPr>
        </p:nvSpPr>
        <p:spPr>
          <a:xfrm>
            <a:off x="914398" y="2495551"/>
            <a:ext cx="4800600" cy="338389"/>
          </a:xfrm>
          <a:prstGeom prst="rect">
            <a:avLst/>
          </a:prstGeom>
          <a:ln>
            <a:noFill/>
          </a:ln>
        </p:spPr>
        <p:txBody>
          <a:bodyPr lIns="0" tIns="0" rIns="0" bIns="0" anchor="t"/>
          <a:lstStyle>
            <a:lvl1pPr marL="0" indent="0">
              <a:buNone/>
              <a:defRPr sz="1800" b="1">
                <a:solidFill>
                  <a:schemeClr val="accent1"/>
                </a:solidFill>
                <a:latin typeface="+mj-lt"/>
              </a:defRPr>
            </a:lvl1pPr>
            <a:lvl2pPr>
              <a:defRPr sz="1600"/>
            </a:lvl2pPr>
            <a:lvl3pPr>
              <a:defRPr sz="1600"/>
            </a:lvl3pPr>
            <a:lvl4pPr>
              <a:defRPr sz="1600"/>
            </a:lvl4pPr>
            <a:lvl5pPr>
              <a:defRPr sz="1600"/>
            </a:lvl5pPr>
          </a:lstStyle>
          <a:p>
            <a:pPr lvl="0"/>
            <a:r>
              <a:rPr lang="en-US"/>
              <a:t>CLICK TO EDIT MASTER</a:t>
            </a:r>
          </a:p>
        </p:txBody>
      </p:sp>
      <p:sp>
        <p:nvSpPr>
          <p:cNvPr id="11" name="Picture Placeholder 17">
            <a:extLst>
              <a:ext uri="{FF2B5EF4-FFF2-40B4-BE49-F238E27FC236}">
                <a16:creationId xmlns:a16="http://schemas.microsoft.com/office/drawing/2014/main" id="{A5FB73CB-32E0-0438-DF7B-4ADE134C88C1}"/>
              </a:ext>
            </a:extLst>
          </p:cNvPr>
          <p:cNvSpPr>
            <a:spLocks noGrp="1"/>
          </p:cNvSpPr>
          <p:nvPr>
            <p:ph type="pic" sz="quarter" idx="19"/>
          </p:nvPr>
        </p:nvSpPr>
        <p:spPr>
          <a:xfrm>
            <a:off x="914398" y="1708252"/>
            <a:ext cx="689513" cy="661559"/>
          </a:xfrm>
          <a:prstGeom prst="ellipse">
            <a:avLst/>
          </a:prstGeom>
          <a:solidFill>
            <a:schemeClr val="tx1">
              <a:lumMod val="10000"/>
              <a:lumOff val="90000"/>
            </a:schemeClr>
          </a:solidFill>
        </p:spPr>
        <p:txBody>
          <a:bodyPr lIns="0" rIns="0" anchor="ctr"/>
          <a:lstStyle>
            <a:lvl1pPr marL="0" indent="0" algn="ctr">
              <a:buNone/>
              <a:defRPr sz="1100">
                <a:solidFill>
                  <a:schemeClr val="bg1">
                    <a:lumMod val="75000"/>
                  </a:schemeClr>
                </a:solidFill>
              </a:defRPr>
            </a:lvl1pPr>
          </a:lstStyle>
          <a:p>
            <a:endParaRPr lang="en-US"/>
          </a:p>
        </p:txBody>
      </p:sp>
      <p:sp>
        <p:nvSpPr>
          <p:cNvPr id="14" name="Rectangle 13">
            <a:extLst>
              <a:ext uri="{FF2B5EF4-FFF2-40B4-BE49-F238E27FC236}">
                <a16:creationId xmlns:a16="http://schemas.microsoft.com/office/drawing/2014/main" id="{EEE349D0-D5E7-754D-693B-6BED654F1578}"/>
              </a:ext>
            </a:extLst>
          </p:cNvPr>
          <p:cNvSpPr/>
          <p:nvPr userDrawn="1"/>
        </p:nvSpPr>
        <p:spPr>
          <a:xfrm>
            <a:off x="6187129" y="1485900"/>
            <a:ext cx="5395275" cy="4381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1">
            <a:extLst>
              <a:ext uri="{FF2B5EF4-FFF2-40B4-BE49-F238E27FC236}">
                <a16:creationId xmlns:a16="http://schemas.microsoft.com/office/drawing/2014/main" id="{A1D3D6C7-10E4-8FA1-5960-A1CB225ECAD8}"/>
              </a:ext>
            </a:extLst>
          </p:cNvPr>
          <p:cNvSpPr>
            <a:spLocks noGrp="1"/>
          </p:cNvSpPr>
          <p:nvPr>
            <p:ph type="body" sz="quarter" idx="20"/>
          </p:nvPr>
        </p:nvSpPr>
        <p:spPr>
          <a:xfrm>
            <a:off x="6491931" y="2833941"/>
            <a:ext cx="4800600" cy="2728660"/>
          </a:xfrm>
          <a:prstGeom prst="rect">
            <a:avLst/>
          </a:prstGeom>
          <a:ln>
            <a:noFill/>
          </a:ln>
        </p:spPr>
        <p:txBody>
          <a:bodyPr lIns="0" tIns="0" rIns="0" bIns="0"/>
          <a:lstStyle>
            <a:lvl1pPr marL="0" indent="0">
              <a:buNone/>
              <a:defRPr sz="1600"/>
            </a:lvl1pPr>
            <a:lvl2pPr>
              <a:defRPr sz="1600"/>
            </a:lvl2pPr>
            <a:lvl3pPr>
              <a:defRPr sz="1600"/>
            </a:lvl3pPr>
            <a:lvl4pPr>
              <a:defRPr sz="1600"/>
            </a:lvl4pPr>
            <a:lvl5pPr>
              <a:defRPr sz="1600"/>
            </a:lvl5pPr>
          </a:lstStyle>
          <a:p>
            <a:pPr lvl="0"/>
            <a:r>
              <a:rPr lang="en-US"/>
              <a:t>Click to edit Master text styles</a:t>
            </a:r>
          </a:p>
        </p:txBody>
      </p:sp>
      <p:sp>
        <p:nvSpPr>
          <p:cNvPr id="16" name="Text Placeholder 11">
            <a:extLst>
              <a:ext uri="{FF2B5EF4-FFF2-40B4-BE49-F238E27FC236}">
                <a16:creationId xmlns:a16="http://schemas.microsoft.com/office/drawing/2014/main" id="{8188301C-B670-3800-33B5-873FD9A03FB0}"/>
              </a:ext>
            </a:extLst>
          </p:cNvPr>
          <p:cNvSpPr>
            <a:spLocks noGrp="1"/>
          </p:cNvSpPr>
          <p:nvPr>
            <p:ph type="body" sz="quarter" idx="21" hasCustomPrompt="1"/>
          </p:nvPr>
        </p:nvSpPr>
        <p:spPr>
          <a:xfrm>
            <a:off x="6491929" y="2495551"/>
            <a:ext cx="4800600" cy="338389"/>
          </a:xfrm>
          <a:prstGeom prst="rect">
            <a:avLst/>
          </a:prstGeom>
          <a:ln>
            <a:noFill/>
          </a:ln>
        </p:spPr>
        <p:txBody>
          <a:bodyPr lIns="0" tIns="0" rIns="0" bIns="0" anchor="t"/>
          <a:lstStyle>
            <a:lvl1pPr marL="0" indent="0">
              <a:buNone/>
              <a:defRPr sz="1800" b="1">
                <a:solidFill>
                  <a:schemeClr val="accent1"/>
                </a:solidFill>
                <a:latin typeface="+mj-lt"/>
              </a:defRPr>
            </a:lvl1pPr>
            <a:lvl2pPr>
              <a:defRPr sz="1600"/>
            </a:lvl2pPr>
            <a:lvl3pPr>
              <a:defRPr sz="1600"/>
            </a:lvl3pPr>
            <a:lvl4pPr>
              <a:defRPr sz="1600"/>
            </a:lvl4pPr>
            <a:lvl5pPr>
              <a:defRPr sz="1600"/>
            </a:lvl5pPr>
          </a:lstStyle>
          <a:p>
            <a:pPr lvl="0"/>
            <a:r>
              <a:rPr lang="en-US"/>
              <a:t>CLICK TO EDIT MASTER</a:t>
            </a:r>
          </a:p>
        </p:txBody>
      </p:sp>
      <p:sp>
        <p:nvSpPr>
          <p:cNvPr id="17" name="Picture Placeholder 17">
            <a:extLst>
              <a:ext uri="{FF2B5EF4-FFF2-40B4-BE49-F238E27FC236}">
                <a16:creationId xmlns:a16="http://schemas.microsoft.com/office/drawing/2014/main" id="{C985271F-5E75-8CA3-A27E-00A9515BA617}"/>
              </a:ext>
            </a:extLst>
          </p:cNvPr>
          <p:cNvSpPr>
            <a:spLocks noGrp="1"/>
          </p:cNvSpPr>
          <p:nvPr>
            <p:ph type="pic" sz="quarter" idx="22"/>
          </p:nvPr>
        </p:nvSpPr>
        <p:spPr>
          <a:xfrm>
            <a:off x="6491929" y="1708252"/>
            <a:ext cx="689513" cy="661559"/>
          </a:xfrm>
          <a:prstGeom prst="ellipse">
            <a:avLst/>
          </a:prstGeom>
          <a:solidFill>
            <a:schemeClr val="tx1">
              <a:lumMod val="10000"/>
              <a:lumOff val="90000"/>
            </a:schemeClr>
          </a:solidFill>
        </p:spPr>
        <p:txBody>
          <a:bodyPr lIns="0" rIns="0" anchor="ctr"/>
          <a:lstStyle>
            <a:lvl1pPr marL="0" indent="0" algn="ctr">
              <a:buNone/>
              <a:defRPr sz="1100">
                <a:solidFill>
                  <a:schemeClr val="bg1">
                    <a:lumMod val="75000"/>
                  </a:schemeClr>
                </a:solidFill>
              </a:defRPr>
            </a:lvl1pPr>
          </a:lstStyle>
          <a:p>
            <a:endParaRPr lang="en-US"/>
          </a:p>
        </p:txBody>
      </p:sp>
    </p:spTree>
    <p:extLst>
      <p:ext uri="{BB962C8B-B14F-4D97-AF65-F5344CB8AC3E}">
        <p14:creationId xmlns:p14="http://schemas.microsoft.com/office/powerpoint/2010/main" val="2046330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2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409173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68961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5" name="Rectangle 24">
            <a:extLst>
              <a:ext uri="{FF2B5EF4-FFF2-40B4-BE49-F238E27FC236}">
                <a16:creationId xmlns:a16="http://schemas.microsoft.com/office/drawing/2014/main" id="{0F78F509-4A02-4BE3-B0D2-E49CDAC1CFDF}"/>
              </a:ext>
            </a:extLst>
          </p:cNvPr>
          <p:cNvSpPr/>
          <p:nvPr userDrawn="1"/>
        </p:nvSpPr>
        <p:spPr>
          <a:xfrm>
            <a:off x="7962900" y="0"/>
            <a:ext cx="4229100"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Picture Placeholder 5">
            <a:extLst>
              <a:ext uri="{FF2B5EF4-FFF2-40B4-BE49-F238E27FC236}">
                <a16:creationId xmlns:a16="http://schemas.microsoft.com/office/drawing/2014/main" id="{78EADAA8-EE50-486A-BF38-DF2FF8835585}"/>
              </a:ext>
            </a:extLst>
          </p:cNvPr>
          <p:cNvSpPr>
            <a:spLocks noGrp="1"/>
          </p:cNvSpPr>
          <p:nvPr>
            <p:ph type="pic" sz="quarter" idx="13"/>
          </p:nvPr>
        </p:nvSpPr>
        <p:spPr>
          <a:xfrm>
            <a:off x="8761396" y="723900"/>
            <a:ext cx="2592404" cy="2592402"/>
          </a:xfrm>
          <a:prstGeom prst="ellipse">
            <a:avLst/>
          </a:prstGeom>
          <a:solidFill>
            <a:schemeClr val="accent5"/>
          </a:solidFill>
        </p:spPr>
        <p:txBody>
          <a:bodyPr/>
          <a:lstStyle/>
          <a:p>
            <a:endParaRPr lang="en-US"/>
          </a:p>
        </p:txBody>
      </p:sp>
      <p:sp>
        <p:nvSpPr>
          <p:cNvPr id="27" name="Picture Placeholder 5">
            <a:extLst>
              <a:ext uri="{FF2B5EF4-FFF2-40B4-BE49-F238E27FC236}">
                <a16:creationId xmlns:a16="http://schemas.microsoft.com/office/drawing/2014/main" id="{B5EDB5CF-1F1B-4F32-A861-A9003A57E6CD}"/>
              </a:ext>
            </a:extLst>
          </p:cNvPr>
          <p:cNvSpPr>
            <a:spLocks noGrp="1"/>
          </p:cNvSpPr>
          <p:nvPr>
            <p:ph type="pic" sz="quarter" idx="15"/>
          </p:nvPr>
        </p:nvSpPr>
        <p:spPr>
          <a:xfrm>
            <a:off x="8761396" y="3579798"/>
            <a:ext cx="2592404" cy="2592402"/>
          </a:xfrm>
          <a:prstGeom prst="ellipse">
            <a:avLst/>
          </a:prstGeom>
          <a:solidFill>
            <a:schemeClr val="accent5"/>
          </a:solidFill>
        </p:spPr>
        <p:txBody>
          <a:bodyPr/>
          <a:lstStyle/>
          <a:p>
            <a:endParaRPr lang="en-US"/>
          </a:p>
        </p:txBody>
      </p:sp>
      <p:sp>
        <p:nvSpPr>
          <p:cNvPr id="23" name="Text Placeholder 16">
            <a:extLst>
              <a:ext uri="{FF2B5EF4-FFF2-40B4-BE49-F238E27FC236}">
                <a16:creationId xmlns:a16="http://schemas.microsoft.com/office/drawing/2014/main" id="{068CC63F-B9A7-4B29-9B1A-F990E644285F}"/>
              </a:ext>
            </a:extLst>
          </p:cNvPr>
          <p:cNvSpPr>
            <a:spLocks noGrp="1"/>
          </p:cNvSpPr>
          <p:nvPr>
            <p:ph type="body" sz="quarter" idx="12"/>
          </p:nvPr>
        </p:nvSpPr>
        <p:spPr>
          <a:xfrm>
            <a:off x="838200" y="1859536"/>
            <a:ext cx="33909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6">
            <a:extLst>
              <a:ext uri="{FF2B5EF4-FFF2-40B4-BE49-F238E27FC236}">
                <a16:creationId xmlns:a16="http://schemas.microsoft.com/office/drawing/2014/main" id="{DB3793D5-D8CB-4FF2-8816-457A345EE2BF}"/>
              </a:ext>
            </a:extLst>
          </p:cNvPr>
          <p:cNvSpPr>
            <a:spLocks noGrp="1"/>
          </p:cNvSpPr>
          <p:nvPr>
            <p:ph type="body" sz="quarter" idx="16"/>
          </p:nvPr>
        </p:nvSpPr>
        <p:spPr>
          <a:xfrm>
            <a:off x="4457700" y="1859536"/>
            <a:ext cx="32766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33216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3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2989675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rot="5400000">
            <a:off x="5648785" y="314786"/>
            <a:ext cx="6411566" cy="667486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5" name="Text Placeholder 16">
            <a:extLst>
              <a:ext uri="{FF2B5EF4-FFF2-40B4-BE49-F238E27FC236}">
                <a16:creationId xmlns:a16="http://schemas.microsoft.com/office/drawing/2014/main" id="{CFE1B959-D955-4D56-9B8F-C90419321FA4}"/>
              </a:ext>
            </a:extLst>
          </p:cNvPr>
          <p:cNvSpPr>
            <a:spLocks noGrp="1"/>
          </p:cNvSpPr>
          <p:nvPr>
            <p:ph type="body" sz="quarter" idx="12"/>
          </p:nvPr>
        </p:nvSpPr>
        <p:spPr>
          <a:xfrm>
            <a:off x="838200" y="1859536"/>
            <a:ext cx="33909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6">
            <a:extLst>
              <a:ext uri="{FF2B5EF4-FFF2-40B4-BE49-F238E27FC236}">
                <a16:creationId xmlns:a16="http://schemas.microsoft.com/office/drawing/2014/main" id="{556F1381-20D3-4BD3-9D5E-FDB952F5D2DF}"/>
              </a:ext>
            </a:extLst>
          </p:cNvPr>
          <p:cNvSpPr>
            <a:spLocks noGrp="1"/>
          </p:cNvSpPr>
          <p:nvPr>
            <p:ph type="body" sz="quarter" idx="16"/>
          </p:nvPr>
        </p:nvSpPr>
        <p:spPr>
          <a:xfrm>
            <a:off x="4457700" y="1859536"/>
            <a:ext cx="32766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6">
            <a:extLst>
              <a:ext uri="{FF2B5EF4-FFF2-40B4-BE49-F238E27FC236}">
                <a16:creationId xmlns:a16="http://schemas.microsoft.com/office/drawing/2014/main" id="{B68CA0E5-DDF0-4268-9386-58E96EC1D175}"/>
              </a:ext>
            </a:extLst>
          </p:cNvPr>
          <p:cNvSpPr>
            <a:spLocks noGrp="1"/>
          </p:cNvSpPr>
          <p:nvPr>
            <p:ph type="body" sz="quarter" idx="17"/>
          </p:nvPr>
        </p:nvSpPr>
        <p:spPr>
          <a:xfrm>
            <a:off x="7962900" y="1859536"/>
            <a:ext cx="33909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03186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ue_Title + Subtitle + 1 Colum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668586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accent2"/>
                </a:solidFill>
              </a:defRPr>
            </a:lvl1pPr>
          </a:lstStyle>
          <a:p>
            <a:fld id="{A1471D42-392E-4D14-982B-D9D765EA1509}" type="slidenum">
              <a:rPr lang="en-US" smtClean="0"/>
              <a:pPr/>
              <a:t>‹#›</a:t>
            </a:fld>
            <a:endParaRPr lang="en-US"/>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838200" y="2243738"/>
            <a:ext cx="3390900" cy="3928462"/>
          </a:xfrm>
        </p:spPr>
        <p:txBody>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solidFill>
                  <a:schemeClr val="bg1"/>
                </a:solidFill>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5" name="Picture Placeholder 24">
            <a:extLst>
              <a:ext uri="{FF2B5EF4-FFF2-40B4-BE49-F238E27FC236}">
                <a16:creationId xmlns:a16="http://schemas.microsoft.com/office/drawing/2014/main" id="{7C1FAC09-07B3-4EED-BF86-DD711F111699}"/>
              </a:ext>
            </a:extLst>
          </p:cNvPr>
          <p:cNvSpPr>
            <a:spLocks noGrp="1"/>
          </p:cNvSpPr>
          <p:nvPr>
            <p:ph type="pic" sz="quarter" idx="13"/>
          </p:nvPr>
        </p:nvSpPr>
        <p:spPr>
          <a:xfrm>
            <a:off x="6210301" y="723900"/>
            <a:ext cx="5143500" cy="5448300"/>
          </a:xfrm>
          <a:custGeom>
            <a:avLst/>
            <a:gdLst>
              <a:gd name="connsiteX0" fmla="*/ 4327339 w 5143500"/>
              <a:gd name="connsiteY0" fmla="*/ 0 h 5448300"/>
              <a:gd name="connsiteX1" fmla="*/ 5143500 w 5143500"/>
              <a:gd name="connsiteY1" fmla="*/ 0 h 5448300"/>
              <a:gd name="connsiteX2" fmla="*/ 5143500 w 5143500"/>
              <a:gd name="connsiteY2" fmla="*/ 950399 h 5448300"/>
              <a:gd name="connsiteX3" fmla="*/ 5019725 w 5143500"/>
              <a:gd name="connsiteY3" fmla="*/ 889336 h 5448300"/>
              <a:gd name="connsiteX4" fmla="*/ 4337202 w 5143500"/>
              <a:gd name="connsiteY4" fmla="*/ 39260 h 5448300"/>
              <a:gd name="connsiteX5" fmla="*/ 0 w 5143500"/>
              <a:gd name="connsiteY5" fmla="*/ 0 h 5448300"/>
              <a:gd name="connsiteX6" fmla="*/ 3425672 w 5143500"/>
              <a:gd name="connsiteY6" fmla="*/ 0 h 5448300"/>
              <a:gd name="connsiteX7" fmla="*/ 3437802 w 5143500"/>
              <a:gd name="connsiteY7" fmla="*/ 81399 h 5448300"/>
              <a:gd name="connsiteX8" fmla="*/ 5013027 w 5143500"/>
              <a:gd name="connsiteY8" fmla="*/ 1862967 h 5448300"/>
              <a:gd name="connsiteX9" fmla="*/ 5143500 w 5143500"/>
              <a:gd name="connsiteY9" fmla="*/ 1897324 h 5448300"/>
              <a:gd name="connsiteX10" fmla="*/ 5143500 w 5143500"/>
              <a:gd name="connsiteY10" fmla="*/ 5448300 h 5448300"/>
              <a:gd name="connsiteX11" fmla="*/ 0 w 5143500"/>
              <a:gd name="connsiteY11" fmla="*/ 5448300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3500" h="5448300">
                <a:moveTo>
                  <a:pt x="4327339" y="0"/>
                </a:moveTo>
                <a:lnTo>
                  <a:pt x="5143500" y="0"/>
                </a:lnTo>
                <a:lnTo>
                  <a:pt x="5143500" y="950399"/>
                </a:lnTo>
                <a:lnTo>
                  <a:pt x="5019725" y="889336"/>
                </a:lnTo>
                <a:cubicBezTo>
                  <a:pt x="4696329" y="709426"/>
                  <a:pt x="4448388" y="405174"/>
                  <a:pt x="4337202" y="39260"/>
                </a:cubicBezTo>
                <a:close/>
                <a:moveTo>
                  <a:pt x="0" y="0"/>
                </a:moveTo>
                <a:lnTo>
                  <a:pt x="3425672" y="0"/>
                </a:lnTo>
                <a:lnTo>
                  <a:pt x="3437802" y="81399"/>
                </a:lnTo>
                <a:cubicBezTo>
                  <a:pt x="3606945" y="927928"/>
                  <a:pt x="4217828" y="1609665"/>
                  <a:pt x="5013027" y="1862967"/>
                </a:cubicBezTo>
                <a:lnTo>
                  <a:pt x="5143500" y="1897324"/>
                </a:lnTo>
                <a:lnTo>
                  <a:pt x="5143500" y="5448300"/>
                </a:lnTo>
                <a:lnTo>
                  <a:pt x="0" y="5448300"/>
                </a:lnTo>
                <a:close/>
              </a:path>
            </a:pathLst>
          </a:custGeom>
          <a:solidFill>
            <a:schemeClr val="accent5"/>
          </a:solidFill>
        </p:spPr>
        <p:txBody>
          <a:bodyPr wrap="square">
            <a:noAutofit/>
          </a:bodyPr>
          <a:lstStyle/>
          <a:p>
            <a:endParaRPr lang="en-US"/>
          </a:p>
        </p:txBody>
      </p:sp>
      <p:sp>
        <p:nvSpPr>
          <p:cNvPr id="24" name="Text Placeholder 16">
            <a:extLst>
              <a:ext uri="{FF2B5EF4-FFF2-40B4-BE49-F238E27FC236}">
                <a16:creationId xmlns:a16="http://schemas.microsoft.com/office/drawing/2014/main" id="{9C08595A-C0E9-4D62-A7D5-69C220C46CCE}"/>
              </a:ext>
            </a:extLst>
          </p:cNvPr>
          <p:cNvSpPr>
            <a:spLocks noGrp="1"/>
          </p:cNvSpPr>
          <p:nvPr>
            <p:ph type="body" sz="quarter" idx="14" hasCustomPrompt="1"/>
          </p:nvPr>
        </p:nvSpPr>
        <p:spPr>
          <a:xfrm>
            <a:off x="838200" y="1751960"/>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6" name="Freeform: Shape 25">
            <a:extLst>
              <a:ext uri="{FF2B5EF4-FFF2-40B4-BE49-F238E27FC236}">
                <a16:creationId xmlns:a16="http://schemas.microsoft.com/office/drawing/2014/main" id="{7AE87700-0B90-4F96-9501-D511A35FD4A4}"/>
              </a:ext>
            </a:extLst>
          </p:cNvPr>
          <p:cNvSpPr/>
          <p:nvPr userDrawn="1"/>
        </p:nvSpPr>
        <p:spPr>
          <a:xfrm>
            <a:off x="9601200" y="1"/>
            <a:ext cx="2590800" cy="2693163"/>
          </a:xfrm>
          <a:custGeom>
            <a:avLst/>
            <a:gdLst>
              <a:gd name="connsiteX0" fmla="*/ 24892 w 2590800"/>
              <a:gd name="connsiteY0" fmla="*/ 0 h 2693163"/>
              <a:gd name="connsiteX1" fmla="*/ 919754 w 2590800"/>
              <a:gd name="connsiteY1" fmla="*/ 0 h 2693163"/>
              <a:gd name="connsiteX2" fmla="*/ 911114 w 2590800"/>
              <a:gd name="connsiteY2" fmla="*/ 34419 h 2693163"/>
              <a:gd name="connsiteX3" fmla="*/ 882144 w 2590800"/>
              <a:gd name="connsiteY3" fmla="*/ 328796 h 2693163"/>
              <a:gd name="connsiteX4" fmla="*/ 2308652 w 2590800"/>
              <a:gd name="connsiteY4" fmla="*/ 1789551 h 2693163"/>
              <a:gd name="connsiteX5" fmla="*/ 2454552 w 2590800"/>
              <a:gd name="connsiteY5" fmla="*/ 1782009 h 2693163"/>
              <a:gd name="connsiteX6" fmla="*/ 2590800 w 2590800"/>
              <a:gd name="connsiteY6" fmla="*/ 1760720 h 2693163"/>
              <a:gd name="connsiteX7" fmla="*/ 2590800 w 2590800"/>
              <a:gd name="connsiteY7" fmla="*/ 2673751 h 2693163"/>
              <a:gd name="connsiteX8" fmla="*/ 2544700 w 2590800"/>
              <a:gd name="connsiteY8" fmla="*/ 2680956 h 2693163"/>
              <a:gd name="connsiteX9" fmla="*/ 2308652 w 2590800"/>
              <a:gd name="connsiteY9" fmla="*/ 2693163 h 2693163"/>
              <a:gd name="connsiteX10" fmla="*/ 0 w 2590800"/>
              <a:gd name="connsiteY10" fmla="*/ 328796 h 2693163"/>
              <a:gd name="connsiteX11" fmla="*/ 11919 w 2590800"/>
              <a:gd name="connsiteY11" fmla="*/ 87054 h 269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0800" h="2693163">
                <a:moveTo>
                  <a:pt x="24892" y="0"/>
                </a:moveTo>
                <a:lnTo>
                  <a:pt x="919754" y="0"/>
                </a:lnTo>
                <a:lnTo>
                  <a:pt x="911114" y="34419"/>
                </a:lnTo>
                <a:cubicBezTo>
                  <a:pt x="892119" y="129507"/>
                  <a:pt x="882144" y="227959"/>
                  <a:pt x="882144" y="328796"/>
                </a:cubicBezTo>
                <a:cubicBezTo>
                  <a:pt x="882144" y="1135492"/>
                  <a:pt x="1521112" y="1789551"/>
                  <a:pt x="2308652" y="1789551"/>
                </a:cubicBezTo>
                <a:cubicBezTo>
                  <a:pt x="2357910" y="1789551"/>
                  <a:pt x="2406583" y="1786996"/>
                  <a:pt x="2454552" y="1782009"/>
                </a:cubicBezTo>
                <a:lnTo>
                  <a:pt x="2590800" y="1760720"/>
                </a:lnTo>
                <a:lnTo>
                  <a:pt x="2590800" y="2673751"/>
                </a:lnTo>
                <a:lnTo>
                  <a:pt x="2544700" y="2680956"/>
                </a:lnTo>
                <a:cubicBezTo>
                  <a:pt x="2467089" y="2689028"/>
                  <a:pt x="2388342" y="2693163"/>
                  <a:pt x="2308652" y="2693163"/>
                </a:cubicBezTo>
                <a:cubicBezTo>
                  <a:pt x="1033615" y="2693163"/>
                  <a:pt x="0" y="1634597"/>
                  <a:pt x="0" y="328796"/>
                </a:cubicBezTo>
                <a:cubicBezTo>
                  <a:pt x="0" y="247184"/>
                  <a:pt x="4038" y="166537"/>
                  <a:pt x="11919" y="87054"/>
                </a:cubicBezTo>
                <a:close/>
              </a:path>
            </a:pathLst>
          </a:custGeom>
          <a:solidFill>
            <a:srgbClr val="FF9E18"/>
          </a:solidFill>
          <a:ln w="926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3380507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ue_Title + Subtitle + 2 Column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0894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4457700" y="719015"/>
            <a:ext cx="6896100" cy="956104"/>
          </a:xfrm>
        </p:spPr>
        <p:txBody>
          <a:bodyPr anchor="ctr"/>
          <a:lstStyle>
            <a:lvl1pPr>
              <a:defRPr>
                <a:solidFill>
                  <a:schemeClr val="bg1"/>
                </a:solidFill>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0" y="0"/>
            <a:ext cx="4229100" cy="6858000"/>
          </a:xfrm>
          <a:solidFill>
            <a:schemeClr val="accent5"/>
          </a:solidFill>
        </p:spPr>
        <p:txBody>
          <a:bodyPr/>
          <a:lstStyle/>
          <a:p>
            <a:endParaRPr lang="en-US"/>
          </a:p>
        </p:txBody>
      </p:sp>
      <p:sp>
        <p:nvSpPr>
          <p:cNvPr id="23" name="Text Placeholder 16">
            <a:extLst>
              <a:ext uri="{FF2B5EF4-FFF2-40B4-BE49-F238E27FC236}">
                <a16:creationId xmlns:a16="http://schemas.microsoft.com/office/drawing/2014/main" id="{FE5D33BC-BDC0-42F0-9C14-3BD9E276070F}"/>
              </a:ext>
            </a:extLst>
          </p:cNvPr>
          <p:cNvSpPr>
            <a:spLocks noGrp="1"/>
          </p:cNvSpPr>
          <p:nvPr>
            <p:ph type="body" sz="quarter" idx="15" hasCustomPrompt="1"/>
          </p:nvPr>
        </p:nvSpPr>
        <p:spPr>
          <a:xfrm>
            <a:off x="4457700" y="1751960"/>
            <a:ext cx="32766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4" name="Text Placeholder 16">
            <a:extLst>
              <a:ext uri="{FF2B5EF4-FFF2-40B4-BE49-F238E27FC236}">
                <a16:creationId xmlns:a16="http://schemas.microsoft.com/office/drawing/2014/main" id="{353C5660-AF2A-45F6-8AF2-EFA9B99FF720}"/>
              </a:ext>
            </a:extLst>
          </p:cNvPr>
          <p:cNvSpPr>
            <a:spLocks noGrp="1"/>
          </p:cNvSpPr>
          <p:nvPr>
            <p:ph type="body" sz="quarter" idx="16" hasCustomPrompt="1"/>
          </p:nvPr>
        </p:nvSpPr>
        <p:spPr>
          <a:xfrm>
            <a:off x="79629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5" name="Text Placeholder 16">
            <a:extLst>
              <a:ext uri="{FF2B5EF4-FFF2-40B4-BE49-F238E27FC236}">
                <a16:creationId xmlns:a16="http://schemas.microsoft.com/office/drawing/2014/main" id="{C967B5CE-D2B4-4C3A-8220-FC15F631F3EF}"/>
              </a:ext>
            </a:extLst>
          </p:cNvPr>
          <p:cNvSpPr>
            <a:spLocks noGrp="1"/>
          </p:cNvSpPr>
          <p:nvPr>
            <p:ph type="body" sz="quarter" idx="12"/>
          </p:nvPr>
        </p:nvSpPr>
        <p:spPr>
          <a:xfrm>
            <a:off x="4457700" y="2243738"/>
            <a:ext cx="3276600" cy="39284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6">
            <a:extLst>
              <a:ext uri="{FF2B5EF4-FFF2-40B4-BE49-F238E27FC236}">
                <a16:creationId xmlns:a16="http://schemas.microsoft.com/office/drawing/2014/main" id="{C6BFEC02-4A94-4C63-8270-62B3C827EE50}"/>
              </a:ext>
            </a:extLst>
          </p:cNvPr>
          <p:cNvSpPr>
            <a:spLocks noGrp="1"/>
          </p:cNvSpPr>
          <p:nvPr>
            <p:ph type="body" sz="quarter" idx="17"/>
          </p:nvPr>
        </p:nvSpPr>
        <p:spPr>
          <a:xfrm>
            <a:off x="7962900" y="2243738"/>
            <a:ext cx="3390900" cy="39284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28527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ue_Title + Subtitle + 3 Column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29632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rot="16200000">
            <a:off x="120542" y="-120543"/>
            <a:ext cx="5870603" cy="6111686"/>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3">
              <a:alpha val="15000"/>
            </a:schemeClr>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solidFill>
                  <a:schemeClr val="bg1"/>
                </a:solidFill>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5" name="Text Placeholder 16">
            <a:extLst>
              <a:ext uri="{FF2B5EF4-FFF2-40B4-BE49-F238E27FC236}">
                <a16:creationId xmlns:a16="http://schemas.microsoft.com/office/drawing/2014/main" id="{6CEE755F-9829-4092-90AC-8A2CD500C2F0}"/>
              </a:ext>
            </a:extLst>
          </p:cNvPr>
          <p:cNvSpPr>
            <a:spLocks noGrp="1"/>
          </p:cNvSpPr>
          <p:nvPr>
            <p:ph type="body" sz="quarter" idx="16" hasCustomPrompt="1"/>
          </p:nvPr>
        </p:nvSpPr>
        <p:spPr>
          <a:xfrm>
            <a:off x="8382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6" name="Text Placeholder 16">
            <a:extLst>
              <a:ext uri="{FF2B5EF4-FFF2-40B4-BE49-F238E27FC236}">
                <a16:creationId xmlns:a16="http://schemas.microsoft.com/office/drawing/2014/main" id="{F6BBA5F5-1469-40AC-AD18-653B25551787}"/>
              </a:ext>
            </a:extLst>
          </p:cNvPr>
          <p:cNvSpPr>
            <a:spLocks noGrp="1"/>
          </p:cNvSpPr>
          <p:nvPr>
            <p:ph type="body" sz="quarter" idx="17" hasCustomPrompt="1"/>
          </p:nvPr>
        </p:nvSpPr>
        <p:spPr>
          <a:xfrm>
            <a:off x="4457700" y="1751960"/>
            <a:ext cx="32766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7" name="Text Placeholder 16">
            <a:extLst>
              <a:ext uri="{FF2B5EF4-FFF2-40B4-BE49-F238E27FC236}">
                <a16:creationId xmlns:a16="http://schemas.microsoft.com/office/drawing/2014/main" id="{DE8B970E-C6BC-4C4E-874A-5238CEA1FF38}"/>
              </a:ext>
            </a:extLst>
          </p:cNvPr>
          <p:cNvSpPr>
            <a:spLocks noGrp="1"/>
          </p:cNvSpPr>
          <p:nvPr>
            <p:ph type="body" sz="quarter" idx="18" hasCustomPrompt="1"/>
          </p:nvPr>
        </p:nvSpPr>
        <p:spPr>
          <a:xfrm>
            <a:off x="79629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8" name="Text Placeholder 16">
            <a:extLst>
              <a:ext uri="{FF2B5EF4-FFF2-40B4-BE49-F238E27FC236}">
                <a16:creationId xmlns:a16="http://schemas.microsoft.com/office/drawing/2014/main" id="{730E0CEA-7D99-4109-BD8B-3831C2E6F3E6}"/>
              </a:ext>
            </a:extLst>
          </p:cNvPr>
          <p:cNvSpPr>
            <a:spLocks noGrp="1"/>
          </p:cNvSpPr>
          <p:nvPr>
            <p:ph type="body" sz="quarter" idx="12"/>
          </p:nvPr>
        </p:nvSpPr>
        <p:spPr>
          <a:xfrm>
            <a:off x="838200" y="2243738"/>
            <a:ext cx="3390900" cy="39284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6">
            <a:extLst>
              <a:ext uri="{FF2B5EF4-FFF2-40B4-BE49-F238E27FC236}">
                <a16:creationId xmlns:a16="http://schemas.microsoft.com/office/drawing/2014/main" id="{1D6814CB-13E1-4FA8-A6F0-8899250A718F}"/>
              </a:ext>
            </a:extLst>
          </p:cNvPr>
          <p:cNvSpPr>
            <a:spLocks noGrp="1"/>
          </p:cNvSpPr>
          <p:nvPr>
            <p:ph type="body" sz="quarter" idx="19"/>
          </p:nvPr>
        </p:nvSpPr>
        <p:spPr>
          <a:xfrm>
            <a:off x="4457700" y="2243738"/>
            <a:ext cx="3276600" cy="39284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6">
            <a:extLst>
              <a:ext uri="{FF2B5EF4-FFF2-40B4-BE49-F238E27FC236}">
                <a16:creationId xmlns:a16="http://schemas.microsoft.com/office/drawing/2014/main" id="{FA35E789-4E4E-4C65-91FD-5D399C36E448}"/>
              </a:ext>
            </a:extLst>
          </p:cNvPr>
          <p:cNvSpPr>
            <a:spLocks noGrp="1"/>
          </p:cNvSpPr>
          <p:nvPr>
            <p:ph type="body" sz="quarter" idx="20"/>
          </p:nvPr>
        </p:nvSpPr>
        <p:spPr>
          <a:xfrm>
            <a:off x="7962900" y="2243738"/>
            <a:ext cx="3390900" cy="39284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83692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ue_Title + Subtitle + 1 Colum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1340209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accent2"/>
                </a:solidFill>
              </a:defRPr>
            </a:lvl1p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solidFill>
                  <a:schemeClr val="bg1"/>
                </a:solidFill>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5" name="Picture Placeholder 24">
            <a:extLst>
              <a:ext uri="{FF2B5EF4-FFF2-40B4-BE49-F238E27FC236}">
                <a16:creationId xmlns:a16="http://schemas.microsoft.com/office/drawing/2014/main" id="{7C1FAC09-07B3-4EED-BF86-DD711F111699}"/>
              </a:ext>
            </a:extLst>
          </p:cNvPr>
          <p:cNvSpPr>
            <a:spLocks noGrp="1"/>
          </p:cNvSpPr>
          <p:nvPr>
            <p:ph type="pic" sz="quarter" idx="13"/>
          </p:nvPr>
        </p:nvSpPr>
        <p:spPr>
          <a:xfrm>
            <a:off x="6210301" y="723900"/>
            <a:ext cx="5143500" cy="5448300"/>
          </a:xfrm>
          <a:custGeom>
            <a:avLst/>
            <a:gdLst>
              <a:gd name="connsiteX0" fmla="*/ 4327339 w 5143500"/>
              <a:gd name="connsiteY0" fmla="*/ 0 h 5448300"/>
              <a:gd name="connsiteX1" fmla="*/ 5143500 w 5143500"/>
              <a:gd name="connsiteY1" fmla="*/ 0 h 5448300"/>
              <a:gd name="connsiteX2" fmla="*/ 5143500 w 5143500"/>
              <a:gd name="connsiteY2" fmla="*/ 950399 h 5448300"/>
              <a:gd name="connsiteX3" fmla="*/ 5019725 w 5143500"/>
              <a:gd name="connsiteY3" fmla="*/ 889336 h 5448300"/>
              <a:gd name="connsiteX4" fmla="*/ 4337202 w 5143500"/>
              <a:gd name="connsiteY4" fmla="*/ 39260 h 5448300"/>
              <a:gd name="connsiteX5" fmla="*/ 0 w 5143500"/>
              <a:gd name="connsiteY5" fmla="*/ 0 h 5448300"/>
              <a:gd name="connsiteX6" fmla="*/ 3425672 w 5143500"/>
              <a:gd name="connsiteY6" fmla="*/ 0 h 5448300"/>
              <a:gd name="connsiteX7" fmla="*/ 3437802 w 5143500"/>
              <a:gd name="connsiteY7" fmla="*/ 81399 h 5448300"/>
              <a:gd name="connsiteX8" fmla="*/ 5013027 w 5143500"/>
              <a:gd name="connsiteY8" fmla="*/ 1862967 h 5448300"/>
              <a:gd name="connsiteX9" fmla="*/ 5143500 w 5143500"/>
              <a:gd name="connsiteY9" fmla="*/ 1897324 h 5448300"/>
              <a:gd name="connsiteX10" fmla="*/ 5143500 w 5143500"/>
              <a:gd name="connsiteY10" fmla="*/ 5448300 h 5448300"/>
              <a:gd name="connsiteX11" fmla="*/ 0 w 5143500"/>
              <a:gd name="connsiteY11" fmla="*/ 5448300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3500" h="5448300">
                <a:moveTo>
                  <a:pt x="4327339" y="0"/>
                </a:moveTo>
                <a:lnTo>
                  <a:pt x="5143500" y="0"/>
                </a:lnTo>
                <a:lnTo>
                  <a:pt x="5143500" y="950399"/>
                </a:lnTo>
                <a:lnTo>
                  <a:pt x="5019725" y="889336"/>
                </a:lnTo>
                <a:cubicBezTo>
                  <a:pt x="4696329" y="709426"/>
                  <a:pt x="4448388" y="405174"/>
                  <a:pt x="4337202" y="39260"/>
                </a:cubicBezTo>
                <a:close/>
                <a:moveTo>
                  <a:pt x="0" y="0"/>
                </a:moveTo>
                <a:lnTo>
                  <a:pt x="3425672" y="0"/>
                </a:lnTo>
                <a:lnTo>
                  <a:pt x="3437802" y="81399"/>
                </a:lnTo>
                <a:cubicBezTo>
                  <a:pt x="3606945" y="927928"/>
                  <a:pt x="4217828" y="1609665"/>
                  <a:pt x="5013027" y="1862967"/>
                </a:cubicBezTo>
                <a:lnTo>
                  <a:pt x="5143500" y="1897324"/>
                </a:lnTo>
                <a:lnTo>
                  <a:pt x="5143500" y="5448300"/>
                </a:lnTo>
                <a:lnTo>
                  <a:pt x="0" y="5448300"/>
                </a:lnTo>
                <a:close/>
              </a:path>
            </a:pathLst>
          </a:custGeom>
          <a:solidFill>
            <a:schemeClr val="accent5"/>
          </a:solidFill>
        </p:spPr>
        <p:txBody>
          <a:bodyPr wrap="square">
            <a:noAutofit/>
          </a:bodyPr>
          <a:lstStyle/>
          <a:p>
            <a:endParaRPr lang="en-US"/>
          </a:p>
        </p:txBody>
      </p:sp>
      <p:sp>
        <p:nvSpPr>
          <p:cNvPr id="26" name="Freeform: Shape 25">
            <a:extLst>
              <a:ext uri="{FF2B5EF4-FFF2-40B4-BE49-F238E27FC236}">
                <a16:creationId xmlns:a16="http://schemas.microsoft.com/office/drawing/2014/main" id="{7AE87700-0B90-4F96-9501-D511A35FD4A4}"/>
              </a:ext>
            </a:extLst>
          </p:cNvPr>
          <p:cNvSpPr/>
          <p:nvPr userDrawn="1"/>
        </p:nvSpPr>
        <p:spPr>
          <a:xfrm>
            <a:off x="9601200" y="1"/>
            <a:ext cx="2590800" cy="2693163"/>
          </a:xfrm>
          <a:custGeom>
            <a:avLst/>
            <a:gdLst>
              <a:gd name="connsiteX0" fmla="*/ 24892 w 2590800"/>
              <a:gd name="connsiteY0" fmla="*/ 0 h 2693163"/>
              <a:gd name="connsiteX1" fmla="*/ 919754 w 2590800"/>
              <a:gd name="connsiteY1" fmla="*/ 0 h 2693163"/>
              <a:gd name="connsiteX2" fmla="*/ 911114 w 2590800"/>
              <a:gd name="connsiteY2" fmla="*/ 34419 h 2693163"/>
              <a:gd name="connsiteX3" fmla="*/ 882144 w 2590800"/>
              <a:gd name="connsiteY3" fmla="*/ 328796 h 2693163"/>
              <a:gd name="connsiteX4" fmla="*/ 2308652 w 2590800"/>
              <a:gd name="connsiteY4" fmla="*/ 1789551 h 2693163"/>
              <a:gd name="connsiteX5" fmla="*/ 2454552 w 2590800"/>
              <a:gd name="connsiteY5" fmla="*/ 1782009 h 2693163"/>
              <a:gd name="connsiteX6" fmla="*/ 2590800 w 2590800"/>
              <a:gd name="connsiteY6" fmla="*/ 1760720 h 2693163"/>
              <a:gd name="connsiteX7" fmla="*/ 2590800 w 2590800"/>
              <a:gd name="connsiteY7" fmla="*/ 2673751 h 2693163"/>
              <a:gd name="connsiteX8" fmla="*/ 2544700 w 2590800"/>
              <a:gd name="connsiteY8" fmla="*/ 2680956 h 2693163"/>
              <a:gd name="connsiteX9" fmla="*/ 2308652 w 2590800"/>
              <a:gd name="connsiteY9" fmla="*/ 2693163 h 2693163"/>
              <a:gd name="connsiteX10" fmla="*/ 0 w 2590800"/>
              <a:gd name="connsiteY10" fmla="*/ 328796 h 2693163"/>
              <a:gd name="connsiteX11" fmla="*/ 11919 w 2590800"/>
              <a:gd name="connsiteY11" fmla="*/ 87054 h 269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0800" h="2693163">
                <a:moveTo>
                  <a:pt x="24892" y="0"/>
                </a:moveTo>
                <a:lnTo>
                  <a:pt x="919754" y="0"/>
                </a:lnTo>
                <a:lnTo>
                  <a:pt x="911114" y="34419"/>
                </a:lnTo>
                <a:cubicBezTo>
                  <a:pt x="892119" y="129507"/>
                  <a:pt x="882144" y="227959"/>
                  <a:pt x="882144" y="328796"/>
                </a:cubicBezTo>
                <a:cubicBezTo>
                  <a:pt x="882144" y="1135492"/>
                  <a:pt x="1521112" y="1789551"/>
                  <a:pt x="2308652" y="1789551"/>
                </a:cubicBezTo>
                <a:cubicBezTo>
                  <a:pt x="2357910" y="1789551"/>
                  <a:pt x="2406583" y="1786996"/>
                  <a:pt x="2454552" y="1782009"/>
                </a:cubicBezTo>
                <a:lnTo>
                  <a:pt x="2590800" y="1760720"/>
                </a:lnTo>
                <a:lnTo>
                  <a:pt x="2590800" y="2673751"/>
                </a:lnTo>
                <a:lnTo>
                  <a:pt x="2544700" y="2680956"/>
                </a:lnTo>
                <a:cubicBezTo>
                  <a:pt x="2467089" y="2689028"/>
                  <a:pt x="2388342" y="2693163"/>
                  <a:pt x="2308652" y="2693163"/>
                </a:cubicBezTo>
                <a:cubicBezTo>
                  <a:pt x="1033615" y="2693163"/>
                  <a:pt x="0" y="1634597"/>
                  <a:pt x="0" y="328796"/>
                </a:cubicBezTo>
                <a:cubicBezTo>
                  <a:pt x="0" y="247184"/>
                  <a:pt x="4038" y="166537"/>
                  <a:pt x="11919" y="87054"/>
                </a:cubicBezTo>
                <a:close/>
              </a:path>
            </a:pathLst>
          </a:custGeom>
          <a:solidFill>
            <a:srgbClr val="FF9E18"/>
          </a:solidFill>
          <a:ln w="9264" cap="flat">
            <a:noFill/>
            <a:prstDash val="solid"/>
            <a:miter/>
          </a:ln>
        </p:spPr>
        <p:txBody>
          <a:bodyPr wrap="square" rtlCol="0" anchor="ctr">
            <a:noAutofit/>
          </a:bodyPr>
          <a:lstStyle/>
          <a:p>
            <a:endParaRPr lang="en-US"/>
          </a:p>
        </p:txBody>
      </p:sp>
      <p:sp>
        <p:nvSpPr>
          <p:cNvPr id="20" name="Picture Placeholder 6">
            <a:extLst>
              <a:ext uri="{FF2B5EF4-FFF2-40B4-BE49-F238E27FC236}">
                <a16:creationId xmlns:a16="http://schemas.microsoft.com/office/drawing/2014/main" id="{A6D2B689-247F-4A1D-AC89-6E9A93AF896A}"/>
              </a:ext>
            </a:extLst>
          </p:cNvPr>
          <p:cNvSpPr>
            <a:spLocks noGrp="1"/>
          </p:cNvSpPr>
          <p:nvPr>
            <p:ph type="pic" sz="quarter" idx="18"/>
          </p:nvPr>
        </p:nvSpPr>
        <p:spPr>
          <a:xfrm>
            <a:off x="1657350" y="2006600"/>
            <a:ext cx="1638300" cy="1638300"/>
          </a:xfrm>
        </p:spPr>
        <p:txBody>
          <a:bodyPr/>
          <a:lstStyle/>
          <a:p>
            <a:endParaRPr lang="en-US"/>
          </a:p>
        </p:txBody>
      </p:sp>
      <p:sp>
        <p:nvSpPr>
          <p:cNvPr id="23" name="Text Placeholder 16">
            <a:extLst>
              <a:ext uri="{FF2B5EF4-FFF2-40B4-BE49-F238E27FC236}">
                <a16:creationId xmlns:a16="http://schemas.microsoft.com/office/drawing/2014/main" id="{35D063A4-6C24-4D6D-94AA-E77A9601DFEC}"/>
              </a:ext>
            </a:extLst>
          </p:cNvPr>
          <p:cNvSpPr>
            <a:spLocks noGrp="1"/>
          </p:cNvSpPr>
          <p:nvPr>
            <p:ph type="body" sz="quarter" idx="12"/>
          </p:nvPr>
        </p:nvSpPr>
        <p:spPr>
          <a:xfrm>
            <a:off x="838200" y="4313065"/>
            <a:ext cx="3390900" cy="1859135"/>
          </a:xfrm>
        </p:spPr>
        <p:txBody>
          <a:bodyPr>
            <a:no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3"/>
            <a:endParaRPr lang="en-US"/>
          </a:p>
        </p:txBody>
      </p:sp>
      <p:sp>
        <p:nvSpPr>
          <p:cNvPr id="27" name="Text Placeholder 16">
            <a:extLst>
              <a:ext uri="{FF2B5EF4-FFF2-40B4-BE49-F238E27FC236}">
                <a16:creationId xmlns:a16="http://schemas.microsoft.com/office/drawing/2014/main" id="{3EC523D7-E9F2-4A6F-90DB-CEAF15171D0E}"/>
              </a:ext>
            </a:extLst>
          </p:cNvPr>
          <p:cNvSpPr>
            <a:spLocks noGrp="1"/>
          </p:cNvSpPr>
          <p:nvPr>
            <p:ph type="body" sz="quarter" idx="14" hasCustomPrompt="1"/>
          </p:nvPr>
        </p:nvSpPr>
        <p:spPr>
          <a:xfrm>
            <a:off x="838200" y="3821287"/>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Tree>
    <p:extLst>
      <p:ext uri="{BB962C8B-B14F-4D97-AF65-F5344CB8AC3E}">
        <p14:creationId xmlns:p14="http://schemas.microsoft.com/office/powerpoint/2010/main" val="12808095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1869602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FC62D5C-FCC4-4EA9-A412-5E2F486E6434}"/>
              </a:ext>
            </a:extLst>
          </p:cNvPr>
          <p:cNvSpPr/>
          <p:nvPr userDrawn="1"/>
        </p:nvSpPr>
        <p:spPr>
          <a:xfrm>
            <a:off x="0" y="0"/>
            <a:ext cx="87444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F8D282B-141A-4592-8956-EF2F480A728A}"/>
              </a:ext>
            </a:extLst>
          </p:cNvPr>
          <p:cNvSpPr/>
          <p:nvPr userDrawn="1"/>
        </p:nvSpPr>
        <p:spPr>
          <a:xfrm>
            <a:off x="2706449" y="5596645"/>
            <a:ext cx="577702" cy="5777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2"/>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Title Here</a:t>
            </a:r>
          </a:p>
        </p:txBody>
      </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18" name="Rectangle 17">
            <a:extLst>
              <a:ext uri="{FF2B5EF4-FFF2-40B4-BE49-F238E27FC236}">
                <a16:creationId xmlns:a16="http://schemas.microsoft.com/office/drawing/2014/main" id="{D3D0F794-BF98-49A7-A3AA-94AEDBE61DC7}"/>
              </a:ext>
            </a:extLst>
          </p:cNvPr>
          <p:cNvSpPr/>
          <p:nvPr userDrawn="1"/>
        </p:nvSpPr>
        <p:spPr>
          <a:xfrm>
            <a:off x="8736746" y="0"/>
            <a:ext cx="345525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204BE5A3-1DB4-425C-BBAA-2FE91B09B957}"/>
              </a:ext>
            </a:extLst>
          </p:cNvPr>
          <p:cNvSpPr/>
          <p:nvPr userDrawn="1"/>
        </p:nvSpPr>
        <p:spPr>
          <a:xfrm>
            <a:off x="7694919" y="723900"/>
            <a:ext cx="2726157" cy="5448299"/>
          </a:xfrm>
          <a:custGeom>
            <a:avLst/>
            <a:gdLst>
              <a:gd name="connsiteX0" fmla="*/ 144340 w 377711"/>
              <a:gd name="connsiteY0" fmla="*/ 754866 h 754866"/>
              <a:gd name="connsiteX1" fmla="*/ 0 w 377711"/>
              <a:gd name="connsiteY1" fmla="*/ 754866 h 754866"/>
              <a:gd name="connsiteX2" fmla="*/ 233464 w 377711"/>
              <a:gd name="connsiteY2" fmla="*/ 0 h 754866"/>
              <a:gd name="connsiteX3" fmla="*/ 377711 w 377711"/>
              <a:gd name="connsiteY3" fmla="*/ 0 h 754866"/>
            </a:gdLst>
            <a:ahLst/>
            <a:cxnLst>
              <a:cxn ang="0">
                <a:pos x="connsiteX0" y="connsiteY0"/>
              </a:cxn>
              <a:cxn ang="0">
                <a:pos x="connsiteX1" y="connsiteY1"/>
              </a:cxn>
              <a:cxn ang="0">
                <a:pos x="connsiteX2" y="connsiteY2"/>
              </a:cxn>
              <a:cxn ang="0">
                <a:pos x="connsiteX3" y="connsiteY3"/>
              </a:cxn>
            </a:cxnLst>
            <a:rect l="l" t="t" r="r" b="b"/>
            <a:pathLst>
              <a:path w="377711" h="754866">
                <a:moveTo>
                  <a:pt x="144340" y="754866"/>
                </a:moveTo>
                <a:lnTo>
                  <a:pt x="0" y="754866"/>
                </a:lnTo>
                <a:lnTo>
                  <a:pt x="233464" y="0"/>
                </a:lnTo>
                <a:lnTo>
                  <a:pt x="377711" y="0"/>
                </a:lnTo>
                <a:close/>
              </a:path>
            </a:pathLst>
          </a:custGeom>
          <a:solidFill>
            <a:schemeClr val="bg1"/>
          </a:solidFill>
          <a:ln w="9264" cap="flat">
            <a:noFill/>
            <a:prstDash val="solid"/>
            <a:miter/>
          </a:ln>
        </p:spPr>
        <p:txBody>
          <a:bodyPr rtlCol="0" anchor="ctr"/>
          <a:lstStyle/>
          <a:p>
            <a:endParaRPr lang="en-US"/>
          </a:p>
        </p:txBody>
      </p:sp>
    </p:spTree>
    <p:extLst>
      <p:ext uri="{BB962C8B-B14F-4D97-AF65-F5344CB8AC3E}">
        <p14:creationId xmlns:p14="http://schemas.microsoft.com/office/powerpoint/2010/main" val="33823692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lue_Title + Subtitle + 2 Column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940311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6896100" cy="956104"/>
          </a:xfrm>
        </p:spPr>
        <p:txBody>
          <a:bodyPr anchor="ctr"/>
          <a:lstStyle>
            <a:lvl1pPr>
              <a:defRPr>
                <a:solidFill>
                  <a:schemeClr val="bg1"/>
                </a:solidFill>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7962900" y="0"/>
            <a:ext cx="4229100" cy="6858000"/>
          </a:xfrm>
          <a:solidFill>
            <a:schemeClr val="accent5"/>
          </a:solidFill>
        </p:spPr>
        <p:txBody>
          <a:bodyPr/>
          <a:lstStyle/>
          <a:p>
            <a:endParaRPr lang="en-US"/>
          </a:p>
        </p:txBody>
      </p:sp>
      <p:sp>
        <p:nvSpPr>
          <p:cNvPr id="17" name="Picture Placeholder 6">
            <a:extLst>
              <a:ext uri="{FF2B5EF4-FFF2-40B4-BE49-F238E27FC236}">
                <a16:creationId xmlns:a16="http://schemas.microsoft.com/office/drawing/2014/main" id="{2A2440A1-53D5-4CB2-A062-F503ACD59089}"/>
              </a:ext>
            </a:extLst>
          </p:cNvPr>
          <p:cNvSpPr>
            <a:spLocks noGrp="1"/>
          </p:cNvSpPr>
          <p:nvPr>
            <p:ph type="pic" sz="quarter" idx="19"/>
          </p:nvPr>
        </p:nvSpPr>
        <p:spPr>
          <a:xfrm>
            <a:off x="1657350" y="2006600"/>
            <a:ext cx="1638300" cy="1638300"/>
          </a:xfrm>
        </p:spPr>
        <p:txBody>
          <a:bodyPr/>
          <a:lstStyle/>
          <a:p>
            <a:endParaRPr lang="en-US"/>
          </a:p>
        </p:txBody>
      </p:sp>
      <p:sp>
        <p:nvSpPr>
          <p:cNvPr id="20" name="Text Placeholder 16">
            <a:extLst>
              <a:ext uri="{FF2B5EF4-FFF2-40B4-BE49-F238E27FC236}">
                <a16:creationId xmlns:a16="http://schemas.microsoft.com/office/drawing/2014/main" id="{F454BE6E-B366-4C38-80BD-5A624FA0605E}"/>
              </a:ext>
            </a:extLst>
          </p:cNvPr>
          <p:cNvSpPr>
            <a:spLocks noGrp="1"/>
          </p:cNvSpPr>
          <p:nvPr>
            <p:ph type="body" sz="quarter" idx="20"/>
          </p:nvPr>
        </p:nvSpPr>
        <p:spPr>
          <a:xfrm>
            <a:off x="838200" y="4313065"/>
            <a:ext cx="3390900" cy="1859135"/>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4"/>
            <a:endParaRPr lang="en-US"/>
          </a:p>
        </p:txBody>
      </p:sp>
      <p:sp>
        <p:nvSpPr>
          <p:cNvPr id="27" name="Text Placeholder 16">
            <a:extLst>
              <a:ext uri="{FF2B5EF4-FFF2-40B4-BE49-F238E27FC236}">
                <a16:creationId xmlns:a16="http://schemas.microsoft.com/office/drawing/2014/main" id="{369FDFA8-F43D-44F2-87DC-ACAE4CE40BF8}"/>
              </a:ext>
            </a:extLst>
          </p:cNvPr>
          <p:cNvSpPr>
            <a:spLocks noGrp="1"/>
          </p:cNvSpPr>
          <p:nvPr>
            <p:ph type="body" sz="quarter" idx="21" hasCustomPrompt="1"/>
          </p:nvPr>
        </p:nvSpPr>
        <p:spPr>
          <a:xfrm>
            <a:off x="838200" y="3821287"/>
            <a:ext cx="32766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28" name="Picture Placeholder 6">
            <a:extLst>
              <a:ext uri="{FF2B5EF4-FFF2-40B4-BE49-F238E27FC236}">
                <a16:creationId xmlns:a16="http://schemas.microsoft.com/office/drawing/2014/main" id="{D09B28EF-D8D2-4209-AFE9-0DCA6E234A18}"/>
              </a:ext>
            </a:extLst>
          </p:cNvPr>
          <p:cNvSpPr>
            <a:spLocks noGrp="1"/>
          </p:cNvSpPr>
          <p:nvPr>
            <p:ph type="pic" sz="quarter" idx="22"/>
          </p:nvPr>
        </p:nvSpPr>
        <p:spPr>
          <a:xfrm>
            <a:off x="5276850" y="2006600"/>
            <a:ext cx="1638300" cy="1638300"/>
          </a:xfrm>
        </p:spPr>
        <p:txBody>
          <a:bodyPr/>
          <a:lstStyle/>
          <a:p>
            <a:endParaRPr lang="en-US"/>
          </a:p>
        </p:txBody>
      </p:sp>
      <p:sp>
        <p:nvSpPr>
          <p:cNvPr id="29" name="Text Placeholder 16">
            <a:extLst>
              <a:ext uri="{FF2B5EF4-FFF2-40B4-BE49-F238E27FC236}">
                <a16:creationId xmlns:a16="http://schemas.microsoft.com/office/drawing/2014/main" id="{40E27DE9-9C70-42C1-946B-B5CD19732773}"/>
              </a:ext>
            </a:extLst>
          </p:cNvPr>
          <p:cNvSpPr>
            <a:spLocks noGrp="1"/>
          </p:cNvSpPr>
          <p:nvPr>
            <p:ph type="body" sz="quarter" idx="23"/>
          </p:nvPr>
        </p:nvSpPr>
        <p:spPr>
          <a:xfrm>
            <a:off x="4457700" y="4313065"/>
            <a:ext cx="3276600" cy="1859135"/>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30" name="Text Placeholder 16">
            <a:extLst>
              <a:ext uri="{FF2B5EF4-FFF2-40B4-BE49-F238E27FC236}">
                <a16:creationId xmlns:a16="http://schemas.microsoft.com/office/drawing/2014/main" id="{AFD07C65-1A98-4EED-BAF1-ECD9309957DE}"/>
              </a:ext>
            </a:extLst>
          </p:cNvPr>
          <p:cNvSpPr>
            <a:spLocks noGrp="1"/>
          </p:cNvSpPr>
          <p:nvPr>
            <p:ph type="body" sz="quarter" idx="24" hasCustomPrompt="1"/>
          </p:nvPr>
        </p:nvSpPr>
        <p:spPr>
          <a:xfrm>
            <a:off x="4457700" y="3821287"/>
            <a:ext cx="32766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Tree>
    <p:extLst>
      <p:ext uri="{BB962C8B-B14F-4D97-AF65-F5344CB8AC3E}">
        <p14:creationId xmlns:p14="http://schemas.microsoft.com/office/powerpoint/2010/main" val="38014483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ue_Title + Subtitle + 3 Column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244296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rot="16200000">
            <a:off x="120542" y="-120543"/>
            <a:ext cx="5870603" cy="6111686"/>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3">
              <a:alpha val="15000"/>
            </a:schemeClr>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solidFill>
                  <a:schemeClr val="bg1"/>
                </a:solidFill>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35" name="Picture Placeholder 6">
            <a:extLst>
              <a:ext uri="{FF2B5EF4-FFF2-40B4-BE49-F238E27FC236}">
                <a16:creationId xmlns:a16="http://schemas.microsoft.com/office/drawing/2014/main" id="{B1716084-D43C-4BCE-B639-AFDD15AF10D7}"/>
              </a:ext>
            </a:extLst>
          </p:cNvPr>
          <p:cNvSpPr>
            <a:spLocks noGrp="1"/>
          </p:cNvSpPr>
          <p:nvPr>
            <p:ph type="pic" sz="quarter" idx="18"/>
          </p:nvPr>
        </p:nvSpPr>
        <p:spPr>
          <a:xfrm>
            <a:off x="1657350" y="2006600"/>
            <a:ext cx="1638300" cy="1638300"/>
          </a:xfrm>
        </p:spPr>
        <p:txBody>
          <a:bodyPr/>
          <a:lstStyle/>
          <a:p>
            <a:endParaRPr lang="en-US"/>
          </a:p>
        </p:txBody>
      </p:sp>
      <p:sp>
        <p:nvSpPr>
          <p:cNvPr id="36" name="Picture Placeholder 6">
            <a:extLst>
              <a:ext uri="{FF2B5EF4-FFF2-40B4-BE49-F238E27FC236}">
                <a16:creationId xmlns:a16="http://schemas.microsoft.com/office/drawing/2014/main" id="{9D639AC8-F8F2-4DD6-811F-D872CA963E02}"/>
              </a:ext>
            </a:extLst>
          </p:cNvPr>
          <p:cNvSpPr>
            <a:spLocks noGrp="1"/>
          </p:cNvSpPr>
          <p:nvPr>
            <p:ph type="pic" sz="quarter" idx="19"/>
          </p:nvPr>
        </p:nvSpPr>
        <p:spPr>
          <a:xfrm>
            <a:off x="5276850" y="2006600"/>
            <a:ext cx="1638300" cy="1638300"/>
          </a:xfrm>
        </p:spPr>
        <p:txBody>
          <a:bodyPr/>
          <a:lstStyle/>
          <a:p>
            <a:endParaRPr lang="en-US"/>
          </a:p>
        </p:txBody>
      </p:sp>
      <p:sp>
        <p:nvSpPr>
          <p:cNvPr id="37" name="Text Placeholder 16">
            <a:extLst>
              <a:ext uri="{FF2B5EF4-FFF2-40B4-BE49-F238E27FC236}">
                <a16:creationId xmlns:a16="http://schemas.microsoft.com/office/drawing/2014/main" id="{53D4FED6-135C-42A4-9E55-F5FF74855409}"/>
              </a:ext>
            </a:extLst>
          </p:cNvPr>
          <p:cNvSpPr>
            <a:spLocks noGrp="1"/>
          </p:cNvSpPr>
          <p:nvPr>
            <p:ph type="body" sz="quarter" idx="12"/>
          </p:nvPr>
        </p:nvSpPr>
        <p:spPr>
          <a:xfrm>
            <a:off x="838200" y="4313065"/>
            <a:ext cx="3390900" cy="1859135"/>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3"/>
            <a:endParaRPr lang="en-US"/>
          </a:p>
        </p:txBody>
      </p:sp>
      <p:sp>
        <p:nvSpPr>
          <p:cNvPr id="38" name="Text Placeholder 16">
            <a:extLst>
              <a:ext uri="{FF2B5EF4-FFF2-40B4-BE49-F238E27FC236}">
                <a16:creationId xmlns:a16="http://schemas.microsoft.com/office/drawing/2014/main" id="{08A9C4CC-BE26-4895-BC3D-9615B6B22DE6}"/>
              </a:ext>
            </a:extLst>
          </p:cNvPr>
          <p:cNvSpPr>
            <a:spLocks noGrp="1"/>
          </p:cNvSpPr>
          <p:nvPr>
            <p:ph type="body" sz="quarter" idx="14" hasCustomPrompt="1"/>
          </p:nvPr>
        </p:nvSpPr>
        <p:spPr>
          <a:xfrm>
            <a:off x="838200" y="3821287"/>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39" name="Text Placeholder 16">
            <a:extLst>
              <a:ext uri="{FF2B5EF4-FFF2-40B4-BE49-F238E27FC236}">
                <a16:creationId xmlns:a16="http://schemas.microsoft.com/office/drawing/2014/main" id="{7FBC863A-0DF7-47DD-9B28-6919454E1343}"/>
              </a:ext>
            </a:extLst>
          </p:cNvPr>
          <p:cNvSpPr>
            <a:spLocks noGrp="1"/>
          </p:cNvSpPr>
          <p:nvPr>
            <p:ph type="body" sz="quarter" idx="20"/>
          </p:nvPr>
        </p:nvSpPr>
        <p:spPr>
          <a:xfrm>
            <a:off x="4457700" y="4313065"/>
            <a:ext cx="3276600" cy="1859135"/>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40" name="Text Placeholder 16">
            <a:extLst>
              <a:ext uri="{FF2B5EF4-FFF2-40B4-BE49-F238E27FC236}">
                <a16:creationId xmlns:a16="http://schemas.microsoft.com/office/drawing/2014/main" id="{334EDE57-98A9-4D5C-9453-C5B359E5D4D0}"/>
              </a:ext>
            </a:extLst>
          </p:cNvPr>
          <p:cNvSpPr>
            <a:spLocks noGrp="1"/>
          </p:cNvSpPr>
          <p:nvPr>
            <p:ph type="body" sz="quarter" idx="21" hasCustomPrompt="1"/>
          </p:nvPr>
        </p:nvSpPr>
        <p:spPr>
          <a:xfrm>
            <a:off x="4457700" y="3821287"/>
            <a:ext cx="32766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
        <p:nvSpPr>
          <p:cNvPr id="41" name="Picture Placeholder 6">
            <a:extLst>
              <a:ext uri="{FF2B5EF4-FFF2-40B4-BE49-F238E27FC236}">
                <a16:creationId xmlns:a16="http://schemas.microsoft.com/office/drawing/2014/main" id="{2D6A158E-6567-49DE-A9DC-2D667F0E8095}"/>
              </a:ext>
            </a:extLst>
          </p:cNvPr>
          <p:cNvSpPr>
            <a:spLocks noGrp="1"/>
          </p:cNvSpPr>
          <p:nvPr>
            <p:ph type="pic" sz="quarter" idx="22"/>
          </p:nvPr>
        </p:nvSpPr>
        <p:spPr>
          <a:xfrm>
            <a:off x="8782050" y="2006600"/>
            <a:ext cx="1638300" cy="1638300"/>
          </a:xfrm>
        </p:spPr>
        <p:txBody>
          <a:bodyPr/>
          <a:lstStyle/>
          <a:p>
            <a:endParaRPr lang="en-US"/>
          </a:p>
        </p:txBody>
      </p:sp>
      <p:sp>
        <p:nvSpPr>
          <p:cNvPr id="42" name="Text Placeholder 16">
            <a:extLst>
              <a:ext uri="{FF2B5EF4-FFF2-40B4-BE49-F238E27FC236}">
                <a16:creationId xmlns:a16="http://schemas.microsoft.com/office/drawing/2014/main" id="{A38106D7-58CF-488B-92AE-F8772A18EF02}"/>
              </a:ext>
            </a:extLst>
          </p:cNvPr>
          <p:cNvSpPr>
            <a:spLocks noGrp="1"/>
          </p:cNvSpPr>
          <p:nvPr>
            <p:ph type="body" sz="quarter" idx="23"/>
          </p:nvPr>
        </p:nvSpPr>
        <p:spPr>
          <a:xfrm>
            <a:off x="7962900" y="4313065"/>
            <a:ext cx="3390900" cy="1859135"/>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43" name="Text Placeholder 16">
            <a:extLst>
              <a:ext uri="{FF2B5EF4-FFF2-40B4-BE49-F238E27FC236}">
                <a16:creationId xmlns:a16="http://schemas.microsoft.com/office/drawing/2014/main" id="{334F6A6F-5957-4AEF-915E-5746DD836446}"/>
              </a:ext>
            </a:extLst>
          </p:cNvPr>
          <p:cNvSpPr>
            <a:spLocks noGrp="1"/>
          </p:cNvSpPr>
          <p:nvPr>
            <p:ph type="body" sz="quarter" idx="24" hasCustomPrompt="1"/>
          </p:nvPr>
        </p:nvSpPr>
        <p:spPr>
          <a:xfrm>
            <a:off x="7962900" y="3821287"/>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Tree>
    <p:extLst>
      <p:ext uri="{BB962C8B-B14F-4D97-AF65-F5344CB8AC3E}">
        <p14:creationId xmlns:p14="http://schemas.microsoft.com/office/powerpoint/2010/main" val="16125073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Blue_Title + Copy">
    <p:bg>
      <p:bgPr>
        <a:solidFill>
          <a:schemeClr val="accent1"/>
        </a:solidFill>
        <a:effectLst/>
      </p:bgPr>
    </p:bg>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719320FC-D3D6-40DC-AD77-78A3F2CD36B2}"/>
              </a:ext>
            </a:extLst>
          </p:cNvPr>
          <p:cNvSpPr/>
          <p:nvPr userDrawn="1"/>
        </p:nvSpPr>
        <p:spPr>
          <a:xfrm rot="16200000">
            <a:off x="120542" y="-120543"/>
            <a:ext cx="5870603" cy="6111686"/>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3">
              <a:alpha val="15000"/>
            </a:schemeClr>
          </a:solidFill>
          <a:ln w="9264" cap="flat">
            <a:noFill/>
            <a:prstDash val="solid"/>
            <a:miter/>
          </a:ln>
        </p:spPr>
        <p:txBody>
          <a:bodyPr wrap="square" rtlCol="0" anchor="ctr">
            <a:noAutofit/>
          </a:bodyPr>
          <a:lstStyle/>
          <a:p>
            <a:endParaRPr lang="en-US"/>
          </a:p>
        </p:txBody>
      </p:sp>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1563184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solidFill>
                  <a:schemeClr val="bg1"/>
                </a:solidFill>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3" name="Text Placeholder 4">
            <a:extLst>
              <a:ext uri="{FF2B5EF4-FFF2-40B4-BE49-F238E27FC236}">
                <a16:creationId xmlns:a16="http://schemas.microsoft.com/office/drawing/2014/main" id="{EEAB7D23-9280-49B8-AB28-D41243E6FD94}"/>
              </a:ext>
            </a:extLst>
          </p:cNvPr>
          <p:cNvSpPr>
            <a:spLocks noGrp="1"/>
          </p:cNvSpPr>
          <p:nvPr>
            <p:ph type="body" sz="quarter" idx="12"/>
          </p:nvPr>
        </p:nvSpPr>
        <p:spPr>
          <a:xfrm>
            <a:off x="838200" y="1790700"/>
            <a:ext cx="10515600" cy="4381500"/>
          </a:xfrm>
        </p:spPr>
        <p:txBody>
          <a:bodyPr>
            <a:norm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30262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983174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rot="16200000">
            <a:off x="120542" y="-120543"/>
            <a:ext cx="5870603" cy="6111686"/>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3">
              <a:alpha val="15000"/>
            </a:schemeClr>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38" name="Text Placeholder 16">
            <a:extLst>
              <a:ext uri="{FF2B5EF4-FFF2-40B4-BE49-F238E27FC236}">
                <a16:creationId xmlns:a16="http://schemas.microsoft.com/office/drawing/2014/main" id="{08A9C4CC-BE26-4895-BC3D-9615B6B22DE6}"/>
              </a:ext>
            </a:extLst>
          </p:cNvPr>
          <p:cNvSpPr>
            <a:spLocks noGrp="1"/>
          </p:cNvSpPr>
          <p:nvPr>
            <p:ph type="body" sz="quarter" idx="14" hasCustomPrompt="1"/>
          </p:nvPr>
        </p:nvSpPr>
        <p:spPr>
          <a:xfrm>
            <a:off x="2705100" y="5307186"/>
            <a:ext cx="8648700" cy="438293"/>
          </a:xfrm>
        </p:spPr>
        <p:txBody>
          <a:bodyPr>
            <a:noAutofit/>
          </a:bodyPr>
          <a:lstStyle>
            <a:lvl1pPr marL="0" indent="0" algn="r">
              <a:buNone/>
              <a:defRPr sz="1600">
                <a:solidFill>
                  <a:schemeClr val="accent3"/>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Author</a:t>
            </a:r>
          </a:p>
        </p:txBody>
      </p:sp>
      <p:sp>
        <p:nvSpPr>
          <p:cNvPr id="3" name="TextBox 2">
            <a:extLst>
              <a:ext uri="{FF2B5EF4-FFF2-40B4-BE49-F238E27FC236}">
                <a16:creationId xmlns:a16="http://schemas.microsoft.com/office/drawing/2014/main" id="{C0DD6E0F-FAD1-48FA-8992-7706F27E3366}"/>
              </a:ext>
            </a:extLst>
          </p:cNvPr>
          <p:cNvSpPr txBox="1"/>
          <p:nvPr userDrawn="1"/>
        </p:nvSpPr>
        <p:spPr>
          <a:xfrm>
            <a:off x="2590800" y="388620"/>
            <a:ext cx="1386840" cy="2215991"/>
          </a:xfrm>
          <a:prstGeom prst="rect">
            <a:avLst/>
          </a:prstGeom>
          <a:noFill/>
        </p:spPr>
        <p:txBody>
          <a:bodyPr wrap="square" rtlCol="0">
            <a:spAutoFit/>
          </a:bodyPr>
          <a:lstStyle/>
          <a:p>
            <a:r>
              <a:rPr lang="en-US" sz="13800" b="1">
                <a:solidFill>
                  <a:schemeClr val="accent2"/>
                </a:solidFill>
                <a:latin typeface="Arial" panose="020B0604020202020204" pitchFamily="34" charset="0"/>
                <a:cs typeface="Arial" panose="020B0604020202020204" pitchFamily="34" charset="0"/>
              </a:rPr>
              <a:t>“</a:t>
            </a:r>
          </a:p>
        </p:txBody>
      </p:sp>
      <p:sp>
        <p:nvSpPr>
          <p:cNvPr id="6" name="Text Placeholder 5">
            <a:extLst>
              <a:ext uri="{FF2B5EF4-FFF2-40B4-BE49-F238E27FC236}">
                <a16:creationId xmlns:a16="http://schemas.microsoft.com/office/drawing/2014/main" id="{A6047EF4-41C3-46AC-8EB5-33D2AB91A4A9}"/>
              </a:ext>
            </a:extLst>
          </p:cNvPr>
          <p:cNvSpPr>
            <a:spLocks noGrp="1"/>
          </p:cNvSpPr>
          <p:nvPr>
            <p:ph type="body" sz="quarter" idx="15" hasCustomPrompt="1"/>
          </p:nvPr>
        </p:nvSpPr>
        <p:spPr>
          <a:xfrm>
            <a:off x="2705100" y="1500505"/>
            <a:ext cx="8648700" cy="2911475"/>
          </a:xfrm>
        </p:spPr>
        <p:txBody>
          <a:bodyPr>
            <a:noAutofit/>
          </a:bodyPr>
          <a:lstStyle>
            <a:lvl1pPr marL="0" indent="0">
              <a:buNone/>
              <a:defRPr sz="2400"/>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err="1"/>
              <a:t>Vivamus</a:t>
            </a:r>
            <a:r>
              <a:rPr lang="en-US"/>
              <a:t> </a:t>
            </a:r>
            <a:r>
              <a:rPr lang="en-US" err="1"/>
              <a:t>pretium</a:t>
            </a:r>
            <a:r>
              <a:rPr lang="en-US"/>
              <a:t> </a:t>
            </a:r>
            <a:r>
              <a:rPr lang="en-US" err="1"/>
              <a:t>auctor</a:t>
            </a:r>
            <a:r>
              <a:rPr lang="en-US"/>
              <a:t> ipsum, </a:t>
            </a:r>
            <a:r>
              <a:rPr lang="en-US" err="1"/>
              <a:t>nec</a:t>
            </a:r>
            <a:r>
              <a:rPr lang="en-US"/>
              <a:t> </a:t>
            </a:r>
            <a:r>
              <a:rPr lang="en-US" err="1"/>
              <a:t>vulputate</a:t>
            </a:r>
            <a:r>
              <a:rPr lang="en-US"/>
              <a:t> </a:t>
            </a:r>
            <a:r>
              <a:rPr lang="en-US" err="1"/>
              <a:t>quam</a:t>
            </a:r>
            <a:r>
              <a:rPr lang="en-US"/>
              <a:t> </a:t>
            </a:r>
            <a:r>
              <a:rPr lang="en-US" err="1"/>
              <a:t>tempor</a:t>
            </a:r>
            <a:r>
              <a:rPr lang="en-US"/>
              <a:t> </a:t>
            </a:r>
            <a:r>
              <a:rPr lang="en-US" err="1"/>
              <a:t>nec</a:t>
            </a:r>
            <a:r>
              <a:rPr lang="en-US"/>
              <a:t>. Maecenas a </a:t>
            </a:r>
            <a:r>
              <a:rPr lang="en-US" err="1"/>
              <a:t>nunc</a:t>
            </a:r>
            <a:r>
              <a:rPr lang="en-US"/>
              <a:t> </a:t>
            </a:r>
            <a:r>
              <a:rPr lang="en-US" err="1"/>
              <a:t>ut</a:t>
            </a:r>
            <a:r>
              <a:rPr lang="en-US"/>
              <a:t> </a:t>
            </a:r>
            <a:r>
              <a:rPr lang="en-US" err="1"/>
              <a:t>lacus</a:t>
            </a:r>
            <a:r>
              <a:rPr lang="en-US"/>
              <a:t> cursus </a:t>
            </a:r>
            <a:r>
              <a:rPr lang="en-US" err="1"/>
              <a:t>tristique</a:t>
            </a:r>
            <a:r>
              <a:rPr lang="en-US"/>
              <a:t> non </a:t>
            </a:r>
            <a:r>
              <a:rPr lang="en-US" err="1"/>
              <a:t>non</a:t>
            </a:r>
            <a:r>
              <a:rPr lang="en-US"/>
              <a:t> </a:t>
            </a:r>
            <a:r>
              <a:rPr lang="en-US" err="1"/>
              <a:t>lacus</a:t>
            </a:r>
            <a:r>
              <a:rPr lang="en-US"/>
              <a:t>. </a:t>
            </a:r>
            <a:r>
              <a:rPr lang="en-US" err="1"/>
              <a:t>Aenean</a:t>
            </a:r>
            <a:r>
              <a:rPr lang="en-US"/>
              <a:t> sit </a:t>
            </a:r>
            <a:r>
              <a:rPr lang="en-US" err="1"/>
              <a:t>amet</a:t>
            </a:r>
            <a:r>
              <a:rPr lang="en-US"/>
              <a:t> lorem sed dui </a:t>
            </a:r>
            <a:r>
              <a:rPr lang="en-US" err="1"/>
              <a:t>egestas</a:t>
            </a:r>
            <a:r>
              <a:rPr lang="en-US"/>
              <a:t> </a:t>
            </a:r>
            <a:r>
              <a:rPr lang="en-US" err="1"/>
              <a:t>molestie</a:t>
            </a:r>
            <a:r>
              <a:rPr lang="en-US"/>
              <a:t>. </a:t>
            </a:r>
            <a:r>
              <a:rPr lang="en-US" err="1"/>
              <a:t>Fusce</a:t>
            </a:r>
            <a:r>
              <a:rPr lang="en-US"/>
              <a:t> semper </a:t>
            </a:r>
            <a:r>
              <a:rPr lang="en-US" err="1"/>
              <a:t>tortor</a:t>
            </a:r>
            <a:r>
              <a:rPr lang="en-US"/>
              <a:t> </a:t>
            </a:r>
            <a:r>
              <a:rPr lang="en-US" err="1"/>
              <a:t>ut</a:t>
            </a:r>
            <a:r>
              <a:rPr lang="en-US"/>
              <a:t> </a:t>
            </a:r>
            <a:r>
              <a:rPr lang="en-US" err="1"/>
              <a:t>sem</a:t>
            </a:r>
            <a:r>
              <a:rPr lang="en-US"/>
              <a:t> cursus </a:t>
            </a:r>
            <a:r>
              <a:rPr lang="en-US" err="1"/>
              <a:t>volutpat</a:t>
            </a:r>
            <a:r>
              <a:rPr lang="en-US"/>
              <a:t>.</a:t>
            </a:r>
          </a:p>
        </p:txBody>
      </p:sp>
      <p:sp>
        <p:nvSpPr>
          <p:cNvPr id="25" name="TextBox 24">
            <a:extLst>
              <a:ext uri="{FF2B5EF4-FFF2-40B4-BE49-F238E27FC236}">
                <a16:creationId xmlns:a16="http://schemas.microsoft.com/office/drawing/2014/main" id="{1087F3AB-D7F7-4A06-914A-3AE71107C0F6}"/>
              </a:ext>
            </a:extLst>
          </p:cNvPr>
          <p:cNvSpPr txBox="1"/>
          <p:nvPr userDrawn="1"/>
        </p:nvSpPr>
        <p:spPr>
          <a:xfrm rot="10800000">
            <a:off x="10126980" y="2991579"/>
            <a:ext cx="1386840" cy="2215991"/>
          </a:xfrm>
          <a:prstGeom prst="rect">
            <a:avLst/>
          </a:prstGeom>
          <a:noFill/>
        </p:spPr>
        <p:txBody>
          <a:bodyPr wrap="square" rtlCol="0">
            <a:spAutoFit/>
          </a:bodyPr>
          <a:lstStyle/>
          <a:p>
            <a:r>
              <a:rPr lang="en-US" sz="13800" b="1">
                <a:solidFill>
                  <a:schemeClr val="accent2"/>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2559333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561065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0" name="Rectangle 9">
            <a:extLst>
              <a:ext uri="{FF2B5EF4-FFF2-40B4-BE49-F238E27FC236}">
                <a16:creationId xmlns:a16="http://schemas.microsoft.com/office/drawing/2014/main" id="{DAC9FE8B-B8CC-466C-BA58-5605BED4871B}"/>
              </a:ext>
            </a:extLst>
          </p:cNvPr>
          <p:cNvSpPr/>
          <p:nvPr userDrawn="1"/>
        </p:nvSpPr>
        <p:spPr>
          <a:xfrm>
            <a:off x="6210300" y="0"/>
            <a:ext cx="59817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Picture Placeholder 19">
            <a:extLst>
              <a:ext uri="{FF2B5EF4-FFF2-40B4-BE49-F238E27FC236}">
                <a16:creationId xmlns:a16="http://schemas.microsoft.com/office/drawing/2014/main" id="{2EE18A2D-389D-4539-A70B-3FD76986A34A}"/>
              </a:ext>
            </a:extLst>
          </p:cNvPr>
          <p:cNvSpPr>
            <a:spLocks noGrp="1"/>
          </p:cNvSpPr>
          <p:nvPr>
            <p:ph type="pic" sz="quarter" idx="16"/>
          </p:nvPr>
        </p:nvSpPr>
        <p:spPr>
          <a:xfrm>
            <a:off x="6210300" y="0"/>
            <a:ext cx="5981700" cy="6858000"/>
          </a:xfrm>
          <a:custGeom>
            <a:avLst/>
            <a:gdLst>
              <a:gd name="connsiteX0" fmla="*/ 0 w 5958840"/>
              <a:gd name="connsiteY0" fmla="*/ 0 h 6858000"/>
              <a:gd name="connsiteX1" fmla="*/ 5958840 w 5958840"/>
              <a:gd name="connsiteY1" fmla="*/ 0 h 6858000"/>
              <a:gd name="connsiteX2" fmla="*/ 5958840 w 5958840"/>
              <a:gd name="connsiteY2" fmla="*/ 6858000 h 6858000"/>
              <a:gd name="connsiteX3" fmla="*/ 0 w 5958840"/>
              <a:gd name="connsiteY3" fmla="*/ 6858000 h 6858000"/>
              <a:gd name="connsiteX4" fmla="*/ 0 w 5958840"/>
              <a:gd name="connsiteY4" fmla="*/ 5117967 h 6858000"/>
              <a:gd name="connsiteX5" fmla="*/ 178736 w 5958840"/>
              <a:gd name="connsiteY5" fmla="*/ 5126361 h 6858000"/>
              <a:gd name="connsiteX6" fmla="*/ 1815657 w 5958840"/>
              <a:gd name="connsiteY6" fmla="*/ 6812636 h 6858000"/>
              <a:gd name="connsiteX7" fmla="*/ 1813193 w 5958840"/>
              <a:gd name="connsiteY7" fmla="*/ 6857998 h 6858000"/>
              <a:gd name="connsiteX8" fmla="*/ 2940696 w 5958840"/>
              <a:gd name="connsiteY8" fmla="*/ 6857998 h 6858000"/>
              <a:gd name="connsiteX9" fmla="*/ 2943159 w 5958840"/>
              <a:gd name="connsiteY9" fmla="*/ 6812636 h 6858000"/>
              <a:gd name="connsiteX10" fmla="*/ 294080 w 5958840"/>
              <a:gd name="connsiteY10" fmla="*/ 4083244 h 6858000"/>
              <a:gd name="connsiteX11" fmla="*/ 0 w 5958840"/>
              <a:gd name="connsiteY11" fmla="*/ 40694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58840" h="6858000">
                <a:moveTo>
                  <a:pt x="0" y="0"/>
                </a:moveTo>
                <a:lnTo>
                  <a:pt x="5958840" y="0"/>
                </a:lnTo>
                <a:lnTo>
                  <a:pt x="5958840" y="6858000"/>
                </a:lnTo>
                <a:lnTo>
                  <a:pt x="0" y="6858000"/>
                </a:lnTo>
                <a:lnTo>
                  <a:pt x="0" y="5117967"/>
                </a:lnTo>
                <a:lnTo>
                  <a:pt x="178736" y="5126361"/>
                </a:lnTo>
                <a:cubicBezTo>
                  <a:pt x="1097862" y="5213170"/>
                  <a:pt x="1815657" y="5935069"/>
                  <a:pt x="1815657" y="6812636"/>
                </a:cubicBezTo>
                <a:lnTo>
                  <a:pt x="1813193" y="6857998"/>
                </a:lnTo>
                <a:lnTo>
                  <a:pt x="2940696" y="6857998"/>
                </a:lnTo>
                <a:lnTo>
                  <a:pt x="2943159" y="6812636"/>
                </a:lnTo>
                <a:cubicBezTo>
                  <a:pt x="2943159" y="5392116"/>
                  <a:pt x="1782032" y="4223742"/>
                  <a:pt x="294080" y="4083244"/>
                </a:cubicBezTo>
                <a:lnTo>
                  <a:pt x="0" y="4069437"/>
                </a:lnTo>
                <a:close/>
              </a:path>
            </a:pathLst>
          </a:custGeom>
        </p:spPr>
        <p:txBody>
          <a:bodyPr wrap="square">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38" name="Text Placeholder 16">
            <a:extLst>
              <a:ext uri="{FF2B5EF4-FFF2-40B4-BE49-F238E27FC236}">
                <a16:creationId xmlns:a16="http://schemas.microsoft.com/office/drawing/2014/main" id="{08A9C4CC-BE26-4895-BC3D-9615B6B22DE6}"/>
              </a:ext>
            </a:extLst>
          </p:cNvPr>
          <p:cNvSpPr>
            <a:spLocks noGrp="1"/>
          </p:cNvSpPr>
          <p:nvPr>
            <p:ph type="body" sz="quarter" idx="14" hasCustomPrompt="1"/>
          </p:nvPr>
        </p:nvSpPr>
        <p:spPr>
          <a:xfrm>
            <a:off x="838200" y="5733907"/>
            <a:ext cx="4762500" cy="438293"/>
          </a:xfrm>
        </p:spPr>
        <p:txBody>
          <a:bodyPr>
            <a:noAutofit/>
          </a:bodyPr>
          <a:lstStyle>
            <a:lvl1pPr marL="0" indent="0" algn="r">
              <a:buNone/>
              <a:defRPr sz="1600">
                <a:solidFill>
                  <a:schemeClr val="accent3"/>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Author</a:t>
            </a:r>
          </a:p>
        </p:txBody>
      </p:sp>
      <p:sp>
        <p:nvSpPr>
          <p:cNvPr id="6" name="Text Placeholder 5">
            <a:extLst>
              <a:ext uri="{FF2B5EF4-FFF2-40B4-BE49-F238E27FC236}">
                <a16:creationId xmlns:a16="http://schemas.microsoft.com/office/drawing/2014/main" id="{A6047EF4-41C3-46AC-8EB5-33D2AB91A4A9}"/>
              </a:ext>
            </a:extLst>
          </p:cNvPr>
          <p:cNvSpPr>
            <a:spLocks noGrp="1"/>
          </p:cNvSpPr>
          <p:nvPr>
            <p:ph type="body" sz="quarter" idx="15" hasCustomPrompt="1"/>
          </p:nvPr>
        </p:nvSpPr>
        <p:spPr>
          <a:xfrm>
            <a:off x="838200" y="1135380"/>
            <a:ext cx="4732020" cy="3848100"/>
          </a:xfrm>
        </p:spPr>
        <p:txBody>
          <a:bodyPr>
            <a:noAutofit/>
          </a:bodyPr>
          <a:lstStyle>
            <a:lvl1pPr marL="0" indent="0">
              <a:buNone/>
              <a:defRPr sz="2000"/>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err="1"/>
              <a:t>Vivamus</a:t>
            </a:r>
            <a:r>
              <a:rPr lang="en-US"/>
              <a:t> </a:t>
            </a:r>
            <a:r>
              <a:rPr lang="en-US" err="1"/>
              <a:t>pretium</a:t>
            </a:r>
            <a:r>
              <a:rPr lang="en-US"/>
              <a:t> </a:t>
            </a:r>
            <a:r>
              <a:rPr lang="en-US" err="1"/>
              <a:t>auctor</a:t>
            </a:r>
            <a:r>
              <a:rPr lang="en-US"/>
              <a:t> ipsum, </a:t>
            </a:r>
            <a:r>
              <a:rPr lang="en-US" err="1"/>
              <a:t>nec</a:t>
            </a:r>
            <a:r>
              <a:rPr lang="en-US"/>
              <a:t> </a:t>
            </a:r>
            <a:r>
              <a:rPr lang="en-US" err="1"/>
              <a:t>vulputate</a:t>
            </a:r>
            <a:r>
              <a:rPr lang="en-US"/>
              <a:t> </a:t>
            </a:r>
            <a:r>
              <a:rPr lang="en-US" err="1"/>
              <a:t>quam</a:t>
            </a:r>
            <a:r>
              <a:rPr lang="en-US"/>
              <a:t> </a:t>
            </a:r>
            <a:r>
              <a:rPr lang="en-US" err="1"/>
              <a:t>tempor</a:t>
            </a:r>
            <a:r>
              <a:rPr lang="en-US"/>
              <a:t> </a:t>
            </a:r>
            <a:r>
              <a:rPr lang="en-US" err="1"/>
              <a:t>nec</a:t>
            </a:r>
            <a:r>
              <a:rPr lang="en-US"/>
              <a:t>. Maecenas a </a:t>
            </a:r>
            <a:r>
              <a:rPr lang="en-US" err="1"/>
              <a:t>nunc</a:t>
            </a:r>
            <a:r>
              <a:rPr lang="en-US"/>
              <a:t> </a:t>
            </a:r>
            <a:r>
              <a:rPr lang="en-US" err="1"/>
              <a:t>ut</a:t>
            </a:r>
            <a:r>
              <a:rPr lang="en-US"/>
              <a:t> </a:t>
            </a:r>
            <a:r>
              <a:rPr lang="en-US" err="1"/>
              <a:t>lacus</a:t>
            </a:r>
            <a:r>
              <a:rPr lang="en-US"/>
              <a:t> cursus </a:t>
            </a:r>
            <a:r>
              <a:rPr lang="en-US" err="1"/>
              <a:t>tristique</a:t>
            </a:r>
            <a:r>
              <a:rPr lang="en-US"/>
              <a:t> non </a:t>
            </a:r>
            <a:r>
              <a:rPr lang="en-US" err="1"/>
              <a:t>non</a:t>
            </a:r>
            <a:r>
              <a:rPr lang="en-US"/>
              <a:t> </a:t>
            </a:r>
            <a:r>
              <a:rPr lang="en-US" err="1"/>
              <a:t>lacus</a:t>
            </a:r>
            <a:r>
              <a:rPr lang="en-US"/>
              <a:t>. </a:t>
            </a:r>
            <a:r>
              <a:rPr lang="en-US" err="1"/>
              <a:t>Aenean</a:t>
            </a:r>
            <a:r>
              <a:rPr lang="en-US"/>
              <a:t> sit </a:t>
            </a:r>
            <a:r>
              <a:rPr lang="en-US" err="1"/>
              <a:t>amet</a:t>
            </a:r>
            <a:r>
              <a:rPr lang="en-US"/>
              <a:t> lorem sed dui </a:t>
            </a:r>
            <a:r>
              <a:rPr lang="en-US" err="1"/>
              <a:t>egestas</a:t>
            </a:r>
            <a:r>
              <a:rPr lang="en-US"/>
              <a:t> </a:t>
            </a:r>
            <a:r>
              <a:rPr lang="en-US" err="1"/>
              <a:t>molestie</a:t>
            </a:r>
            <a:r>
              <a:rPr lang="en-US"/>
              <a:t>. </a:t>
            </a:r>
            <a:r>
              <a:rPr lang="en-US" err="1"/>
              <a:t>Fusce</a:t>
            </a:r>
            <a:r>
              <a:rPr lang="en-US"/>
              <a:t> semper </a:t>
            </a:r>
            <a:r>
              <a:rPr lang="en-US" err="1"/>
              <a:t>tortor</a:t>
            </a:r>
            <a:r>
              <a:rPr lang="en-US"/>
              <a:t> </a:t>
            </a:r>
            <a:r>
              <a:rPr lang="en-US" err="1"/>
              <a:t>ut</a:t>
            </a:r>
            <a:r>
              <a:rPr lang="en-US"/>
              <a:t> </a:t>
            </a:r>
            <a:r>
              <a:rPr lang="en-US" err="1"/>
              <a:t>sem</a:t>
            </a:r>
            <a:r>
              <a:rPr lang="en-US"/>
              <a:t> cursus </a:t>
            </a:r>
            <a:r>
              <a:rPr lang="en-US" err="1"/>
              <a:t>volutpat</a:t>
            </a:r>
            <a:r>
              <a:rPr lang="en-US"/>
              <a:t>.</a:t>
            </a:r>
          </a:p>
          <a:p>
            <a:pPr lvl="0"/>
            <a:r>
              <a:rPr lang="en-US"/>
              <a:t>Sed </a:t>
            </a:r>
            <a:r>
              <a:rPr lang="en-US" err="1"/>
              <a:t>pellentesque</a:t>
            </a:r>
            <a:r>
              <a:rPr lang="en-US"/>
              <a:t> </a:t>
            </a:r>
            <a:r>
              <a:rPr lang="en-US" err="1"/>
              <a:t>eros</a:t>
            </a:r>
            <a:r>
              <a:rPr lang="en-US"/>
              <a:t> </a:t>
            </a:r>
            <a:r>
              <a:rPr lang="en-US" err="1"/>
              <a:t>nec</a:t>
            </a:r>
            <a:r>
              <a:rPr lang="en-US"/>
              <a:t> </a:t>
            </a:r>
            <a:r>
              <a:rPr lang="en-US" err="1"/>
              <a:t>elit</a:t>
            </a:r>
            <a:r>
              <a:rPr lang="en-US"/>
              <a:t> </a:t>
            </a:r>
            <a:r>
              <a:rPr lang="en-US" err="1"/>
              <a:t>venenatis</a:t>
            </a:r>
            <a:r>
              <a:rPr lang="en-US"/>
              <a:t> </a:t>
            </a:r>
            <a:r>
              <a:rPr lang="en-US" err="1"/>
              <a:t>fringilla</a:t>
            </a:r>
            <a:r>
              <a:rPr lang="en-US"/>
              <a:t>. Integer </a:t>
            </a:r>
            <a:r>
              <a:rPr lang="en-US" err="1"/>
              <a:t>rutrum</a:t>
            </a:r>
            <a:r>
              <a:rPr lang="en-US"/>
              <a:t> ipsum </a:t>
            </a:r>
            <a:r>
              <a:rPr lang="en-US" err="1"/>
              <a:t>nibh</a:t>
            </a:r>
            <a:r>
              <a:rPr lang="en-US"/>
              <a:t>, </a:t>
            </a:r>
            <a:r>
              <a:rPr lang="en-US" err="1"/>
              <a:t>nec</a:t>
            </a:r>
            <a:r>
              <a:rPr lang="en-US"/>
              <a:t> </a:t>
            </a:r>
            <a:r>
              <a:rPr lang="en-US" err="1"/>
              <a:t>sagittis</a:t>
            </a:r>
            <a:r>
              <a:rPr lang="en-US"/>
              <a:t> ligula </a:t>
            </a:r>
            <a:r>
              <a:rPr lang="en-US" err="1"/>
              <a:t>facilisis</a:t>
            </a:r>
            <a:r>
              <a:rPr lang="en-US"/>
              <a:t> vitae.</a:t>
            </a:r>
          </a:p>
        </p:txBody>
      </p:sp>
      <p:sp>
        <p:nvSpPr>
          <p:cNvPr id="28" name="Freeform: Shape 27">
            <a:extLst>
              <a:ext uri="{FF2B5EF4-FFF2-40B4-BE49-F238E27FC236}">
                <a16:creationId xmlns:a16="http://schemas.microsoft.com/office/drawing/2014/main" id="{FD6E21CA-7F60-4DF8-8287-6157DAE730A8}"/>
              </a:ext>
            </a:extLst>
          </p:cNvPr>
          <p:cNvSpPr/>
          <p:nvPr userDrawn="1"/>
        </p:nvSpPr>
        <p:spPr>
          <a:xfrm rot="5400000">
            <a:off x="3447781" y="4004044"/>
            <a:ext cx="2796537" cy="2911380"/>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3">
              <a:alpha val="15000"/>
            </a:schemeClr>
          </a:solidFill>
          <a:ln w="926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8418421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Title + Subtitle + 3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852039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a:off x="7043889" y="1"/>
            <a:ext cx="5148111" cy="535952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lvl1pPr>
          </a:lstStyle>
          <a:p>
            <a:r>
              <a:rPr lang="en-US"/>
              <a:t>Our Services</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0" name="Picture Placeholder 6">
            <a:extLst>
              <a:ext uri="{FF2B5EF4-FFF2-40B4-BE49-F238E27FC236}">
                <a16:creationId xmlns:a16="http://schemas.microsoft.com/office/drawing/2014/main" id="{51F0FD9E-3AFB-4B29-92E4-ADCA8C32D219}"/>
              </a:ext>
            </a:extLst>
          </p:cNvPr>
          <p:cNvSpPr>
            <a:spLocks noGrp="1"/>
          </p:cNvSpPr>
          <p:nvPr>
            <p:ph type="pic" sz="quarter" idx="18"/>
          </p:nvPr>
        </p:nvSpPr>
        <p:spPr>
          <a:xfrm>
            <a:off x="1212850" y="2394133"/>
            <a:ext cx="1485900" cy="1485900"/>
          </a:xfrm>
        </p:spPr>
        <p:txBody>
          <a:bodyPr/>
          <a:lstStyle/>
          <a:p>
            <a:endParaRPr lang="en-US"/>
          </a:p>
        </p:txBody>
      </p:sp>
      <p:sp>
        <p:nvSpPr>
          <p:cNvPr id="23" name="Picture Placeholder 6">
            <a:extLst>
              <a:ext uri="{FF2B5EF4-FFF2-40B4-BE49-F238E27FC236}">
                <a16:creationId xmlns:a16="http://schemas.microsoft.com/office/drawing/2014/main" id="{963FF6B3-47CC-45EA-AEC0-F0B8E77D37DC}"/>
              </a:ext>
            </a:extLst>
          </p:cNvPr>
          <p:cNvSpPr>
            <a:spLocks noGrp="1"/>
          </p:cNvSpPr>
          <p:nvPr>
            <p:ph type="pic" sz="quarter" idx="19"/>
          </p:nvPr>
        </p:nvSpPr>
        <p:spPr>
          <a:xfrm>
            <a:off x="3931448" y="2394133"/>
            <a:ext cx="1485900" cy="1485900"/>
          </a:xfrm>
        </p:spPr>
        <p:txBody>
          <a:bodyPr/>
          <a:lstStyle/>
          <a:p>
            <a:endParaRPr lang="en-US"/>
          </a:p>
        </p:txBody>
      </p:sp>
      <p:sp>
        <p:nvSpPr>
          <p:cNvPr id="32" name="Text Placeholder 16">
            <a:extLst>
              <a:ext uri="{FF2B5EF4-FFF2-40B4-BE49-F238E27FC236}">
                <a16:creationId xmlns:a16="http://schemas.microsoft.com/office/drawing/2014/main" id="{62E1362D-EABA-407E-8EE8-E13D3342FFF9}"/>
              </a:ext>
            </a:extLst>
          </p:cNvPr>
          <p:cNvSpPr>
            <a:spLocks noGrp="1"/>
          </p:cNvSpPr>
          <p:nvPr>
            <p:ph type="body" sz="quarter" idx="14" hasCustomPrompt="1"/>
          </p:nvPr>
        </p:nvSpPr>
        <p:spPr>
          <a:xfrm>
            <a:off x="838200" y="4165854"/>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nergy Efficiency</a:t>
            </a:r>
          </a:p>
        </p:txBody>
      </p:sp>
      <p:sp>
        <p:nvSpPr>
          <p:cNvPr id="34" name="Text Placeholder 16">
            <a:extLst>
              <a:ext uri="{FF2B5EF4-FFF2-40B4-BE49-F238E27FC236}">
                <a16:creationId xmlns:a16="http://schemas.microsoft.com/office/drawing/2014/main" id="{A017B11C-6696-4537-8B33-B38F803B27FE}"/>
              </a:ext>
            </a:extLst>
          </p:cNvPr>
          <p:cNvSpPr>
            <a:spLocks noGrp="1"/>
          </p:cNvSpPr>
          <p:nvPr>
            <p:ph type="body" sz="quarter" idx="21" hasCustomPrompt="1"/>
          </p:nvPr>
        </p:nvSpPr>
        <p:spPr>
          <a:xfrm>
            <a:off x="3594470" y="4165854"/>
            <a:ext cx="2159856"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Building Electrification</a:t>
            </a:r>
          </a:p>
        </p:txBody>
      </p:sp>
      <p:sp>
        <p:nvSpPr>
          <p:cNvPr id="35" name="Picture Placeholder 6">
            <a:extLst>
              <a:ext uri="{FF2B5EF4-FFF2-40B4-BE49-F238E27FC236}">
                <a16:creationId xmlns:a16="http://schemas.microsoft.com/office/drawing/2014/main" id="{8D2FD841-A331-4B64-A0A5-3E0A3D1BFA0F}"/>
              </a:ext>
            </a:extLst>
          </p:cNvPr>
          <p:cNvSpPr>
            <a:spLocks noGrp="1"/>
          </p:cNvSpPr>
          <p:nvPr>
            <p:ph type="pic" sz="quarter" idx="22"/>
          </p:nvPr>
        </p:nvSpPr>
        <p:spPr>
          <a:xfrm>
            <a:off x="9453416" y="2397729"/>
            <a:ext cx="1485900" cy="1485900"/>
          </a:xfrm>
        </p:spPr>
        <p:txBody>
          <a:bodyPr/>
          <a:lstStyle/>
          <a:p>
            <a:endParaRPr lang="en-US"/>
          </a:p>
        </p:txBody>
      </p:sp>
      <p:sp>
        <p:nvSpPr>
          <p:cNvPr id="37" name="Text Placeholder 16">
            <a:extLst>
              <a:ext uri="{FF2B5EF4-FFF2-40B4-BE49-F238E27FC236}">
                <a16:creationId xmlns:a16="http://schemas.microsoft.com/office/drawing/2014/main" id="{4AD9E344-7E5F-4F9F-9DA4-0599F10F492E}"/>
              </a:ext>
            </a:extLst>
          </p:cNvPr>
          <p:cNvSpPr>
            <a:spLocks noGrp="1"/>
          </p:cNvSpPr>
          <p:nvPr>
            <p:ph type="body" sz="quarter" idx="24" hasCustomPrompt="1"/>
          </p:nvPr>
        </p:nvSpPr>
        <p:spPr>
          <a:xfrm>
            <a:off x="6327626" y="4165854"/>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ransportation Electrification </a:t>
            </a:r>
          </a:p>
        </p:txBody>
      </p:sp>
      <p:sp>
        <p:nvSpPr>
          <p:cNvPr id="26" name="Text Placeholder 16">
            <a:extLst>
              <a:ext uri="{FF2B5EF4-FFF2-40B4-BE49-F238E27FC236}">
                <a16:creationId xmlns:a16="http://schemas.microsoft.com/office/drawing/2014/main" id="{B88CB82A-9E2B-4C70-A96C-FB83F05CAAB0}"/>
              </a:ext>
            </a:extLst>
          </p:cNvPr>
          <p:cNvSpPr>
            <a:spLocks noGrp="1"/>
          </p:cNvSpPr>
          <p:nvPr>
            <p:ph type="body" sz="quarter" idx="26" hasCustomPrompt="1"/>
          </p:nvPr>
        </p:nvSpPr>
        <p:spPr>
          <a:xfrm>
            <a:off x="9078766" y="4165854"/>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ean &amp; Flexible Grid </a:t>
            </a:r>
          </a:p>
        </p:txBody>
      </p:sp>
      <p:sp>
        <p:nvSpPr>
          <p:cNvPr id="27" name="Picture Placeholder 6">
            <a:extLst>
              <a:ext uri="{FF2B5EF4-FFF2-40B4-BE49-F238E27FC236}">
                <a16:creationId xmlns:a16="http://schemas.microsoft.com/office/drawing/2014/main" id="{D5A0D7A4-5125-43F6-B103-0F8056DE298F}"/>
              </a:ext>
            </a:extLst>
          </p:cNvPr>
          <p:cNvSpPr>
            <a:spLocks noGrp="1"/>
          </p:cNvSpPr>
          <p:nvPr>
            <p:ph type="pic" sz="quarter" idx="27"/>
          </p:nvPr>
        </p:nvSpPr>
        <p:spPr>
          <a:xfrm>
            <a:off x="6702276" y="2394133"/>
            <a:ext cx="1485900" cy="1485900"/>
          </a:xfrm>
        </p:spPr>
        <p:txBody>
          <a:bodyPr/>
          <a:lstStyle/>
          <a:p>
            <a:endParaRPr lang="en-US"/>
          </a:p>
        </p:txBody>
      </p:sp>
    </p:spTree>
    <p:extLst>
      <p:ext uri="{BB962C8B-B14F-4D97-AF65-F5344CB8AC3E}">
        <p14:creationId xmlns:p14="http://schemas.microsoft.com/office/powerpoint/2010/main" val="31084935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Our Story 2">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1865983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a:latin typeface="Poppins ExtraBold" panose="00000900000000000000" pitchFamily="2" charset="0"/>
              <a:ea typeface="+mj-ea"/>
              <a:cs typeface="+mj-cs"/>
              <a:sym typeface="Poppins ExtraBold" panose="00000900000000000000" pitchFamily="2" charset="0"/>
            </a:endParaRPr>
          </a:p>
        </p:txBody>
      </p:sp>
      <p:sp>
        <p:nvSpPr>
          <p:cNvPr id="20" name="Rectangle 19">
            <a:extLst>
              <a:ext uri="{FF2B5EF4-FFF2-40B4-BE49-F238E27FC236}">
                <a16:creationId xmlns:a16="http://schemas.microsoft.com/office/drawing/2014/main" id="{3330F4D7-4A9E-4DEE-8885-046C363D1BAC}"/>
              </a:ext>
            </a:extLst>
          </p:cNvPr>
          <p:cNvSpPr/>
          <p:nvPr userDrawn="1"/>
        </p:nvSpPr>
        <p:spPr>
          <a:xfrm>
            <a:off x="609600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A45E6AC7-8A04-4EC4-B2DB-FCA79FA474B9}"/>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lvl1pPr>
              <a:defRPr>
                <a:solidFill>
                  <a:schemeClr val="bg1"/>
                </a:solidFill>
              </a:defRPr>
            </a:lvl1pPr>
          </a:lstStyle>
          <a:p>
            <a:fld id="{A1471D42-392E-4D14-982B-D9D765EA1509}" type="slidenum">
              <a:rPr lang="en-US" smtClean="0"/>
              <a:pPr/>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1" name="Text Placeholder 20">
            <a:extLst>
              <a:ext uri="{FF2B5EF4-FFF2-40B4-BE49-F238E27FC236}">
                <a16:creationId xmlns:a16="http://schemas.microsoft.com/office/drawing/2014/main" id="{DDA99C94-57EF-4B02-9671-725FC468AD7B}"/>
              </a:ext>
            </a:extLst>
          </p:cNvPr>
          <p:cNvSpPr>
            <a:spLocks noGrp="1"/>
          </p:cNvSpPr>
          <p:nvPr>
            <p:ph type="body" sz="quarter" idx="13"/>
          </p:nvPr>
        </p:nvSpPr>
        <p:spPr>
          <a:xfrm>
            <a:off x="838200" y="1905641"/>
            <a:ext cx="3390900" cy="2804246"/>
          </a:xfrm>
        </p:spPr>
        <p:txBody>
          <a:bodyPr rIns="457200">
            <a:no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0">
            <a:extLst>
              <a:ext uri="{FF2B5EF4-FFF2-40B4-BE49-F238E27FC236}">
                <a16:creationId xmlns:a16="http://schemas.microsoft.com/office/drawing/2014/main" id="{948741A6-2BFC-4770-9DCE-F80BD2A66B29}"/>
              </a:ext>
            </a:extLst>
          </p:cNvPr>
          <p:cNvSpPr>
            <a:spLocks noGrp="1"/>
          </p:cNvSpPr>
          <p:nvPr>
            <p:ph type="body" sz="quarter" idx="15" hasCustomPrompt="1"/>
          </p:nvPr>
        </p:nvSpPr>
        <p:spPr>
          <a:xfrm>
            <a:off x="7529873" y="1291772"/>
            <a:ext cx="3342554" cy="1589315"/>
          </a:xfrm>
        </p:spPr>
        <p:txBody>
          <a:bodyPr anchor="ctr">
            <a:noAutofit/>
          </a:bodyPr>
          <a:lstStyle>
            <a:lvl1pPr marL="0" indent="0" algn="ctr">
              <a:buNone/>
              <a:defRPr sz="8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0</a:t>
            </a:r>
          </a:p>
        </p:txBody>
      </p:sp>
      <p:sp>
        <p:nvSpPr>
          <p:cNvPr id="28" name="Text Placeholder 20">
            <a:extLst>
              <a:ext uri="{FF2B5EF4-FFF2-40B4-BE49-F238E27FC236}">
                <a16:creationId xmlns:a16="http://schemas.microsoft.com/office/drawing/2014/main" id="{80FC398A-D951-4440-BD74-C11F06328371}"/>
              </a:ext>
            </a:extLst>
          </p:cNvPr>
          <p:cNvSpPr>
            <a:spLocks noGrp="1"/>
          </p:cNvSpPr>
          <p:nvPr>
            <p:ph type="body" sz="quarter" idx="16" hasCustomPrompt="1"/>
          </p:nvPr>
        </p:nvSpPr>
        <p:spPr>
          <a:xfrm>
            <a:off x="838200" y="723900"/>
            <a:ext cx="5143500" cy="807357"/>
          </a:xfrm>
        </p:spPr>
        <p:txBody>
          <a:bodyPr anchor="ctr">
            <a:noAutofit/>
          </a:bodyPr>
          <a:lstStyle>
            <a:lvl1pPr marL="0" indent="0">
              <a:buNone/>
              <a:defRPr sz="3200" b="1">
                <a:solidFill>
                  <a:schemeClr val="bg1"/>
                </a:solidFill>
              </a:defRPr>
            </a:lvl1pPr>
          </a:lstStyle>
          <a:p>
            <a:pPr lvl="0"/>
            <a:r>
              <a:rPr lang="en-US"/>
              <a:t>Title</a:t>
            </a:r>
          </a:p>
        </p:txBody>
      </p:sp>
      <p:sp>
        <p:nvSpPr>
          <p:cNvPr id="32" name="Picture Placeholder 31">
            <a:extLst>
              <a:ext uri="{FF2B5EF4-FFF2-40B4-BE49-F238E27FC236}">
                <a16:creationId xmlns:a16="http://schemas.microsoft.com/office/drawing/2014/main" id="{45838521-3A84-49F1-AD26-4C3192EBD1B7}"/>
              </a:ext>
            </a:extLst>
          </p:cNvPr>
          <p:cNvSpPr>
            <a:spLocks noGrp="1"/>
          </p:cNvSpPr>
          <p:nvPr>
            <p:ph type="pic" sz="quarter" idx="19"/>
          </p:nvPr>
        </p:nvSpPr>
        <p:spPr>
          <a:xfrm>
            <a:off x="8354219" y="3735615"/>
            <a:ext cx="1693862" cy="1693863"/>
          </a:xfrm>
        </p:spPr>
        <p:txBody>
          <a:bodyPr/>
          <a:lstStyle/>
          <a:p>
            <a:endParaRPr lang="en-US"/>
          </a:p>
        </p:txBody>
      </p:sp>
      <p:sp>
        <p:nvSpPr>
          <p:cNvPr id="35" name="Text Placeholder 20">
            <a:extLst>
              <a:ext uri="{FF2B5EF4-FFF2-40B4-BE49-F238E27FC236}">
                <a16:creationId xmlns:a16="http://schemas.microsoft.com/office/drawing/2014/main" id="{2C9FA576-1A26-4161-92E1-11BA7290CE94}"/>
              </a:ext>
            </a:extLst>
          </p:cNvPr>
          <p:cNvSpPr>
            <a:spLocks noGrp="1"/>
          </p:cNvSpPr>
          <p:nvPr>
            <p:ph type="body" sz="quarter" idx="20" hasCustomPrompt="1"/>
          </p:nvPr>
        </p:nvSpPr>
        <p:spPr>
          <a:xfrm>
            <a:off x="7529873" y="2957463"/>
            <a:ext cx="3342554" cy="431624"/>
          </a:xfrm>
        </p:spPr>
        <p:txBody>
          <a:bodyPr anchor="ctr">
            <a:noAutofit/>
          </a:bodyPr>
          <a:lstStyle>
            <a:lvl1pPr marL="0" indent="0" algn="ctr">
              <a:buNone/>
              <a:defRPr sz="24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sp>
        <p:nvSpPr>
          <p:cNvPr id="37" name="Freeform: Shape 36">
            <a:extLst>
              <a:ext uri="{FF2B5EF4-FFF2-40B4-BE49-F238E27FC236}">
                <a16:creationId xmlns:a16="http://schemas.microsoft.com/office/drawing/2014/main" id="{7340DF83-3CD2-447D-9FD3-C3FE745A35DE}"/>
              </a:ext>
            </a:extLst>
          </p:cNvPr>
          <p:cNvSpPr/>
          <p:nvPr userDrawn="1"/>
        </p:nvSpPr>
        <p:spPr>
          <a:xfrm>
            <a:off x="4735174" y="5642430"/>
            <a:ext cx="1360827" cy="1215571"/>
          </a:xfrm>
          <a:custGeom>
            <a:avLst/>
            <a:gdLst>
              <a:gd name="connsiteX0" fmla="*/ 1360827 w 1360827"/>
              <a:gd name="connsiteY0" fmla="*/ 0 h 1215571"/>
              <a:gd name="connsiteX1" fmla="*/ 1360827 w 1360827"/>
              <a:gd name="connsiteY1" fmla="*/ 538257 h 1215571"/>
              <a:gd name="connsiteX2" fmla="*/ 577847 w 1360827"/>
              <a:gd name="connsiteY2" fmla="*/ 1069710 h 1215571"/>
              <a:gd name="connsiteX3" fmla="*/ 533645 w 1360827"/>
              <a:gd name="connsiteY3" fmla="*/ 1215571 h 1215571"/>
              <a:gd name="connsiteX4" fmla="*/ 0 w 1360827"/>
              <a:gd name="connsiteY4" fmla="*/ 1215571 h 1215571"/>
              <a:gd name="connsiteX5" fmla="*/ 13564 w 1360827"/>
              <a:gd name="connsiteY5" fmla="*/ 1124551 h 1215571"/>
              <a:gd name="connsiteX6" fmla="*/ 1360827 w 1360827"/>
              <a:gd name="connsiteY6" fmla="*/ 0 h 121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0827" h="1215571">
                <a:moveTo>
                  <a:pt x="1360827" y="0"/>
                </a:moveTo>
                <a:lnTo>
                  <a:pt x="1360827" y="538257"/>
                </a:lnTo>
                <a:cubicBezTo>
                  <a:pt x="1008730" y="538257"/>
                  <a:pt x="706804" y="757411"/>
                  <a:pt x="577847" y="1069710"/>
                </a:cubicBezTo>
                <a:lnTo>
                  <a:pt x="533645" y="1215571"/>
                </a:lnTo>
                <a:lnTo>
                  <a:pt x="0" y="1215571"/>
                </a:lnTo>
                <a:lnTo>
                  <a:pt x="13564" y="1124551"/>
                </a:lnTo>
                <a:cubicBezTo>
                  <a:pt x="141797" y="482772"/>
                  <a:pt x="696260" y="0"/>
                  <a:pt x="136082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Shape 38">
            <a:extLst>
              <a:ext uri="{FF2B5EF4-FFF2-40B4-BE49-F238E27FC236}">
                <a16:creationId xmlns:a16="http://schemas.microsoft.com/office/drawing/2014/main" id="{A8A6BFCA-2D02-4C07-A64F-967D92D8044A}"/>
              </a:ext>
            </a:extLst>
          </p:cNvPr>
          <p:cNvSpPr/>
          <p:nvPr userDrawn="1"/>
        </p:nvSpPr>
        <p:spPr>
          <a:xfrm>
            <a:off x="6096000" y="5642429"/>
            <a:ext cx="1360910" cy="1215571"/>
          </a:xfrm>
          <a:custGeom>
            <a:avLst/>
            <a:gdLst>
              <a:gd name="connsiteX0" fmla="*/ 0 w 1360910"/>
              <a:gd name="connsiteY0" fmla="*/ 0 h 1215571"/>
              <a:gd name="connsiteX1" fmla="*/ 1347380 w 1360910"/>
              <a:gd name="connsiteY1" fmla="*/ 1124551 h 1215571"/>
              <a:gd name="connsiteX2" fmla="*/ 1360910 w 1360910"/>
              <a:gd name="connsiteY2" fmla="*/ 1215571 h 1215571"/>
              <a:gd name="connsiteX3" fmla="*/ 828096 w 1360910"/>
              <a:gd name="connsiteY3" fmla="*/ 1215571 h 1215571"/>
              <a:gd name="connsiteX4" fmla="*/ 811549 w 1360910"/>
              <a:gd name="connsiteY4" fmla="*/ 1149652 h 1215571"/>
              <a:gd name="connsiteX5" fmla="*/ 0 w 1360910"/>
              <a:gd name="connsiteY5" fmla="*/ 538257 h 121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0910" h="1215571">
                <a:moveTo>
                  <a:pt x="0" y="0"/>
                </a:moveTo>
                <a:cubicBezTo>
                  <a:pt x="664874" y="0"/>
                  <a:pt x="1219373" y="482772"/>
                  <a:pt x="1347380" y="1124551"/>
                </a:cubicBezTo>
                <a:lnTo>
                  <a:pt x="1360910" y="1215571"/>
                </a:lnTo>
                <a:lnTo>
                  <a:pt x="828096" y="1215571"/>
                </a:lnTo>
                <a:lnTo>
                  <a:pt x="811549" y="1149652"/>
                </a:lnTo>
                <a:cubicBezTo>
                  <a:pt x="704000" y="795458"/>
                  <a:pt x="381442" y="538257"/>
                  <a:pt x="0" y="53825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588379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Our Story 2">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330952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a:latin typeface="Poppins ExtraBold" panose="00000900000000000000" pitchFamily="2" charset="0"/>
              <a:ea typeface="+mj-ea"/>
              <a:cs typeface="+mj-cs"/>
              <a:sym typeface="Poppins ExtraBold" panose="00000900000000000000" pitchFamily="2" charset="0"/>
            </a:endParaRPr>
          </a:p>
        </p:txBody>
      </p:sp>
      <p:sp>
        <p:nvSpPr>
          <p:cNvPr id="38" name="Rectangle 37">
            <a:extLst>
              <a:ext uri="{FF2B5EF4-FFF2-40B4-BE49-F238E27FC236}">
                <a16:creationId xmlns:a16="http://schemas.microsoft.com/office/drawing/2014/main" id="{BBD28020-CB11-4020-9334-84B4904674F7}"/>
              </a:ext>
            </a:extLst>
          </p:cNvPr>
          <p:cNvSpPr/>
          <p:nvPr userDrawn="1"/>
        </p:nvSpPr>
        <p:spPr>
          <a:xfrm>
            <a:off x="0" y="0"/>
            <a:ext cx="576217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lvl1pPr>
              <a:defRPr>
                <a:solidFill>
                  <a:schemeClr val="bg1"/>
                </a:solidFill>
              </a:defRPr>
            </a:lvl1pPr>
          </a:lstStyle>
          <a:p>
            <a:fld id="{A1471D42-392E-4D14-982B-D9D765EA1509}" type="slidenum">
              <a:rPr lang="en-US" smtClean="0"/>
              <a:pPr/>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20">
            <a:extLst>
              <a:ext uri="{FF2B5EF4-FFF2-40B4-BE49-F238E27FC236}">
                <a16:creationId xmlns:a16="http://schemas.microsoft.com/office/drawing/2014/main" id="{80FC398A-D951-4440-BD74-C11F06328371}"/>
              </a:ext>
            </a:extLst>
          </p:cNvPr>
          <p:cNvSpPr>
            <a:spLocks noGrp="1"/>
          </p:cNvSpPr>
          <p:nvPr>
            <p:ph type="body" sz="quarter" idx="16" hasCustomPrompt="1"/>
          </p:nvPr>
        </p:nvSpPr>
        <p:spPr>
          <a:xfrm>
            <a:off x="838200" y="723899"/>
            <a:ext cx="4379686" cy="2839358"/>
          </a:xfrm>
        </p:spPr>
        <p:txBody>
          <a:bodyPr anchor="t">
            <a:noAutofit/>
          </a:bodyPr>
          <a:lstStyle>
            <a:lvl1pPr marL="0" indent="0">
              <a:buNone/>
              <a:defRPr sz="3200" b="1">
                <a:solidFill>
                  <a:schemeClr val="bg1"/>
                </a:solidFill>
              </a:defRPr>
            </a:lvl1pPr>
          </a:lstStyle>
          <a:p>
            <a:pPr lvl="0"/>
            <a:r>
              <a:rPr lang="en-US"/>
              <a:t>Title</a:t>
            </a:r>
          </a:p>
        </p:txBody>
      </p:sp>
      <p:sp>
        <p:nvSpPr>
          <p:cNvPr id="32" name="Picture Placeholder 31">
            <a:extLst>
              <a:ext uri="{FF2B5EF4-FFF2-40B4-BE49-F238E27FC236}">
                <a16:creationId xmlns:a16="http://schemas.microsoft.com/office/drawing/2014/main" id="{45838521-3A84-49F1-AD26-4C3192EBD1B7}"/>
              </a:ext>
            </a:extLst>
          </p:cNvPr>
          <p:cNvSpPr>
            <a:spLocks noGrp="1"/>
          </p:cNvSpPr>
          <p:nvPr>
            <p:ph type="pic" sz="quarter" idx="19"/>
          </p:nvPr>
        </p:nvSpPr>
        <p:spPr>
          <a:xfrm>
            <a:off x="866775" y="3764644"/>
            <a:ext cx="1524000" cy="1524000"/>
          </a:xfrm>
        </p:spPr>
        <p:txBody>
          <a:bodyPr/>
          <a:lstStyle/>
          <a:p>
            <a:endParaRPr lang="en-US"/>
          </a:p>
        </p:txBody>
      </p:sp>
      <p:sp>
        <p:nvSpPr>
          <p:cNvPr id="25" name="Text Placeholder 20">
            <a:extLst>
              <a:ext uri="{FF2B5EF4-FFF2-40B4-BE49-F238E27FC236}">
                <a16:creationId xmlns:a16="http://schemas.microsoft.com/office/drawing/2014/main" id="{948741A6-2BFC-4770-9DCE-F80BD2A66B29}"/>
              </a:ext>
            </a:extLst>
          </p:cNvPr>
          <p:cNvSpPr>
            <a:spLocks noGrp="1"/>
          </p:cNvSpPr>
          <p:nvPr>
            <p:ph type="body" sz="quarter" idx="15" hasCustomPrompt="1"/>
          </p:nvPr>
        </p:nvSpPr>
        <p:spPr>
          <a:xfrm>
            <a:off x="6210299" y="869043"/>
            <a:ext cx="5111751" cy="624116"/>
          </a:xfrm>
        </p:spPr>
        <p:txBody>
          <a:bodyPr lIns="0" anchor="ctr">
            <a:noAutofit/>
          </a:bodyPr>
          <a:lstStyle>
            <a:lvl1pPr marL="0" indent="0" algn="l">
              <a:buNone/>
              <a:defRPr sz="2400">
                <a:solidFill>
                  <a:schemeClr val="accent2"/>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0</a:t>
            </a:r>
          </a:p>
        </p:txBody>
      </p:sp>
      <p:sp>
        <p:nvSpPr>
          <p:cNvPr id="31" name="Text Placeholder 20">
            <a:extLst>
              <a:ext uri="{FF2B5EF4-FFF2-40B4-BE49-F238E27FC236}">
                <a16:creationId xmlns:a16="http://schemas.microsoft.com/office/drawing/2014/main" id="{93A674FC-63C8-448C-8A63-A918B5893DA5}"/>
              </a:ext>
            </a:extLst>
          </p:cNvPr>
          <p:cNvSpPr>
            <a:spLocks noGrp="1"/>
          </p:cNvSpPr>
          <p:nvPr>
            <p:ph type="body" sz="quarter" idx="21" hasCustomPrompt="1"/>
          </p:nvPr>
        </p:nvSpPr>
        <p:spPr>
          <a:xfrm>
            <a:off x="6210300" y="1560606"/>
            <a:ext cx="5143500" cy="1434780"/>
          </a:xfrm>
        </p:spPr>
        <p:txBody>
          <a:bodyPr lIns="0" rIns="457200">
            <a:noAutofit/>
          </a:bodyPr>
          <a:lstStyle>
            <a:lvl1pPr marL="0" indent="0" algn="l">
              <a:buNone/>
              <a:defRPr sz="2000">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3" name="Picture Placeholder 2">
            <a:extLst>
              <a:ext uri="{FF2B5EF4-FFF2-40B4-BE49-F238E27FC236}">
                <a16:creationId xmlns:a16="http://schemas.microsoft.com/office/drawing/2014/main" id="{0E004348-55EF-4B40-8BD9-E45F6263C057}"/>
              </a:ext>
            </a:extLst>
          </p:cNvPr>
          <p:cNvSpPr>
            <a:spLocks noGrp="1"/>
          </p:cNvSpPr>
          <p:nvPr>
            <p:ph type="pic" sz="quarter" idx="22"/>
          </p:nvPr>
        </p:nvSpPr>
        <p:spPr>
          <a:xfrm>
            <a:off x="5760218" y="3592286"/>
            <a:ext cx="6431782" cy="3265714"/>
          </a:xfrm>
        </p:spPr>
        <p:txBody>
          <a:bodyPr/>
          <a:lstStyle/>
          <a:p>
            <a:endParaRPr lang="en-US"/>
          </a:p>
        </p:txBody>
      </p:sp>
    </p:spTree>
    <p:extLst>
      <p:ext uri="{BB962C8B-B14F-4D97-AF65-F5344CB8AC3E}">
        <p14:creationId xmlns:p14="http://schemas.microsoft.com/office/powerpoint/2010/main" val="23839119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bout Veic">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1253352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p>
            <a:fld id="{A1471D42-392E-4D14-982B-D9D765EA1509}" type="slidenum">
              <a:rPr lang="en-US" smtClean="0"/>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7" name="Freeform: Shape 16">
            <a:extLst>
              <a:ext uri="{FF2B5EF4-FFF2-40B4-BE49-F238E27FC236}">
                <a16:creationId xmlns:a16="http://schemas.microsoft.com/office/drawing/2014/main" id="{99476144-0D06-4648-9848-93F933A242CD}"/>
              </a:ext>
            </a:extLst>
          </p:cNvPr>
          <p:cNvSpPr/>
          <p:nvPr userDrawn="1"/>
        </p:nvSpPr>
        <p:spPr>
          <a:xfrm>
            <a:off x="10180784" y="3265715"/>
            <a:ext cx="2011216" cy="2093809"/>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174820430"/>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ur Story 1">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396073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0" name="Rectangle 19">
            <a:extLst>
              <a:ext uri="{FF2B5EF4-FFF2-40B4-BE49-F238E27FC236}">
                <a16:creationId xmlns:a16="http://schemas.microsoft.com/office/drawing/2014/main" id="{3330F4D7-4A9E-4DEE-8885-046C363D1BAC}"/>
              </a:ext>
            </a:extLst>
          </p:cNvPr>
          <p:cNvSpPr/>
          <p:nvPr userDrawn="1"/>
        </p:nvSpPr>
        <p:spPr>
          <a:xfrm>
            <a:off x="6210300" y="0"/>
            <a:ext cx="59817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4C48CBC-9FBB-43DF-BD4A-B3216FB008EC}"/>
              </a:ext>
            </a:extLst>
          </p:cNvPr>
          <p:cNvSpPr>
            <a:spLocks noGrp="1"/>
          </p:cNvSpPr>
          <p:nvPr>
            <p:ph type="title" hasCustomPrompt="1"/>
          </p:nvPr>
        </p:nvSpPr>
        <p:spPr>
          <a:xfrm>
            <a:off x="838200" y="719015"/>
            <a:ext cx="5143500" cy="1109785"/>
          </a:xfrm>
        </p:spPr>
        <p:txBody>
          <a:bodyPr anchor="ctr"/>
          <a:lstStyle>
            <a:lvl1pPr>
              <a:defRPr>
                <a:solidFill>
                  <a:schemeClr val="accent1"/>
                </a:solidFill>
              </a:defRPr>
            </a:lvl1pPr>
          </a:lstStyle>
          <a:p>
            <a:r>
              <a:rPr lang="en-US"/>
              <a:t>Our Story</a:t>
            </a:r>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p>
            <a:fld id="{A1471D42-392E-4D14-982B-D9D765EA1509}" type="slidenum">
              <a:rPr lang="en-US" smtClean="0"/>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1" name="Text Placeholder 20">
            <a:extLst>
              <a:ext uri="{FF2B5EF4-FFF2-40B4-BE49-F238E27FC236}">
                <a16:creationId xmlns:a16="http://schemas.microsoft.com/office/drawing/2014/main" id="{DDA99C94-57EF-4B02-9671-725FC468AD7B}"/>
              </a:ext>
            </a:extLst>
          </p:cNvPr>
          <p:cNvSpPr>
            <a:spLocks noGrp="1"/>
          </p:cNvSpPr>
          <p:nvPr>
            <p:ph type="body" sz="quarter" idx="13" hasCustomPrompt="1"/>
          </p:nvPr>
        </p:nvSpPr>
        <p:spPr>
          <a:xfrm>
            <a:off x="838200" y="2082373"/>
            <a:ext cx="5143500" cy="4089827"/>
          </a:xfrm>
        </p:spPr>
        <p:txBody>
          <a:bodyPr rIns="457200">
            <a:noAutofit/>
          </a:bodyPr>
          <a:lstStyle>
            <a:lvl1pPr marL="342900" indent="-342900">
              <a:buFont typeface="Arial" panose="020B0604020202020204" pitchFamily="34" charset="0"/>
              <a:buChar char="•"/>
              <a:defRPr sz="1800"/>
            </a:lvl1pPr>
            <a:lvl2pPr marL="457200" indent="0">
              <a:buNone/>
              <a:defRPr sz="2000"/>
            </a:lvl2pPr>
            <a:lvl3pPr marL="914400" indent="0">
              <a:buNone/>
              <a:defRPr sz="2000"/>
            </a:lvl3pPr>
            <a:lvl4pPr marL="1371600" indent="0">
              <a:buNone/>
              <a:defRPr sz="2000"/>
            </a:lvl4pPr>
            <a:lvl5pPr marL="1828800" indent="0">
              <a:buNone/>
              <a:defRPr sz="2000"/>
            </a:lvl5pPr>
          </a:lstStyle>
          <a:p>
            <a:r>
              <a:rPr lang="en-US" sz="2000"/>
              <a:t>Founded in 1986 by Beth Sachs and the late Blair Hamilton</a:t>
            </a:r>
          </a:p>
          <a:p>
            <a:r>
              <a:rPr lang="en-US" sz="2000"/>
              <a:t>Deep history in innovating Energy Efficiency approaches </a:t>
            </a:r>
          </a:p>
          <a:p>
            <a:r>
              <a:rPr lang="en-US" sz="2000"/>
              <a:t>Comprehensive expertise and approach </a:t>
            </a:r>
          </a:p>
          <a:p>
            <a:r>
              <a:rPr lang="en-US" sz="2000"/>
              <a:t>Focus on low-income and disadvantaged communities </a:t>
            </a:r>
          </a:p>
          <a:p>
            <a:r>
              <a:rPr lang="en-US" sz="2000"/>
              <a:t>Measure success by GHG reduction</a:t>
            </a:r>
          </a:p>
          <a:p>
            <a:endParaRPr lang="en-US" sz="2000"/>
          </a:p>
        </p:txBody>
      </p:sp>
      <p:sp>
        <p:nvSpPr>
          <p:cNvPr id="24" name="Text Placeholder 20">
            <a:extLst>
              <a:ext uri="{FF2B5EF4-FFF2-40B4-BE49-F238E27FC236}">
                <a16:creationId xmlns:a16="http://schemas.microsoft.com/office/drawing/2014/main" id="{3C53C450-2C06-4D6C-9F56-E2B9598D72CC}"/>
              </a:ext>
            </a:extLst>
          </p:cNvPr>
          <p:cNvSpPr>
            <a:spLocks noGrp="1"/>
          </p:cNvSpPr>
          <p:nvPr>
            <p:ph type="body" sz="quarter" idx="14" hasCustomPrompt="1"/>
          </p:nvPr>
        </p:nvSpPr>
        <p:spPr>
          <a:xfrm>
            <a:off x="7476565" y="3779227"/>
            <a:ext cx="3342554" cy="2128478"/>
          </a:xfrm>
        </p:spPr>
        <p:txBody>
          <a:bodyPr>
            <a:no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lang="en-US" b="0" i="0" smtClean="0">
                <a:effectLst/>
              </a:defRPr>
            </a:lvl3pPr>
            <a:lvl4pPr marL="1371600" indent="0">
              <a:buNone/>
              <a:defRPr sz="2000">
                <a:solidFill>
                  <a:schemeClr val="bg1"/>
                </a:solidFill>
              </a:defRPr>
            </a:lvl4pPr>
            <a:lvl5pPr marL="1828800" indent="0">
              <a:buNone/>
              <a:defRPr sz="2000">
                <a:solidFill>
                  <a:schemeClr val="bg1"/>
                </a:solidFill>
              </a:defRPr>
            </a:lvl5pPr>
          </a:lstStyle>
          <a:p>
            <a:pPr lvl="0"/>
            <a:r>
              <a:rPr lang="en-US"/>
              <a:t>It started with a simple ideas: the cleanest and cheapest form of energy is the energy not used. </a:t>
            </a:r>
          </a:p>
        </p:txBody>
      </p:sp>
      <p:sp>
        <p:nvSpPr>
          <p:cNvPr id="15" name="Picture Placeholder 14">
            <a:extLst>
              <a:ext uri="{FF2B5EF4-FFF2-40B4-BE49-F238E27FC236}">
                <a16:creationId xmlns:a16="http://schemas.microsoft.com/office/drawing/2014/main" id="{227D62EF-7589-4A8B-8223-4A9C4252E97D}"/>
              </a:ext>
            </a:extLst>
          </p:cNvPr>
          <p:cNvSpPr>
            <a:spLocks noGrp="1"/>
          </p:cNvSpPr>
          <p:nvPr>
            <p:ph type="pic" sz="quarter" idx="17"/>
          </p:nvPr>
        </p:nvSpPr>
        <p:spPr>
          <a:xfrm>
            <a:off x="6210300" y="0"/>
            <a:ext cx="5981700" cy="3381375"/>
          </a:xfrm>
          <a:solidFill>
            <a:schemeClr val="accent5"/>
          </a:solidFill>
        </p:spPr>
        <p:txBody>
          <a:bodyPr/>
          <a:lstStyle/>
          <a:p>
            <a:endParaRPr lang="en-US"/>
          </a:p>
        </p:txBody>
      </p:sp>
      <p:sp>
        <p:nvSpPr>
          <p:cNvPr id="16" name="TextBox 15">
            <a:extLst>
              <a:ext uri="{FF2B5EF4-FFF2-40B4-BE49-F238E27FC236}">
                <a16:creationId xmlns:a16="http://schemas.microsoft.com/office/drawing/2014/main" id="{409DA23E-6032-4A9E-B0AA-D20934A05E04}"/>
              </a:ext>
            </a:extLst>
          </p:cNvPr>
          <p:cNvSpPr txBox="1"/>
          <p:nvPr userDrawn="1"/>
        </p:nvSpPr>
        <p:spPr>
          <a:xfrm>
            <a:off x="6754265" y="3358078"/>
            <a:ext cx="880142" cy="1692771"/>
          </a:xfrm>
          <a:prstGeom prst="rect">
            <a:avLst/>
          </a:prstGeom>
          <a:noFill/>
        </p:spPr>
        <p:txBody>
          <a:bodyPr wrap="square" rtlCol="0">
            <a:spAutoFit/>
          </a:bodyPr>
          <a:lstStyle/>
          <a:p>
            <a:r>
              <a:rPr lang="en-US" sz="10400" b="1">
                <a:solidFill>
                  <a:schemeClr val="accent2"/>
                </a:solidFill>
                <a:latin typeface="Arial" panose="020B0604020202020204" pitchFamily="34" charset="0"/>
                <a:cs typeface="Arial" panose="020B0604020202020204" pitchFamily="34" charset="0"/>
              </a:rPr>
              <a:t>“</a:t>
            </a:r>
          </a:p>
        </p:txBody>
      </p:sp>
      <p:sp>
        <p:nvSpPr>
          <p:cNvPr id="26" name="TextBox 25">
            <a:extLst>
              <a:ext uri="{FF2B5EF4-FFF2-40B4-BE49-F238E27FC236}">
                <a16:creationId xmlns:a16="http://schemas.microsoft.com/office/drawing/2014/main" id="{DD6686E0-9D23-4B25-9AE7-6F95C49659F8}"/>
              </a:ext>
            </a:extLst>
          </p:cNvPr>
          <p:cNvSpPr txBox="1"/>
          <p:nvPr userDrawn="1"/>
        </p:nvSpPr>
        <p:spPr>
          <a:xfrm rot="10800000">
            <a:off x="10619334" y="4613165"/>
            <a:ext cx="880142" cy="1692771"/>
          </a:xfrm>
          <a:prstGeom prst="rect">
            <a:avLst/>
          </a:prstGeom>
          <a:noFill/>
        </p:spPr>
        <p:txBody>
          <a:bodyPr wrap="square" rtlCol="0">
            <a:spAutoFit/>
          </a:bodyPr>
          <a:lstStyle/>
          <a:p>
            <a:r>
              <a:rPr lang="en-US" sz="10400" b="1">
                <a:solidFill>
                  <a:schemeClr val="accent2"/>
                </a:solidFill>
                <a:latin typeface="Arial" panose="020B0604020202020204" pitchFamily="34" charset="0"/>
                <a:cs typeface="Arial" panose="020B0604020202020204" pitchFamily="34" charset="0"/>
              </a:rPr>
              <a:t>“</a:t>
            </a:r>
          </a:p>
        </p:txBody>
      </p:sp>
      <p:sp>
        <p:nvSpPr>
          <p:cNvPr id="30" name="Freeform: Shape 29">
            <a:extLst>
              <a:ext uri="{FF2B5EF4-FFF2-40B4-BE49-F238E27FC236}">
                <a16:creationId xmlns:a16="http://schemas.microsoft.com/office/drawing/2014/main" id="{B09B4822-DFCA-4A82-BE14-0328C0654944}"/>
              </a:ext>
            </a:extLst>
          </p:cNvPr>
          <p:cNvSpPr/>
          <p:nvPr userDrawn="1"/>
        </p:nvSpPr>
        <p:spPr>
          <a:xfrm>
            <a:off x="4838700" y="0"/>
            <a:ext cx="1401616" cy="1459175"/>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40656076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2">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3246969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FC62D5C-FCC4-4EA9-A412-5E2F486E6434}"/>
              </a:ext>
            </a:extLst>
          </p:cNvPr>
          <p:cNvSpPr/>
          <p:nvPr userDrawn="1"/>
        </p:nvSpPr>
        <p:spPr>
          <a:xfrm>
            <a:off x="0" y="0"/>
            <a:ext cx="874443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F8D282B-141A-4592-8956-EF2F480A728A}"/>
              </a:ext>
            </a:extLst>
          </p:cNvPr>
          <p:cNvSpPr/>
          <p:nvPr userDrawn="1"/>
        </p:nvSpPr>
        <p:spPr>
          <a:xfrm>
            <a:off x="2706449" y="5596645"/>
            <a:ext cx="577702" cy="5777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bg1"/>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Title Here</a:t>
            </a:r>
          </a:p>
        </p:txBody>
      </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18" name="Rectangle 17">
            <a:extLst>
              <a:ext uri="{FF2B5EF4-FFF2-40B4-BE49-F238E27FC236}">
                <a16:creationId xmlns:a16="http://schemas.microsoft.com/office/drawing/2014/main" id="{D3D0F794-BF98-49A7-A3AA-94AEDBE61DC7}"/>
              </a:ext>
            </a:extLst>
          </p:cNvPr>
          <p:cNvSpPr/>
          <p:nvPr userDrawn="1"/>
        </p:nvSpPr>
        <p:spPr>
          <a:xfrm>
            <a:off x="8736746" y="0"/>
            <a:ext cx="345525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B9653F2E-8282-41AD-A5BC-AA05BCC7C6A8}"/>
              </a:ext>
            </a:extLst>
          </p:cNvPr>
          <p:cNvGrpSpPr/>
          <p:nvPr userDrawn="1"/>
        </p:nvGrpSpPr>
        <p:grpSpPr>
          <a:xfrm>
            <a:off x="7322121" y="2167755"/>
            <a:ext cx="4329558" cy="2928679"/>
            <a:chOff x="4733366" y="723900"/>
            <a:chExt cx="8054392" cy="5448299"/>
          </a:xfrm>
        </p:grpSpPr>
        <p:sp>
          <p:nvSpPr>
            <p:cNvPr id="25" name="Freeform: Shape 24">
              <a:extLst>
                <a:ext uri="{FF2B5EF4-FFF2-40B4-BE49-F238E27FC236}">
                  <a16:creationId xmlns:a16="http://schemas.microsoft.com/office/drawing/2014/main" id="{0EDE29AB-BCFC-4FAE-9099-123EF692F4EC}"/>
                </a:ext>
              </a:extLst>
            </p:cNvPr>
            <p:cNvSpPr/>
            <p:nvPr userDrawn="1"/>
          </p:nvSpPr>
          <p:spPr>
            <a:xfrm>
              <a:off x="4733366" y="767543"/>
              <a:ext cx="5259720" cy="5386653"/>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chemeClr val="bg1"/>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4A1DC4E4-FA3B-4CA9-89B3-4699E67B0A1C}"/>
                </a:ext>
              </a:extLst>
            </p:cNvPr>
            <p:cNvSpPr/>
            <p:nvPr userDrawn="1"/>
          </p:nvSpPr>
          <p:spPr>
            <a:xfrm>
              <a:off x="10061601" y="723900"/>
              <a:ext cx="2726157" cy="5448299"/>
            </a:xfrm>
            <a:custGeom>
              <a:avLst/>
              <a:gdLst>
                <a:gd name="connsiteX0" fmla="*/ 144340 w 377711"/>
                <a:gd name="connsiteY0" fmla="*/ 754866 h 754866"/>
                <a:gd name="connsiteX1" fmla="*/ 0 w 377711"/>
                <a:gd name="connsiteY1" fmla="*/ 754866 h 754866"/>
                <a:gd name="connsiteX2" fmla="*/ 233464 w 377711"/>
                <a:gd name="connsiteY2" fmla="*/ 0 h 754866"/>
                <a:gd name="connsiteX3" fmla="*/ 377711 w 377711"/>
                <a:gd name="connsiteY3" fmla="*/ 0 h 754866"/>
              </a:gdLst>
              <a:ahLst/>
              <a:cxnLst>
                <a:cxn ang="0">
                  <a:pos x="connsiteX0" y="connsiteY0"/>
                </a:cxn>
                <a:cxn ang="0">
                  <a:pos x="connsiteX1" y="connsiteY1"/>
                </a:cxn>
                <a:cxn ang="0">
                  <a:pos x="connsiteX2" y="connsiteY2"/>
                </a:cxn>
                <a:cxn ang="0">
                  <a:pos x="connsiteX3" y="connsiteY3"/>
                </a:cxn>
              </a:cxnLst>
              <a:rect l="l" t="t" r="r" b="b"/>
              <a:pathLst>
                <a:path w="377711" h="754866">
                  <a:moveTo>
                    <a:pt x="144340" y="754866"/>
                  </a:moveTo>
                  <a:lnTo>
                    <a:pt x="0" y="754866"/>
                  </a:lnTo>
                  <a:lnTo>
                    <a:pt x="233464" y="0"/>
                  </a:lnTo>
                  <a:lnTo>
                    <a:pt x="377711" y="0"/>
                  </a:lnTo>
                  <a:close/>
                </a:path>
              </a:pathLst>
            </a:custGeom>
            <a:solidFill>
              <a:schemeClr val="bg1"/>
            </a:solidFill>
            <a:ln w="9264" cap="flat">
              <a:noFill/>
              <a:prstDash val="solid"/>
              <a:miter/>
            </a:ln>
          </p:spPr>
          <p:txBody>
            <a:bodyPr rtlCol="0" anchor="ctr"/>
            <a:lstStyle/>
            <a:p>
              <a:endParaRPr lang="en-US"/>
            </a:p>
          </p:txBody>
        </p:sp>
      </p:grpSp>
    </p:spTree>
    <p:extLst>
      <p:ext uri="{BB962C8B-B14F-4D97-AF65-F5344CB8AC3E}">
        <p14:creationId xmlns:p14="http://schemas.microsoft.com/office/powerpoint/2010/main" val="41559667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ur Story 2">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1983060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a:latin typeface="Poppins ExtraBold" panose="00000900000000000000" pitchFamily="2" charset="0"/>
              <a:ea typeface="+mj-ea"/>
              <a:cs typeface="+mj-cs"/>
              <a:sym typeface="Poppins ExtraBold" panose="00000900000000000000" pitchFamily="2" charset="0"/>
            </a:endParaRPr>
          </a:p>
        </p:txBody>
      </p:sp>
      <p:sp>
        <p:nvSpPr>
          <p:cNvPr id="20" name="Rectangle 19">
            <a:extLst>
              <a:ext uri="{FF2B5EF4-FFF2-40B4-BE49-F238E27FC236}">
                <a16:creationId xmlns:a16="http://schemas.microsoft.com/office/drawing/2014/main" id="{3330F4D7-4A9E-4DEE-8885-046C363D1BAC}"/>
              </a:ext>
            </a:extLst>
          </p:cNvPr>
          <p:cNvSpPr/>
          <p:nvPr userDrawn="1"/>
        </p:nvSpPr>
        <p:spPr>
          <a:xfrm>
            <a:off x="6210300" y="0"/>
            <a:ext cx="59817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4C48CBC-9FBB-43DF-BD4A-B3216FB008EC}"/>
              </a:ext>
            </a:extLst>
          </p:cNvPr>
          <p:cNvSpPr>
            <a:spLocks noGrp="1"/>
          </p:cNvSpPr>
          <p:nvPr>
            <p:ph type="title" hasCustomPrompt="1"/>
          </p:nvPr>
        </p:nvSpPr>
        <p:spPr>
          <a:xfrm>
            <a:off x="838200" y="719016"/>
            <a:ext cx="5143500" cy="472010"/>
          </a:xfrm>
        </p:spPr>
        <p:txBody>
          <a:bodyPr anchor="ctr">
            <a:normAutofit/>
          </a:bodyPr>
          <a:lstStyle>
            <a:lvl1pPr>
              <a:defRPr sz="2000">
                <a:solidFill>
                  <a:schemeClr val="accent2"/>
                </a:solidFill>
              </a:defRPr>
            </a:lvl1pPr>
          </a:lstStyle>
          <a:p>
            <a:r>
              <a:rPr lang="en-US"/>
              <a:t>Our Story</a:t>
            </a:r>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lvl1pPr>
              <a:defRPr>
                <a:solidFill>
                  <a:schemeClr val="bg1"/>
                </a:solidFill>
              </a:defRPr>
            </a:lvl1pPr>
          </a:lstStyle>
          <a:p>
            <a:fld id="{A1471D42-392E-4D14-982B-D9D765EA1509}" type="slidenum">
              <a:rPr lang="en-US" smtClean="0"/>
              <a:pPr/>
              <a:t>‹#›</a:t>
            </a:fld>
            <a:endParaRPr lang="en-US"/>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1" name="Text Placeholder 20">
            <a:extLst>
              <a:ext uri="{FF2B5EF4-FFF2-40B4-BE49-F238E27FC236}">
                <a16:creationId xmlns:a16="http://schemas.microsoft.com/office/drawing/2014/main" id="{DDA99C94-57EF-4B02-9671-725FC468AD7B}"/>
              </a:ext>
            </a:extLst>
          </p:cNvPr>
          <p:cNvSpPr>
            <a:spLocks noGrp="1"/>
          </p:cNvSpPr>
          <p:nvPr>
            <p:ph type="body" sz="quarter" idx="13"/>
          </p:nvPr>
        </p:nvSpPr>
        <p:spPr>
          <a:xfrm>
            <a:off x="838200" y="1905641"/>
            <a:ext cx="5143500" cy="1836484"/>
          </a:xfrm>
        </p:spPr>
        <p:txBody>
          <a:bodyPr rIns="457200">
            <a:no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edit Master text styles</a:t>
            </a:r>
          </a:p>
          <a:p>
            <a:pPr lvl="1"/>
            <a:r>
              <a:rPr lang="en-US"/>
              <a:t>Second level</a:t>
            </a:r>
          </a:p>
          <a:p>
            <a:pPr lvl="2"/>
            <a:r>
              <a:rPr lang="en-US"/>
              <a:t>Third level</a:t>
            </a:r>
          </a:p>
        </p:txBody>
      </p:sp>
      <p:sp>
        <p:nvSpPr>
          <p:cNvPr id="24" name="Text Placeholder 20">
            <a:extLst>
              <a:ext uri="{FF2B5EF4-FFF2-40B4-BE49-F238E27FC236}">
                <a16:creationId xmlns:a16="http://schemas.microsoft.com/office/drawing/2014/main" id="{3C53C450-2C06-4D6C-9F56-E2B9598D72CC}"/>
              </a:ext>
            </a:extLst>
          </p:cNvPr>
          <p:cNvSpPr>
            <a:spLocks noGrp="1"/>
          </p:cNvSpPr>
          <p:nvPr>
            <p:ph type="body" sz="quarter" idx="14"/>
          </p:nvPr>
        </p:nvSpPr>
        <p:spPr>
          <a:xfrm>
            <a:off x="7529873" y="3818964"/>
            <a:ext cx="3342554" cy="1759643"/>
          </a:xfrm>
        </p:spPr>
        <p:txBody>
          <a:bodyPr lIns="0">
            <a:noAutofit/>
          </a:bodyPr>
          <a:lstStyle>
            <a:lvl1pPr marL="0" indent="0" algn="ctr">
              <a:buNone/>
              <a:defRPr sz="2000">
                <a:solidFill>
                  <a:schemeClr val="bg1"/>
                </a:solidFill>
              </a:defRPr>
            </a:lvl1pPr>
            <a:lvl2pPr marL="457200" indent="0" algn="ctr">
              <a:buNone/>
              <a:defRPr sz="2000">
                <a:solidFill>
                  <a:schemeClr val="bg1"/>
                </a:solidFill>
              </a:defRPr>
            </a:lvl2pPr>
            <a:lvl3pPr marL="914400" indent="0" algn="ctr">
              <a:buNone/>
              <a:defRPr sz="2000">
                <a:solidFill>
                  <a:schemeClr val="bg1"/>
                </a:solidFill>
              </a:defRPr>
            </a:lvl3pPr>
            <a:lvl4pPr marL="1371600" indent="0" algn="ctr">
              <a:buNone/>
              <a:defRPr sz="2000">
                <a:solidFill>
                  <a:schemeClr val="bg1"/>
                </a:solidFill>
              </a:defRPr>
            </a:lvl4pPr>
            <a:lvl5pPr marL="1828800" indent="0" algn="ctr">
              <a:buNone/>
              <a:defRPr sz="200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948741A6-2BFC-4770-9DCE-F80BD2A66B29}"/>
              </a:ext>
            </a:extLst>
          </p:cNvPr>
          <p:cNvSpPr>
            <a:spLocks noGrp="1"/>
          </p:cNvSpPr>
          <p:nvPr>
            <p:ph type="body" sz="quarter" idx="15" hasCustomPrompt="1"/>
          </p:nvPr>
        </p:nvSpPr>
        <p:spPr>
          <a:xfrm>
            <a:off x="7529873" y="2442205"/>
            <a:ext cx="3342554" cy="785089"/>
          </a:xfrm>
        </p:spPr>
        <p:txBody>
          <a:bodyPr anchor="b">
            <a:normAutofit/>
          </a:bodyPr>
          <a:lstStyle>
            <a:lvl1pPr marL="0" indent="0" algn="ctr">
              <a:buNone/>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a</a:t>
            </a:r>
          </a:p>
        </p:txBody>
      </p:sp>
      <p:cxnSp>
        <p:nvCxnSpPr>
          <p:cNvPr id="27" name="Straight Connector 26">
            <a:extLst>
              <a:ext uri="{FF2B5EF4-FFF2-40B4-BE49-F238E27FC236}">
                <a16:creationId xmlns:a16="http://schemas.microsoft.com/office/drawing/2014/main" id="{3B70946F-47C3-453A-8FE2-78A660D30A5A}"/>
              </a:ext>
            </a:extLst>
          </p:cNvPr>
          <p:cNvCxnSpPr>
            <a:cxnSpLocks/>
          </p:cNvCxnSpPr>
          <p:nvPr userDrawn="1"/>
        </p:nvCxnSpPr>
        <p:spPr>
          <a:xfrm>
            <a:off x="7506821" y="3526971"/>
            <a:ext cx="338865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20">
            <a:extLst>
              <a:ext uri="{FF2B5EF4-FFF2-40B4-BE49-F238E27FC236}">
                <a16:creationId xmlns:a16="http://schemas.microsoft.com/office/drawing/2014/main" id="{80FC398A-D951-4440-BD74-C11F06328371}"/>
              </a:ext>
            </a:extLst>
          </p:cNvPr>
          <p:cNvSpPr>
            <a:spLocks noGrp="1"/>
          </p:cNvSpPr>
          <p:nvPr>
            <p:ph type="body" sz="quarter" idx="16" hasCustomPrompt="1"/>
          </p:nvPr>
        </p:nvSpPr>
        <p:spPr>
          <a:xfrm>
            <a:off x="838200" y="1413862"/>
            <a:ext cx="5143500" cy="437989"/>
          </a:xfrm>
        </p:spPr>
        <p:txBody>
          <a:bodyPr anchor="ctr">
            <a:normAutofit/>
          </a:bodyPr>
          <a:lstStyle>
            <a:lvl1pPr marL="0" indent="0">
              <a:buNone/>
              <a:defRPr sz="1600" b="1">
                <a:solidFill>
                  <a:schemeClr val="accent1"/>
                </a:solidFill>
              </a:defRPr>
            </a:lvl1pPr>
          </a:lstStyle>
          <a:p>
            <a:pPr lvl="0"/>
            <a:r>
              <a:rPr lang="en-US"/>
              <a:t>Subtitle</a:t>
            </a:r>
          </a:p>
        </p:txBody>
      </p:sp>
      <p:sp>
        <p:nvSpPr>
          <p:cNvPr id="29" name="Text Placeholder 20">
            <a:extLst>
              <a:ext uri="{FF2B5EF4-FFF2-40B4-BE49-F238E27FC236}">
                <a16:creationId xmlns:a16="http://schemas.microsoft.com/office/drawing/2014/main" id="{BC5038E9-558D-4E1B-B8A4-E22A82F12495}"/>
              </a:ext>
            </a:extLst>
          </p:cNvPr>
          <p:cNvSpPr>
            <a:spLocks noGrp="1"/>
          </p:cNvSpPr>
          <p:nvPr>
            <p:ph type="body" sz="quarter" idx="17"/>
          </p:nvPr>
        </p:nvSpPr>
        <p:spPr>
          <a:xfrm>
            <a:off x="838200" y="4335716"/>
            <a:ext cx="5143500" cy="1836484"/>
          </a:xfrm>
        </p:spPr>
        <p:txBody>
          <a:bodyPr rIns="457200">
            <a:noAutofit/>
          </a:bodyPr>
          <a:lstStyle>
            <a:lvl1pPr marL="171450" indent="-171450">
              <a:buFont typeface="Arial" panose="020B0604020202020204" pitchFamily="34" charset="0"/>
              <a:buChar char="•"/>
              <a:defRPr sz="2000"/>
            </a:lvl1pPr>
            <a:lvl2pPr marL="628650" indent="-171450">
              <a:buFont typeface="Arial" panose="020B0604020202020204" pitchFamily="34" charset="0"/>
              <a:buChar char="•"/>
              <a:defRPr sz="2000"/>
            </a:lvl2pPr>
            <a:lvl3pPr marL="1085850" indent="-171450">
              <a:buFont typeface="Arial" panose="020B0604020202020204" pitchFamily="34" charset="0"/>
              <a:buChar char="•"/>
              <a:defRPr sz="2000"/>
            </a:lvl3pPr>
            <a:lvl4pPr marL="1543050" indent="-171450">
              <a:buFont typeface="Arial" panose="020B0604020202020204" pitchFamily="34" charset="0"/>
              <a:buChar char="•"/>
              <a:defRPr sz="2000"/>
            </a:lvl4pPr>
            <a:lvl5pPr marL="2000250" indent="-17145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p:txBody>
      </p:sp>
      <p:sp>
        <p:nvSpPr>
          <p:cNvPr id="30" name="Text Placeholder 20">
            <a:extLst>
              <a:ext uri="{FF2B5EF4-FFF2-40B4-BE49-F238E27FC236}">
                <a16:creationId xmlns:a16="http://schemas.microsoft.com/office/drawing/2014/main" id="{7B913968-860C-4789-9A01-7F02A2918391}"/>
              </a:ext>
            </a:extLst>
          </p:cNvPr>
          <p:cNvSpPr>
            <a:spLocks noGrp="1"/>
          </p:cNvSpPr>
          <p:nvPr>
            <p:ph type="body" sz="quarter" idx="18" hasCustomPrompt="1"/>
          </p:nvPr>
        </p:nvSpPr>
        <p:spPr>
          <a:xfrm>
            <a:off x="838200" y="3843937"/>
            <a:ext cx="5143500" cy="437989"/>
          </a:xfrm>
        </p:spPr>
        <p:txBody>
          <a:bodyPr anchor="ctr">
            <a:normAutofit/>
          </a:bodyPr>
          <a:lstStyle>
            <a:lvl1pPr marL="0" indent="0">
              <a:buNone/>
              <a:defRPr sz="1200" b="1">
                <a:solidFill>
                  <a:schemeClr val="accent3"/>
                </a:solidFill>
              </a:defRPr>
            </a:lvl1pPr>
          </a:lstStyle>
          <a:p>
            <a:pPr lvl="0"/>
            <a:r>
              <a:rPr lang="en-US"/>
              <a:t>Sub Subtitle</a:t>
            </a:r>
          </a:p>
        </p:txBody>
      </p:sp>
      <p:sp>
        <p:nvSpPr>
          <p:cNvPr id="32" name="Picture Placeholder 31">
            <a:extLst>
              <a:ext uri="{FF2B5EF4-FFF2-40B4-BE49-F238E27FC236}">
                <a16:creationId xmlns:a16="http://schemas.microsoft.com/office/drawing/2014/main" id="{45838521-3A84-49F1-AD26-4C3192EBD1B7}"/>
              </a:ext>
            </a:extLst>
          </p:cNvPr>
          <p:cNvSpPr>
            <a:spLocks noGrp="1"/>
          </p:cNvSpPr>
          <p:nvPr>
            <p:ph type="pic" sz="quarter" idx="19"/>
          </p:nvPr>
        </p:nvSpPr>
        <p:spPr>
          <a:xfrm>
            <a:off x="8354219" y="723900"/>
            <a:ext cx="1693862" cy="1693863"/>
          </a:xfrm>
        </p:spPr>
        <p:txBody>
          <a:bodyPr/>
          <a:lstStyle/>
          <a:p>
            <a:endParaRPr lang="en-US"/>
          </a:p>
        </p:txBody>
      </p:sp>
    </p:spTree>
    <p:extLst>
      <p:ext uri="{BB962C8B-B14F-4D97-AF65-F5344CB8AC3E}">
        <p14:creationId xmlns:p14="http://schemas.microsoft.com/office/powerpoint/2010/main" val="17933896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ur Brand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5F4472-CEB9-4592-B1B7-4610AEF42C05}"/>
              </a:ext>
            </a:extLst>
          </p:cNvPr>
          <p:cNvGraphicFramePr>
            <a:graphicFrameLocks noChangeAspect="1"/>
          </p:cNvGraphicFramePr>
          <p:nvPr userDrawn="1">
            <p:custDataLst>
              <p:tags r:id="rId1"/>
            </p:custDataLst>
            <p:extLst>
              <p:ext uri="{D42A27DB-BD31-4B8C-83A1-F6EECF244321}">
                <p14:modId xmlns:p14="http://schemas.microsoft.com/office/powerpoint/2010/main" val="1669301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D35F4472-CEB9-4592-B1B7-4610AEF42C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7C16CAF-5ACD-4872-90BC-31DC5A3DFF2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FB1A2F0C-A90C-470A-BB72-C652598A68D8}"/>
              </a:ext>
            </a:extLst>
          </p:cNvPr>
          <p:cNvSpPr/>
          <p:nvPr userDrawn="1"/>
        </p:nvSpPr>
        <p:spPr>
          <a:xfrm>
            <a:off x="0" y="2305050"/>
            <a:ext cx="12192000" cy="4552951"/>
          </a:xfrm>
          <a:prstGeom prst="rect">
            <a:avLst/>
          </a:prstGeom>
          <a:solidFill>
            <a:srgbClr val="F1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23901"/>
            <a:ext cx="3390900" cy="1352549"/>
          </a:xfrm>
        </p:spPr>
        <p:txBody>
          <a:bodyPr anchor="ctr"/>
          <a:lstStyle>
            <a:lvl1pPr>
              <a:defRPr>
                <a:solidFill>
                  <a:schemeClr val="accent1"/>
                </a:solidFill>
              </a:defRPr>
            </a:lvl1pPr>
          </a:lstStyle>
          <a:p>
            <a:r>
              <a:rPr lang="en-US"/>
              <a:t>Our Brands</a:t>
            </a:r>
          </a:p>
        </p:txBody>
      </p:sp>
      <p:grpSp>
        <p:nvGrpSpPr>
          <p:cNvPr id="12" name="Graphic 6">
            <a:extLst>
              <a:ext uri="{FF2B5EF4-FFF2-40B4-BE49-F238E27FC236}">
                <a16:creationId xmlns:a16="http://schemas.microsoft.com/office/drawing/2014/main" id="{6F33694D-A696-4E5F-BD7B-B2D3E1792923}"/>
              </a:ext>
            </a:extLst>
          </p:cNvPr>
          <p:cNvGrpSpPr/>
          <p:nvPr userDrawn="1"/>
        </p:nvGrpSpPr>
        <p:grpSpPr>
          <a:xfrm>
            <a:off x="891988" y="6394893"/>
            <a:ext cx="432890" cy="187030"/>
            <a:chOff x="85969" y="3646150"/>
            <a:chExt cx="1544103" cy="667132"/>
          </a:xfrm>
          <a:solidFill>
            <a:srgbClr val="FF9E18"/>
          </a:solidFill>
        </p:grpSpPr>
        <p:sp>
          <p:nvSpPr>
            <p:cNvPr id="13" name="Freeform: Shape 12">
              <a:extLst>
                <a:ext uri="{FF2B5EF4-FFF2-40B4-BE49-F238E27FC236}">
                  <a16:creationId xmlns:a16="http://schemas.microsoft.com/office/drawing/2014/main" id="{4E997645-76A6-49E6-8465-BB96BCA3442C}"/>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0BA2DA5-8DC0-4A39-A0DD-C6FA0B705841}"/>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044468FC-750A-48E4-B0A2-BB3CA471C07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B197554-4C1B-41D3-91BF-0ECA2E5F3D40}"/>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7" name="Text Placeholder 20">
            <a:extLst>
              <a:ext uri="{FF2B5EF4-FFF2-40B4-BE49-F238E27FC236}">
                <a16:creationId xmlns:a16="http://schemas.microsoft.com/office/drawing/2014/main" id="{17EB5151-8A2B-4DF7-A176-234B652A196D}"/>
              </a:ext>
            </a:extLst>
          </p:cNvPr>
          <p:cNvSpPr>
            <a:spLocks noGrp="1"/>
          </p:cNvSpPr>
          <p:nvPr>
            <p:ph type="body" sz="quarter" idx="13"/>
          </p:nvPr>
        </p:nvSpPr>
        <p:spPr>
          <a:xfrm>
            <a:off x="4457700" y="723901"/>
            <a:ext cx="6896099" cy="1352549"/>
          </a:xfrm>
        </p:spPr>
        <p:txBody>
          <a:bodyPr rIns="457200" anchor="ctr">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CB97D16F-D6D5-47A8-AE9E-031CBC7FF4B7}"/>
              </a:ext>
            </a:extLst>
          </p:cNvPr>
          <p:cNvSpPr>
            <a:spLocks noGrp="1"/>
          </p:cNvSpPr>
          <p:nvPr>
            <p:ph type="pic" sz="quarter" idx="14"/>
          </p:nvPr>
        </p:nvSpPr>
        <p:spPr>
          <a:xfrm>
            <a:off x="838200" y="2581275"/>
            <a:ext cx="3390900" cy="1143000"/>
          </a:xfrm>
        </p:spPr>
        <p:txBody>
          <a:bodyPr/>
          <a:lstStyle/>
          <a:p>
            <a:endParaRPr lang="en-US"/>
          </a:p>
        </p:txBody>
      </p:sp>
      <p:sp>
        <p:nvSpPr>
          <p:cNvPr id="18" name="Picture Placeholder 8">
            <a:extLst>
              <a:ext uri="{FF2B5EF4-FFF2-40B4-BE49-F238E27FC236}">
                <a16:creationId xmlns:a16="http://schemas.microsoft.com/office/drawing/2014/main" id="{B8D53610-0D24-49E1-BAC5-0444D3028599}"/>
              </a:ext>
            </a:extLst>
          </p:cNvPr>
          <p:cNvSpPr>
            <a:spLocks noGrp="1"/>
          </p:cNvSpPr>
          <p:nvPr>
            <p:ph type="pic" sz="quarter" idx="15"/>
          </p:nvPr>
        </p:nvSpPr>
        <p:spPr>
          <a:xfrm>
            <a:off x="4457700" y="2581275"/>
            <a:ext cx="3276600" cy="1143000"/>
          </a:xfrm>
        </p:spPr>
        <p:txBody>
          <a:bodyPr/>
          <a:lstStyle/>
          <a:p>
            <a:endParaRPr lang="en-US"/>
          </a:p>
        </p:txBody>
      </p:sp>
      <p:sp>
        <p:nvSpPr>
          <p:cNvPr id="19" name="Picture Placeholder 8">
            <a:extLst>
              <a:ext uri="{FF2B5EF4-FFF2-40B4-BE49-F238E27FC236}">
                <a16:creationId xmlns:a16="http://schemas.microsoft.com/office/drawing/2014/main" id="{E6D617FE-A67B-4DD8-88A1-35D63BE0B19A}"/>
              </a:ext>
            </a:extLst>
          </p:cNvPr>
          <p:cNvSpPr>
            <a:spLocks noGrp="1"/>
          </p:cNvSpPr>
          <p:nvPr>
            <p:ph type="pic" sz="quarter" idx="16"/>
          </p:nvPr>
        </p:nvSpPr>
        <p:spPr>
          <a:xfrm>
            <a:off x="7962900" y="2581275"/>
            <a:ext cx="3390900" cy="1143000"/>
          </a:xfrm>
        </p:spPr>
        <p:txBody>
          <a:bodyPr/>
          <a:lstStyle/>
          <a:p>
            <a:endParaRPr lang="en-US"/>
          </a:p>
        </p:txBody>
      </p:sp>
      <p:sp>
        <p:nvSpPr>
          <p:cNvPr id="20" name="Picture Placeholder 8">
            <a:extLst>
              <a:ext uri="{FF2B5EF4-FFF2-40B4-BE49-F238E27FC236}">
                <a16:creationId xmlns:a16="http://schemas.microsoft.com/office/drawing/2014/main" id="{2B37B88F-897D-4DA8-8CC0-CBD93C958E20}"/>
              </a:ext>
            </a:extLst>
          </p:cNvPr>
          <p:cNvSpPr>
            <a:spLocks noGrp="1"/>
          </p:cNvSpPr>
          <p:nvPr>
            <p:ph type="pic" sz="quarter" idx="17"/>
          </p:nvPr>
        </p:nvSpPr>
        <p:spPr>
          <a:xfrm>
            <a:off x="838200" y="3800475"/>
            <a:ext cx="3390900" cy="1143000"/>
          </a:xfrm>
        </p:spPr>
        <p:txBody>
          <a:bodyPr/>
          <a:lstStyle/>
          <a:p>
            <a:endParaRPr lang="en-US"/>
          </a:p>
        </p:txBody>
      </p:sp>
      <p:sp>
        <p:nvSpPr>
          <p:cNvPr id="21" name="Picture Placeholder 8">
            <a:extLst>
              <a:ext uri="{FF2B5EF4-FFF2-40B4-BE49-F238E27FC236}">
                <a16:creationId xmlns:a16="http://schemas.microsoft.com/office/drawing/2014/main" id="{4529DA02-79DA-4D0A-BD75-97ACAABD1C6C}"/>
              </a:ext>
            </a:extLst>
          </p:cNvPr>
          <p:cNvSpPr>
            <a:spLocks noGrp="1"/>
          </p:cNvSpPr>
          <p:nvPr>
            <p:ph type="pic" sz="quarter" idx="18"/>
          </p:nvPr>
        </p:nvSpPr>
        <p:spPr>
          <a:xfrm>
            <a:off x="4457700" y="3800475"/>
            <a:ext cx="3276600" cy="1143000"/>
          </a:xfrm>
        </p:spPr>
        <p:txBody>
          <a:bodyPr/>
          <a:lstStyle/>
          <a:p>
            <a:endParaRPr lang="en-US"/>
          </a:p>
        </p:txBody>
      </p:sp>
      <p:sp>
        <p:nvSpPr>
          <p:cNvPr id="22" name="Picture Placeholder 8">
            <a:extLst>
              <a:ext uri="{FF2B5EF4-FFF2-40B4-BE49-F238E27FC236}">
                <a16:creationId xmlns:a16="http://schemas.microsoft.com/office/drawing/2014/main" id="{B19DEB20-57E3-4DCD-9506-84653157FD9A}"/>
              </a:ext>
            </a:extLst>
          </p:cNvPr>
          <p:cNvSpPr>
            <a:spLocks noGrp="1"/>
          </p:cNvSpPr>
          <p:nvPr>
            <p:ph type="pic" sz="quarter" idx="19"/>
          </p:nvPr>
        </p:nvSpPr>
        <p:spPr>
          <a:xfrm>
            <a:off x="7962900" y="3800475"/>
            <a:ext cx="3390900" cy="1143000"/>
          </a:xfrm>
        </p:spPr>
        <p:txBody>
          <a:bodyPr/>
          <a:lstStyle/>
          <a:p>
            <a:endParaRPr lang="en-US"/>
          </a:p>
        </p:txBody>
      </p:sp>
      <p:sp>
        <p:nvSpPr>
          <p:cNvPr id="23" name="Picture Placeholder 8">
            <a:extLst>
              <a:ext uri="{FF2B5EF4-FFF2-40B4-BE49-F238E27FC236}">
                <a16:creationId xmlns:a16="http://schemas.microsoft.com/office/drawing/2014/main" id="{9C2FAE33-AA4B-4812-BDD2-B690F530879C}"/>
              </a:ext>
            </a:extLst>
          </p:cNvPr>
          <p:cNvSpPr>
            <a:spLocks noGrp="1"/>
          </p:cNvSpPr>
          <p:nvPr>
            <p:ph type="pic" sz="quarter" idx="20"/>
          </p:nvPr>
        </p:nvSpPr>
        <p:spPr>
          <a:xfrm>
            <a:off x="838200" y="5029200"/>
            <a:ext cx="3390900" cy="1143000"/>
          </a:xfrm>
        </p:spPr>
        <p:txBody>
          <a:bodyPr/>
          <a:lstStyle/>
          <a:p>
            <a:endParaRPr lang="en-US"/>
          </a:p>
        </p:txBody>
      </p:sp>
      <p:sp>
        <p:nvSpPr>
          <p:cNvPr id="24" name="Picture Placeholder 8">
            <a:extLst>
              <a:ext uri="{FF2B5EF4-FFF2-40B4-BE49-F238E27FC236}">
                <a16:creationId xmlns:a16="http://schemas.microsoft.com/office/drawing/2014/main" id="{9B17764A-C197-4D8D-B458-77B67EE351D0}"/>
              </a:ext>
            </a:extLst>
          </p:cNvPr>
          <p:cNvSpPr>
            <a:spLocks noGrp="1"/>
          </p:cNvSpPr>
          <p:nvPr>
            <p:ph type="pic" sz="quarter" idx="21"/>
          </p:nvPr>
        </p:nvSpPr>
        <p:spPr>
          <a:xfrm>
            <a:off x="4457700" y="5029200"/>
            <a:ext cx="3276600" cy="1143000"/>
          </a:xfrm>
        </p:spPr>
        <p:txBody>
          <a:bodyPr/>
          <a:lstStyle/>
          <a:p>
            <a:endParaRPr lang="en-US"/>
          </a:p>
        </p:txBody>
      </p:sp>
      <p:sp>
        <p:nvSpPr>
          <p:cNvPr id="25" name="Picture Placeholder 8">
            <a:extLst>
              <a:ext uri="{FF2B5EF4-FFF2-40B4-BE49-F238E27FC236}">
                <a16:creationId xmlns:a16="http://schemas.microsoft.com/office/drawing/2014/main" id="{5B95AF2C-B7AE-4664-8D95-1A03768FF9AE}"/>
              </a:ext>
            </a:extLst>
          </p:cNvPr>
          <p:cNvSpPr>
            <a:spLocks noGrp="1"/>
          </p:cNvSpPr>
          <p:nvPr>
            <p:ph type="pic" sz="quarter" idx="22"/>
          </p:nvPr>
        </p:nvSpPr>
        <p:spPr>
          <a:xfrm>
            <a:off x="7962900" y="5029200"/>
            <a:ext cx="3390900" cy="1143000"/>
          </a:xfrm>
        </p:spPr>
        <p:txBody>
          <a:bodyPr/>
          <a:lstStyle/>
          <a:p>
            <a:endParaRPr lang="en-US"/>
          </a:p>
        </p:txBody>
      </p:sp>
      <p:sp>
        <p:nvSpPr>
          <p:cNvPr id="34" name="Freeform: Shape 33">
            <a:extLst>
              <a:ext uri="{FF2B5EF4-FFF2-40B4-BE49-F238E27FC236}">
                <a16:creationId xmlns:a16="http://schemas.microsoft.com/office/drawing/2014/main" id="{374ADB05-763D-4249-BA0D-D6D50F1A21A5}"/>
              </a:ext>
            </a:extLst>
          </p:cNvPr>
          <p:cNvSpPr/>
          <p:nvPr userDrawn="1"/>
        </p:nvSpPr>
        <p:spPr>
          <a:xfrm>
            <a:off x="3457815" y="721254"/>
            <a:ext cx="618886" cy="1236708"/>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a:p>
        </p:txBody>
      </p:sp>
      <p:sp>
        <p:nvSpPr>
          <p:cNvPr id="26" name="Slide Number Placeholder 4">
            <a:extLst>
              <a:ext uri="{FF2B5EF4-FFF2-40B4-BE49-F238E27FC236}">
                <a16:creationId xmlns:a16="http://schemas.microsoft.com/office/drawing/2014/main" id="{FD45A763-4776-4827-8FB8-2182F03C6419}"/>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36972783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Our Brand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5F4472-CEB9-4592-B1B7-4610AEF42C05}"/>
              </a:ext>
            </a:extLst>
          </p:cNvPr>
          <p:cNvGraphicFramePr>
            <a:graphicFrameLocks noChangeAspect="1"/>
          </p:cNvGraphicFramePr>
          <p:nvPr userDrawn="1">
            <p:custDataLst>
              <p:tags r:id="rId1"/>
            </p:custDataLst>
            <p:extLst>
              <p:ext uri="{D42A27DB-BD31-4B8C-83A1-F6EECF244321}">
                <p14:modId xmlns:p14="http://schemas.microsoft.com/office/powerpoint/2010/main" val="3729669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D35F4472-CEB9-4592-B1B7-4610AEF42C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7C16CAF-5ACD-4872-90BC-31DC5A3DFF2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a:latin typeface="Poppins ExtraBold" panose="00000900000000000000" pitchFamily="2" charset="0"/>
              <a:ea typeface="+mj-ea"/>
              <a:cs typeface="+mj-cs"/>
              <a:sym typeface="Poppins ExtraBold" panose="00000900000000000000" pitchFamily="2" charset="0"/>
            </a:endParaRPr>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4457700" y="723902"/>
            <a:ext cx="5143500" cy="504824"/>
          </a:xfrm>
        </p:spPr>
        <p:txBody>
          <a:bodyPr anchor="ctr">
            <a:normAutofit/>
          </a:bodyPr>
          <a:lstStyle>
            <a:lvl1pPr>
              <a:defRPr sz="2000">
                <a:solidFill>
                  <a:schemeClr val="accent3"/>
                </a:solidFill>
              </a:defRPr>
            </a:lvl1pPr>
          </a:lstStyle>
          <a:p>
            <a:r>
              <a:rPr lang="en-US"/>
              <a:t>Our Brands</a:t>
            </a:r>
          </a:p>
        </p:txBody>
      </p:sp>
      <p:grpSp>
        <p:nvGrpSpPr>
          <p:cNvPr id="12" name="Graphic 6">
            <a:extLst>
              <a:ext uri="{FF2B5EF4-FFF2-40B4-BE49-F238E27FC236}">
                <a16:creationId xmlns:a16="http://schemas.microsoft.com/office/drawing/2014/main" id="{6F33694D-A696-4E5F-BD7B-B2D3E1792923}"/>
              </a:ext>
            </a:extLst>
          </p:cNvPr>
          <p:cNvGrpSpPr/>
          <p:nvPr userDrawn="1"/>
        </p:nvGrpSpPr>
        <p:grpSpPr>
          <a:xfrm>
            <a:off x="891988" y="6394893"/>
            <a:ext cx="432890" cy="187030"/>
            <a:chOff x="85969" y="3646150"/>
            <a:chExt cx="1544103" cy="667132"/>
          </a:xfrm>
          <a:solidFill>
            <a:schemeClr val="bg1"/>
          </a:solidFill>
        </p:grpSpPr>
        <p:sp>
          <p:nvSpPr>
            <p:cNvPr id="13" name="Freeform: Shape 12">
              <a:extLst>
                <a:ext uri="{FF2B5EF4-FFF2-40B4-BE49-F238E27FC236}">
                  <a16:creationId xmlns:a16="http://schemas.microsoft.com/office/drawing/2014/main" id="{4E997645-76A6-49E6-8465-BB96BCA3442C}"/>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0BA2DA5-8DC0-4A39-A0DD-C6FA0B705841}"/>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044468FC-750A-48E4-B0A2-BB3CA471C07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B197554-4C1B-41D3-91BF-0ECA2E5F3D40}"/>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17" name="Text Placeholder 20">
            <a:extLst>
              <a:ext uri="{FF2B5EF4-FFF2-40B4-BE49-F238E27FC236}">
                <a16:creationId xmlns:a16="http://schemas.microsoft.com/office/drawing/2014/main" id="{17EB5151-8A2B-4DF7-A176-234B652A196D}"/>
              </a:ext>
            </a:extLst>
          </p:cNvPr>
          <p:cNvSpPr>
            <a:spLocks noGrp="1"/>
          </p:cNvSpPr>
          <p:nvPr>
            <p:ph type="body" sz="quarter" idx="13"/>
          </p:nvPr>
        </p:nvSpPr>
        <p:spPr>
          <a:xfrm>
            <a:off x="4457700" y="3019425"/>
            <a:ext cx="3276600" cy="3152775"/>
          </a:xfrm>
        </p:spPr>
        <p:txBody>
          <a:bodyPr rIns="457200" anchor="t">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Picture Placeholder 8">
            <a:extLst>
              <a:ext uri="{FF2B5EF4-FFF2-40B4-BE49-F238E27FC236}">
                <a16:creationId xmlns:a16="http://schemas.microsoft.com/office/drawing/2014/main" id="{CB97D16F-D6D5-47A8-AE9E-031CBC7FF4B7}"/>
              </a:ext>
            </a:extLst>
          </p:cNvPr>
          <p:cNvSpPr>
            <a:spLocks noGrp="1"/>
          </p:cNvSpPr>
          <p:nvPr>
            <p:ph type="pic" sz="quarter" idx="14" hasCustomPrompt="1"/>
          </p:nvPr>
        </p:nvSpPr>
        <p:spPr>
          <a:xfrm>
            <a:off x="4457700" y="1485901"/>
            <a:ext cx="5029200" cy="1266613"/>
          </a:xfrm>
        </p:spPr>
        <p:txBody>
          <a:bodyPr/>
          <a:lstStyle>
            <a:lvl1pPr marL="0" indent="0">
              <a:buNone/>
              <a:defRPr/>
            </a:lvl1pPr>
          </a:lstStyle>
          <a:p>
            <a:r>
              <a:rPr lang="en-US"/>
              <a:t>Logo</a:t>
            </a:r>
          </a:p>
        </p:txBody>
      </p:sp>
      <p:sp>
        <p:nvSpPr>
          <p:cNvPr id="32" name="Text Placeholder 20">
            <a:extLst>
              <a:ext uri="{FF2B5EF4-FFF2-40B4-BE49-F238E27FC236}">
                <a16:creationId xmlns:a16="http://schemas.microsoft.com/office/drawing/2014/main" id="{E1D2C878-2455-4DCF-9C58-FBE3A4E1CC5B}"/>
              </a:ext>
            </a:extLst>
          </p:cNvPr>
          <p:cNvSpPr>
            <a:spLocks noGrp="1"/>
          </p:cNvSpPr>
          <p:nvPr>
            <p:ph type="body" sz="quarter" idx="18"/>
          </p:nvPr>
        </p:nvSpPr>
        <p:spPr>
          <a:xfrm>
            <a:off x="7962899" y="3019425"/>
            <a:ext cx="3390901" cy="3152775"/>
          </a:xfrm>
        </p:spPr>
        <p:txBody>
          <a:bodyPr rIns="457200" anchor="t">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Picture Placeholder 34">
            <a:extLst>
              <a:ext uri="{FF2B5EF4-FFF2-40B4-BE49-F238E27FC236}">
                <a16:creationId xmlns:a16="http://schemas.microsoft.com/office/drawing/2014/main" id="{CA8E0223-D0C0-4746-A259-980410DAA881}"/>
              </a:ext>
            </a:extLst>
          </p:cNvPr>
          <p:cNvSpPr>
            <a:spLocks noGrp="1"/>
          </p:cNvSpPr>
          <p:nvPr>
            <p:ph type="pic" sz="quarter" idx="19"/>
          </p:nvPr>
        </p:nvSpPr>
        <p:spPr>
          <a:xfrm>
            <a:off x="0" y="0"/>
            <a:ext cx="4229100" cy="6858000"/>
          </a:xfrm>
          <a:custGeom>
            <a:avLst/>
            <a:gdLst>
              <a:gd name="connsiteX0" fmla="*/ 0 w 4229100"/>
              <a:gd name="connsiteY0" fmla="*/ 0 h 6858000"/>
              <a:gd name="connsiteX1" fmla="*/ 4229100 w 4229100"/>
              <a:gd name="connsiteY1" fmla="*/ 0 h 6858000"/>
              <a:gd name="connsiteX2" fmla="*/ 4229100 w 4229100"/>
              <a:gd name="connsiteY2" fmla="*/ 304800 h 6858000"/>
              <a:gd name="connsiteX3" fmla="*/ 4205781 w 4229100"/>
              <a:gd name="connsiteY3" fmla="*/ 304800 h 6858000"/>
              <a:gd name="connsiteX4" fmla="*/ 3571875 w 4229100"/>
              <a:gd name="connsiteY4" fmla="*/ 2354176 h 6858000"/>
              <a:gd name="connsiteX5" fmla="*/ 3963790 w 4229100"/>
              <a:gd name="connsiteY5" fmla="*/ 2354176 h 6858000"/>
              <a:gd name="connsiteX6" fmla="*/ 4229100 w 4229100"/>
              <a:gd name="connsiteY6" fmla="*/ 1496103 h 6858000"/>
              <a:gd name="connsiteX7" fmla="*/ 4229100 w 4229100"/>
              <a:gd name="connsiteY7" fmla="*/ 6858000 h 6858000"/>
              <a:gd name="connsiteX8" fmla="*/ 0 w 42291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29100" h="6858000">
                <a:moveTo>
                  <a:pt x="0" y="0"/>
                </a:moveTo>
                <a:lnTo>
                  <a:pt x="4229100" y="0"/>
                </a:lnTo>
                <a:lnTo>
                  <a:pt x="4229100" y="304800"/>
                </a:lnTo>
                <a:lnTo>
                  <a:pt x="4205781" y="304800"/>
                </a:lnTo>
                <a:lnTo>
                  <a:pt x="3571875" y="2354176"/>
                </a:lnTo>
                <a:lnTo>
                  <a:pt x="3963790" y="2354176"/>
                </a:lnTo>
                <a:lnTo>
                  <a:pt x="4229100" y="1496103"/>
                </a:lnTo>
                <a:lnTo>
                  <a:pt x="4229100" y="6858000"/>
                </a:lnTo>
                <a:lnTo>
                  <a:pt x="0" y="6858000"/>
                </a:lnTo>
                <a:close/>
              </a:path>
            </a:pathLst>
          </a:custGeom>
        </p:spPr>
        <p:txBody>
          <a:bodyPr wrap="square">
            <a:noAutofit/>
          </a:bodyPr>
          <a:lstStyle>
            <a:lvl1pPr marL="0" indent="0">
              <a:buNone/>
              <a:defRPr/>
            </a:lvl1pPr>
          </a:lstStyle>
          <a:p>
            <a:endParaRPr lang="en-US"/>
          </a:p>
        </p:txBody>
      </p:sp>
      <p:sp>
        <p:nvSpPr>
          <p:cNvPr id="36" name="Freeform: Shape 35">
            <a:extLst>
              <a:ext uri="{FF2B5EF4-FFF2-40B4-BE49-F238E27FC236}">
                <a16:creationId xmlns:a16="http://schemas.microsoft.com/office/drawing/2014/main" id="{EB9E08B4-EF63-4F80-922D-C550A504ADDD}"/>
              </a:ext>
            </a:extLst>
          </p:cNvPr>
          <p:cNvSpPr/>
          <p:nvPr userDrawn="1"/>
        </p:nvSpPr>
        <p:spPr>
          <a:xfrm>
            <a:off x="3571875" y="304800"/>
            <a:ext cx="1025568" cy="2049373"/>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a:p>
        </p:txBody>
      </p:sp>
      <p:sp>
        <p:nvSpPr>
          <p:cNvPr id="18" name="Slide Number Placeholder 4">
            <a:extLst>
              <a:ext uri="{FF2B5EF4-FFF2-40B4-BE49-F238E27FC236}">
                <a16:creationId xmlns:a16="http://schemas.microsoft.com/office/drawing/2014/main" id="{2B89CB77-4084-4635-A449-0EDD7BD833B2}"/>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3419277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eam Profile">
    <p:bg>
      <p:bgPr>
        <a:solidFill>
          <a:schemeClr val="accent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F5784DC4-BA7E-4CD6-8261-36189368A205}"/>
              </a:ext>
            </a:extLst>
          </p:cNvPr>
          <p:cNvGraphicFramePr>
            <a:graphicFrameLocks noChangeAspect="1"/>
          </p:cNvGraphicFramePr>
          <p:nvPr userDrawn="1">
            <p:custDataLst>
              <p:tags r:id="rId1"/>
            </p:custDataLst>
            <p:extLst>
              <p:ext uri="{D42A27DB-BD31-4B8C-83A1-F6EECF244321}">
                <p14:modId xmlns:p14="http://schemas.microsoft.com/office/powerpoint/2010/main" val="2229739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17" name="Object 16" hidden="1">
                        <a:extLst>
                          <a:ext uri="{FF2B5EF4-FFF2-40B4-BE49-F238E27FC236}">
                            <a16:creationId xmlns:a16="http://schemas.microsoft.com/office/drawing/2014/main" id="{F5784DC4-BA7E-4CD6-8261-36189368A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5"/>
            <a:ext cx="3390900" cy="971673"/>
          </a:xfrm>
        </p:spPr>
        <p:txBody>
          <a:bodyPr/>
          <a:lstStyle>
            <a:lvl1pPr>
              <a:defRPr>
                <a:solidFill>
                  <a:schemeClr val="bg1"/>
                </a:solidFill>
              </a:defRPr>
            </a:lvl1pPr>
          </a:lstStyle>
          <a:p>
            <a:r>
              <a:rPr lang="en-US"/>
              <a:t>Team</a:t>
            </a:r>
          </a:p>
        </p:txBody>
      </p:sp>
      <p:sp>
        <p:nvSpPr>
          <p:cNvPr id="14" name="Text Placeholder 13">
            <a:extLst>
              <a:ext uri="{FF2B5EF4-FFF2-40B4-BE49-F238E27FC236}">
                <a16:creationId xmlns:a16="http://schemas.microsoft.com/office/drawing/2014/main" id="{C0811CD2-1DB2-420B-BAC1-7B518B611B2A}"/>
              </a:ext>
            </a:extLst>
          </p:cNvPr>
          <p:cNvSpPr>
            <a:spLocks noGrp="1"/>
          </p:cNvSpPr>
          <p:nvPr>
            <p:ph type="body" sz="quarter" idx="13" hasCustomPrompt="1"/>
          </p:nvPr>
        </p:nvSpPr>
        <p:spPr>
          <a:xfrm>
            <a:off x="838200" y="4621213"/>
            <a:ext cx="3390900" cy="485775"/>
          </a:xfrm>
        </p:spPr>
        <p:txBody>
          <a:bodyPr>
            <a:normAutofit/>
          </a:bodyPr>
          <a:lstStyle>
            <a:lvl1pPr marL="0" indent="0">
              <a:buNone/>
              <a:defRPr sz="20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15" name="Text Placeholder 13">
            <a:extLst>
              <a:ext uri="{FF2B5EF4-FFF2-40B4-BE49-F238E27FC236}">
                <a16:creationId xmlns:a16="http://schemas.microsoft.com/office/drawing/2014/main" id="{7D8A4C1E-6D32-4CDB-9417-EE3F36011FB7}"/>
              </a:ext>
            </a:extLst>
          </p:cNvPr>
          <p:cNvSpPr>
            <a:spLocks noGrp="1"/>
          </p:cNvSpPr>
          <p:nvPr>
            <p:ph type="body" sz="quarter" idx="14" hasCustomPrompt="1"/>
          </p:nvPr>
        </p:nvSpPr>
        <p:spPr>
          <a:xfrm>
            <a:off x="838200" y="5242720"/>
            <a:ext cx="3390900" cy="485775"/>
          </a:xfrm>
        </p:spPr>
        <p:txBody>
          <a:bodyPr>
            <a:normAutofit/>
          </a:bodyPr>
          <a:lstStyle>
            <a:lvl1pPr marL="0" indent="0">
              <a:buNone/>
              <a:defRPr sz="20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38" name="Picture Placeholder 37">
            <a:extLst>
              <a:ext uri="{FF2B5EF4-FFF2-40B4-BE49-F238E27FC236}">
                <a16:creationId xmlns:a16="http://schemas.microsoft.com/office/drawing/2014/main" id="{F2F5CC39-276F-481F-9FAF-ACA1D1BF08AA}"/>
              </a:ext>
            </a:extLst>
          </p:cNvPr>
          <p:cNvSpPr>
            <a:spLocks noGrp="1"/>
          </p:cNvSpPr>
          <p:nvPr>
            <p:ph type="pic" sz="quarter" idx="16"/>
          </p:nvPr>
        </p:nvSpPr>
        <p:spPr>
          <a:xfrm>
            <a:off x="1307728" y="2043112"/>
            <a:ext cx="2337544" cy="2338388"/>
          </a:xfrm>
          <a:custGeom>
            <a:avLst/>
            <a:gdLst>
              <a:gd name="connsiteX0" fmla="*/ 0 w 2337544"/>
              <a:gd name="connsiteY0" fmla="*/ 0 h 2338388"/>
              <a:gd name="connsiteX1" fmla="*/ 2337544 w 2337544"/>
              <a:gd name="connsiteY1" fmla="*/ 0 h 2338388"/>
              <a:gd name="connsiteX2" fmla="*/ 2337544 w 2337544"/>
              <a:gd name="connsiteY2" fmla="*/ 1076152 h 2338388"/>
              <a:gd name="connsiteX3" fmla="*/ 2228376 w 2337544"/>
              <a:gd name="connsiteY3" fmla="*/ 1076152 h 2338388"/>
              <a:gd name="connsiteX4" fmla="*/ 2228376 w 2337544"/>
              <a:gd name="connsiteY4" fmla="*/ 2338388 h 2338388"/>
              <a:gd name="connsiteX5" fmla="*/ 0 w 2337544"/>
              <a:gd name="connsiteY5" fmla="*/ 2338388 h 233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7544" h="2338388">
                <a:moveTo>
                  <a:pt x="0" y="0"/>
                </a:moveTo>
                <a:lnTo>
                  <a:pt x="2337544" y="0"/>
                </a:lnTo>
                <a:lnTo>
                  <a:pt x="2337544" y="1076152"/>
                </a:lnTo>
                <a:lnTo>
                  <a:pt x="2228376" y="1076152"/>
                </a:lnTo>
                <a:lnTo>
                  <a:pt x="2228376" y="2338388"/>
                </a:lnTo>
                <a:lnTo>
                  <a:pt x="0" y="2338388"/>
                </a:lnTo>
                <a:close/>
              </a:path>
            </a:pathLst>
          </a:custGeom>
        </p:spPr>
        <p:txBody>
          <a:bodyPr wrap="square">
            <a:noAutofit/>
          </a:bodyPr>
          <a:lstStyle/>
          <a:p>
            <a:endParaRPr lang="en-US"/>
          </a:p>
        </p:txBody>
      </p:sp>
      <p:grpSp>
        <p:nvGrpSpPr>
          <p:cNvPr id="19" name="Graphic 6">
            <a:extLst>
              <a:ext uri="{FF2B5EF4-FFF2-40B4-BE49-F238E27FC236}">
                <a16:creationId xmlns:a16="http://schemas.microsoft.com/office/drawing/2014/main" id="{DD290130-1E75-444F-8F09-713B51C7C729}"/>
              </a:ext>
            </a:extLst>
          </p:cNvPr>
          <p:cNvGrpSpPr/>
          <p:nvPr userDrawn="1"/>
        </p:nvGrpSpPr>
        <p:grpSpPr>
          <a:xfrm>
            <a:off x="891988" y="6394893"/>
            <a:ext cx="432890" cy="187030"/>
            <a:chOff x="85969" y="3646150"/>
            <a:chExt cx="1544103" cy="667132"/>
          </a:xfrm>
          <a:solidFill>
            <a:srgbClr val="FF9E18"/>
          </a:solidFill>
        </p:grpSpPr>
        <p:sp>
          <p:nvSpPr>
            <p:cNvPr id="20" name="Freeform: Shape 19">
              <a:extLst>
                <a:ext uri="{FF2B5EF4-FFF2-40B4-BE49-F238E27FC236}">
                  <a16:creationId xmlns:a16="http://schemas.microsoft.com/office/drawing/2014/main" id="{639238C4-371B-4437-B0F5-51468234F992}"/>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CB37F20-79FC-4E99-B375-D406CB1369E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737F4C62-08FC-47EA-8EFD-D1374335C14E}"/>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DEB37DA1-805B-4348-A2C9-8CF09BA56B1F}"/>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4" name="Text Placeholder 13">
            <a:extLst>
              <a:ext uri="{FF2B5EF4-FFF2-40B4-BE49-F238E27FC236}">
                <a16:creationId xmlns:a16="http://schemas.microsoft.com/office/drawing/2014/main" id="{FDE879AB-A1EF-44CA-9D41-445FAE3EB8D8}"/>
              </a:ext>
            </a:extLst>
          </p:cNvPr>
          <p:cNvSpPr>
            <a:spLocks noGrp="1"/>
          </p:cNvSpPr>
          <p:nvPr>
            <p:ph type="body" sz="quarter" idx="17" hasCustomPrompt="1"/>
          </p:nvPr>
        </p:nvSpPr>
        <p:spPr>
          <a:xfrm>
            <a:off x="4457700" y="4621213"/>
            <a:ext cx="3276600" cy="485775"/>
          </a:xfrm>
        </p:spPr>
        <p:txBody>
          <a:bodyPr>
            <a:normAutofit/>
          </a:bodyPr>
          <a:lstStyle>
            <a:lvl1pPr marL="0" indent="0">
              <a:buNone/>
              <a:defRPr sz="20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27" name="Text Placeholder 13">
            <a:extLst>
              <a:ext uri="{FF2B5EF4-FFF2-40B4-BE49-F238E27FC236}">
                <a16:creationId xmlns:a16="http://schemas.microsoft.com/office/drawing/2014/main" id="{4F1DA13A-D068-4A1F-80B4-A2F0A90FD45C}"/>
              </a:ext>
            </a:extLst>
          </p:cNvPr>
          <p:cNvSpPr>
            <a:spLocks noGrp="1"/>
          </p:cNvSpPr>
          <p:nvPr>
            <p:ph type="body" sz="quarter" idx="18" hasCustomPrompt="1"/>
          </p:nvPr>
        </p:nvSpPr>
        <p:spPr>
          <a:xfrm>
            <a:off x="4457700" y="5242720"/>
            <a:ext cx="3276600" cy="485775"/>
          </a:xfrm>
        </p:spPr>
        <p:txBody>
          <a:bodyPr>
            <a:normAutofit/>
          </a:bodyPr>
          <a:lstStyle>
            <a:lvl1pPr marL="0" indent="0">
              <a:buNone/>
              <a:defRPr sz="20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39" name="Picture Placeholder 38">
            <a:extLst>
              <a:ext uri="{FF2B5EF4-FFF2-40B4-BE49-F238E27FC236}">
                <a16:creationId xmlns:a16="http://schemas.microsoft.com/office/drawing/2014/main" id="{0EE16E40-420E-4B28-925C-69B1021839BA}"/>
              </a:ext>
            </a:extLst>
          </p:cNvPr>
          <p:cNvSpPr>
            <a:spLocks noGrp="1"/>
          </p:cNvSpPr>
          <p:nvPr>
            <p:ph type="pic" sz="quarter" idx="19"/>
          </p:nvPr>
        </p:nvSpPr>
        <p:spPr>
          <a:xfrm>
            <a:off x="4860553" y="2043112"/>
            <a:ext cx="2337544" cy="2338388"/>
          </a:xfrm>
          <a:custGeom>
            <a:avLst/>
            <a:gdLst>
              <a:gd name="connsiteX0" fmla="*/ 0 w 2337544"/>
              <a:gd name="connsiteY0" fmla="*/ 0 h 2338388"/>
              <a:gd name="connsiteX1" fmla="*/ 2337544 w 2337544"/>
              <a:gd name="connsiteY1" fmla="*/ 0 h 2338388"/>
              <a:gd name="connsiteX2" fmla="*/ 2337544 w 2337544"/>
              <a:gd name="connsiteY2" fmla="*/ 1076152 h 2338388"/>
              <a:gd name="connsiteX3" fmla="*/ 2228648 w 2337544"/>
              <a:gd name="connsiteY3" fmla="*/ 1076152 h 2338388"/>
              <a:gd name="connsiteX4" fmla="*/ 2228648 w 2337544"/>
              <a:gd name="connsiteY4" fmla="*/ 2338388 h 2338388"/>
              <a:gd name="connsiteX5" fmla="*/ 0 w 2337544"/>
              <a:gd name="connsiteY5" fmla="*/ 2338388 h 233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7544" h="2338388">
                <a:moveTo>
                  <a:pt x="0" y="0"/>
                </a:moveTo>
                <a:lnTo>
                  <a:pt x="2337544" y="0"/>
                </a:lnTo>
                <a:lnTo>
                  <a:pt x="2337544" y="1076152"/>
                </a:lnTo>
                <a:lnTo>
                  <a:pt x="2228648" y="1076152"/>
                </a:lnTo>
                <a:lnTo>
                  <a:pt x="2228648" y="2338388"/>
                </a:lnTo>
                <a:lnTo>
                  <a:pt x="0" y="2338388"/>
                </a:lnTo>
                <a:close/>
              </a:path>
            </a:pathLst>
          </a:custGeom>
        </p:spPr>
        <p:txBody>
          <a:bodyPr wrap="square">
            <a:noAutofit/>
          </a:bodyPr>
          <a:lstStyle/>
          <a:p>
            <a:endParaRPr lang="en-US"/>
          </a:p>
        </p:txBody>
      </p:sp>
      <p:sp>
        <p:nvSpPr>
          <p:cNvPr id="30" name="Text Placeholder 13">
            <a:extLst>
              <a:ext uri="{FF2B5EF4-FFF2-40B4-BE49-F238E27FC236}">
                <a16:creationId xmlns:a16="http://schemas.microsoft.com/office/drawing/2014/main" id="{DE1DBC1B-535E-4C6A-B1C1-EEBDE85404E7}"/>
              </a:ext>
            </a:extLst>
          </p:cNvPr>
          <p:cNvSpPr>
            <a:spLocks noGrp="1"/>
          </p:cNvSpPr>
          <p:nvPr>
            <p:ph type="body" sz="quarter" idx="20" hasCustomPrompt="1"/>
          </p:nvPr>
        </p:nvSpPr>
        <p:spPr>
          <a:xfrm>
            <a:off x="7962900" y="4621213"/>
            <a:ext cx="3390900" cy="485775"/>
          </a:xfrm>
        </p:spPr>
        <p:txBody>
          <a:bodyPr>
            <a:normAutofit/>
          </a:bodyPr>
          <a:lstStyle>
            <a:lvl1pPr marL="0" indent="0">
              <a:buNone/>
              <a:defRPr sz="20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31" name="Text Placeholder 13">
            <a:extLst>
              <a:ext uri="{FF2B5EF4-FFF2-40B4-BE49-F238E27FC236}">
                <a16:creationId xmlns:a16="http://schemas.microsoft.com/office/drawing/2014/main" id="{C6C9F7BD-76C9-4BD4-B6CC-739306F017DD}"/>
              </a:ext>
            </a:extLst>
          </p:cNvPr>
          <p:cNvSpPr>
            <a:spLocks noGrp="1"/>
          </p:cNvSpPr>
          <p:nvPr>
            <p:ph type="body" sz="quarter" idx="21" hasCustomPrompt="1"/>
          </p:nvPr>
        </p:nvSpPr>
        <p:spPr>
          <a:xfrm>
            <a:off x="7962900" y="5242720"/>
            <a:ext cx="3390900" cy="485775"/>
          </a:xfrm>
        </p:spPr>
        <p:txBody>
          <a:bodyPr>
            <a:normAutofit/>
          </a:bodyPr>
          <a:lstStyle>
            <a:lvl1pPr marL="0" indent="0">
              <a:buNone/>
              <a:defRPr sz="20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40" name="Picture Placeholder 39">
            <a:extLst>
              <a:ext uri="{FF2B5EF4-FFF2-40B4-BE49-F238E27FC236}">
                <a16:creationId xmlns:a16="http://schemas.microsoft.com/office/drawing/2014/main" id="{CBB45527-ECAB-456D-8FE4-DC48C3DAE7CB}"/>
              </a:ext>
            </a:extLst>
          </p:cNvPr>
          <p:cNvSpPr>
            <a:spLocks noGrp="1"/>
          </p:cNvSpPr>
          <p:nvPr>
            <p:ph type="pic" sz="quarter" idx="22"/>
          </p:nvPr>
        </p:nvSpPr>
        <p:spPr>
          <a:xfrm>
            <a:off x="8432428" y="2043112"/>
            <a:ext cx="2337544" cy="2338388"/>
          </a:xfrm>
          <a:custGeom>
            <a:avLst/>
            <a:gdLst>
              <a:gd name="connsiteX0" fmla="*/ 0 w 2337544"/>
              <a:gd name="connsiteY0" fmla="*/ 0 h 2338388"/>
              <a:gd name="connsiteX1" fmla="*/ 2337544 w 2337544"/>
              <a:gd name="connsiteY1" fmla="*/ 0 h 2338388"/>
              <a:gd name="connsiteX2" fmla="*/ 2337544 w 2337544"/>
              <a:gd name="connsiteY2" fmla="*/ 1076152 h 2338388"/>
              <a:gd name="connsiteX3" fmla="*/ 2218579 w 2337544"/>
              <a:gd name="connsiteY3" fmla="*/ 1076152 h 2338388"/>
              <a:gd name="connsiteX4" fmla="*/ 2218579 w 2337544"/>
              <a:gd name="connsiteY4" fmla="*/ 2338388 h 2338388"/>
              <a:gd name="connsiteX5" fmla="*/ 0 w 2337544"/>
              <a:gd name="connsiteY5" fmla="*/ 2338388 h 233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7544" h="2338388">
                <a:moveTo>
                  <a:pt x="0" y="0"/>
                </a:moveTo>
                <a:lnTo>
                  <a:pt x="2337544" y="0"/>
                </a:lnTo>
                <a:lnTo>
                  <a:pt x="2337544" y="1076152"/>
                </a:lnTo>
                <a:lnTo>
                  <a:pt x="2218579" y="1076152"/>
                </a:lnTo>
                <a:lnTo>
                  <a:pt x="2218579" y="2338388"/>
                </a:lnTo>
                <a:lnTo>
                  <a:pt x="0" y="2338388"/>
                </a:lnTo>
                <a:close/>
              </a:path>
            </a:pathLst>
          </a:custGeom>
        </p:spPr>
        <p:txBody>
          <a:bodyPr wrap="square">
            <a:noAutofit/>
          </a:bodyPr>
          <a:lstStyle/>
          <a:p>
            <a:endParaRPr lang="en-US"/>
          </a:p>
        </p:txBody>
      </p:sp>
      <p:sp>
        <p:nvSpPr>
          <p:cNvPr id="41" name="Freeform: Shape 40">
            <a:extLst>
              <a:ext uri="{FF2B5EF4-FFF2-40B4-BE49-F238E27FC236}">
                <a16:creationId xmlns:a16="http://schemas.microsoft.com/office/drawing/2014/main" id="{B0C6A9C9-8E71-480A-8CB1-A3992C6D7E26}"/>
              </a:ext>
            </a:extLst>
          </p:cNvPr>
          <p:cNvSpPr/>
          <p:nvPr userDrawn="1"/>
        </p:nvSpPr>
        <p:spPr>
          <a:xfrm>
            <a:off x="3536104" y="3119264"/>
            <a:ext cx="240765" cy="1262236"/>
          </a:xfrm>
          <a:custGeom>
            <a:avLst/>
            <a:gdLst>
              <a:gd name="connsiteX0" fmla="*/ 0 w 143969"/>
              <a:gd name="connsiteY0" fmla="*/ 0 h 754773"/>
              <a:gd name="connsiteX1" fmla="*/ 143969 w 143969"/>
              <a:gd name="connsiteY1" fmla="*/ 0 h 754773"/>
              <a:gd name="connsiteX2" fmla="*/ 143969 w 143969"/>
              <a:gd name="connsiteY2" fmla="*/ 754774 h 754773"/>
              <a:gd name="connsiteX3" fmla="*/ 0 w 143969"/>
              <a:gd name="connsiteY3" fmla="*/ 754774 h 754773"/>
            </a:gdLst>
            <a:ahLst/>
            <a:cxnLst>
              <a:cxn ang="0">
                <a:pos x="connsiteX0" y="connsiteY0"/>
              </a:cxn>
              <a:cxn ang="0">
                <a:pos x="connsiteX1" y="connsiteY1"/>
              </a:cxn>
              <a:cxn ang="0">
                <a:pos x="connsiteX2" y="connsiteY2"/>
              </a:cxn>
              <a:cxn ang="0">
                <a:pos x="connsiteX3" y="connsiteY3"/>
              </a:cxn>
            </a:cxnLst>
            <a:rect l="l" t="t" r="r" b="b"/>
            <a:pathLst>
              <a:path w="143969" h="754773">
                <a:moveTo>
                  <a:pt x="0" y="0"/>
                </a:moveTo>
                <a:lnTo>
                  <a:pt x="143969" y="0"/>
                </a:lnTo>
                <a:lnTo>
                  <a:pt x="143969" y="754774"/>
                </a:lnTo>
                <a:lnTo>
                  <a:pt x="0" y="754774"/>
                </a:lnTo>
                <a:close/>
              </a:path>
            </a:pathLst>
          </a:custGeom>
          <a:solidFill>
            <a:srgbClr val="FF9E18"/>
          </a:solidFill>
          <a:ln w="9264"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9D97A63D-CE4B-416E-AF23-97A19AD2DAB2}"/>
              </a:ext>
            </a:extLst>
          </p:cNvPr>
          <p:cNvSpPr/>
          <p:nvPr userDrawn="1"/>
        </p:nvSpPr>
        <p:spPr>
          <a:xfrm>
            <a:off x="7089201" y="3119264"/>
            <a:ext cx="240765" cy="1262236"/>
          </a:xfrm>
          <a:custGeom>
            <a:avLst/>
            <a:gdLst>
              <a:gd name="connsiteX0" fmla="*/ 0 w 143969"/>
              <a:gd name="connsiteY0" fmla="*/ 0 h 754773"/>
              <a:gd name="connsiteX1" fmla="*/ 143969 w 143969"/>
              <a:gd name="connsiteY1" fmla="*/ 0 h 754773"/>
              <a:gd name="connsiteX2" fmla="*/ 143969 w 143969"/>
              <a:gd name="connsiteY2" fmla="*/ 754774 h 754773"/>
              <a:gd name="connsiteX3" fmla="*/ 0 w 143969"/>
              <a:gd name="connsiteY3" fmla="*/ 754774 h 754773"/>
            </a:gdLst>
            <a:ahLst/>
            <a:cxnLst>
              <a:cxn ang="0">
                <a:pos x="connsiteX0" y="connsiteY0"/>
              </a:cxn>
              <a:cxn ang="0">
                <a:pos x="connsiteX1" y="connsiteY1"/>
              </a:cxn>
              <a:cxn ang="0">
                <a:pos x="connsiteX2" y="connsiteY2"/>
              </a:cxn>
              <a:cxn ang="0">
                <a:pos x="connsiteX3" y="connsiteY3"/>
              </a:cxn>
            </a:cxnLst>
            <a:rect l="l" t="t" r="r" b="b"/>
            <a:pathLst>
              <a:path w="143969" h="754773">
                <a:moveTo>
                  <a:pt x="0" y="0"/>
                </a:moveTo>
                <a:lnTo>
                  <a:pt x="143969" y="0"/>
                </a:lnTo>
                <a:lnTo>
                  <a:pt x="143969" y="754774"/>
                </a:lnTo>
                <a:lnTo>
                  <a:pt x="0" y="754774"/>
                </a:lnTo>
                <a:close/>
              </a:path>
            </a:pathLst>
          </a:custGeom>
          <a:solidFill>
            <a:srgbClr val="FF9E18"/>
          </a:solidFill>
          <a:ln w="9264"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2A2B9481-EC0D-46EA-9A58-72D3D820C808}"/>
              </a:ext>
            </a:extLst>
          </p:cNvPr>
          <p:cNvSpPr/>
          <p:nvPr userDrawn="1"/>
        </p:nvSpPr>
        <p:spPr>
          <a:xfrm>
            <a:off x="10651007" y="3119264"/>
            <a:ext cx="240765" cy="1262236"/>
          </a:xfrm>
          <a:custGeom>
            <a:avLst/>
            <a:gdLst>
              <a:gd name="connsiteX0" fmla="*/ 0 w 143969"/>
              <a:gd name="connsiteY0" fmla="*/ 0 h 754773"/>
              <a:gd name="connsiteX1" fmla="*/ 143969 w 143969"/>
              <a:gd name="connsiteY1" fmla="*/ 0 h 754773"/>
              <a:gd name="connsiteX2" fmla="*/ 143969 w 143969"/>
              <a:gd name="connsiteY2" fmla="*/ 754774 h 754773"/>
              <a:gd name="connsiteX3" fmla="*/ 0 w 143969"/>
              <a:gd name="connsiteY3" fmla="*/ 754774 h 754773"/>
            </a:gdLst>
            <a:ahLst/>
            <a:cxnLst>
              <a:cxn ang="0">
                <a:pos x="connsiteX0" y="connsiteY0"/>
              </a:cxn>
              <a:cxn ang="0">
                <a:pos x="connsiteX1" y="connsiteY1"/>
              </a:cxn>
              <a:cxn ang="0">
                <a:pos x="connsiteX2" y="connsiteY2"/>
              </a:cxn>
              <a:cxn ang="0">
                <a:pos x="connsiteX3" y="connsiteY3"/>
              </a:cxn>
            </a:cxnLst>
            <a:rect l="l" t="t" r="r" b="b"/>
            <a:pathLst>
              <a:path w="143969" h="754773">
                <a:moveTo>
                  <a:pt x="0" y="0"/>
                </a:moveTo>
                <a:lnTo>
                  <a:pt x="143969" y="0"/>
                </a:lnTo>
                <a:lnTo>
                  <a:pt x="143969" y="754774"/>
                </a:lnTo>
                <a:lnTo>
                  <a:pt x="0" y="754774"/>
                </a:lnTo>
                <a:close/>
              </a:path>
            </a:pathLst>
          </a:custGeom>
          <a:solidFill>
            <a:srgbClr val="FF9E18"/>
          </a:solidFill>
          <a:ln w="9264" cap="flat">
            <a:noFill/>
            <a:prstDash val="solid"/>
            <a:miter/>
          </a:ln>
        </p:spPr>
        <p:txBody>
          <a:bodyPr rtlCol="0" anchor="ctr"/>
          <a:lstStyle/>
          <a:p>
            <a:endParaRPr lang="en-US"/>
          </a:p>
        </p:txBody>
      </p:sp>
      <p:sp>
        <p:nvSpPr>
          <p:cNvPr id="25" name="Slide Number Placeholder 4">
            <a:extLst>
              <a:ext uri="{FF2B5EF4-FFF2-40B4-BE49-F238E27FC236}">
                <a16:creationId xmlns:a16="http://schemas.microsoft.com/office/drawing/2014/main" id="{848C5101-F20E-456D-8C0D-6D8151CA620A}"/>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29087580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eam Profile">
    <p:bg>
      <p:bgPr>
        <a:solidFill>
          <a:schemeClr val="accent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F5784DC4-BA7E-4CD6-8261-36189368A205}"/>
              </a:ext>
            </a:extLst>
          </p:cNvPr>
          <p:cNvGraphicFramePr>
            <a:graphicFrameLocks noChangeAspect="1"/>
          </p:cNvGraphicFramePr>
          <p:nvPr userDrawn="1">
            <p:custDataLst>
              <p:tags r:id="rId1"/>
            </p:custDataLst>
            <p:extLst>
              <p:ext uri="{D42A27DB-BD31-4B8C-83A1-F6EECF244321}">
                <p14:modId xmlns:p14="http://schemas.microsoft.com/office/powerpoint/2010/main" val="299052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17" name="Object 16" hidden="1">
                        <a:extLst>
                          <a:ext uri="{FF2B5EF4-FFF2-40B4-BE49-F238E27FC236}">
                            <a16:creationId xmlns:a16="http://schemas.microsoft.com/office/drawing/2014/main" id="{F5784DC4-BA7E-4CD6-8261-36189368A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5"/>
            <a:ext cx="3390900" cy="971673"/>
          </a:xfrm>
        </p:spPr>
        <p:txBody>
          <a:bodyPr/>
          <a:lstStyle>
            <a:lvl1pPr>
              <a:defRPr>
                <a:solidFill>
                  <a:schemeClr val="bg1"/>
                </a:solidFill>
              </a:defRPr>
            </a:lvl1pPr>
          </a:lstStyle>
          <a:p>
            <a:r>
              <a:rPr lang="en-US"/>
              <a:t>Team</a:t>
            </a:r>
          </a:p>
        </p:txBody>
      </p:sp>
      <p:sp>
        <p:nvSpPr>
          <p:cNvPr id="14" name="Text Placeholder 13">
            <a:extLst>
              <a:ext uri="{FF2B5EF4-FFF2-40B4-BE49-F238E27FC236}">
                <a16:creationId xmlns:a16="http://schemas.microsoft.com/office/drawing/2014/main" id="{C0811CD2-1DB2-420B-BAC1-7B518B611B2A}"/>
              </a:ext>
            </a:extLst>
          </p:cNvPr>
          <p:cNvSpPr>
            <a:spLocks noGrp="1"/>
          </p:cNvSpPr>
          <p:nvPr>
            <p:ph type="body" sz="quarter" idx="13" hasCustomPrompt="1"/>
          </p:nvPr>
        </p:nvSpPr>
        <p:spPr>
          <a:xfrm>
            <a:off x="838200" y="4040188"/>
            <a:ext cx="16383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15" name="Text Placeholder 13">
            <a:extLst>
              <a:ext uri="{FF2B5EF4-FFF2-40B4-BE49-F238E27FC236}">
                <a16:creationId xmlns:a16="http://schemas.microsoft.com/office/drawing/2014/main" id="{7D8A4C1E-6D32-4CDB-9417-EE3F36011FB7}"/>
              </a:ext>
            </a:extLst>
          </p:cNvPr>
          <p:cNvSpPr>
            <a:spLocks noGrp="1"/>
          </p:cNvSpPr>
          <p:nvPr>
            <p:ph type="body" sz="quarter" idx="14" hasCustomPrompt="1"/>
          </p:nvPr>
        </p:nvSpPr>
        <p:spPr>
          <a:xfrm>
            <a:off x="838200" y="4756945"/>
            <a:ext cx="16383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grpSp>
        <p:nvGrpSpPr>
          <p:cNvPr id="19" name="Graphic 6">
            <a:extLst>
              <a:ext uri="{FF2B5EF4-FFF2-40B4-BE49-F238E27FC236}">
                <a16:creationId xmlns:a16="http://schemas.microsoft.com/office/drawing/2014/main" id="{DD290130-1E75-444F-8F09-713B51C7C729}"/>
              </a:ext>
            </a:extLst>
          </p:cNvPr>
          <p:cNvGrpSpPr/>
          <p:nvPr userDrawn="1"/>
        </p:nvGrpSpPr>
        <p:grpSpPr>
          <a:xfrm>
            <a:off x="891988" y="6394893"/>
            <a:ext cx="432890" cy="187030"/>
            <a:chOff x="85969" y="3646150"/>
            <a:chExt cx="1544103" cy="667132"/>
          </a:xfrm>
          <a:solidFill>
            <a:srgbClr val="FF9E18"/>
          </a:solidFill>
        </p:grpSpPr>
        <p:sp>
          <p:nvSpPr>
            <p:cNvPr id="20" name="Freeform: Shape 19">
              <a:extLst>
                <a:ext uri="{FF2B5EF4-FFF2-40B4-BE49-F238E27FC236}">
                  <a16:creationId xmlns:a16="http://schemas.microsoft.com/office/drawing/2014/main" id="{639238C4-371B-4437-B0F5-51468234F992}"/>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CB37F20-79FC-4E99-B375-D406CB1369E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737F4C62-08FC-47EA-8EFD-D1374335C14E}"/>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DEB37DA1-805B-4348-A2C9-8CF09BA56B1F}"/>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4" name="Text Placeholder 13">
            <a:extLst>
              <a:ext uri="{FF2B5EF4-FFF2-40B4-BE49-F238E27FC236}">
                <a16:creationId xmlns:a16="http://schemas.microsoft.com/office/drawing/2014/main" id="{FDE879AB-A1EF-44CA-9D41-445FAE3EB8D8}"/>
              </a:ext>
            </a:extLst>
          </p:cNvPr>
          <p:cNvSpPr>
            <a:spLocks noGrp="1"/>
          </p:cNvSpPr>
          <p:nvPr>
            <p:ph type="body" sz="quarter" idx="17" hasCustomPrompt="1"/>
          </p:nvPr>
        </p:nvSpPr>
        <p:spPr>
          <a:xfrm>
            <a:off x="2705100" y="4040188"/>
            <a:ext cx="15240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27" name="Text Placeholder 13">
            <a:extLst>
              <a:ext uri="{FF2B5EF4-FFF2-40B4-BE49-F238E27FC236}">
                <a16:creationId xmlns:a16="http://schemas.microsoft.com/office/drawing/2014/main" id="{4F1DA13A-D068-4A1F-80B4-A2F0A90FD45C}"/>
              </a:ext>
            </a:extLst>
          </p:cNvPr>
          <p:cNvSpPr>
            <a:spLocks noGrp="1"/>
          </p:cNvSpPr>
          <p:nvPr>
            <p:ph type="body" sz="quarter" idx="18" hasCustomPrompt="1"/>
          </p:nvPr>
        </p:nvSpPr>
        <p:spPr>
          <a:xfrm>
            <a:off x="2705100" y="4756945"/>
            <a:ext cx="15240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30" name="Text Placeholder 13">
            <a:extLst>
              <a:ext uri="{FF2B5EF4-FFF2-40B4-BE49-F238E27FC236}">
                <a16:creationId xmlns:a16="http://schemas.microsoft.com/office/drawing/2014/main" id="{DE1DBC1B-535E-4C6A-B1C1-EEBDE85404E7}"/>
              </a:ext>
            </a:extLst>
          </p:cNvPr>
          <p:cNvSpPr>
            <a:spLocks noGrp="1"/>
          </p:cNvSpPr>
          <p:nvPr>
            <p:ph type="body" sz="quarter" idx="20" hasCustomPrompt="1"/>
          </p:nvPr>
        </p:nvSpPr>
        <p:spPr>
          <a:xfrm>
            <a:off x="4457701" y="4040188"/>
            <a:ext cx="15240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31" name="Text Placeholder 13">
            <a:extLst>
              <a:ext uri="{FF2B5EF4-FFF2-40B4-BE49-F238E27FC236}">
                <a16:creationId xmlns:a16="http://schemas.microsoft.com/office/drawing/2014/main" id="{C6C9F7BD-76C9-4BD4-B6CC-739306F017DD}"/>
              </a:ext>
            </a:extLst>
          </p:cNvPr>
          <p:cNvSpPr>
            <a:spLocks noGrp="1"/>
          </p:cNvSpPr>
          <p:nvPr>
            <p:ph type="body" sz="quarter" idx="21" hasCustomPrompt="1"/>
          </p:nvPr>
        </p:nvSpPr>
        <p:spPr>
          <a:xfrm>
            <a:off x="4457701" y="4756945"/>
            <a:ext cx="15240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4" name="Picture Placeholder 3">
            <a:extLst>
              <a:ext uri="{FF2B5EF4-FFF2-40B4-BE49-F238E27FC236}">
                <a16:creationId xmlns:a16="http://schemas.microsoft.com/office/drawing/2014/main" id="{DAA0C7BE-47DB-4735-986A-E1FC962A1380}"/>
              </a:ext>
            </a:extLst>
          </p:cNvPr>
          <p:cNvSpPr>
            <a:spLocks noGrp="1"/>
          </p:cNvSpPr>
          <p:nvPr>
            <p:ph type="pic" sz="quarter" idx="22"/>
          </p:nvPr>
        </p:nvSpPr>
        <p:spPr>
          <a:xfrm>
            <a:off x="904875" y="2295525"/>
            <a:ext cx="1524000" cy="1524000"/>
          </a:xfrm>
          <a:solidFill>
            <a:schemeClr val="accent1">
              <a:lumMod val="90000"/>
              <a:lumOff val="10000"/>
            </a:schemeClr>
          </a:solidFill>
        </p:spPr>
        <p:txBody>
          <a:bodyPr/>
          <a:lstStyle/>
          <a:p>
            <a:endParaRPr lang="en-US"/>
          </a:p>
        </p:txBody>
      </p:sp>
      <p:sp>
        <p:nvSpPr>
          <p:cNvPr id="34" name="Picture Placeholder 3">
            <a:extLst>
              <a:ext uri="{FF2B5EF4-FFF2-40B4-BE49-F238E27FC236}">
                <a16:creationId xmlns:a16="http://schemas.microsoft.com/office/drawing/2014/main" id="{41DBA8A2-021A-4106-8852-A4F52EFE04DC}"/>
              </a:ext>
            </a:extLst>
          </p:cNvPr>
          <p:cNvSpPr>
            <a:spLocks noGrp="1"/>
          </p:cNvSpPr>
          <p:nvPr>
            <p:ph type="pic" sz="quarter" idx="23"/>
          </p:nvPr>
        </p:nvSpPr>
        <p:spPr>
          <a:xfrm>
            <a:off x="2686050" y="2295525"/>
            <a:ext cx="1524000" cy="1524000"/>
          </a:xfrm>
          <a:solidFill>
            <a:schemeClr val="accent1">
              <a:lumMod val="90000"/>
              <a:lumOff val="10000"/>
            </a:schemeClr>
          </a:solidFill>
        </p:spPr>
        <p:txBody>
          <a:bodyPr/>
          <a:lstStyle/>
          <a:p>
            <a:endParaRPr lang="en-US"/>
          </a:p>
        </p:txBody>
      </p:sp>
      <p:sp>
        <p:nvSpPr>
          <p:cNvPr id="35" name="Picture Placeholder 3">
            <a:extLst>
              <a:ext uri="{FF2B5EF4-FFF2-40B4-BE49-F238E27FC236}">
                <a16:creationId xmlns:a16="http://schemas.microsoft.com/office/drawing/2014/main" id="{59E29696-440A-4E04-BBC1-365F3FDBD60A}"/>
              </a:ext>
            </a:extLst>
          </p:cNvPr>
          <p:cNvSpPr>
            <a:spLocks noGrp="1"/>
          </p:cNvSpPr>
          <p:nvPr>
            <p:ph type="pic" sz="quarter" idx="24"/>
          </p:nvPr>
        </p:nvSpPr>
        <p:spPr>
          <a:xfrm>
            <a:off x="4448175" y="2295525"/>
            <a:ext cx="1524000" cy="1524000"/>
          </a:xfrm>
          <a:solidFill>
            <a:schemeClr val="accent1">
              <a:lumMod val="90000"/>
              <a:lumOff val="10000"/>
            </a:schemeClr>
          </a:solidFill>
        </p:spPr>
        <p:txBody>
          <a:bodyPr/>
          <a:lstStyle/>
          <a:p>
            <a:endParaRPr lang="en-US"/>
          </a:p>
        </p:txBody>
      </p:sp>
      <p:sp>
        <p:nvSpPr>
          <p:cNvPr id="36" name="Picture Placeholder 3">
            <a:extLst>
              <a:ext uri="{FF2B5EF4-FFF2-40B4-BE49-F238E27FC236}">
                <a16:creationId xmlns:a16="http://schemas.microsoft.com/office/drawing/2014/main" id="{60D79008-36E4-4DE9-8C42-CC3A07E94F2B}"/>
              </a:ext>
            </a:extLst>
          </p:cNvPr>
          <p:cNvSpPr>
            <a:spLocks noGrp="1"/>
          </p:cNvSpPr>
          <p:nvPr>
            <p:ph type="pic" sz="quarter" idx="25"/>
          </p:nvPr>
        </p:nvSpPr>
        <p:spPr>
          <a:xfrm>
            <a:off x="6210300" y="2295525"/>
            <a:ext cx="1524000" cy="1524000"/>
          </a:xfrm>
          <a:solidFill>
            <a:schemeClr val="accent1">
              <a:lumMod val="90000"/>
              <a:lumOff val="10000"/>
            </a:schemeClr>
          </a:solidFill>
        </p:spPr>
        <p:txBody>
          <a:bodyPr/>
          <a:lstStyle/>
          <a:p>
            <a:endParaRPr lang="en-US"/>
          </a:p>
        </p:txBody>
      </p:sp>
      <p:sp>
        <p:nvSpPr>
          <p:cNvPr id="37" name="Picture Placeholder 3">
            <a:extLst>
              <a:ext uri="{FF2B5EF4-FFF2-40B4-BE49-F238E27FC236}">
                <a16:creationId xmlns:a16="http://schemas.microsoft.com/office/drawing/2014/main" id="{4D66CA38-6404-4484-A669-769D2297C601}"/>
              </a:ext>
            </a:extLst>
          </p:cNvPr>
          <p:cNvSpPr>
            <a:spLocks noGrp="1"/>
          </p:cNvSpPr>
          <p:nvPr>
            <p:ph type="pic" sz="quarter" idx="26"/>
          </p:nvPr>
        </p:nvSpPr>
        <p:spPr>
          <a:xfrm>
            <a:off x="7981950" y="2295525"/>
            <a:ext cx="1524000" cy="1524000"/>
          </a:xfrm>
          <a:solidFill>
            <a:schemeClr val="accent1">
              <a:lumMod val="90000"/>
              <a:lumOff val="10000"/>
            </a:schemeClr>
          </a:solidFill>
        </p:spPr>
        <p:txBody>
          <a:bodyPr/>
          <a:lstStyle/>
          <a:p>
            <a:endParaRPr lang="en-US"/>
          </a:p>
        </p:txBody>
      </p:sp>
      <p:sp>
        <p:nvSpPr>
          <p:cNvPr id="38" name="Picture Placeholder 3">
            <a:extLst>
              <a:ext uri="{FF2B5EF4-FFF2-40B4-BE49-F238E27FC236}">
                <a16:creationId xmlns:a16="http://schemas.microsoft.com/office/drawing/2014/main" id="{B70E6A87-6DE0-40FE-B2B6-3308465535DE}"/>
              </a:ext>
            </a:extLst>
          </p:cNvPr>
          <p:cNvSpPr>
            <a:spLocks noGrp="1"/>
          </p:cNvSpPr>
          <p:nvPr>
            <p:ph type="pic" sz="quarter" idx="27"/>
          </p:nvPr>
        </p:nvSpPr>
        <p:spPr>
          <a:xfrm>
            <a:off x="9772650" y="2295525"/>
            <a:ext cx="1524000" cy="1524000"/>
          </a:xfrm>
          <a:solidFill>
            <a:schemeClr val="accent1">
              <a:lumMod val="90000"/>
              <a:lumOff val="10000"/>
            </a:schemeClr>
          </a:solidFill>
        </p:spPr>
        <p:txBody>
          <a:bodyPr/>
          <a:lstStyle/>
          <a:p>
            <a:endParaRPr lang="en-US"/>
          </a:p>
        </p:txBody>
      </p:sp>
      <p:sp>
        <p:nvSpPr>
          <p:cNvPr id="39" name="Text Placeholder 13">
            <a:extLst>
              <a:ext uri="{FF2B5EF4-FFF2-40B4-BE49-F238E27FC236}">
                <a16:creationId xmlns:a16="http://schemas.microsoft.com/office/drawing/2014/main" id="{9BDD1C70-D87D-4DDA-A8E2-89B0110720CB}"/>
              </a:ext>
            </a:extLst>
          </p:cNvPr>
          <p:cNvSpPr>
            <a:spLocks noGrp="1"/>
          </p:cNvSpPr>
          <p:nvPr>
            <p:ph type="body" sz="quarter" idx="28" hasCustomPrompt="1"/>
          </p:nvPr>
        </p:nvSpPr>
        <p:spPr>
          <a:xfrm>
            <a:off x="6210300" y="4040188"/>
            <a:ext cx="15240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40" name="Text Placeholder 13">
            <a:extLst>
              <a:ext uri="{FF2B5EF4-FFF2-40B4-BE49-F238E27FC236}">
                <a16:creationId xmlns:a16="http://schemas.microsoft.com/office/drawing/2014/main" id="{9F1C30BF-28E8-4F3C-B79A-95CB5B51231B}"/>
              </a:ext>
            </a:extLst>
          </p:cNvPr>
          <p:cNvSpPr>
            <a:spLocks noGrp="1"/>
          </p:cNvSpPr>
          <p:nvPr>
            <p:ph type="body" sz="quarter" idx="29" hasCustomPrompt="1"/>
          </p:nvPr>
        </p:nvSpPr>
        <p:spPr>
          <a:xfrm>
            <a:off x="6210300" y="4756945"/>
            <a:ext cx="15240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41" name="Text Placeholder 13">
            <a:extLst>
              <a:ext uri="{FF2B5EF4-FFF2-40B4-BE49-F238E27FC236}">
                <a16:creationId xmlns:a16="http://schemas.microsoft.com/office/drawing/2014/main" id="{814B45AE-7A7F-42AB-9507-2037225C8945}"/>
              </a:ext>
            </a:extLst>
          </p:cNvPr>
          <p:cNvSpPr>
            <a:spLocks noGrp="1"/>
          </p:cNvSpPr>
          <p:nvPr>
            <p:ph type="body" sz="quarter" idx="30" hasCustomPrompt="1"/>
          </p:nvPr>
        </p:nvSpPr>
        <p:spPr>
          <a:xfrm>
            <a:off x="7962900" y="4040188"/>
            <a:ext cx="15240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42" name="Text Placeholder 13">
            <a:extLst>
              <a:ext uri="{FF2B5EF4-FFF2-40B4-BE49-F238E27FC236}">
                <a16:creationId xmlns:a16="http://schemas.microsoft.com/office/drawing/2014/main" id="{9F048E2C-B721-4DA7-BFA5-2A7C43F5822E}"/>
              </a:ext>
            </a:extLst>
          </p:cNvPr>
          <p:cNvSpPr>
            <a:spLocks noGrp="1"/>
          </p:cNvSpPr>
          <p:nvPr>
            <p:ph type="body" sz="quarter" idx="31" hasCustomPrompt="1"/>
          </p:nvPr>
        </p:nvSpPr>
        <p:spPr>
          <a:xfrm>
            <a:off x="7962900" y="4756945"/>
            <a:ext cx="15240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43" name="Text Placeholder 13">
            <a:extLst>
              <a:ext uri="{FF2B5EF4-FFF2-40B4-BE49-F238E27FC236}">
                <a16:creationId xmlns:a16="http://schemas.microsoft.com/office/drawing/2014/main" id="{47099115-BFC3-49BF-8AD8-F18132FB0692}"/>
              </a:ext>
            </a:extLst>
          </p:cNvPr>
          <p:cNvSpPr>
            <a:spLocks noGrp="1"/>
          </p:cNvSpPr>
          <p:nvPr>
            <p:ph type="body" sz="quarter" idx="32" hasCustomPrompt="1"/>
          </p:nvPr>
        </p:nvSpPr>
        <p:spPr>
          <a:xfrm>
            <a:off x="9715500" y="4040188"/>
            <a:ext cx="15240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44" name="Text Placeholder 13">
            <a:extLst>
              <a:ext uri="{FF2B5EF4-FFF2-40B4-BE49-F238E27FC236}">
                <a16:creationId xmlns:a16="http://schemas.microsoft.com/office/drawing/2014/main" id="{60BE0D90-070C-4070-86BC-9FD68562DEC7}"/>
              </a:ext>
            </a:extLst>
          </p:cNvPr>
          <p:cNvSpPr>
            <a:spLocks noGrp="1"/>
          </p:cNvSpPr>
          <p:nvPr>
            <p:ph type="body" sz="quarter" idx="33" hasCustomPrompt="1"/>
          </p:nvPr>
        </p:nvSpPr>
        <p:spPr>
          <a:xfrm>
            <a:off x="9715500" y="4756945"/>
            <a:ext cx="15240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29" name="Slide Number Placeholder 4">
            <a:extLst>
              <a:ext uri="{FF2B5EF4-FFF2-40B4-BE49-F238E27FC236}">
                <a16:creationId xmlns:a16="http://schemas.microsoft.com/office/drawing/2014/main" id="{1B26799C-64B9-46CE-95E8-E48465746754}"/>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36977790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F5784DC4-BA7E-4CD6-8261-36189368A205}"/>
              </a:ext>
            </a:extLst>
          </p:cNvPr>
          <p:cNvGraphicFramePr>
            <a:graphicFrameLocks noChangeAspect="1"/>
          </p:cNvGraphicFramePr>
          <p:nvPr userDrawn="1">
            <p:custDataLst>
              <p:tags r:id="rId1"/>
            </p:custDataLst>
            <p:extLst>
              <p:ext uri="{D42A27DB-BD31-4B8C-83A1-F6EECF244321}">
                <p14:modId xmlns:p14="http://schemas.microsoft.com/office/powerpoint/2010/main" val="3884984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17" name="Object 16" hidden="1">
                        <a:extLst>
                          <a:ext uri="{FF2B5EF4-FFF2-40B4-BE49-F238E27FC236}">
                            <a16:creationId xmlns:a16="http://schemas.microsoft.com/office/drawing/2014/main" id="{F5784DC4-BA7E-4CD6-8261-36189368A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64E21C4-15C7-49DA-A377-AA33AB70A21F}"/>
              </a:ext>
            </a:extLst>
          </p:cNvPr>
          <p:cNvSpPr/>
          <p:nvPr userDrawn="1"/>
        </p:nvSpPr>
        <p:spPr>
          <a:xfrm>
            <a:off x="7962899" y="0"/>
            <a:ext cx="4229101"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5"/>
            <a:ext cx="3390900" cy="971673"/>
          </a:xfrm>
        </p:spPr>
        <p:txBody>
          <a:bodyPr/>
          <a:lstStyle>
            <a:lvl1pPr>
              <a:defRPr/>
            </a:lvl1pPr>
          </a:lstStyle>
          <a:p>
            <a:r>
              <a:rPr lang="en-US"/>
              <a:t>Team</a:t>
            </a:r>
          </a:p>
        </p:txBody>
      </p:sp>
      <p:sp>
        <p:nvSpPr>
          <p:cNvPr id="14" name="Text Placeholder 13">
            <a:extLst>
              <a:ext uri="{FF2B5EF4-FFF2-40B4-BE49-F238E27FC236}">
                <a16:creationId xmlns:a16="http://schemas.microsoft.com/office/drawing/2014/main" id="{C0811CD2-1DB2-420B-BAC1-7B518B611B2A}"/>
              </a:ext>
            </a:extLst>
          </p:cNvPr>
          <p:cNvSpPr>
            <a:spLocks noGrp="1"/>
          </p:cNvSpPr>
          <p:nvPr>
            <p:ph type="body" sz="quarter" idx="13" hasCustomPrompt="1"/>
          </p:nvPr>
        </p:nvSpPr>
        <p:spPr>
          <a:xfrm>
            <a:off x="838200" y="1935163"/>
            <a:ext cx="3390900" cy="485775"/>
          </a:xfrm>
        </p:spPr>
        <p:txBody>
          <a:bodyPr>
            <a:normAutofit/>
          </a:bodyPr>
          <a:lstStyle>
            <a:lvl1pPr marL="0" indent="0">
              <a:buNone/>
              <a:defRPr sz="20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15" name="Text Placeholder 13">
            <a:extLst>
              <a:ext uri="{FF2B5EF4-FFF2-40B4-BE49-F238E27FC236}">
                <a16:creationId xmlns:a16="http://schemas.microsoft.com/office/drawing/2014/main" id="{7D8A4C1E-6D32-4CDB-9417-EE3F36011FB7}"/>
              </a:ext>
            </a:extLst>
          </p:cNvPr>
          <p:cNvSpPr>
            <a:spLocks noGrp="1"/>
          </p:cNvSpPr>
          <p:nvPr>
            <p:ph type="body" sz="quarter" idx="14" hasCustomPrompt="1"/>
          </p:nvPr>
        </p:nvSpPr>
        <p:spPr>
          <a:xfrm>
            <a:off x="838200" y="2556670"/>
            <a:ext cx="3390900" cy="485775"/>
          </a:xfrm>
        </p:spPr>
        <p:txBody>
          <a:bodyPr>
            <a:normAutofit/>
          </a:bodyPr>
          <a:lstStyle>
            <a:lvl1pPr marL="0" indent="0">
              <a:buNone/>
              <a:defRPr sz="2000" b="0">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16" name="Text Placeholder 13">
            <a:extLst>
              <a:ext uri="{FF2B5EF4-FFF2-40B4-BE49-F238E27FC236}">
                <a16:creationId xmlns:a16="http://schemas.microsoft.com/office/drawing/2014/main" id="{43583008-EDA3-4D44-A36D-FEE807B52BC6}"/>
              </a:ext>
            </a:extLst>
          </p:cNvPr>
          <p:cNvSpPr>
            <a:spLocks noGrp="1"/>
          </p:cNvSpPr>
          <p:nvPr>
            <p:ph type="body" sz="quarter" idx="15" hasCustomPrompt="1"/>
          </p:nvPr>
        </p:nvSpPr>
        <p:spPr>
          <a:xfrm>
            <a:off x="838200" y="3206751"/>
            <a:ext cx="3390900" cy="2965449"/>
          </a:xfrm>
        </p:spPr>
        <p:txBody>
          <a:bodyPr>
            <a:normAutofit/>
          </a:bodyPr>
          <a:lstStyle>
            <a:lvl1pPr marL="0" indent="0">
              <a:buNone/>
              <a:defRPr sz="2000" b="0">
                <a:solidFill>
                  <a:schemeClr val="tx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ext</a:t>
            </a:r>
          </a:p>
        </p:txBody>
      </p:sp>
      <p:sp>
        <p:nvSpPr>
          <p:cNvPr id="27" name="Picture Placeholder 26">
            <a:extLst>
              <a:ext uri="{FF2B5EF4-FFF2-40B4-BE49-F238E27FC236}">
                <a16:creationId xmlns:a16="http://schemas.microsoft.com/office/drawing/2014/main" id="{60DC98B7-61C0-4F16-9F13-9DF892749F8F}"/>
              </a:ext>
            </a:extLst>
          </p:cNvPr>
          <p:cNvSpPr>
            <a:spLocks noGrp="1"/>
          </p:cNvSpPr>
          <p:nvPr>
            <p:ph type="pic" sz="quarter" idx="16"/>
          </p:nvPr>
        </p:nvSpPr>
        <p:spPr>
          <a:xfrm>
            <a:off x="6543673" y="1392238"/>
            <a:ext cx="4392613" cy="4394200"/>
          </a:xfrm>
          <a:custGeom>
            <a:avLst/>
            <a:gdLst>
              <a:gd name="connsiteX0" fmla="*/ 0 w 4392613"/>
              <a:gd name="connsiteY0" fmla="*/ 0 h 4394200"/>
              <a:gd name="connsiteX1" fmla="*/ 4392613 w 4392613"/>
              <a:gd name="connsiteY1" fmla="*/ 0 h 4394200"/>
              <a:gd name="connsiteX2" fmla="*/ 4392613 w 4392613"/>
              <a:gd name="connsiteY2" fmla="*/ 1873455 h 4394200"/>
              <a:gd name="connsiteX3" fmla="*/ 4170946 w 4392613"/>
              <a:gd name="connsiteY3" fmla="*/ 1873455 h 4394200"/>
              <a:gd name="connsiteX4" fmla="*/ 4170946 w 4392613"/>
              <a:gd name="connsiteY4" fmla="*/ 4394200 h 4394200"/>
              <a:gd name="connsiteX5" fmla="*/ 0 w 4392613"/>
              <a:gd name="connsiteY5" fmla="*/ 4394200 h 439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2613" h="4394200">
                <a:moveTo>
                  <a:pt x="0" y="0"/>
                </a:moveTo>
                <a:lnTo>
                  <a:pt x="4392613" y="0"/>
                </a:lnTo>
                <a:lnTo>
                  <a:pt x="4392613" y="1873455"/>
                </a:lnTo>
                <a:lnTo>
                  <a:pt x="4170946" y="1873455"/>
                </a:lnTo>
                <a:lnTo>
                  <a:pt x="4170946" y="4394200"/>
                </a:lnTo>
                <a:lnTo>
                  <a:pt x="0" y="4394200"/>
                </a:lnTo>
                <a:close/>
              </a:path>
            </a:pathLst>
          </a:custGeom>
        </p:spPr>
        <p:txBody>
          <a:bodyPr wrap="square">
            <a:noAutofit/>
          </a:bodyPr>
          <a:lstStyle/>
          <a:p>
            <a:endParaRPr lang="en-US"/>
          </a:p>
        </p:txBody>
      </p:sp>
      <p:grpSp>
        <p:nvGrpSpPr>
          <p:cNvPr id="19" name="Graphic 6">
            <a:extLst>
              <a:ext uri="{FF2B5EF4-FFF2-40B4-BE49-F238E27FC236}">
                <a16:creationId xmlns:a16="http://schemas.microsoft.com/office/drawing/2014/main" id="{DD290130-1E75-444F-8F09-713B51C7C729}"/>
              </a:ext>
            </a:extLst>
          </p:cNvPr>
          <p:cNvGrpSpPr/>
          <p:nvPr userDrawn="1"/>
        </p:nvGrpSpPr>
        <p:grpSpPr>
          <a:xfrm>
            <a:off x="891988" y="6394893"/>
            <a:ext cx="432890" cy="187030"/>
            <a:chOff x="85969" y="3646150"/>
            <a:chExt cx="1544103" cy="667132"/>
          </a:xfrm>
          <a:solidFill>
            <a:srgbClr val="FF9E18"/>
          </a:solidFill>
        </p:grpSpPr>
        <p:sp>
          <p:nvSpPr>
            <p:cNvPr id="20" name="Freeform: Shape 19">
              <a:extLst>
                <a:ext uri="{FF2B5EF4-FFF2-40B4-BE49-F238E27FC236}">
                  <a16:creationId xmlns:a16="http://schemas.microsoft.com/office/drawing/2014/main" id="{639238C4-371B-4437-B0F5-51468234F992}"/>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CB37F20-79FC-4E99-B375-D406CB1369E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737F4C62-08FC-47EA-8EFD-D1374335C14E}"/>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DEB37DA1-805B-4348-A2C9-8CF09BA56B1F}"/>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Freeform: Shape 27">
            <a:extLst>
              <a:ext uri="{FF2B5EF4-FFF2-40B4-BE49-F238E27FC236}">
                <a16:creationId xmlns:a16="http://schemas.microsoft.com/office/drawing/2014/main" id="{6CBC233A-3287-4953-A953-C9BCB6C735AC}"/>
              </a:ext>
            </a:extLst>
          </p:cNvPr>
          <p:cNvSpPr/>
          <p:nvPr userDrawn="1"/>
        </p:nvSpPr>
        <p:spPr>
          <a:xfrm>
            <a:off x="10714619" y="3265693"/>
            <a:ext cx="480819" cy="2520745"/>
          </a:xfrm>
          <a:custGeom>
            <a:avLst/>
            <a:gdLst>
              <a:gd name="connsiteX0" fmla="*/ 0 w 143969"/>
              <a:gd name="connsiteY0" fmla="*/ 0 h 754773"/>
              <a:gd name="connsiteX1" fmla="*/ 143969 w 143969"/>
              <a:gd name="connsiteY1" fmla="*/ 0 h 754773"/>
              <a:gd name="connsiteX2" fmla="*/ 143969 w 143969"/>
              <a:gd name="connsiteY2" fmla="*/ 754774 h 754773"/>
              <a:gd name="connsiteX3" fmla="*/ 0 w 143969"/>
              <a:gd name="connsiteY3" fmla="*/ 754774 h 754773"/>
            </a:gdLst>
            <a:ahLst/>
            <a:cxnLst>
              <a:cxn ang="0">
                <a:pos x="connsiteX0" y="connsiteY0"/>
              </a:cxn>
              <a:cxn ang="0">
                <a:pos x="connsiteX1" y="connsiteY1"/>
              </a:cxn>
              <a:cxn ang="0">
                <a:pos x="connsiteX2" y="connsiteY2"/>
              </a:cxn>
              <a:cxn ang="0">
                <a:pos x="connsiteX3" y="connsiteY3"/>
              </a:cxn>
            </a:cxnLst>
            <a:rect l="l" t="t" r="r" b="b"/>
            <a:pathLst>
              <a:path w="143969" h="754773">
                <a:moveTo>
                  <a:pt x="0" y="0"/>
                </a:moveTo>
                <a:lnTo>
                  <a:pt x="143969" y="0"/>
                </a:lnTo>
                <a:lnTo>
                  <a:pt x="143969" y="754774"/>
                </a:lnTo>
                <a:lnTo>
                  <a:pt x="0" y="754774"/>
                </a:lnTo>
                <a:close/>
              </a:path>
            </a:pathLst>
          </a:custGeom>
          <a:solidFill>
            <a:srgbClr val="FF9E18"/>
          </a:solidFill>
          <a:ln w="9264" cap="flat">
            <a:noFill/>
            <a:prstDash val="solid"/>
            <a:miter/>
          </a:ln>
        </p:spPr>
        <p:txBody>
          <a:bodyPr rtlCol="0" anchor="ctr"/>
          <a:lstStyle/>
          <a:p>
            <a:endParaRPr lang="en-US"/>
          </a:p>
        </p:txBody>
      </p:sp>
      <p:sp>
        <p:nvSpPr>
          <p:cNvPr id="24" name="Slide Number Placeholder 4">
            <a:extLst>
              <a:ext uri="{FF2B5EF4-FFF2-40B4-BE49-F238E27FC236}">
                <a16:creationId xmlns:a16="http://schemas.microsoft.com/office/drawing/2014/main" id="{911D301F-E57D-4BEB-AA98-5609D7D46FB5}"/>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7373299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ase Study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14F259-7EEC-424D-95C6-048D2B28A844}"/>
              </a:ext>
            </a:extLst>
          </p:cNvPr>
          <p:cNvGraphicFramePr>
            <a:graphicFrameLocks noChangeAspect="1"/>
          </p:cNvGraphicFramePr>
          <p:nvPr userDrawn="1">
            <p:custDataLst>
              <p:tags r:id="rId1"/>
            </p:custDataLst>
            <p:extLst>
              <p:ext uri="{D42A27DB-BD31-4B8C-83A1-F6EECF244321}">
                <p14:modId xmlns:p14="http://schemas.microsoft.com/office/powerpoint/2010/main" val="2974149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2" name="Object 1" hidden="1">
                        <a:extLst>
                          <a:ext uri="{FF2B5EF4-FFF2-40B4-BE49-F238E27FC236}">
                            <a16:creationId xmlns:a16="http://schemas.microsoft.com/office/drawing/2014/main" id="{6014F259-7EEC-424D-95C6-048D2B28A8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737AA5D5-0EBC-49AE-B509-F550D2783B67}"/>
              </a:ext>
            </a:extLst>
          </p:cNvPr>
          <p:cNvSpPr>
            <a:spLocks noGrp="1"/>
          </p:cNvSpPr>
          <p:nvPr>
            <p:ph type="body" sz="quarter" idx="14" hasCustomPrompt="1"/>
          </p:nvPr>
        </p:nvSpPr>
        <p:spPr>
          <a:xfrm>
            <a:off x="6210300" y="723900"/>
            <a:ext cx="5143500" cy="447675"/>
          </a:xfrm>
        </p:spPr>
        <p:txBody>
          <a:bodyPr>
            <a:noAutofit/>
          </a:bodyPr>
          <a:lstStyle>
            <a:lvl1pPr marL="0" indent="0">
              <a:buNone/>
              <a:defRPr sz="2000" b="1">
                <a:solidFill>
                  <a:schemeClr val="accent2"/>
                </a:solidFill>
              </a:defRPr>
            </a:lvl1pPr>
          </a:lstStyle>
          <a:p>
            <a:pPr lvl="0"/>
            <a:r>
              <a:rPr lang="en-US"/>
              <a:t>Case Studies</a:t>
            </a:r>
          </a:p>
        </p:txBody>
      </p:sp>
      <p:sp>
        <p:nvSpPr>
          <p:cNvPr id="10" name="Text Placeholder 5">
            <a:extLst>
              <a:ext uri="{FF2B5EF4-FFF2-40B4-BE49-F238E27FC236}">
                <a16:creationId xmlns:a16="http://schemas.microsoft.com/office/drawing/2014/main" id="{11DA8E6A-AB91-40FA-A8C7-EBE1BBF874FD}"/>
              </a:ext>
            </a:extLst>
          </p:cNvPr>
          <p:cNvSpPr>
            <a:spLocks noGrp="1"/>
          </p:cNvSpPr>
          <p:nvPr>
            <p:ph type="body" sz="quarter" idx="15" hasCustomPrompt="1"/>
          </p:nvPr>
        </p:nvSpPr>
        <p:spPr>
          <a:xfrm>
            <a:off x="6210300" y="14168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a:t>Title Case </a:t>
            </a:r>
            <a:br>
              <a:rPr lang="en-US"/>
            </a:br>
            <a:r>
              <a:rPr lang="en-US"/>
              <a:t>Study</a:t>
            </a:r>
          </a:p>
        </p:txBody>
      </p:sp>
      <p:sp>
        <p:nvSpPr>
          <p:cNvPr id="11" name="Text Placeholder 5">
            <a:extLst>
              <a:ext uri="{FF2B5EF4-FFF2-40B4-BE49-F238E27FC236}">
                <a16:creationId xmlns:a16="http://schemas.microsoft.com/office/drawing/2014/main" id="{9A711CA4-CADD-4212-9147-301712D21BA3}"/>
              </a:ext>
            </a:extLst>
          </p:cNvPr>
          <p:cNvSpPr>
            <a:spLocks noGrp="1"/>
          </p:cNvSpPr>
          <p:nvPr>
            <p:ph type="body" sz="quarter" idx="16" hasCustomPrompt="1"/>
          </p:nvPr>
        </p:nvSpPr>
        <p:spPr>
          <a:xfrm>
            <a:off x="6210300" y="3188493"/>
            <a:ext cx="3276600" cy="2983707"/>
          </a:xfrm>
        </p:spPr>
        <p:txBody>
          <a:bodyPr vert="horz" lIns="91440" tIns="45720" rIns="91440" bIns="45720" rtlCol="0">
            <a:normAutofit/>
          </a:bodyPr>
          <a:lstStyle>
            <a:lvl1pPr marL="0" indent="0">
              <a:buNone/>
              <a:defRPr lang="en-US" sz="2000" b="0" dirty="0"/>
            </a:lvl1pPr>
          </a:lstStyle>
          <a:p>
            <a:pPr lvl="0"/>
            <a:r>
              <a:rPr lang="en-US"/>
              <a:t>Case  Study Description</a:t>
            </a:r>
          </a:p>
        </p:txBody>
      </p:sp>
      <p:grpSp>
        <p:nvGrpSpPr>
          <p:cNvPr id="17" name="Graphic 6">
            <a:extLst>
              <a:ext uri="{FF2B5EF4-FFF2-40B4-BE49-F238E27FC236}">
                <a16:creationId xmlns:a16="http://schemas.microsoft.com/office/drawing/2014/main" id="{A9B30032-0DB4-4EB6-9D7C-AC4025FBE795}"/>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DF55D1D1-FF8E-4EE8-A06F-8DED619F926D}"/>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6C0B83B-EC3D-45BB-BFAC-D612D6C76204}"/>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35598E6-AFF0-4C48-BA53-D5A0565B1D8E}"/>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C21131DF-3FD2-43A2-A2DE-D6B7192D39E2}"/>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33" name="Picture Placeholder 32">
            <a:extLst>
              <a:ext uri="{FF2B5EF4-FFF2-40B4-BE49-F238E27FC236}">
                <a16:creationId xmlns:a16="http://schemas.microsoft.com/office/drawing/2014/main" id="{8C000C89-7210-4E54-BDB6-AFFF7815B317}"/>
              </a:ext>
            </a:extLst>
          </p:cNvPr>
          <p:cNvSpPr>
            <a:spLocks noGrp="1"/>
          </p:cNvSpPr>
          <p:nvPr>
            <p:ph type="pic" sz="quarter" idx="17"/>
          </p:nvPr>
        </p:nvSpPr>
        <p:spPr>
          <a:xfrm>
            <a:off x="838200" y="723900"/>
            <a:ext cx="5143500" cy="5448300"/>
          </a:xfrm>
          <a:custGeom>
            <a:avLst/>
            <a:gdLst>
              <a:gd name="connsiteX0" fmla="*/ 4678441 w 5143500"/>
              <a:gd name="connsiteY0" fmla="*/ 0 h 5448300"/>
              <a:gd name="connsiteX1" fmla="*/ 5143500 w 5143500"/>
              <a:gd name="connsiteY1" fmla="*/ 0 h 5448300"/>
              <a:gd name="connsiteX2" fmla="*/ 5143500 w 5143500"/>
              <a:gd name="connsiteY2" fmla="*/ 5448300 h 5448300"/>
              <a:gd name="connsiteX3" fmla="*/ 0 w 5143500"/>
              <a:gd name="connsiteY3" fmla="*/ 5448300 h 5448300"/>
              <a:gd name="connsiteX4" fmla="*/ 0 w 5143500"/>
              <a:gd name="connsiteY4" fmla="*/ 3438760 h 5448300"/>
              <a:gd name="connsiteX5" fmla="*/ 77319 w 5143500"/>
              <a:gd name="connsiteY5" fmla="*/ 3451111 h 5448300"/>
              <a:gd name="connsiteX6" fmla="*/ 626875 w 5143500"/>
              <a:gd name="connsiteY6" fmla="*/ 3488385 h 5448300"/>
              <a:gd name="connsiteX7" fmla="*/ 4656686 w 5143500"/>
              <a:gd name="connsiteY7" fmla="*/ 125021 h 5448300"/>
              <a:gd name="connsiteX8" fmla="*/ 0 w 5143500"/>
              <a:gd name="connsiteY8" fmla="*/ 0 h 5448300"/>
              <a:gd name="connsiteX9" fmla="*/ 3066634 w 5143500"/>
              <a:gd name="connsiteY9" fmla="*/ 0 h 5448300"/>
              <a:gd name="connsiteX10" fmla="*/ 3054096 w 5143500"/>
              <a:gd name="connsiteY10" fmla="*/ 49949 h 5448300"/>
              <a:gd name="connsiteX11" fmla="*/ 626875 w 5143500"/>
              <a:gd name="connsiteY11" fmla="*/ 1878538 h 5448300"/>
              <a:gd name="connsiteX12" fmla="*/ 52770 w 5143500"/>
              <a:gd name="connsiteY12" fmla="*/ 1811892 h 5448300"/>
              <a:gd name="connsiteX13" fmla="*/ 0 w 5143500"/>
              <a:gd name="connsiteY13" fmla="*/ 1797276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3500" h="5448300">
                <a:moveTo>
                  <a:pt x="4678441" y="0"/>
                </a:moveTo>
                <a:lnTo>
                  <a:pt x="5143500" y="0"/>
                </a:lnTo>
                <a:lnTo>
                  <a:pt x="5143500" y="5448300"/>
                </a:lnTo>
                <a:lnTo>
                  <a:pt x="0" y="5448300"/>
                </a:lnTo>
                <a:lnTo>
                  <a:pt x="0" y="3438760"/>
                </a:lnTo>
                <a:lnTo>
                  <a:pt x="77319" y="3451111"/>
                </a:lnTo>
                <a:cubicBezTo>
                  <a:pt x="257091" y="3475695"/>
                  <a:pt x="440536" y="3488385"/>
                  <a:pt x="626875" y="3488385"/>
                </a:cubicBezTo>
                <a:cubicBezTo>
                  <a:pt x="2615413" y="3488385"/>
                  <a:pt x="4273839" y="2044485"/>
                  <a:pt x="4656686" y="125021"/>
                </a:cubicBezTo>
                <a:close/>
                <a:moveTo>
                  <a:pt x="0" y="0"/>
                </a:moveTo>
                <a:lnTo>
                  <a:pt x="3066634" y="0"/>
                </a:lnTo>
                <a:lnTo>
                  <a:pt x="3054096" y="49949"/>
                </a:lnTo>
                <a:cubicBezTo>
                  <a:pt x="2732433" y="1109290"/>
                  <a:pt x="1767711" y="1878538"/>
                  <a:pt x="626875" y="1878538"/>
                </a:cubicBezTo>
                <a:cubicBezTo>
                  <a:pt x="429425" y="1878538"/>
                  <a:pt x="237249" y="1855495"/>
                  <a:pt x="52770" y="1811892"/>
                </a:cubicBezTo>
                <a:lnTo>
                  <a:pt x="0" y="1797276"/>
                </a:lnTo>
                <a:close/>
              </a:path>
            </a:pathLst>
          </a:custGeom>
        </p:spPr>
        <p:txBody>
          <a:bodyPr wrap="square">
            <a:noAutofit/>
          </a:bodyPr>
          <a:lstStyle/>
          <a:p>
            <a:endParaRPr lang="en-US"/>
          </a:p>
        </p:txBody>
      </p:sp>
      <p:sp>
        <p:nvSpPr>
          <p:cNvPr id="34" name="Freeform: Shape 33">
            <a:extLst>
              <a:ext uri="{FF2B5EF4-FFF2-40B4-BE49-F238E27FC236}">
                <a16:creationId xmlns:a16="http://schemas.microsoft.com/office/drawing/2014/main" id="{9965D754-D0A4-41F2-9129-5F3ACE25208A}"/>
              </a:ext>
            </a:extLst>
          </p:cNvPr>
          <p:cNvSpPr/>
          <p:nvPr userDrawn="1"/>
        </p:nvSpPr>
        <p:spPr>
          <a:xfrm flipV="1">
            <a:off x="1" y="0"/>
            <a:ext cx="5578109" cy="4212285"/>
          </a:xfrm>
          <a:custGeom>
            <a:avLst/>
            <a:gdLst>
              <a:gd name="connsiteX0" fmla="*/ 1465074 w 5578109"/>
              <a:gd name="connsiteY0" fmla="*/ 0 h 4212285"/>
              <a:gd name="connsiteX1" fmla="*/ 5578109 w 5578109"/>
              <a:gd name="connsiteY1" fmla="*/ 4212284 h 4212285"/>
              <a:gd name="connsiteX2" fmla="*/ 5578109 w 5578109"/>
              <a:gd name="connsiteY2" fmla="*/ 4212285 h 4212285"/>
              <a:gd name="connsiteX3" fmla="*/ 4006509 w 5578109"/>
              <a:gd name="connsiteY3" fmla="*/ 4212285 h 4212285"/>
              <a:gd name="connsiteX4" fmla="*/ 4006509 w 5578109"/>
              <a:gd name="connsiteY4" fmla="*/ 4212284 h 4212285"/>
              <a:gd name="connsiteX5" fmla="*/ 1465074 w 5578109"/>
              <a:gd name="connsiteY5" fmla="*/ 1609847 h 4212285"/>
              <a:gd name="connsiteX6" fmla="*/ 43918 w 5578109"/>
              <a:gd name="connsiteY6" fmla="*/ 2054329 h 4212285"/>
              <a:gd name="connsiteX7" fmla="*/ 0 w 5578109"/>
              <a:gd name="connsiteY7" fmla="*/ 2087962 h 4212285"/>
              <a:gd name="connsiteX8" fmla="*/ 0 w 5578109"/>
              <a:gd name="connsiteY8" fmla="*/ 276145 h 4212285"/>
              <a:gd name="connsiteX9" fmla="*/ 50876 w 5578109"/>
              <a:gd name="connsiteY9" fmla="*/ 255601 h 4212285"/>
              <a:gd name="connsiteX10" fmla="*/ 1465074 w 5578109"/>
              <a:gd name="connsiteY10" fmla="*/ 0 h 421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8109" h="4212285">
                <a:moveTo>
                  <a:pt x="1465074" y="0"/>
                </a:moveTo>
                <a:cubicBezTo>
                  <a:pt x="3737689" y="0"/>
                  <a:pt x="5579136" y="1885910"/>
                  <a:pt x="5578109" y="4212284"/>
                </a:cubicBezTo>
                <a:lnTo>
                  <a:pt x="5578109" y="4212285"/>
                </a:lnTo>
                <a:lnTo>
                  <a:pt x="4006509" y="4212285"/>
                </a:lnTo>
                <a:lnTo>
                  <a:pt x="4006509" y="4212284"/>
                </a:lnTo>
                <a:cubicBezTo>
                  <a:pt x="4006509" y="2775099"/>
                  <a:pt x="2869180" y="1609847"/>
                  <a:pt x="1465074" y="1609847"/>
                </a:cubicBezTo>
                <a:cubicBezTo>
                  <a:pt x="938539" y="1609847"/>
                  <a:pt x="449517" y="1773711"/>
                  <a:pt x="43918" y="2054329"/>
                </a:cubicBezTo>
                <a:lnTo>
                  <a:pt x="0" y="2087962"/>
                </a:lnTo>
                <a:lnTo>
                  <a:pt x="0" y="276145"/>
                </a:lnTo>
                <a:lnTo>
                  <a:pt x="50876" y="255601"/>
                </a:lnTo>
                <a:cubicBezTo>
                  <a:pt x="491845" y="90244"/>
                  <a:pt x="968169" y="0"/>
                  <a:pt x="146507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4">
            <a:extLst>
              <a:ext uri="{FF2B5EF4-FFF2-40B4-BE49-F238E27FC236}">
                <a16:creationId xmlns:a16="http://schemas.microsoft.com/office/drawing/2014/main" id="{BE6EAFEE-2533-4E93-A3C2-B0195187D6DB}"/>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30832080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ase Study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3434AE-51C8-435C-BBF2-2467D2AEFAB9}"/>
              </a:ext>
            </a:extLst>
          </p:cNvPr>
          <p:cNvGraphicFramePr>
            <a:graphicFrameLocks noChangeAspect="1"/>
          </p:cNvGraphicFramePr>
          <p:nvPr userDrawn="1">
            <p:custDataLst>
              <p:tags r:id="rId1"/>
            </p:custDataLst>
            <p:extLst>
              <p:ext uri="{D42A27DB-BD31-4B8C-83A1-F6EECF244321}">
                <p14:modId xmlns:p14="http://schemas.microsoft.com/office/powerpoint/2010/main" val="616007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F83434AE-51C8-435C-BBF2-2467D2AEFA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reeform: Shape 8">
            <a:extLst>
              <a:ext uri="{FF2B5EF4-FFF2-40B4-BE49-F238E27FC236}">
                <a16:creationId xmlns:a16="http://schemas.microsoft.com/office/drawing/2014/main" id="{DE072136-3D7D-4EC3-A9A8-874146A822C5}"/>
              </a:ext>
            </a:extLst>
          </p:cNvPr>
          <p:cNvSpPr/>
          <p:nvPr userDrawn="1"/>
        </p:nvSpPr>
        <p:spPr>
          <a:xfrm rot="10800000">
            <a:off x="6627642" y="199786"/>
            <a:ext cx="5564358" cy="4198173"/>
          </a:xfrm>
          <a:custGeom>
            <a:avLst/>
            <a:gdLst>
              <a:gd name="connsiteX0" fmla="*/ 3998023 w 5564358"/>
              <a:gd name="connsiteY0" fmla="*/ 0 h 4198173"/>
              <a:gd name="connsiteX1" fmla="*/ 5564358 w 5564358"/>
              <a:gd name="connsiteY1" fmla="*/ 0 h 4198173"/>
              <a:gd name="connsiteX2" fmla="*/ 1465102 w 5564358"/>
              <a:gd name="connsiteY2" fmla="*/ 4198173 h 4198173"/>
              <a:gd name="connsiteX3" fmla="*/ 55641 w 5564358"/>
              <a:gd name="connsiteY3" fmla="*/ 3943429 h 4198173"/>
              <a:gd name="connsiteX4" fmla="*/ 0 w 5564358"/>
              <a:gd name="connsiteY4" fmla="*/ 3920960 h 4198173"/>
              <a:gd name="connsiteX5" fmla="*/ 0 w 5564358"/>
              <a:gd name="connsiteY5" fmla="*/ 2113083 h 4198173"/>
              <a:gd name="connsiteX6" fmla="*/ 49161 w 5564358"/>
              <a:gd name="connsiteY6" fmla="*/ 2150726 h 4198173"/>
              <a:gd name="connsiteX7" fmla="*/ 1465102 w 5564358"/>
              <a:gd name="connsiteY7" fmla="*/ 2593719 h 4198173"/>
              <a:gd name="connsiteX8" fmla="*/ 3998023 w 5564358"/>
              <a:gd name="connsiteY8" fmla="*/ 0 h 4198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4358" h="4198173">
                <a:moveTo>
                  <a:pt x="3998023" y="0"/>
                </a:moveTo>
                <a:lnTo>
                  <a:pt x="5564358" y="0"/>
                </a:lnTo>
                <a:cubicBezTo>
                  <a:pt x="5564358" y="2318582"/>
                  <a:pt x="3729070" y="4198173"/>
                  <a:pt x="1465102" y="4198173"/>
                </a:cubicBezTo>
                <a:cubicBezTo>
                  <a:pt x="969861" y="4198173"/>
                  <a:pt x="495133" y="4108232"/>
                  <a:pt x="55641" y="3943429"/>
                </a:cubicBezTo>
                <a:lnTo>
                  <a:pt x="0" y="3920960"/>
                </a:lnTo>
                <a:lnTo>
                  <a:pt x="0" y="2113083"/>
                </a:lnTo>
                <a:lnTo>
                  <a:pt x="49161" y="2150726"/>
                </a:lnTo>
                <a:cubicBezTo>
                  <a:pt x="453432" y="2430405"/>
                  <a:pt x="940718" y="2593719"/>
                  <a:pt x="1465102" y="2593719"/>
                </a:cubicBezTo>
                <a:cubicBezTo>
                  <a:pt x="2864504" y="2593719"/>
                  <a:pt x="3998023" y="1432371"/>
                  <a:pt x="3998023"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5">
            <a:extLst>
              <a:ext uri="{FF2B5EF4-FFF2-40B4-BE49-F238E27FC236}">
                <a16:creationId xmlns:a16="http://schemas.microsoft.com/office/drawing/2014/main" id="{11DA8E6A-AB91-40FA-A8C7-EBE1BBF874FD}"/>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a:t>Title Case </a:t>
            </a:r>
            <a:br>
              <a:rPr lang="en-US"/>
            </a:br>
            <a:r>
              <a:rPr lang="en-US"/>
              <a:t>Study</a:t>
            </a:r>
          </a:p>
        </p:txBody>
      </p:sp>
      <p:sp>
        <p:nvSpPr>
          <p:cNvPr id="2" name="Rectangle 1">
            <a:extLst>
              <a:ext uri="{FF2B5EF4-FFF2-40B4-BE49-F238E27FC236}">
                <a16:creationId xmlns:a16="http://schemas.microsoft.com/office/drawing/2014/main" id="{C6AB6A79-39B0-4F13-ADD8-62A7AE0FA8DB}"/>
              </a:ext>
            </a:extLst>
          </p:cNvPr>
          <p:cNvSpPr/>
          <p:nvPr userDrawn="1"/>
        </p:nvSpPr>
        <p:spPr>
          <a:xfrm>
            <a:off x="0" y="3086101"/>
            <a:ext cx="12192000" cy="3771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aphic 6">
            <a:extLst>
              <a:ext uri="{FF2B5EF4-FFF2-40B4-BE49-F238E27FC236}">
                <a16:creationId xmlns:a16="http://schemas.microsoft.com/office/drawing/2014/main" id="{A9B30032-0DB4-4EB6-9D7C-AC4025FBE795}"/>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DF55D1D1-FF8E-4EE8-A06F-8DED619F926D}"/>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6C0B83B-EC3D-45BB-BFAC-D612D6C76204}"/>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35598E6-AFF0-4C48-BA53-D5A0565B1D8E}"/>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C21131DF-3FD2-43A2-A2DE-D6B7192D39E2}"/>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4" name="Text Placeholder 5">
            <a:extLst>
              <a:ext uri="{FF2B5EF4-FFF2-40B4-BE49-F238E27FC236}">
                <a16:creationId xmlns:a16="http://schemas.microsoft.com/office/drawing/2014/main" id="{3B3C661D-85A5-4279-ABF4-B3E4635BB89D}"/>
              </a:ext>
            </a:extLst>
          </p:cNvPr>
          <p:cNvSpPr>
            <a:spLocks noGrp="1"/>
          </p:cNvSpPr>
          <p:nvPr>
            <p:ph type="body" sz="quarter" idx="16" hasCustomPrompt="1"/>
          </p:nvPr>
        </p:nvSpPr>
        <p:spPr>
          <a:xfrm>
            <a:off x="838200" y="3570849"/>
            <a:ext cx="3390900" cy="366495"/>
          </a:xfrm>
        </p:spPr>
        <p:txBody>
          <a:bodyPr vert="horz" lIns="91440" tIns="45720" rIns="91440" bIns="45720" rtlCol="0">
            <a:normAutofit/>
          </a:bodyPr>
          <a:lstStyle>
            <a:lvl1pPr marL="0" indent="0">
              <a:buNone/>
              <a:defRPr lang="en-US" sz="1400" b="1" dirty="0">
                <a:solidFill>
                  <a:schemeClr val="accent1"/>
                </a:solidFill>
              </a:defRPr>
            </a:lvl1pPr>
          </a:lstStyle>
          <a:p>
            <a:pPr lvl="0"/>
            <a:r>
              <a:rPr lang="en-US"/>
              <a:t>Client</a:t>
            </a:r>
          </a:p>
        </p:txBody>
      </p:sp>
      <p:sp>
        <p:nvSpPr>
          <p:cNvPr id="22" name="Text Placeholder 5">
            <a:extLst>
              <a:ext uri="{FF2B5EF4-FFF2-40B4-BE49-F238E27FC236}">
                <a16:creationId xmlns:a16="http://schemas.microsoft.com/office/drawing/2014/main" id="{048B43A0-604D-46B6-B37A-3E178B08BE21}"/>
              </a:ext>
            </a:extLst>
          </p:cNvPr>
          <p:cNvSpPr>
            <a:spLocks noGrp="1"/>
          </p:cNvSpPr>
          <p:nvPr>
            <p:ph type="body" sz="quarter" idx="17" hasCustomPrompt="1"/>
          </p:nvPr>
        </p:nvSpPr>
        <p:spPr>
          <a:xfrm>
            <a:off x="838200" y="3907521"/>
            <a:ext cx="3390900" cy="327074"/>
          </a:xfrm>
        </p:spPr>
        <p:txBody>
          <a:bodyPr vert="horz" lIns="91440" tIns="45720" rIns="91440" bIns="45720" rtlCol="0">
            <a:noAutofit/>
          </a:bodyPr>
          <a:lstStyle>
            <a:lvl1pPr marL="0" indent="0">
              <a:buNone/>
              <a:defRPr lang="en-US" sz="2000" b="0" dirty="0"/>
            </a:lvl1pPr>
          </a:lstStyle>
          <a:p>
            <a:pPr lvl="0"/>
            <a:r>
              <a:rPr lang="en-US"/>
              <a:t>Case  Study Description</a:t>
            </a:r>
          </a:p>
        </p:txBody>
      </p:sp>
      <p:sp>
        <p:nvSpPr>
          <p:cNvPr id="23" name="Text Placeholder 5">
            <a:extLst>
              <a:ext uri="{FF2B5EF4-FFF2-40B4-BE49-F238E27FC236}">
                <a16:creationId xmlns:a16="http://schemas.microsoft.com/office/drawing/2014/main" id="{D4DB360B-A66F-40EB-B438-ECB1BFDBE027}"/>
              </a:ext>
            </a:extLst>
          </p:cNvPr>
          <p:cNvSpPr>
            <a:spLocks noGrp="1"/>
          </p:cNvSpPr>
          <p:nvPr>
            <p:ph type="body" sz="quarter" idx="18" hasCustomPrompt="1"/>
          </p:nvPr>
        </p:nvSpPr>
        <p:spPr>
          <a:xfrm>
            <a:off x="838200" y="4453598"/>
            <a:ext cx="3390900" cy="366495"/>
          </a:xfrm>
        </p:spPr>
        <p:txBody>
          <a:bodyPr vert="horz" lIns="91440" tIns="45720" rIns="91440" bIns="45720" rtlCol="0">
            <a:normAutofit/>
          </a:bodyPr>
          <a:lstStyle>
            <a:lvl1pPr marL="0" indent="0">
              <a:buNone/>
              <a:defRPr lang="en-US" sz="1400" b="1" dirty="0">
                <a:solidFill>
                  <a:schemeClr val="accent1"/>
                </a:solidFill>
              </a:defRPr>
            </a:lvl1pPr>
          </a:lstStyle>
          <a:p>
            <a:pPr lvl="0"/>
            <a:r>
              <a:rPr lang="en-US"/>
              <a:t>Date</a:t>
            </a:r>
          </a:p>
        </p:txBody>
      </p:sp>
      <p:sp>
        <p:nvSpPr>
          <p:cNvPr id="24" name="Text Placeholder 5">
            <a:extLst>
              <a:ext uri="{FF2B5EF4-FFF2-40B4-BE49-F238E27FC236}">
                <a16:creationId xmlns:a16="http://schemas.microsoft.com/office/drawing/2014/main" id="{ED011166-445D-4FC6-B7B9-E36D79F78683}"/>
              </a:ext>
            </a:extLst>
          </p:cNvPr>
          <p:cNvSpPr>
            <a:spLocks noGrp="1"/>
          </p:cNvSpPr>
          <p:nvPr>
            <p:ph type="body" sz="quarter" idx="19" hasCustomPrompt="1"/>
          </p:nvPr>
        </p:nvSpPr>
        <p:spPr>
          <a:xfrm>
            <a:off x="838200" y="4790270"/>
            <a:ext cx="3390900" cy="327074"/>
          </a:xfrm>
        </p:spPr>
        <p:txBody>
          <a:bodyPr vert="horz" lIns="91440" tIns="45720" rIns="91440" bIns="45720" rtlCol="0">
            <a:noAutofit/>
          </a:bodyPr>
          <a:lstStyle>
            <a:lvl1pPr marL="0" indent="0">
              <a:buNone/>
              <a:defRPr lang="en-US" sz="2000" b="0" dirty="0"/>
            </a:lvl1pPr>
          </a:lstStyle>
          <a:p>
            <a:pPr lvl="0"/>
            <a:r>
              <a:rPr lang="en-US"/>
              <a:t>Case  Study Description</a:t>
            </a:r>
          </a:p>
        </p:txBody>
      </p:sp>
      <p:sp>
        <p:nvSpPr>
          <p:cNvPr id="25" name="Text Placeholder 5">
            <a:extLst>
              <a:ext uri="{FF2B5EF4-FFF2-40B4-BE49-F238E27FC236}">
                <a16:creationId xmlns:a16="http://schemas.microsoft.com/office/drawing/2014/main" id="{5320FEEF-D5F2-4FC1-97DE-F8D9594A91C8}"/>
              </a:ext>
            </a:extLst>
          </p:cNvPr>
          <p:cNvSpPr>
            <a:spLocks noGrp="1"/>
          </p:cNvSpPr>
          <p:nvPr>
            <p:ph type="body" sz="quarter" idx="20" hasCustomPrompt="1"/>
          </p:nvPr>
        </p:nvSpPr>
        <p:spPr>
          <a:xfrm>
            <a:off x="838200" y="5331722"/>
            <a:ext cx="3390900" cy="366495"/>
          </a:xfrm>
        </p:spPr>
        <p:txBody>
          <a:bodyPr vert="horz" lIns="91440" tIns="45720" rIns="91440" bIns="45720" rtlCol="0">
            <a:normAutofit/>
          </a:bodyPr>
          <a:lstStyle>
            <a:lvl1pPr marL="0" indent="0">
              <a:buNone/>
              <a:defRPr lang="en-US" sz="1400" b="1" dirty="0">
                <a:solidFill>
                  <a:schemeClr val="accent1"/>
                </a:solidFill>
              </a:defRPr>
            </a:lvl1pPr>
          </a:lstStyle>
          <a:p>
            <a:pPr lvl="0"/>
            <a:r>
              <a:rPr lang="en-US"/>
              <a:t>Industry</a:t>
            </a:r>
          </a:p>
        </p:txBody>
      </p:sp>
      <p:sp>
        <p:nvSpPr>
          <p:cNvPr id="26" name="Text Placeholder 5">
            <a:extLst>
              <a:ext uri="{FF2B5EF4-FFF2-40B4-BE49-F238E27FC236}">
                <a16:creationId xmlns:a16="http://schemas.microsoft.com/office/drawing/2014/main" id="{471FBF21-8288-4677-8734-42B54F7B1FC3}"/>
              </a:ext>
            </a:extLst>
          </p:cNvPr>
          <p:cNvSpPr>
            <a:spLocks noGrp="1"/>
          </p:cNvSpPr>
          <p:nvPr>
            <p:ph type="body" sz="quarter" idx="21" hasCustomPrompt="1"/>
          </p:nvPr>
        </p:nvSpPr>
        <p:spPr>
          <a:xfrm>
            <a:off x="838200" y="5668394"/>
            <a:ext cx="3390900" cy="327074"/>
          </a:xfrm>
        </p:spPr>
        <p:txBody>
          <a:bodyPr vert="horz" lIns="91440" tIns="45720" rIns="91440" bIns="45720" rtlCol="0">
            <a:noAutofit/>
          </a:bodyPr>
          <a:lstStyle>
            <a:lvl1pPr marL="0" indent="0">
              <a:buNone/>
              <a:defRPr lang="en-US" sz="2000" b="0" dirty="0"/>
            </a:lvl1pPr>
          </a:lstStyle>
          <a:p>
            <a:pPr lvl="0"/>
            <a:r>
              <a:rPr lang="en-US"/>
              <a:t>Case  Study Description</a:t>
            </a:r>
          </a:p>
        </p:txBody>
      </p:sp>
      <p:sp>
        <p:nvSpPr>
          <p:cNvPr id="27" name="Text Placeholder 5">
            <a:extLst>
              <a:ext uri="{FF2B5EF4-FFF2-40B4-BE49-F238E27FC236}">
                <a16:creationId xmlns:a16="http://schemas.microsoft.com/office/drawing/2014/main" id="{8BB4EACB-9D30-4946-8721-999A6A6901FF}"/>
              </a:ext>
            </a:extLst>
          </p:cNvPr>
          <p:cNvSpPr>
            <a:spLocks noGrp="1"/>
          </p:cNvSpPr>
          <p:nvPr>
            <p:ph type="body" sz="quarter" idx="22" hasCustomPrompt="1"/>
          </p:nvPr>
        </p:nvSpPr>
        <p:spPr>
          <a:xfrm>
            <a:off x="4457700" y="3570850"/>
            <a:ext cx="3276600" cy="428625"/>
          </a:xfrm>
        </p:spPr>
        <p:txBody>
          <a:bodyPr vert="horz" lIns="91440" tIns="45720" rIns="91440" bIns="45720" rtlCol="0">
            <a:normAutofit/>
          </a:bodyPr>
          <a:lstStyle>
            <a:lvl1pPr marL="0" indent="0">
              <a:buNone/>
              <a:defRPr lang="en-US" sz="1400" b="1" dirty="0">
                <a:solidFill>
                  <a:schemeClr val="accent1"/>
                </a:solidFill>
              </a:defRPr>
            </a:lvl1pPr>
          </a:lstStyle>
          <a:p>
            <a:pPr lvl="0"/>
            <a:r>
              <a:rPr lang="en-US"/>
              <a:t>Partners</a:t>
            </a:r>
          </a:p>
        </p:txBody>
      </p:sp>
      <p:sp>
        <p:nvSpPr>
          <p:cNvPr id="28" name="Text Placeholder 5">
            <a:extLst>
              <a:ext uri="{FF2B5EF4-FFF2-40B4-BE49-F238E27FC236}">
                <a16:creationId xmlns:a16="http://schemas.microsoft.com/office/drawing/2014/main" id="{28B14752-4892-4559-8255-33F57172FE79}"/>
              </a:ext>
            </a:extLst>
          </p:cNvPr>
          <p:cNvSpPr>
            <a:spLocks noGrp="1"/>
          </p:cNvSpPr>
          <p:nvPr>
            <p:ph type="body" sz="quarter" idx="23" hasCustomPrompt="1"/>
          </p:nvPr>
        </p:nvSpPr>
        <p:spPr>
          <a:xfrm>
            <a:off x="4457700" y="4060435"/>
            <a:ext cx="3276600" cy="2111765"/>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29" name="Text Placeholder 5">
            <a:extLst>
              <a:ext uri="{FF2B5EF4-FFF2-40B4-BE49-F238E27FC236}">
                <a16:creationId xmlns:a16="http://schemas.microsoft.com/office/drawing/2014/main" id="{2F0C3921-918C-4392-81EE-7FDFD5A87C02}"/>
              </a:ext>
            </a:extLst>
          </p:cNvPr>
          <p:cNvSpPr>
            <a:spLocks noGrp="1"/>
          </p:cNvSpPr>
          <p:nvPr>
            <p:ph type="body" sz="quarter" idx="24" hasCustomPrompt="1"/>
          </p:nvPr>
        </p:nvSpPr>
        <p:spPr>
          <a:xfrm>
            <a:off x="7962900" y="3570849"/>
            <a:ext cx="3390900" cy="428625"/>
          </a:xfrm>
        </p:spPr>
        <p:txBody>
          <a:bodyPr vert="horz" lIns="91440" tIns="45720" rIns="91440" bIns="45720" rtlCol="0">
            <a:normAutofit/>
          </a:bodyPr>
          <a:lstStyle>
            <a:lvl1pPr marL="0" indent="0">
              <a:buNone/>
              <a:defRPr lang="en-US" sz="1400" b="1" dirty="0">
                <a:solidFill>
                  <a:schemeClr val="accent1"/>
                </a:solidFill>
              </a:defRPr>
            </a:lvl1pPr>
          </a:lstStyle>
          <a:p>
            <a:pPr lvl="0"/>
            <a:r>
              <a:rPr lang="en-US"/>
              <a:t>Services applied</a:t>
            </a:r>
          </a:p>
        </p:txBody>
      </p:sp>
      <p:sp>
        <p:nvSpPr>
          <p:cNvPr id="30" name="Text Placeholder 5">
            <a:extLst>
              <a:ext uri="{FF2B5EF4-FFF2-40B4-BE49-F238E27FC236}">
                <a16:creationId xmlns:a16="http://schemas.microsoft.com/office/drawing/2014/main" id="{41074C79-77B2-48D3-8081-76765420E5AB}"/>
              </a:ext>
            </a:extLst>
          </p:cNvPr>
          <p:cNvSpPr>
            <a:spLocks noGrp="1"/>
          </p:cNvSpPr>
          <p:nvPr>
            <p:ph type="body" sz="quarter" idx="25" hasCustomPrompt="1"/>
          </p:nvPr>
        </p:nvSpPr>
        <p:spPr>
          <a:xfrm>
            <a:off x="7962900" y="4060434"/>
            <a:ext cx="3390900" cy="2111765"/>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33" name="Text Placeholder 5">
            <a:extLst>
              <a:ext uri="{FF2B5EF4-FFF2-40B4-BE49-F238E27FC236}">
                <a16:creationId xmlns:a16="http://schemas.microsoft.com/office/drawing/2014/main" id="{17D49FD4-CE4C-4BA6-BA07-7B9B9E656C34}"/>
              </a:ext>
            </a:extLst>
          </p:cNvPr>
          <p:cNvSpPr>
            <a:spLocks noGrp="1"/>
          </p:cNvSpPr>
          <p:nvPr>
            <p:ph type="body" sz="quarter" idx="26"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Case  Study</a:t>
            </a:r>
          </a:p>
        </p:txBody>
      </p:sp>
      <p:sp>
        <p:nvSpPr>
          <p:cNvPr id="31" name="Slide Number Placeholder 4">
            <a:extLst>
              <a:ext uri="{FF2B5EF4-FFF2-40B4-BE49-F238E27FC236}">
                <a16:creationId xmlns:a16="http://schemas.microsoft.com/office/drawing/2014/main" id="{1E4B1623-1910-4A00-8D56-B898FA25F312}"/>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21715725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Case Study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3434AE-51C8-435C-BBF2-2467D2AEFAB9}"/>
              </a:ext>
            </a:extLst>
          </p:cNvPr>
          <p:cNvGraphicFramePr>
            <a:graphicFrameLocks noChangeAspect="1"/>
          </p:cNvGraphicFramePr>
          <p:nvPr userDrawn="1">
            <p:custDataLst>
              <p:tags r:id="rId1"/>
            </p:custDataLst>
            <p:extLst>
              <p:ext uri="{D42A27DB-BD31-4B8C-83A1-F6EECF244321}">
                <p14:modId xmlns:p14="http://schemas.microsoft.com/office/powerpoint/2010/main" val="629074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F83434AE-51C8-435C-BBF2-2467D2AEFA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5">
            <a:extLst>
              <a:ext uri="{FF2B5EF4-FFF2-40B4-BE49-F238E27FC236}">
                <a16:creationId xmlns:a16="http://schemas.microsoft.com/office/drawing/2014/main" id="{11DA8E6A-AB91-40FA-A8C7-EBE1BBF874FD}"/>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a:t>Title Case </a:t>
            </a:r>
            <a:br>
              <a:rPr lang="en-US"/>
            </a:br>
            <a:r>
              <a:rPr lang="en-US"/>
              <a:t>Study</a:t>
            </a:r>
          </a:p>
        </p:txBody>
      </p:sp>
      <p:sp>
        <p:nvSpPr>
          <p:cNvPr id="2" name="Rectangle 1">
            <a:extLst>
              <a:ext uri="{FF2B5EF4-FFF2-40B4-BE49-F238E27FC236}">
                <a16:creationId xmlns:a16="http://schemas.microsoft.com/office/drawing/2014/main" id="{C6AB6A79-39B0-4F13-ADD8-62A7AE0FA8DB}"/>
              </a:ext>
            </a:extLst>
          </p:cNvPr>
          <p:cNvSpPr/>
          <p:nvPr userDrawn="1"/>
        </p:nvSpPr>
        <p:spPr>
          <a:xfrm>
            <a:off x="5440296" y="0"/>
            <a:ext cx="6751703"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 Placeholder 5">
            <a:extLst>
              <a:ext uri="{FF2B5EF4-FFF2-40B4-BE49-F238E27FC236}">
                <a16:creationId xmlns:a16="http://schemas.microsoft.com/office/drawing/2014/main" id="{17D49FD4-CE4C-4BA6-BA07-7B9B9E656C34}"/>
              </a:ext>
            </a:extLst>
          </p:cNvPr>
          <p:cNvSpPr>
            <a:spLocks noGrp="1"/>
          </p:cNvSpPr>
          <p:nvPr>
            <p:ph type="body" sz="quarter" idx="26"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Case  Study</a:t>
            </a:r>
          </a:p>
        </p:txBody>
      </p:sp>
      <p:sp>
        <p:nvSpPr>
          <p:cNvPr id="31" name="Text Placeholder 13">
            <a:extLst>
              <a:ext uri="{FF2B5EF4-FFF2-40B4-BE49-F238E27FC236}">
                <a16:creationId xmlns:a16="http://schemas.microsoft.com/office/drawing/2014/main" id="{2E9120A4-8990-4E96-8757-98998F42D94C}"/>
              </a:ext>
            </a:extLst>
          </p:cNvPr>
          <p:cNvSpPr>
            <a:spLocks noGrp="1"/>
          </p:cNvSpPr>
          <p:nvPr>
            <p:ph type="body" sz="quarter" idx="13" hasCustomPrompt="1"/>
          </p:nvPr>
        </p:nvSpPr>
        <p:spPr>
          <a:xfrm>
            <a:off x="7962900" y="768404"/>
            <a:ext cx="3390900" cy="500195"/>
          </a:xfrm>
        </p:spPr>
        <p:txBody>
          <a:bodyPr anchor="b">
            <a:normAutofit/>
          </a:bodyPr>
          <a:lstStyle>
            <a:lvl1pPr marL="0" indent="0">
              <a:lnSpc>
                <a:spcPct val="100000"/>
              </a:lnSpc>
              <a:buNone/>
              <a:defRPr sz="2000" b="1">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32" name="Text Placeholder 13">
            <a:extLst>
              <a:ext uri="{FF2B5EF4-FFF2-40B4-BE49-F238E27FC236}">
                <a16:creationId xmlns:a16="http://schemas.microsoft.com/office/drawing/2014/main" id="{7659F821-5BF8-4719-ABAE-7BBF6D609253}"/>
              </a:ext>
            </a:extLst>
          </p:cNvPr>
          <p:cNvSpPr>
            <a:spLocks noGrp="1"/>
          </p:cNvSpPr>
          <p:nvPr>
            <p:ph type="body" sz="quarter" idx="14" hasCustomPrompt="1"/>
          </p:nvPr>
        </p:nvSpPr>
        <p:spPr>
          <a:xfrm>
            <a:off x="7962900" y="1386869"/>
            <a:ext cx="3390900" cy="758030"/>
          </a:xfrm>
        </p:spPr>
        <p:txBody>
          <a:bodyPr>
            <a:normAutofit/>
          </a:bodyPr>
          <a:lstStyle>
            <a:lvl1pPr marL="0" indent="0">
              <a:lnSpc>
                <a:spcPct val="100000"/>
              </a:lnSpc>
              <a:buNone/>
              <a:defRPr sz="2000" b="0">
                <a:solidFill>
                  <a:schemeClr val="tx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38" name="Picture Placeholder 3">
            <a:extLst>
              <a:ext uri="{FF2B5EF4-FFF2-40B4-BE49-F238E27FC236}">
                <a16:creationId xmlns:a16="http://schemas.microsoft.com/office/drawing/2014/main" id="{DA7E6E2C-4BDE-4F52-AF0D-9E2B36C86E56}"/>
              </a:ext>
            </a:extLst>
          </p:cNvPr>
          <p:cNvSpPr>
            <a:spLocks noGrp="1"/>
          </p:cNvSpPr>
          <p:nvPr>
            <p:ph type="pic" sz="quarter" idx="22"/>
          </p:nvPr>
        </p:nvSpPr>
        <p:spPr>
          <a:xfrm>
            <a:off x="6210301" y="723899"/>
            <a:ext cx="1524000" cy="1502549"/>
          </a:xfrm>
          <a:solidFill>
            <a:schemeClr val="bg1"/>
          </a:solidFill>
        </p:spPr>
        <p:txBody>
          <a:bodyPr/>
          <a:lstStyle>
            <a:lvl1pPr marL="0" indent="0">
              <a:buNone/>
              <a:defRPr/>
            </a:lvl1pPr>
          </a:lstStyle>
          <a:p>
            <a:endParaRPr lang="en-US"/>
          </a:p>
        </p:txBody>
      </p:sp>
      <p:sp>
        <p:nvSpPr>
          <p:cNvPr id="39" name="Picture Placeholder 3">
            <a:extLst>
              <a:ext uri="{FF2B5EF4-FFF2-40B4-BE49-F238E27FC236}">
                <a16:creationId xmlns:a16="http://schemas.microsoft.com/office/drawing/2014/main" id="{0D65E76A-4840-4186-B051-687C64DFEE9A}"/>
              </a:ext>
            </a:extLst>
          </p:cNvPr>
          <p:cNvSpPr>
            <a:spLocks noGrp="1"/>
          </p:cNvSpPr>
          <p:nvPr>
            <p:ph type="pic" sz="quarter" idx="23"/>
          </p:nvPr>
        </p:nvSpPr>
        <p:spPr>
          <a:xfrm>
            <a:off x="6210301" y="2696775"/>
            <a:ext cx="1524000" cy="1502549"/>
          </a:xfrm>
          <a:solidFill>
            <a:schemeClr val="bg1"/>
          </a:solidFill>
        </p:spPr>
        <p:txBody>
          <a:bodyPr/>
          <a:lstStyle>
            <a:lvl1pPr marL="0" indent="0">
              <a:buNone/>
              <a:defRPr/>
            </a:lvl1pPr>
          </a:lstStyle>
          <a:p>
            <a:endParaRPr lang="en-US"/>
          </a:p>
        </p:txBody>
      </p:sp>
      <p:sp>
        <p:nvSpPr>
          <p:cNvPr id="40" name="Picture Placeholder 3">
            <a:extLst>
              <a:ext uri="{FF2B5EF4-FFF2-40B4-BE49-F238E27FC236}">
                <a16:creationId xmlns:a16="http://schemas.microsoft.com/office/drawing/2014/main" id="{AEA3F334-7F19-4FFB-A738-E97B8735976A}"/>
              </a:ext>
            </a:extLst>
          </p:cNvPr>
          <p:cNvSpPr>
            <a:spLocks noGrp="1"/>
          </p:cNvSpPr>
          <p:nvPr>
            <p:ph type="pic" sz="quarter" idx="24"/>
          </p:nvPr>
        </p:nvSpPr>
        <p:spPr>
          <a:xfrm>
            <a:off x="6210301" y="4669651"/>
            <a:ext cx="1524000" cy="1502549"/>
          </a:xfrm>
          <a:solidFill>
            <a:schemeClr val="bg1"/>
          </a:solidFill>
        </p:spPr>
        <p:txBody>
          <a:bodyPr/>
          <a:lstStyle>
            <a:lvl1pPr marL="0" indent="0">
              <a:buNone/>
              <a:defRPr/>
            </a:lvl1pPr>
          </a:lstStyle>
          <a:p>
            <a:endParaRPr lang="en-US"/>
          </a:p>
        </p:txBody>
      </p:sp>
      <p:sp>
        <p:nvSpPr>
          <p:cNvPr id="41" name="Text Placeholder 13">
            <a:extLst>
              <a:ext uri="{FF2B5EF4-FFF2-40B4-BE49-F238E27FC236}">
                <a16:creationId xmlns:a16="http://schemas.microsoft.com/office/drawing/2014/main" id="{2D61AC73-E33F-4D5B-8BA9-F51AD6BFC9CB}"/>
              </a:ext>
            </a:extLst>
          </p:cNvPr>
          <p:cNvSpPr>
            <a:spLocks noGrp="1"/>
          </p:cNvSpPr>
          <p:nvPr>
            <p:ph type="body" sz="quarter" idx="27" hasCustomPrompt="1"/>
          </p:nvPr>
        </p:nvSpPr>
        <p:spPr>
          <a:xfrm>
            <a:off x="7962900" y="2758569"/>
            <a:ext cx="3390900" cy="500195"/>
          </a:xfrm>
        </p:spPr>
        <p:txBody>
          <a:bodyPr anchor="b">
            <a:normAutofit/>
          </a:bodyPr>
          <a:lstStyle>
            <a:lvl1pPr marL="0" indent="0">
              <a:lnSpc>
                <a:spcPct val="100000"/>
              </a:lnSpc>
              <a:buNone/>
              <a:defRPr sz="2000" b="1">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42" name="Text Placeholder 13">
            <a:extLst>
              <a:ext uri="{FF2B5EF4-FFF2-40B4-BE49-F238E27FC236}">
                <a16:creationId xmlns:a16="http://schemas.microsoft.com/office/drawing/2014/main" id="{4EFB90C0-CA59-426F-BED0-111EFAFB63A3}"/>
              </a:ext>
            </a:extLst>
          </p:cNvPr>
          <p:cNvSpPr>
            <a:spLocks noGrp="1"/>
          </p:cNvSpPr>
          <p:nvPr>
            <p:ph type="body" sz="quarter" idx="28" hasCustomPrompt="1"/>
          </p:nvPr>
        </p:nvSpPr>
        <p:spPr>
          <a:xfrm>
            <a:off x="7962900" y="3377034"/>
            <a:ext cx="3390900" cy="758030"/>
          </a:xfrm>
        </p:spPr>
        <p:txBody>
          <a:bodyPr>
            <a:normAutofit/>
          </a:bodyPr>
          <a:lstStyle>
            <a:lvl1pPr marL="0" indent="0">
              <a:lnSpc>
                <a:spcPct val="100000"/>
              </a:lnSpc>
              <a:buNone/>
              <a:defRPr sz="2000" b="0">
                <a:solidFill>
                  <a:schemeClr val="tx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43" name="Text Placeholder 13">
            <a:extLst>
              <a:ext uri="{FF2B5EF4-FFF2-40B4-BE49-F238E27FC236}">
                <a16:creationId xmlns:a16="http://schemas.microsoft.com/office/drawing/2014/main" id="{272DF56C-704F-416A-AE4E-0AE9ECE06441}"/>
              </a:ext>
            </a:extLst>
          </p:cNvPr>
          <p:cNvSpPr>
            <a:spLocks noGrp="1"/>
          </p:cNvSpPr>
          <p:nvPr>
            <p:ph type="body" sz="quarter" idx="29" hasCustomPrompt="1"/>
          </p:nvPr>
        </p:nvSpPr>
        <p:spPr>
          <a:xfrm>
            <a:off x="7962900" y="4741917"/>
            <a:ext cx="3390900" cy="500195"/>
          </a:xfrm>
        </p:spPr>
        <p:txBody>
          <a:bodyPr anchor="b">
            <a:normAutofit/>
          </a:bodyPr>
          <a:lstStyle>
            <a:lvl1pPr marL="0" indent="0">
              <a:lnSpc>
                <a:spcPct val="100000"/>
              </a:lnSpc>
              <a:buNone/>
              <a:defRPr sz="2000" b="1">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44" name="Text Placeholder 13">
            <a:extLst>
              <a:ext uri="{FF2B5EF4-FFF2-40B4-BE49-F238E27FC236}">
                <a16:creationId xmlns:a16="http://schemas.microsoft.com/office/drawing/2014/main" id="{A59A8550-97AC-4C55-A180-D895048D848E}"/>
              </a:ext>
            </a:extLst>
          </p:cNvPr>
          <p:cNvSpPr>
            <a:spLocks noGrp="1"/>
          </p:cNvSpPr>
          <p:nvPr>
            <p:ph type="body" sz="quarter" idx="30" hasCustomPrompt="1"/>
          </p:nvPr>
        </p:nvSpPr>
        <p:spPr>
          <a:xfrm>
            <a:off x="7962900" y="5360382"/>
            <a:ext cx="3390900" cy="758030"/>
          </a:xfrm>
        </p:spPr>
        <p:txBody>
          <a:bodyPr>
            <a:normAutofit/>
          </a:bodyPr>
          <a:lstStyle>
            <a:lvl1pPr marL="0" indent="0">
              <a:lnSpc>
                <a:spcPct val="100000"/>
              </a:lnSpc>
              <a:buNone/>
              <a:defRPr sz="2000" b="0">
                <a:solidFill>
                  <a:schemeClr val="tx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grpSp>
        <p:nvGrpSpPr>
          <p:cNvPr id="45" name="Graphic 6">
            <a:extLst>
              <a:ext uri="{FF2B5EF4-FFF2-40B4-BE49-F238E27FC236}">
                <a16:creationId xmlns:a16="http://schemas.microsoft.com/office/drawing/2014/main" id="{F0FB3F8A-BE7B-42AA-8ACE-67B0C0623002}"/>
              </a:ext>
            </a:extLst>
          </p:cNvPr>
          <p:cNvGrpSpPr/>
          <p:nvPr userDrawn="1"/>
        </p:nvGrpSpPr>
        <p:grpSpPr>
          <a:xfrm>
            <a:off x="891988" y="6394893"/>
            <a:ext cx="432890" cy="187030"/>
            <a:chOff x="85969" y="3646150"/>
            <a:chExt cx="1544103" cy="667132"/>
          </a:xfrm>
          <a:solidFill>
            <a:srgbClr val="FF9E18"/>
          </a:solidFill>
        </p:grpSpPr>
        <p:sp>
          <p:nvSpPr>
            <p:cNvPr id="46" name="Freeform: Shape 45">
              <a:extLst>
                <a:ext uri="{FF2B5EF4-FFF2-40B4-BE49-F238E27FC236}">
                  <a16:creationId xmlns:a16="http://schemas.microsoft.com/office/drawing/2014/main" id="{ADEA5017-7460-472A-B209-58EF6625045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BA6FF322-A4E5-4F46-B54D-5F1E937D7992}"/>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923A4141-2CD8-4778-AD26-96EA4874FCD6}"/>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C41B2C57-D883-4C46-A50A-4E60235E3602}"/>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50" name="Text Placeholder 5">
            <a:extLst>
              <a:ext uri="{FF2B5EF4-FFF2-40B4-BE49-F238E27FC236}">
                <a16:creationId xmlns:a16="http://schemas.microsoft.com/office/drawing/2014/main" id="{51DA9864-4FC0-465A-8888-C1B98D376F2A}"/>
              </a:ext>
            </a:extLst>
          </p:cNvPr>
          <p:cNvSpPr>
            <a:spLocks noGrp="1"/>
          </p:cNvSpPr>
          <p:nvPr>
            <p:ph type="body" sz="quarter" idx="31" hasCustomPrompt="1"/>
          </p:nvPr>
        </p:nvSpPr>
        <p:spPr>
          <a:xfrm>
            <a:off x="838200" y="3719072"/>
            <a:ext cx="3390900" cy="2453128"/>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51" name="Text Placeholder 5">
            <a:extLst>
              <a:ext uri="{FF2B5EF4-FFF2-40B4-BE49-F238E27FC236}">
                <a16:creationId xmlns:a16="http://schemas.microsoft.com/office/drawing/2014/main" id="{CC213105-C3E0-4D12-8ACD-6C750A97A243}"/>
              </a:ext>
            </a:extLst>
          </p:cNvPr>
          <p:cNvSpPr>
            <a:spLocks noGrp="1"/>
          </p:cNvSpPr>
          <p:nvPr>
            <p:ph type="body" sz="quarter" idx="32" hasCustomPrompt="1"/>
          </p:nvPr>
        </p:nvSpPr>
        <p:spPr>
          <a:xfrm>
            <a:off x="838200" y="3058245"/>
            <a:ext cx="3390900" cy="422622"/>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Team</a:t>
            </a:r>
          </a:p>
        </p:txBody>
      </p:sp>
      <p:sp>
        <p:nvSpPr>
          <p:cNvPr id="24" name="Slide Number Placeholder 4">
            <a:extLst>
              <a:ext uri="{FF2B5EF4-FFF2-40B4-BE49-F238E27FC236}">
                <a16:creationId xmlns:a16="http://schemas.microsoft.com/office/drawing/2014/main" id="{DB0F4494-AA2B-4045-A5A4-F1B9C2D3B0DF}"/>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58403965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ase Study 2">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F939BFC-D51C-4F62-94F5-28778A2A2FE4}"/>
              </a:ext>
            </a:extLst>
          </p:cNvPr>
          <p:cNvGraphicFramePr>
            <a:graphicFrameLocks noChangeAspect="1"/>
          </p:cNvGraphicFramePr>
          <p:nvPr userDrawn="1">
            <p:custDataLst>
              <p:tags r:id="rId1"/>
            </p:custDataLst>
            <p:extLst>
              <p:ext uri="{D42A27DB-BD31-4B8C-83A1-F6EECF244321}">
                <p14:modId xmlns:p14="http://schemas.microsoft.com/office/powerpoint/2010/main" val="2666686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5F939BFC-D51C-4F62-94F5-28778A2A2F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1FAE93-871C-416D-88ED-322972D2980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8" name="Freeform: Shape 27">
            <a:extLst>
              <a:ext uri="{FF2B5EF4-FFF2-40B4-BE49-F238E27FC236}">
                <a16:creationId xmlns:a16="http://schemas.microsoft.com/office/drawing/2014/main" id="{3E338455-F163-4D18-8C66-A52D781CA037}"/>
              </a:ext>
            </a:extLst>
          </p:cNvPr>
          <p:cNvSpPr/>
          <p:nvPr userDrawn="1"/>
        </p:nvSpPr>
        <p:spPr>
          <a:xfrm>
            <a:off x="9715500" y="1146361"/>
            <a:ext cx="2476500" cy="4565278"/>
          </a:xfrm>
          <a:custGeom>
            <a:avLst/>
            <a:gdLst>
              <a:gd name="connsiteX0" fmla="*/ 2228850 w 2476500"/>
              <a:gd name="connsiteY0" fmla="*/ 0 h 4565278"/>
              <a:gd name="connsiteX1" fmla="*/ 2456837 w 2476500"/>
              <a:gd name="connsiteY1" fmla="*/ 11785 h 4565278"/>
              <a:gd name="connsiteX2" fmla="*/ 2476500 w 2476500"/>
              <a:gd name="connsiteY2" fmla="*/ 14857 h 4565278"/>
              <a:gd name="connsiteX3" fmla="*/ 2476500 w 2476500"/>
              <a:gd name="connsiteY3" fmla="*/ 896346 h 4565278"/>
              <a:gd name="connsiteX4" fmla="*/ 2369707 w 2476500"/>
              <a:gd name="connsiteY4" fmla="*/ 879659 h 4565278"/>
              <a:gd name="connsiteX5" fmla="*/ 2228850 w 2476500"/>
              <a:gd name="connsiteY5" fmla="*/ 872377 h 4565278"/>
              <a:gd name="connsiteX6" fmla="*/ 851651 w 2476500"/>
              <a:gd name="connsiteY6" fmla="*/ 2282639 h 4565278"/>
              <a:gd name="connsiteX7" fmla="*/ 2228850 w 2476500"/>
              <a:gd name="connsiteY7" fmla="*/ 3692901 h 4565278"/>
              <a:gd name="connsiteX8" fmla="*/ 2369707 w 2476500"/>
              <a:gd name="connsiteY8" fmla="*/ 3685620 h 4565278"/>
              <a:gd name="connsiteX9" fmla="*/ 2476500 w 2476500"/>
              <a:gd name="connsiteY9" fmla="*/ 3668933 h 4565278"/>
              <a:gd name="connsiteX10" fmla="*/ 2476500 w 2476500"/>
              <a:gd name="connsiteY10" fmla="*/ 4550404 h 4565278"/>
              <a:gd name="connsiteX11" fmla="*/ 2456739 w 2476500"/>
              <a:gd name="connsiteY11" fmla="*/ 4553493 h 4565278"/>
              <a:gd name="connsiteX12" fmla="*/ 2228850 w 2476500"/>
              <a:gd name="connsiteY12" fmla="*/ 4565278 h 4565278"/>
              <a:gd name="connsiteX13" fmla="*/ 0 w 2476500"/>
              <a:gd name="connsiteY13" fmla="*/ 2282639 h 4565278"/>
              <a:gd name="connsiteX14" fmla="*/ 2228850 w 2476500"/>
              <a:gd name="connsiteY14" fmla="*/ 0 h 456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76500" h="4565278">
                <a:moveTo>
                  <a:pt x="2228850" y="0"/>
                </a:moveTo>
                <a:cubicBezTo>
                  <a:pt x="2305821" y="0"/>
                  <a:pt x="2381879" y="3992"/>
                  <a:pt x="2456837" y="11785"/>
                </a:cubicBezTo>
                <a:lnTo>
                  <a:pt x="2476500" y="14857"/>
                </a:lnTo>
                <a:lnTo>
                  <a:pt x="2476500" y="896346"/>
                </a:lnTo>
                <a:lnTo>
                  <a:pt x="2369707" y="879659"/>
                </a:lnTo>
                <a:cubicBezTo>
                  <a:pt x="2323396" y="874844"/>
                  <a:pt x="2276405" y="872377"/>
                  <a:pt x="2228850" y="872377"/>
                </a:cubicBezTo>
                <a:cubicBezTo>
                  <a:pt x="1467970" y="872377"/>
                  <a:pt x="851651" y="1503828"/>
                  <a:pt x="851651" y="2282639"/>
                </a:cubicBezTo>
                <a:cubicBezTo>
                  <a:pt x="851651" y="3061451"/>
                  <a:pt x="1468533" y="3692901"/>
                  <a:pt x="2228850" y="3692901"/>
                </a:cubicBezTo>
                <a:cubicBezTo>
                  <a:pt x="2276405" y="3692901"/>
                  <a:pt x="2323396" y="3690435"/>
                  <a:pt x="2369707" y="3685620"/>
                </a:cubicBezTo>
                <a:lnTo>
                  <a:pt x="2476500" y="3668933"/>
                </a:lnTo>
                <a:lnTo>
                  <a:pt x="2476500" y="4550404"/>
                </a:lnTo>
                <a:lnTo>
                  <a:pt x="2456739" y="4553493"/>
                </a:lnTo>
                <a:cubicBezTo>
                  <a:pt x="2381811" y="4561286"/>
                  <a:pt x="2305786" y="4565278"/>
                  <a:pt x="2228850" y="4565278"/>
                </a:cubicBezTo>
                <a:cubicBezTo>
                  <a:pt x="997887" y="4565278"/>
                  <a:pt x="0" y="3543303"/>
                  <a:pt x="0" y="2282639"/>
                </a:cubicBezTo>
                <a:cubicBezTo>
                  <a:pt x="0" y="1021975"/>
                  <a:pt x="997887" y="0"/>
                  <a:pt x="2228850" y="0"/>
                </a:cubicBezTo>
                <a:close/>
              </a:path>
            </a:pathLst>
          </a:custGeom>
          <a:solidFill>
            <a:srgbClr val="FF9E18"/>
          </a:solidFill>
          <a:ln w="9264" cap="flat">
            <a:noFill/>
            <a:prstDash val="solid"/>
            <a:miter/>
          </a:ln>
        </p:spPr>
        <p:txBody>
          <a:bodyPr wrap="square" rtlCol="0" anchor="ctr">
            <a:noAutofit/>
          </a:bodyPr>
          <a:lstStyle/>
          <a:p>
            <a:pPr marL="0" indent="0">
              <a:buFont typeface="Arial" panose="020B0604020202020204" pitchFamily="34" charset="0"/>
              <a:buNone/>
            </a:pPr>
            <a:endParaRPr lang="en-US"/>
          </a:p>
        </p:txBody>
      </p:sp>
      <p:sp>
        <p:nvSpPr>
          <p:cNvPr id="8" name="Rectangle 7">
            <a:extLst>
              <a:ext uri="{FF2B5EF4-FFF2-40B4-BE49-F238E27FC236}">
                <a16:creationId xmlns:a16="http://schemas.microsoft.com/office/drawing/2014/main" id="{803CC3B7-AD1C-4AB1-AB04-F6AB43C5E159}"/>
              </a:ext>
            </a:extLst>
          </p:cNvPr>
          <p:cNvSpPr/>
          <p:nvPr userDrawn="1"/>
        </p:nvSpPr>
        <p:spPr>
          <a:xfrm>
            <a:off x="0" y="3429000"/>
            <a:ext cx="12192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DF0078AD-20B7-4AE5-B019-FE0290E75B8B}"/>
              </a:ext>
            </a:extLst>
          </p:cNvPr>
          <p:cNvSpPr/>
          <p:nvPr userDrawn="1"/>
        </p:nvSpPr>
        <p:spPr>
          <a:xfrm>
            <a:off x="9715500" y="3429001"/>
            <a:ext cx="2476500" cy="2282639"/>
          </a:xfrm>
          <a:custGeom>
            <a:avLst/>
            <a:gdLst>
              <a:gd name="connsiteX0" fmla="*/ 0 w 2476500"/>
              <a:gd name="connsiteY0" fmla="*/ 0 h 2282639"/>
              <a:gd name="connsiteX1" fmla="*/ 851651 w 2476500"/>
              <a:gd name="connsiteY1" fmla="*/ 0 h 2282639"/>
              <a:gd name="connsiteX2" fmla="*/ 2228850 w 2476500"/>
              <a:gd name="connsiteY2" fmla="*/ 1410262 h 2282639"/>
              <a:gd name="connsiteX3" fmla="*/ 2369707 w 2476500"/>
              <a:gd name="connsiteY3" fmla="*/ 1402981 h 2282639"/>
              <a:gd name="connsiteX4" fmla="*/ 2476500 w 2476500"/>
              <a:gd name="connsiteY4" fmla="*/ 1386294 h 2282639"/>
              <a:gd name="connsiteX5" fmla="*/ 2476500 w 2476500"/>
              <a:gd name="connsiteY5" fmla="*/ 2267766 h 2282639"/>
              <a:gd name="connsiteX6" fmla="*/ 2456739 w 2476500"/>
              <a:gd name="connsiteY6" fmla="*/ 2270854 h 2282639"/>
              <a:gd name="connsiteX7" fmla="*/ 2228850 w 2476500"/>
              <a:gd name="connsiteY7" fmla="*/ 2282639 h 2282639"/>
              <a:gd name="connsiteX8" fmla="*/ 0 w 2476500"/>
              <a:gd name="connsiteY8" fmla="*/ 0 h 2282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0" h="2282639">
                <a:moveTo>
                  <a:pt x="0" y="0"/>
                </a:moveTo>
                <a:lnTo>
                  <a:pt x="851651" y="0"/>
                </a:lnTo>
                <a:cubicBezTo>
                  <a:pt x="851651" y="778812"/>
                  <a:pt x="1468533" y="1410262"/>
                  <a:pt x="2228850" y="1410262"/>
                </a:cubicBezTo>
                <a:cubicBezTo>
                  <a:pt x="2276405" y="1410262"/>
                  <a:pt x="2323396" y="1407796"/>
                  <a:pt x="2369707" y="1402981"/>
                </a:cubicBezTo>
                <a:lnTo>
                  <a:pt x="2476500" y="1386294"/>
                </a:lnTo>
                <a:lnTo>
                  <a:pt x="2476500" y="2267766"/>
                </a:lnTo>
                <a:lnTo>
                  <a:pt x="2456739" y="2270854"/>
                </a:lnTo>
                <a:cubicBezTo>
                  <a:pt x="2381811" y="2278647"/>
                  <a:pt x="2305786" y="2282639"/>
                  <a:pt x="2228850" y="2282639"/>
                </a:cubicBezTo>
                <a:cubicBezTo>
                  <a:pt x="997887" y="2282639"/>
                  <a:pt x="0" y="1260664"/>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Arial" panose="020B0604020202020204" pitchFamily="34" charset="0"/>
              <a:buNone/>
            </a:pPr>
            <a:endParaRPr lang="en-US"/>
          </a:p>
        </p:txBody>
      </p:sp>
      <p:sp>
        <p:nvSpPr>
          <p:cNvPr id="10" name="Freeform: Shape 9">
            <a:extLst>
              <a:ext uri="{FF2B5EF4-FFF2-40B4-BE49-F238E27FC236}">
                <a16:creationId xmlns:a16="http://schemas.microsoft.com/office/drawing/2014/main" id="{BBC3A9FF-87A7-4063-9803-2B47410131E5}"/>
              </a:ext>
            </a:extLst>
          </p:cNvPr>
          <p:cNvSpPr/>
          <p:nvPr userDrawn="1"/>
        </p:nvSpPr>
        <p:spPr>
          <a:xfrm>
            <a:off x="7962900" y="3940913"/>
            <a:ext cx="406747" cy="416527"/>
          </a:xfrm>
          <a:custGeom>
            <a:avLst/>
            <a:gdLst>
              <a:gd name="connsiteX0" fmla="*/ 366038 w 732076"/>
              <a:gd name="connsiteY0" fmla="*/ 0 h 749678"/>
              <a:gd name="connsiteX1" fmla="*/ 366038 w 732076"/>
              <a:gd name="connsiteY1" fmla="*/ 0 h 749678"/>
              <a:gd name="connsiteX2" fmla="*/ 0 w 732076"/>
              <a:gd name="connsiteY2" fmla="*/ 374839 h 749678"/>
              <a:gd name="connsiteX3" fmla="*/ 0 w 732076"/>
              <a:gd name="connsiteY3" fmla="*/ 374839 h 749678"/>
              <a:gd name="connsiteX4" fmla="*/ 366038 w 732076"/>
              <a:gd name="connsiteY4" fmla="*/ 749678 h 749678"/>
              <a:gd name="connsiteX5" fmla="*/ 366038 w 732076"/>
              <a:gd name="connsiteY5" fmla="*/ 749678 h 749678"/>
              <a:gd name="connsiteX6" fmla="*/ 732076 w 732076"/>
              <a:gd name="connsiteY6" fmla="*/ 374839 h 749678"/>
              <a:gd name="connsiteX7" fmla="*/ 732076 w 732076"/>
              <a:gd name="connsiteY7" fmla="*/ 374839 h 749678"/>
              <a:gd name="connsiteX8" fmla="*/ 366038 w 732076"/>
              <a:gd name="connsiteY8" fmla="*/ 0 h 749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076" h="749678">
                <a:moveTo>
                  <a:pt x="366038" y="0"/>
                </a:moveTo>
                <a:lnTo>
                  <a:pt x="366038" y="0"/>
                </a:lnTo>
                <a:cubicBezTo>
                  <a:pt x="163888" y="0"/>
                  <a:pt x="0" y="167779"/>
                  <a:pt x="0" y="374839"/>
                </a:cubicBezTo>
                <a:lnTo>
                  <a:pt x="0" y="374839"/>
                </a:lnTo>
                <a:cubicBezTo>
                  <a:pt x="0" y="581807"/>
                  <a:pt x="163888" y="749678"/>
                  <a:pt x="366038" y="749678"/>
                </a:cubicBezTo>
                <a:lnTo>
                  <a:pt x="366038" y="749678"/>
                </a:lnTo>
                <a:cubicBezTo>
                  <a:pt x="568188" y="749678"/>
                  <a:pt x="732076" y="581899"/>
                  <a:pt x="732076" y="374839"/>
                </a:cubicBezTo>
                <a:lnTo>
                  <a:pt x="732076" y="374839"/>
                </a:lnTo>
                <a:cubicBezTo>
                  <a:pt x="732076" y="167779"/>
                  <a:pt x="568188" y="0"/>
                  <a:pt x="366038" y="0"/>
                </a:cubicBez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a:p>
        </p:txBody>
      </p:sp>
      <p:sp>
        <p:nvSpPr>
          <p:cNvPr id="11" name="Freeform: Shape 10">
            <a:extLst>
              <a:ext uri="{FF2B5EF4-FFF2-40B4-BE49-F238E27FC236}">
                <a16:creationId xmlns:a16="http://schemas.microsoft.com/office/drawing/2014/main" id="{BEB61926-672E-44FE-865C-DB93F2E6E46E}"/>
              </a:ext>
            </a:extLst>
          </p:cNvPr>
          <p:cNvSpPr/>
          <p:nvPr userDrawn="1"/>
        </p:nvSpPr>
        <p:spPr>
          <a:xfrm>
            <a:off x="4569410" y="3940586"/>
            <a:ext cx="79990" cy="419356"/>
          </a:xfrm>
          <a:custGeom>
            <a:avLst/>
            <a:gdLst>
              <a:gd name="connsiteX0" fmla="*/ 0 w 143969"/>
              <a:gd name="connsiteY0" fmla="*/ 0 h 754773"/>
              <a:gd name="connsiteX1" fmla="*/ 143969 w 143969"/>
              <a:gd name="connsiteY1" fmla="*/ 0 h 754773"/>
              <a:gd name="connsiteX2" fmla="*/ 143969 w 143969"/>
              <a:gd name="connsiteY2" fmla="*/ 754774 h 754773"/>
              <a:gd name="connsiteX3" fmla="*/ 0 w 143969"/>
              <a:gd name="connsiteY3" fmla="*/ 754774 h 754773"/>
            </a:gdLst>
            <a:ahLst/>
            <a:cxnLst>
              <a:cxn ang="0">
                <a:pos x="connsiteX0" y="connsiteY0"/>
              </a:cxn>
              <a:cxn ang="0">
                <a:pos x="connsiteX1" y="connsiteY1"/>
              </a:cxn>
              <a:cxn ang="0">
                <a:pos x="connsiteX2" y="connsiteY2"/>
              </a:cxn>
              <a:cxn ang="0">
                <a:pos x="connsiteX3" y="connsiteY3"/>
              </a:cxn>
            </a:cxnLst>
            <a:rect l="l" t="t" r="r" b="b"/>
            <a:pathLst>
              <a:path w="143969" h="754773">
                <a:moveTo>
                  <a:pt x="0" y="0"/>
                </a:moveTo>
                <a:lnTo>
                  <a:pt x="143969" y="0"/>
                </a:lnTo>
                <a:lnTo>
                  <a:pt x="143969" y="754774"/>
                </a:lnTo>
                <a:lnTo>
                  <a:pt x="0" y="754774"/>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a:p>
        </p:txBody>
      </p:sp>
      <p:sp>
        <p:nvSpPr>
          <p:cNvPr id="12" name="Freeform: Shape 11">
            <a:extLst>
              <a:ext uri="{FF2B5EF4-FFF2-40B4-BE49-F238E27FC236}">
                <a16:creationId xmlns:a16="http://schemas.microsoft.com/office/drawing/2014/main" id="{E6DA1C5F-9319-4992-93DB-264687E4EDB5}"/>
              </a:ext>
            </a:extLst>
          </p:cNvPr>
          <p:cNvSpPr/>
          <p:nvPr userDrawn="1"/>
        </p:nvSpPr>
        <p:spPr>
          <a:xfrm>
            <a:off x="838200" y="3940625"/>
            <a:ext cx="409526" cy="419409"/>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1267883"/>
            <a:ext cx="10515600" cy="716879"/>
          </a:xfrm>
        </p:spPr>
        <p:txBody>
          <a:bodyPr/>
          <a:lstStyle>
            <a:lvl1pPr marL="0" indent="0">
              <a:buFont typeface="Arial" panose="020B0604020202020204" pitchFamily="34" charset="0"/>
              <a:buNone/>
              <a:defRPr/>
            </a:lvl1pPr>
          </a:lstStyle>
          <a:p>
            <a:r>
              <a:rPr lang="en-US"/>
              <a:t>Click to edit Master title style</a:t>
            </a:r>
          </a:p>
        </p:txBody>
      </p:sp>
      <p:sp>
        <p:nvSpPr>
          <p:cNvPr id="15" name="Text Placeholder 5">
            <a:extLst>
              <a:ext uri="{FF2B5EF4-FFF2-40B4-BE49-F238E27FC236}">
                <a16:creationId xmlns:a16="http://schemas.microsoft.com/office/drawing/2014/main" id="{516052CA-AD47-4BA4-9E3A-238E32F990E9}"/>
              </a:ext>
            </a:extLst>
          </p:cNvPr>
          <p:cNvSpPr>
            <a:spLocks noGrp="1"/>
          </p:cNvSpPr>
          <p:nvPr>
            <p:ph type="body" sz="quarter" idx="16" hasCustomPrompt="1"/>
          </p:nvPr>
        </p:nvSpPr>
        <p:spPr>
          <a:xfrm>
            <a:off x="838200" y="2064544"/>
            <a:ext cx="5143500" cy="1221581"/>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16" name="Text Placeholder 5">
            <a:extLst>
              <a:ext uri="{FF2B5EF4-FFF2-40B4-BE49-F238E27FC236}">
                <a16:creationId xmlns:a16="http://schemas.microsoft.com/office/drawing/2014/main" id="{85EC9A31-5CD0-444A-9092-2DA5FFC33C11}"/>
              </a:ext>
            </a:extLst>
          </p:cNvPr>
          <p:cNvSpPr>
            <a:spLocks noGrp="1"/>
          </p:cNvSpPr>
          <p:nvPr>
            <p:ph type="body" sz="quarter" idx="17" hasCustomPrompt="1"/>
          </p:nvPr>
        </p:nvSpPr>
        <p:spPr>
          <a:xfrm>
            <a:off x="838200" y="4629150"/>
            <a:ext cx="3390900" cy="1221581"/>
          </a:xfrm>
        </p:spPr>
        <p:txBody>
          <a:bodyPr vert="horz" lIns="91440" tIns="45720" rIns="457200" bIns="45720" rtlCol="0">
            <a:normAutofit/>
          </a:bodyPr>
          <a:lstStyle>
            <a:lvl1pPr marL="0" indent="0">
              <a:buNone/>
              <a:defRPr lang="en-US" sz="2000" b="0" dirty="0"/>
            </a:lvl1pPr>
          </a:lstStyle>
          <a:p>
            <a:pPr lvl="0"/>
            <a:r>
              <a:rPr lang="en-US"/>
              <a:t>Case  Study Description</a:t>
            </a:r>
          </a:p>
        </p:txBody>
      </p:sp>
      <p:sp>
        <p:nvSpPr>
          <p:cNvPr id="17" name="Text Placeholder 5">
            <a:extLst>
              <a:ext uri="{FF2B5EF4-FFF2-40B4-BE49-F238E27FC236}">
                <a16:creationId xmlns:a16="http://schemas.microsoft.com/office/drawing/2014/main" id="{C5116724-EDC1-4E4F-9F86-05E608C02E08}"/>
              </a:ext>
            </a:extLst>
          </p:cNvPr>
          <p:cNvSpPr>
            <a:spLocks noGrp="1"/>
          </p:cNvSpPr>
          <p:nvPr>
            <p:ph type="body" sz="quarter" idx="18" hasCustomPrompt="1"/>
          </p:nvPr>
        </p:nvSpPr>
        <p:spPr>
          <a:xfrm>
            <a:off x="1335881" y="3879058"/>
            <a:ext cx="2893219" cy="564356"/>
          </a:xfrm>
        </p:spPr>
        <p:txBody>
          <a:bodyPr vert="horz" lIns="91440" tIns="45720" rIns="91440" bIns="45720" rtlCol="0" anchor="ctr">
            <a:normAutofit/>
          </a:bodyPr>
          <a:lstStyle>
            <a:lvl1pPr marL="0" indent="0">
              <a:buNone/>
              <a:defRPr lang="en-US" sz="2000" b="1" dirty="0">
                <a:solidFill>
                  <a:schemeClr val="accent1"/>
                </a:solidFill>
              </a:defRPr>
            </a:lvl1pPr>
          </a:lstStyle>
          <a:p>
            <a:pPr lvl="0"/>
            <a:r>
              <a:rPr lang="en-US"/>
              <a:t>The Challenge</a:t>
            </a:r>
          </a:p>
        </p:txBody>
      </p:sp>
      <p:sp>
        <p:nvSpPr>
          <p:cNvPr id="23" name="Text Placeholder 5">
            <a:extLst>
              <a:ext uri="{FF2B5EF4-FFF2-40B4-BE49-F238E27FC236}">
                <a16:creationId xmlns:a16="http://schemas.microsoft.com/office/drawing/2014/main" id="{219B670D-29A8-43D9-8E2F-11DC50D67327}"/>
              </a:ext>
            </a:extLst>
          </p:cNvPr>
          <p:cNvSpPr>
            <a:spLocks noGrp="1"/>
          </p:cNvSpPr>
          <p:nvPr>
            <p:ph type="body" sz="quarter" idx="19" hasCustomPrompt="1"/>
          </p:nvPr>
        </p:nvSpPr>
        <p:spPr>
          <a:xfrm>
            <a:off x="4457700" y="4629150"/>
            <a:ext cx="3390900" cy="1221581"/>
          </a:xfrm>
        </p:spPr>
        <p:txBody>
          <a:bodyPr vert="horz" lIns="91440" tIns="45720" rIns="457200" bIns="45720" rtlCol="0">
            <a:normAutofit/>
          </a:bodyPr>
          <a:lstStyle>
            <a:lvl1pPr marL="0" indent="0">
              <a:buNone/>
              <a:defRPr lang="en-US" sz="2000" b="0" dirty="0"/>
            </a:lvl1pPr>
          </a:lstStyle>
          <a:p>
            <a:pPr lvl="0"/>
            <a:r>
              <a:rPr lang="en-US"/>
              <a:t>Case  Study Description</a:t>
            </a:r>
          </a:p>
        </p:txBody>
      </p:sp>
      <p:sp>
        <p:nvSpPr>
          <p:cNvPr id="24" name="Text Placeholder 5">
            <a:extLst>
              <a:ext uri="{FF2B5EF4-FFF2-40B4-BE49-F238E27FC236}">
                <a16:creationId xmlns:a16="http://schemas.microsoft.com/office/drawing/2014/main" id="{4488C209-81F0-4621-B02E-677305C466A5}"/>
              </a:ext>
            </a:extLst>
          </p:cNvPr>
          <p:cNvSpPr>
            <a:spLocks noGrp="1"/>
          </p:cNvSpPr>
          <p:nvPr>
            <p:ph type="body" sz="quarter" idx="20" hasCustomPrompt="1"/>
          </p:nvPr>
        </p:nvSpPr>
        <p:spPr>
          <a:xfrm>
            <a:off x="4763690" y="3879058"/>
            <a:ext cx="2893219" cy="564356"/>
          </a:xfrm>
        </p:spPr>
        <p:txBody>
          <a:bodyPr vert="horz" lIns="91440" tIns="45720" rIns="91440" bIns="45720" rtlCol="0" anchor="ctr">
            <a:normAutofit/>
          </a:bodyPr>
          <a:lstStyle>
            <a:lvl1pPr marL="0" indent="0">
              <a:buNone/>
              <a:defRPr lang="en-US" sz="2000" b="1" dirty="0">
                <a:solidFill>
                  <a:schemeClr val="accent1"/>
                </a:solidFill>
              </a:defRPr>
            </a:lvl1pPr>
          </a:lstStyle>
          <a:p>
            <a:pPr lvl="0"/>
            <a:r>
              <a:rPr lang="en-US"/>
              <a:t>The Solution</a:t>
            </a:r>
          </a:p>
        </p:txBody>
      </p:sp>
      <p:sp>
        <p:nvSpPr>
          <p:cNvPr id="25" name="Text Placeholder 5">
            <a:extLst>
              <a:ext uri="{FF2B5EF4-FFF2-40B4-BE49-F238E27FC236}">
                <a16:creationId xmlns:a16="http://schemas.microsoft.com/office/drawing/2014/main" id="{1038F4B9-3067-46D4-82C3-EB758399CA35}"/>
              </a:ext>
            </a:extLst>
          </p:cNvPr>
          <p:cNvSpPr>
            <a:spLocks noGrp="1"/>
          </p:cNvSpPr>
          <p:nvPr>
            <p:ph type="body" sz="quarter" idx="21" hasCustomPrompt="1"/>
          </p:nvPr>
        </p:nvSpPr>
        <p:spPr>
          <a:xfrm>
            <a:off x="7962900" y="4629150"/>
            <a:ext cx="3390900" cy="1221581"/>
          </a:xfrm>
        </p:spPr>
        <p:txBody>
          <a:bodyPr vert="horz" lIns="91440" tIns="45720" rIns="457200" bIns="45720" rtlCol="0">
            <a:normAutofit/>
          </a:bodyPr>
          <a:lstStyle>
            <a:lvl1pPr marL="0" indent="0">
              <a:buNone/>
              <a:defRPr lang="en-US" sz="2000" b="0" dirty="0"/>
            </a:lvl1pPr>
          </a:lstStyle>
          <a:p>
            <a:pPr lvl="0"/>
            <a:r>
              <a:rPr lang="en-US"/>
              <a:t>Case  Study Description</a:t>
            </a:r>
          </a:p>
        </p:txBody>
      </p:sp>
      <p:sp>
        <p:nvSpPr>
          <p:cNvPr id="26" name="Text Placeholder 5">
            <a:extLst>
              <a:ext uri="{FF2B5EF4-FFF2-40B4-BE49-F238E27FC236}">
                <a16:creationId xmlns:a16="http://schemas.microsoft.com/office/drawing/2014/main" id="{8A2DF699-0D32-4000-BEF6-19DCFE7DB613}"/>
              </a:ext>
            </a:extLst>
          </p:cNvPr>
          <p:cNvSpPr>
            <a:spLocks noGrp="1"/>
          </p:cNvSpPr>
          <p:nvPr>
            <p:ph type="body" sz="quarter" idx="22" hasCustomPrompt="1"/>
          </p:nvPr>
        </p:nvSpPr>
        <p:spPr>
          <a:xfrm>
            <a:off x="8460581" y="3879058"/>
            <a:ext cx="2893219" cy="564356"/>
          </a:xfrm>
        </p:spPr>
        <p:txBody>
          <a:bodyPr vert="horz" lIns="91440" tIns="45720" rIns="91440" bIns="45720" rtlCol="0" anchor="ctr">
            <a:normAutofit/>
          </a:bodyPr>
          <a:lstStyle>
            <a:lvl1pPr marL="0" indent="0">
              <a:buNone/>
              <a:defRPr lang="en-US" sz="2000" b="1" dirty="0">
                <a:solidFill>
                  <a:schemeClr val="accent1"/>
                </a:solidFill>
              </a:defRPr>
            </a:lvl1pPr>
          </a:lstStyle>
          <a:p>
            <a:pPr lvl="0"/>
            <a:r>
              <a:rPr lang="en-US"/>
              <a:t>The Impact</a:t>
            </a:r>
          </a:p>
        </p:txBody>
      </p:sp>
      <p:sp>
        <p:nvSpPr>
          <p:cNvPr id="29" name="Text Placeholder 5">
            <a:extLst>
              <a:ext uri="{FF2B5EF4-FFF2-40B4-BE49-F238E27FC236}">
                <a16:creationId xmlns:a16="http://schemas.microsoft.com/office/drawing/2014/main" id="{BF5E323F-ECA5-4F0E-9837-00195A040D09}"/>
              </a:ext>
            </a:extLst>
          </p:cNvPr>
          <p:cNvSpPr>
            <a:spLocks noGrp="1"/>
          </p:cNvSpPr>
          <p:nvPr>
            <p:ph type="body" sz="quarter" idx="23" hasCustomPrompt="1"/>
          </p:nvPr>
        </p:nvSpPr>
        <p:spPr>
          <a:xfrm>
            <a:off x="838200" y="723901"/>
            <a:ext cx="10515600" cy="447674"/>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Case  Study</a:t>
            </a:r>
          </a:p>
        </p:txBody>
      </p:sp>
      <p:grpSp>
        <p:nvGrpSpPr>
          <p:cNvPr id="27" name="Graphic 6">
            <a:extLst>
              <a:ext uri="{FF2B5EF4-FFF2-40B4-BE49-F238E27FC236}">
                <a16:creationId xmlns:a16="http://schemas.microsoft.com/office/drawing/2014/main" id="{04DD9971-27BE-4AF5-9977-7EB36E2A07D7}"/>
              </a:ext>
            </a:extLst>
          </p:cNvPr>
          <p:cNvGrpSpPr/>
          <p:nvPr userDrawn="1"/>
        </p:nvGrpSpPr>
        <p:grpSpPr>
          <a:xfrm>
            <a:off x="891988" y="6394893"/>
            <a:ext cx="432890" cy="187030"/>
            <a:chOff x="85969" y="3646150"/>
            <a:chExt cx="1544103" cy="667132"/>
          </a:xfrm>
          <a:solidFill>
            <a:srgbClr val="FF9E18"/>
          </a:solidFill>
        </p:grpSpPr>
        <p:sp>
          <p:nvSpPr>
            <p:cNvPr id="30" name="Freeform: Shape 29">
              <a:extLst>
                <a:ext uri="{FF2B5EF4-FFF2-40B4-BE49-F238E27FC236}">
                  <a16:creationId xmlns:a16="http://schemas.microsoft.com/office/drawing/2014/main" id="{9FA4255B-77C8-45D6-B54F-5CC6FBD79C7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86443E3A-A556-4A2B-B4EF-914A520065B4}"/>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F6DAE9F3-BF40-4CB4-9A0F-FF946A5DEB26}"/>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A664B689-8051-4A19-BCA2-8EB05890E42A}"/>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34" name="Slide Number Placeholder 4">
            <a:extLst>
              <a:ext uri="{FF2B5EF4-FFF2-40B4-BE49-F238E27FC236}">
                <a16:creationId xmlns:a16="http://schemas.microsoft.com/office/drawing/2014/main" id="{01F6E271-958A-447E-BD52-A07ED1BFC774}"/>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3257746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2">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398657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0" name="Rectangle 9">
            <a:extLst>
              <a:ext uri="{FF2B5EF4-FFF2-40B4-BE49-F238E27FC236}">
                <a16:creationId xmlns:a16="http://schemas.microsoft.com/office/drawing/2014/main" id="{CF8D282B-141A-4592-8956-EF2F480A728A}"/>
              </a:ext>
            </a:extLst>
          </p:cNvPr>
          <p:cNvSpPr/>
          <p:nvPr userDrawn="1"/>
        </p:nvSpPr>
        <p:spPr>
          <a:xfrm>
            <a:off x="2706449" y="5596645"/>
            <a:ext cx="577702" cy="5777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2"/>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accent1"/>
                </a:solidFill>
              </a:defRPr>
            </a:lvl1pPr>
          </a:lstStyle>
          <a:p>
            <a:r>
              <a:rPr lang="en-US"/>
              <a:t>Title Here</a:t>
            </a:r>
          </a:p>
        </p:txBody>
      </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accent2"/>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18" name="Rectangle 17">
            <a:extLst>
              <a:ext uri="{FF2B5EF4-FFF2-40B4-BE49-F238E27FC236}">
                <a16:creationId xmlns:a16="http://schemas.microsoft.com/office/drawing/2014/main" id="{D3D0F794-BF98-49A7-A3AA-94AEDBE61DC7}"/>
              </a:ext>
            </a:extLst>
          </p:cNvPr>
          <p:cNvSpPr/>
          <p:nvPr userDrawn="1"/>
        </p:nvSpPr>
        <p:spPr>
          <a:xfrm>
            <a:off x="8736746" y="0"/>
            <a:ext cx="345525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2322249F-FBC2-4DD3-BD5B-014B02DCF611}"/>
              </a:ext>
            </a:extLst>
          </p:cNvPr>
          <p:cNvSpPr/>
          <p:nvPr userDrawn="1"/>
        </p:nvSpPr>
        <p:spPr>
          <a:xfrm>
            <a:off x="8736746" y="726620"/>
            <a:ext cx="2607372" cy="5442861"/>
          </a:xfrm>
          <a:custGeom>
            <a:avLst/>
            <a:gdLst>
              <a:gd name="connsiteX0" fmla="*/ 0 w 2607372"/>
              <a:gd name="connsiteY0" fmla="*/ 0 h 5442861"/>
              <a:gd name="connsiteX1" fmla="*/ 219493 w 2607372"/>
              <a:gd name="connsiteY1" fmla="*/ 11346 h 5442861"/>
              <a:gd name="connsiteX2" fmla="*/ 2607372 w 2607372"/>
              <a:gd name="connsiteY2" fmla="*/ 2721431 h 5442861"/>
              <a:gd name="connsiteX3" fmla="*/ 219375 w 2607372"/>
              <a:gd name="connsiteY3" fmla="*/ 5431517 h 5442861"/>
              <a:gd name="connsiteX4" fmla="*/ 0 w 2607372"/>
              <a:gd name="connsiteY4" fmla="*/ 5442861 h 5442861"/>
              <a:gd name="connsiteX5" fmla="*/ 0 w 2607372"/>
              <a:gd name="connsiteY5" fmla="*/ 4401749 h 5442861"/>
              <a:gd name="connsiteX6" fmla="*/ 115509 w 2607372"/>
              <a:gd name="connsiteY6" fmla="*/ 4395778 h 5442861"/>
              <a:gd name="connsiteX7" fmla="*/ 1590993 w 2607372"/>
              <a:gd name="connsiteY7" fmla="*/ 2721431 h 5442861"/>
              <a:gd name="connsiteX8" fmla="*/ 115509 w 2607372"/>
              <a:gd name="connsiteY8" fmla="*/ 1047085 h 5442861"/>
              <a:gd name="connsiteX9" fmla="*/ 0 w 2607372"/>
              <a:gd name="connsiteY9" fmla="*/ 1041113 h 544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7372" h="5442861">
                <a:moveTo>
                  <a:pt x="0" y="0"/>
                </a:moveTo>
                <a:lnTo>
                  <a:pt x="219493" y="11346"/>
                </a:lnTo>
                <a:cubicBezTo>
                  <a:pt x="1561351" y="150850"/>
                  <a:pt x="2607994" y="1310960"/>
                  <a:pt x="2607372" y="2721431"/>
                </a:cubicBezTo>
                <a:cubicBezTo>
                  <a:pt x="2607372" y="4131903"/>
                  <a:pt x="1560683" y="5292013"/>
                  <a:pt x="219375" y="5431517"/>
                </a:cubicBezTo>
                <a:lnTo>
                  <a:pt x="0" y="5442861"/>
                </a:lnTo>
                <a:lnTo>
                  <a:pt x="0" y="4401749"/>
                </a:lnTo>
                <a:lnTo>
                  <a:pt x="115509" y="4395778"/>
                </a:lnTo>
                <a:cubicBezTo>
                  <a:pt x="944533" y="4309583"/>
                  <a:pt x="1590993" y="3592791"/>
                  <a:pt x="1590993" y="2721431"/>
                </a:cubicBezTo>
                <a:cubicBezTo>
                  <a:pt x="1590993" y="1850072"/>
                  <a:pt x="944533" y="1133280"/>
                  <a:pt x="115509" y="1047085"/>
                </a:cubicBezTo>
                <a:lnTo>
                  <a:pt x="0" y="1041113"/>
                </a:lnTo>
                <a:close/>
              </a:path>
            </a:pathLst>
          </a:custGeom>
          <a:solidFill>
            <a:schemeClr val="accent2"/>
          </a:solidFill>
          <a:ln w="25400"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34312903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ase Study Graph">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3464884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781E62F8-2399-4409-92D5-8384E7AC2023}"/>
              </a:ext>
            </a:extLst>
          </p:cNvPr>
          <p:cNvSpPr/>
          <p:nvPr userDrawn="1"/>
        </p:nvSpPr>
        <p:spPr>
          <a:xfrm>
            <a:off x="6210300" y="0"/>
            <a:ext cx="598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5">
            <a:extLst>
              <a:ext uri="{FF2B5EF4-FFF2-40B4-BE49-F238E27FC236}">
                <a16:creationId xmlns:a16="http://schemas.microsoft.com/office/drawing/2014/main" id="{8B97D3AC-80EB-4480-B618-1EE09FD3D242}"/>
              </a:ext>
            </a:extLst>
          </p:cNvPr>
          <p:cNvSpPr>
            <a:spLocks noGrp="1"/>
          </p:cNvSpPr>
          <p:nvPr>
            <p:ph type="body" sz="quarter" idx="16" hasCustomPrompt="1"/>
          </p:nvPr>
        </p:nvSpPr>
        <p:spPr>
          <a:xfrm>
            <a:off x="838200" y="2871368"/>
            <a:ext cx="3390900" cy="357187"/>
          </a:xfrm>
        </p:spPr>
        <p:txBody>
          <a:bodyPr vert="horz" lIns="91440" tIns="45720" rIns="91440" bIns="45720" rtlCol="0">
            <a:noAutofit/>
          </a:bodyPr>
          <a:lstStyle>
            <a:lvl1pPr marL="0" indent="0">
              <a:buNone/>
              <a:defRPr lang="en-US" sz="2000" b="1" dirty="0">
                <a:solidFill>
                  <a:schemeClr val="accent3"/>
                </a:solidFill>
              </a:defRPr>
            </a:lvl1pPr>
          </a:lstStyle>
          <a:p>
            <a:pPr lvl="0"/>
            <a:r>
              <a:rPr lang="en-US"/>
              <a:t>Case  Study Description</a:t>
            </a:r>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Case  Study</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838200" y="3350000"/>
            <a:ext cx="3390900" cy="1037583"/>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13" name="Text Placeholder 5">
            <a:extLst>
              <a:ext uri="{FF2B5EF4-FFF2-40B4-BE49-F238E27FC236}">
                <a16:creationId xmlns:a16="http://schemas.microsoft.com/office/drawing/2014/main" id="{7CCD622F-FF4F-4C93-AE7A-2031527CFFFF}"/>
              </a:ext>
            </a:extLst>
          </p:cNvPr>
          <p:cNvSpPr>
            <a:spLocks noGrp="1"/>
          </p:cNvSpPr>
          <p:nvPr>
            <p:ph type="body" sz="quarter" idx="25" hasCustomPrompt="1"/>
          </p:nvPr>
        </p:nvSpPr>
        <p:spPr>
          <a:xfrm>
            <a:off x="838200" y="4465443"/>
            <a:ext cx="3390900" cy="357187"/>
          </a:xfrm>
        </p:spPr>
        <p:txBody>
          <a:bodyPr vert="horz" lIns="91440" tIns="45720" rIns="91440" bIns="45720" rtlCol="0">
            <a:noAutofit/>
          </a:bodyPr>
          <a:lstStyle>
            <a:lvl1pPr marL="0" indent="0">
              <a:buNone/>
              <a:defRPr lang="en-US" sz="2000" b="1" dirty="0">
                <a:solidFill>
                  <a:schemeClr val="accent3"/>
                </a:solidFill>
              </a:defRPr>
            </a:lvl1pPr>
          </a:lstStyle>
          <a:p>
            <a:pPr lvl="0"/>
            <a:r>
              <a:rPr lang="en-US"/>
              <a:t>Case  Study Description</a:t>
            </a:r>
          </a:p>
        </p:txBody>
      </p:sp>
      <p:sp>
        <p:nvSpPr>
          <p:cNvPr id="14" name="Text Placeholder 5">
            <a:extLst>
              <a:ext uri="{FF2B5EF4-FFF2-40B4-BE49-F238E27FC236}">
                <a16:creationId xmlns:a16="http://schemas.microsoft.com/office/drawing/2014/main" id="{9324FC69-B0AE-4534-8EAE-988ABB55EBD3}"/>
              </a:ext>
            </a:extLst>
          </p:cNvPr>
          <p:cNvSpPr>
            <a:spLocks noGrp="1"/>
          </p:cNvSpPr>
          <p:nvPr>
            <p:ph type="body" sz="quarter" idx="26" hasCustomPrompt="1"/>
          </p:nvPr>
        </p:nvSpPr>
        <p:spPr>
          <a:xfrm>
            <a:off x="838200" y="4944075"/>
            <a:ext cx="3390900" cy="1228125"/>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16" name="Chart Placeholder 15">
            <a:extLst>
              <a:ext uri="{FF2B5EF4-FFF2-40B4-BE49-F238E27FC236}">
                <a16:creationId xmlns:a16="http://schemas.microsoft.com/office/drawing/2014/main" id="{43F4447D-C018-42A9-AE80-93A258880302}"/>
              </a:ext>
            </a:extLst>
          </p:cNvPr>
          <p:cNvSpPr>
            <a:spLocks noGrp="1"/>
          </p:cNvSpPr>
          <p:nvPr>
            <p:ph type="chart" sz="quarter" idx="27"/>
          </p:nvPr>
        </p:nvSpPr>
        <p:spPr>
          <a:xfrm>
            <a:off x="7029450" y="723900"/>
            <a:ext cx="4324350" cy="5448300"/>
          </a:xfrm>
        </p:spPr>
        <p:txBody>
          <a:bodyPr/>
          <a:lstStyle/>
          <a:p>
            <a:endParaRPr lang="en-US"/>
          </a:p>
        </p:txBody>
      </p:sp>
      <p:grpSp>
        <p:nvGrpSpPr>
          <p:cNvPr id="22" name="Graphic 6">
            <a:extLst>
              <a:ext uri="{FF2B5EF4-FFF2-40B4-BE49-F238E27FC236}">
                <a16:creationId xmlns:a16="http://schemas.microsoft.com/office/drawing/2014/main" id="{2FD4EFFE-B26B-4EB9-9D51-469E1664CD6F}"/>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D185C758-2100-41A6-ADB8-6203E61D9D8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488A24F2-E440-48C2-A426-AA8851B82B4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A8302A8-BA0E-4C3A-AF3B-90712150C5F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BC50E6C-9E76-4F85-BED0-0D39E99D5E66}"/>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7" name="Text Placeholder 5">
            <a:extLst>
              <a:ext uri="{FF2B5EF4-FFF2-40B4-BE49-F238E27FC236}">
                <a16:creationId xmlns:a16="http://schemas.microsoft.com/office/drawing/2014/main" id="{A42282EB-59F5-44AA-9187-AB86B6797796}"/>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a:t>Title Case </a:t>
            </a:r>
            <a:br>
              <a:rPr lang="en-US"/>
            </a:br>
            <a:r>
              <a:rPr lang="en-US"/>
              <a:t>Study</a:t>
            </a:r>
          </a:p>
        </p:txBody>
      </p:sp>
      <p:sp>
        <p:nvSpPr>
          <p:cNvPr id="19" name="Slide Number Placeholder 4">
            <a:extLst>
              <a:ext uri="{FF2B5EF4-FFF2-40B4-BE49-F238E27FC236}">
                <a16:creationId xmlns:a16="http://schemas.microsoft.com/office/drawing/2014/main" id="{5E107A10-0180-46E9-AD8F-4BA29E548020}"/>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25972003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ase Study Graph">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1413039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0" name="Text Placeholder 5">
            <a:extLst>
              <a:ext uri="{FF2B5EF4-FFF2-40B4-BE49-F238E27FC236}">
                <a16:creationId xmlns:a16="http://schemas.microsoft.com/office/drawing/2014/main" id="{8B97D3AC-80EB-4480-B618-1EE09FD3D242}"/>
              </a:ext>
            </a:extLst>
          </p:cNvPr>
          <p:cNvSpPr>
            <a:spLocks noGrp="1"/>
          </p:cNvSpPr>
          <p:nvPr>
            <p:ph type="body" sz="quarter" idx="16" hasCustomPrompt="1"/>
          </p:nvPr>
        </p:nvSpPr>
        <p:spPr>
          <a:xfrm>
            <a:off x="838200" y="2871368"/>
            <a:ext cx="3390900" cy="357187"/>
          </a:xfrm>
        </p:spPr>
        <p:txBody>
          <a:bodyPr vert="horz" lIns="91440" tIns="45720" rIns="91440" bIns="45720" rtlCol="0">
            <a:noAutofit/>
          </a:bodyPr>
          <a:lstStyle>
            <a:lvl1pPr marL="0" indent="0">
              <a:buNone/>
              <a:defRPr lang="en-US" sz="2000" b="1" dirty="0">
                <a:solidFill>
                  <a:schemeClr val="accent3"/>
                </a:solidFill>
              </a:defRPr>
            </a:lvl1pPr>
          </a:lstStyle>
          <a:p>
            <a:pPr lvl="0"/>
            <a:r>
              <a:rPr lang="en-US"/>
              <a:t>Case  Study Description</a:t>
            </a:r>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Case  Study</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838200" y="3350000"/>
            <a:ext cx="2636520" cy="2822200"/>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16" name="Chart Placeholder 15">
            <a:extLst>
              <a:ext uri="{FF2B5EF4-FFF2-40B4-BE49-F238E27FC236}">
                <a16:creationId xmlns:a16="http://schemas.microsoft.com/office/drawing/2014/main" id="{43F4447D-C018-42A9-AE80-93A258880302}"/>
              </a:ext>
            </a:extLst>
          </p:cNvPr>
          <p:cNvSpPr>
            <a:spLocks noGrp="1"/>
          </p:cNvSpPr>
          <p:nvPr>
            <p:ph type="chart" sz="quarter" idx="27"/>
          </p:nvPr>
        </p:nvSpPr>
        <p:spPr>
          <a:xfrm>
            <a:off x="7029450" y="723900"/>
            <a:ext cx="4324350" cy="5448300"/>
          </a:xfrm>
        </p:spPr>
        <p:txBody>
          <a:bodyPr/>
          <a:lstStyle/>
          <a:p>
            <a:endParaRPr lang="en-US"/>
          </a:p>
        </p:txBody>
      </p:sp>
      <p:grpSp>
        <p:nvGrpSpPr>
          <p:cNvPr id="22" name="Graphic 6">
            <a:extLst>
              <a:ext uri="{FF2B5EF4-FFF2-40B4-BE49-F238E27FC236}">
                <a16:creationId xmlns:a16="http://schemas.microsoft.com/office/drawing/2014/main" id="{2FD4EFFE-B26B-4EB9-9D51-469E1664CD6F}"/>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D185C758-2100-41A6-ADB8-6203E61D9D8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488A24F2-E440-48C2-A426-AA8851B82B4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A8302A8-BA0E-4C3A-AF3B-90712150C5F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BC50E6C-9E76-4F85-BED0-0D39E99D5E66}"/>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7" name="Text Placeholder 5">
            <a:extLst>
              <a:ext uri="{FF2B5EF4-FFF2-40B4-BE49-F238E27FC236}">
                <a16:creationId xmlns:a16="http://schemas.microsoft.com/office/drawing/2014/main" id="{A42282EB-59F5-44AA-9187-AB86B6797796}"/>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a:t>Title Case </a:t>
            </a:r>
            <a:br>
              <a:rPr lang="en-US"/>
            </a:br>
            <a:r>
              <a:rPr lang="en-US"/>
              <a:t>Study</a:t>
            </a:r>
          </a:p>
        </p:txBody>
      </p:sp>
      <p:sp>
        <p:nvSpPr>
          <p:cNvPr id="17" name="Slide Number Placeholder 4">
            <a:extLst>
              <a:ext uri="{FF2B5EF4-FFF2-40B4-BE49-F238E27FC236}">
                <a16:creationId xmlns:a16="http://schemas.microsoft.com/office/drawing/2014/main" id="{3DC266FA-91A1-48F3-A104-54D27DB42912}"/>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28794486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ase Study Photo">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4081420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781E62F8-2399-4409-92D5-8384E7AC2023}"/>
              </a:ext>
            </a:extLst>
          </p:cNvPr>
          <p:cNvSpPr/>
          <p:nvPr userDrawn="1"/>
        </p:nvSpPr>
        <p:spPr>
          <a:xfrm>
            <a:off x="6210300" y="0"/>
            <a:ext cx="598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Case  Study</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838200" y="2935300"/>
            <a:ext cx="5143500" cy="3236899"/>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3" name="Picture Placeholder 2">
            <a:extLst>
              <a:ext uri="{FF2B5EF4-FFF2-40B4-BE49-F238E27FC236}">
                <a16:creationId xmlns:a16="http://schemas.microsoft.com/office/drawing/2014/main" id="{D7874009-3BCB-4592-A258-546119245B98}"/>
              </a:ext>
            </a:extLst>
          </p:cNvPr>
          <p:cNvSpPr>
            <a:spLocks noGrp="1"/>
          </p:cNvSpPr>
          <p:nvPr>
            <p:ph type="pic" sz="quarter" idx="25"/>
          </p:nvPr>
        </p:nvSpPr>
        <p:spPr>
          <a:xfrm>
            <a:off x="6815138" y="723899"/>
            <a:ext cx="4538662" cy="2632869"/>
          </a:xfrm>
        </p:spPr>
        <p:txBody>
          <a:bodyPr/>
          <a:lstStyle/>
          <a:p>
            <a:endParaRPr lang="en-US"/>
          </a:p>
        </p:txBody>
      </p:sp>
      <p:sp>
        <p:nvSpPr>
          <p:cNvPr id="22" name="Picture Placeholder 2">
            <a:extLst>
              <a:ext uri="{FF2B5EF4-FFF2-40B4-BE49-F238E27FC236}">
                <a16:creationId xmlns:a16="http://schemas.microsoft.com/office/drawing/2014/main" id="{1617D6D4-A98F-448D-B673-DFD960F3527A}"/>
              </a:ext>
            </a:extLst>
          </p:cNvPr>
          <p:cNvSpPr>
            <a:spLocks noGrp="1"/>
          </p:cNvSpPr>
          <p:nvPr>
            <p:ph type="pic" sz="quarter" idx="26"/>
          </p:nvPr>
        </p:nvSpPr>
        <p:spPr>
          <a:xfrm>
            <a:off x="6815138" y="3539332"/>
            <a:ext cx="4538662" cy="2531056"/>
          </a:xfrm>
        </p:spPr>
        <p:txBody>
          <a:bodyPr/>
          <a:lstStyle/>
          <a:p>
            <a:endParaRPr lang="en-US"/>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a:t>Title Case </a:t>
            </a:r>
            <a:br>
              <a:rPr lang="en-US"/>
            </a:br>
            <a:r>
              <a:rPr lang="en-US"/>
              <a:t>Study</a:t>
            </a:r>
          </a:p>
        </p:txBody>
      </p:sp>
      <p:sp>
        <p:nvSpPr>
          <p:cNvPr id="17" name="Slide Number Placeholder 4">
            <a:extLst>
              <a:ext uri="{FF2B5EF4-FFF2-40B4-BE49-F238E27FC236}">
                <a16:creationId xmlns:a16="http://schemas.microsoft.com/office/drawing/2014/main" id="{A52DD083-A699-4EF9-AF89-ECF112590966}"/>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36024735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ase Study Photo">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3893176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6" name="Slide Number Placeholder 5">
            <a:extLst>
              <a:ext uri="{FF2B5EF4-FFF2-40B4-BE49-F238E27FC236}">
                <a16:creationId xmlns:a16="http://schemas.microsoft.com/office/drawing/2014/main" id="{EA169C3E-7DB9-4953-89D2-AAAA9487ECAE}"/>
              </a:ext>
            </a:extLst>
          </p:cNvPr>
          <p:cNvSpPr>
            <a:spLocks noGrp="1"/>
          </p:cNvSpPr>
          <p:nvPr>
            <p:ph type="sldNum" sz="quarter" idx="12"/>
          </p:nvPr>
        </p:nvSpPr>
        <p:spPr>
          <a:xfrm>
            <a:off x="10564238" y="5924143"/>
            <a:ext cx="789562" cy="690326"/>
          </a:xfrm>
        </p:spPr>
        <p:txBody>
          <a:bodyPr/>
          <a:lstStyle/>
          <a:p>
            <a:fld id="{A1471D42-392E-4D14-982B-D9D765EA1509}" type="slidenum">
              <a:rPr lang="en-US" smtClean="0"/>
              <a:t>‹#›</a:t>
            </a:fld>
            <a:endParaRPr lang="en-US"/>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Case  Study</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838200" y="2935300"/>
            <a:ext cx="3390900" cy="3236899"/>
          </a:xfrm>
        </p:spPr>
        <p:txBody>
          <a:bodyPr vert="horz" lIns="91440" tIns="45720" rIns="91440" bIns="45720" rtlCol="0">
            <a:normAutofit/>
          </a:bodyPr>
          <a:lstStyle>
            <a:lvl1pPr marL="0" indent="0">
              <a:buNone/>
              <a:defRPr lang="en-US" sz="2000" b="0" dirty="0"/>
            </a:lvl1pPr>
          </a:lstStyle>
          <a:p>
            <a:pPr lvl="0"/>
            <a:r>
              <a:rPr lang="en-US"/>
              <a:t>Case  Study Description</a:t>
            </a:r>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a:t>Title Case </a:t>
            </a:r>
            <a:br>
              <a:rPr lang="en-US"/>
            </a:br>
            <a:r>
              <a:rPr lang="en-US"/>
              <a:t>Study</a:t>
            </a:r>
          </a:p>
        </p:txBody>
      </p:sp>
      <p:sp>
        <p:nvSpPr>
          <p:cNvPr id="21" name="Picture Placeholder 20">
            <a:extLst>
              <a:ext uri="{FF2B5EF4-FFF2-40B4-BE49-F238E27FC236}">
                <a16:creationId xmlns:a16="http://schemas.microsoft.com/office/drawing/2014/main" id="{70E94853-D3CA-48A6-A288-384895119FA4}"/>
              </a:ext>
            </a:extLst>
          </p:cNvPr>
          <p:cNvSpPr>
            <a:spLocks noGrp="1"/>
          </p:cNvSpPr>
          <p:nvPr>
            <p:ph type="pic" sz="quarter" idx="25"/>
          </p:nvPr>
        </p:nvSpPr>
        <p:spPr>
          <a:xfrm>
            <a:off x="5264150" y="1259956"/>
            <a:ext cx="6927850" cy="5598045"/>
          </a:xfrm>
          <a:custGeom>
            <a:avLst/>
            <a:gdLst>
              <a:gd name="connsiteX0" fmla="*/ 4222750 w 6927850"/>
              <a:gd name="connsiteY0" fmla="*/ 0 h 5598045"/>
              <a:gd name="connsiteX1" fmla="*/ 6908811 w 6927850"/>
              <a:gd name="connsiteY1" fmla="*/ 964271 h 5598045"/>
              <a:gd name="connsiteX2" fmla="*/ 6927850 w 6927850"/>
              <a:gd name="connsiteY2" fmla="*/ 981575 h 5598045"/>
              <a:gd name="connsiteX3" fmla="*/ 6927850 w 6927850"/>
              <a:gd name="connsiteY3" fmla="*/ 5598045 h 5598045"/>
              <a:gd name="connsiteX4" fmla="*/ 230308 w 6927850"/>
              <a:gd name="connsiteY4" fmla="*/ 5598045 h 5598045"/>
              <a:gd name="connsiteX5" fmla="*/ 189847 w 6927850"/>
              <a:gd name="connsiteY5" fmla="*/ 5478467 h 5598045"/>
              <a:gd name="connsiteX6" fmla="*/ 0 w 6927850"/>
              <a:gd name="connsiteY6" fmla="*/ 4222750 h 5598045"/>
              <a:gd name="connsiteX7" fmla="*/ 4222750 w 6927850"/>
              <a:gd name="connsiteY7" fmla="*/ 0 h 5598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7850" h="5598045">
                <a:moveTo>
                  <a:pt x="4222750" y="0"/>
                </a:moveTo>
                <a:cubicBezTo>
                  <a:pt x="5243070" y="0"/>
                  <a:pt x="6178871" y="361871"/>
                  <a:pt x="6908811" y="964271"/>
                </a:cubicBezTo>
                <a:lnTo>
                  <a:pt x="6927850" y="981575"/>
                </a:lnTo>
                <a:lnTo>
                  <a:pt x="6927850" y="5598045"/>
                </a:lnTo>
                <a:lnTo>
                  <a:pt x="230308" y="5598045"/>
                </a:lnTo>
                <a:lnTo>
                  <a:pt x="189847" y="5478467"/>
                </a:lnTo>
                <a:cubicBezTo>
                  <a:pt x="66466" y="5081786"/>
                  <a:pt x="0" y="4660030"/>
                  <a:pt x="0" y="4222750"/>
                </a:cubicBezTo>
                <a:cubicBezTo>
                  <a:pt x="0" y="1890590"/>
                  <a:pt x="1890590" y="0"/>
                  <a:pt x="4222750" y="0"/>
                </a:cubicBezTo>
                <a:close/>
              </a:path>
            </a:pathLst>
          </a:custGeom>
          <a:solidFill>
            <a:schemeClr val="accent5"/>
          </a:solidFill>
        </p:spPr>
        <p:txBody>
          <a:bodyPr wrap="square">
            <a:noAutofit/>
          </a:bodyPr>
          <a:lstStyle/>
          <a:p>
            <a:endParaRPr lang="en-US"/>
          </a:p>
        </p:txBody>
      </p:sp>
    </p:spTree>
    <p:extLst>
      <p:ext uri="{BB962C8B-B14F-4D97-AF65-F5344CB8AC3E}">
        <p14:creationId xmlns:p14="http://schemas.microsoft.com/office/powerpoint/2010/main" val="40001741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rvic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3611039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Services</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838200" y="3425371"/>
            <a:ext cx="5143500" cy="2746828"/>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21" name="Picture Placeholder 20">
            <a:extLst>
              <a:ext uri="{FF2B5EF4-FFF2-40B4-BE49-F238E27FC236}">
                <a16:creationId xmlns:a16="http://schemas.microsoft.com/office/drawing/2014/main" id="{9F0EF881-13A7-40C7-89DE-076F7FE9507B}"/>
              </a:ext>
            </a:extLst>
          </p:cNvPr>
          <p:cNvSpPr>
            <a:spLocks noGrp="1"/>
          </p:cNvSpPr>
          <p:nvPr>
            <p:ph type="pic" sz="quarter" idx="25"/>
          </p:nvPr>
        </p:nvSpPr>
        <p:spPr>
          <a:xfrm>
            <a:off x="6210300" y="0"/>
            <a:ext cx="5981700" cy="6857999"/>
          </a:xfrm>
          <a:custGeom>
            <a:avLst/>
            <a:gdLst>
              <a:gd name="connsiteX0" fmla="*/ 5369405 w 5981700"/>
              <a:gd name="connsiteY0" fmla="*/ 5336403 h 6857999"/>
              <a:gd name="connsiteX1" fmla="*/ 5947922 w 5981700"/>
              <a:gd name="connsiteY1" fmla="*/ 5455986 h 6857999"/>
              <a:gd name="connsiteX2" fmla="*/ 5981700 w 5981700"/>
              <a:gd name="connsiteY2" fmla="*/ 5472649 h 6857999"/>
              <a:gd name="connsiteX3" fmla="*/ 5981700 w 5981700"/>
              <a:gd name="connsiteY3" fmla="*/ 6857999 h 6857999"/>
              <a:gd name="connsiteX4" fmla="*/ 3883482 w 5981700"/>
              <a:gd name="connsiteY4" fmla="*/ 6857999 h 6857999"/>
              <a:gd name="connsiteX5" fmla="*/ 3891150 w 5981700"/>
              <a:gd name="connsiteY5" fmla="*/ 6702435 h 6857999"/>
              <a:gd name="connsiteX6" fmla="*/ 5369405 w 5981700"/>
              <a:gd name="connsiteY6" fmla="*/ 5336403 h 6857999"/>
              <a:gd name="connsiteX7" fmla="*/ 0 w 5981700"/>
              <a:gd name="connsiteY7" fmla="*/ 0 h 6857999"/>
              <a:gd name="connsiteX8" fmla="*/ 5981700 w 5981700"/>
              <a:gd name="connsiteY8" fmla="*/ 0 h 6857999"/>
              <a:gd name="connsiteX9" fmla="*/ 5981700 w 5981700"/>
              <a:gd name="connsiteY9" fmla="*/ 4478740 h 6857999"/>
              <a:gd name="connsiteX10" fmla="*/ 5854260 w 5981700"/>
              <a:gd name="connsiteY10" fmla="*/ 4445192 h 6857999"/>
              <a:gd name="connsiteX11" fmla="*/ 5369405 w 5981700"/>
              <a:gd name="connsiteY11" fmla="*/ 4395155 h 6857999"/>
              <a:gd name="connsiteX12" fmla="*/ 2977012 w 5981700"/>
              <a:gd name="connsiteY12" fmla="*/ 6606189 h 6857999"/>
              <a:gd name="connsiteX13" fmla="*/ 2964596 w 5981700"/>
              <a:gd name="connsiteY13" fmla="*/ 6857999 h 6857999"/>
              <a:gd name="connsiteX14" fmla="*/ 0 w 5981700"/>
              <a:gd name="connsiteY1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81700" h="6857999">
                <a:moveTo>
                  <a:pt x="5369405" y="5336403"/>
                </a:moveTo>
                <a:cubicBezTo>
                  <a:pt x="5574644" y="5336403"/>
                  <a:pt x="5770134" y="5378984"/>
                  <a:pt x="5947922" y="5455986"/>
                </a:cubicBezTo>
                <a:lnTo>
                  <a:pt x="5981700" y="5472649"/>
                </a:lnTo>
                <a:lnTo>
                  <a:pt x="5981700" y="6857999"/>
                </a:lnTo>
                <a:lnTo>
                  <a:pt x="3883482" y="6857999"/>
                </a:lnTo>
                <a:lnTo>
                  <a:pt x="3891150" y="6702435"/>
                </a:lnTo>
                <a:cubicBezTo>
                  <a:pt x="3967213" y="5935203"/>
                  <a:pt x="4599766" y="5336403"/>
                  <a:pt x="5369405" y="5336403"/>
                </a:cubicBezTo>
                <a:close/>
                <a:moveTo>
                  <a:pt x="0" y="0"/>
                </a:moveTo>
                <a:lnTo>
                  <a:pt x="5981700" y="0"/>
                </a:lnTo>
                <a:lnTo>
                  <a:pt x="5981700" y="4478740"/>
                </a:lnTo>
                <a:lnTo>
                  <a:pt x="5854260" y="4445192"/>
                </a:lnTo>
                <a:cubicBezTo>
                  <a:pt x="5697655" y="4412384"/>
                  <a:pt x="5535499" y="4395155"/>
                  <a:pt x="5369405" y="4395155"/>
                </a:cubicBezTo>
                <a:cubicBezTo>
                  <a:pt x="4124271" y="4395155"/>
                  <a:pt x="3100162" y="5364286"/>
                  <a:pt x="2977012" y="6606189"/>
                </a:cubicBezTo>
                <a:lnTo>
                  <a:pt x="2964596" y="6857999"/>
                </a:lnTo>
                <a:lnTo>
                  <a:pt x="0" y="6857999"/>
                </a:lnTo>
                <a:close/>
              </a:path>
            </a:pathLst>
          </a:custGeom>
        </p:spPr>
        <p:txBody>
          <a:bodyPr wrap="square">
            <a:noAutofit/>
          </a:bodyPr>
          <a:lstStyle/>
          <a:p>
            <a:endParaRPr lang="en-US"/>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a:t>Title Case </a:t>
            </a:r>
            <a:br>
              <a:rPr lang="en-US"/>
            </a:br>
            <a:r>
              <a:rPr lang="en-US"/>
              <a:t>Study</a:t>
            </a:r>
          </a:p>
        </p:txBody>
      </p:sp>
      <p:sp>
        <p:nvSpPr>
          <p:cNvPr id="17" name="Text Placeholder 5">
            <a:extLst>
              <a:ext uri="{FF2B5EF4-FFF2-40B4-BE49-F238E27FC236}">
                <a16:creationId xmlns:a16="http://schemas.microsoft.com/office/drawing/2014/main" id="{C3137C74-847E-4402-83B9-FC1E8B04153F}"/>
              </a:ext>
            </a:extLst>
          </p:cNvPr>
          <p:cNvSpPr>
            <a:spLocks noGrp="1"/>
          </p:cNvSpPr>
          <p:nvPr>
            <p:ph type="body" sz="quarter" idx="27" hasCustomPrompt="1"/>
          </p:nvPr>
        </p:nvSpPr>
        <p:spPr>
          <a:xfrm>
            <a:off x="838200" y="2973714"/>
            <a:ext cx="5143500" cy="408115"/>
          </a:xfrm>
        </p:spPr>
        <p:txBody>
          <a:bodyPr>
            <a:noAutofit/>
          </a:bodyPr>
          <a:lstStyle>
            <a:lvl1pPr marL="0" indent="0">
              <a:lnSpc>
                <a:spcPct val="100000"/>
              </a:lnSpc>
              <a:buNone/>
              <a:defRPr sz="1800" b="1">
                <a:solidFill>
                  <a:schemeClr val="accent3"/>
                </a:solidFill>
                <a:latin typeface="+mj-lt"/>
              </a:defRPr>
            </a:lvl1pPr>
          </a:lstStyle>
          <a:p>
            <a:pPr lvl="0"/>
            <a:r>
              <a:rPr lang="en-US"/>
              <a:t>Subtitle</a:t>
            </a:r>
          </a:p>
        </p:txBody>
      </p:sp>
      <p:sp>
        <p:nvSpPr>
          <p:cNvPr id="29" name="Freeform: Shape 28">
            <a:extLst>
              <a:ext uri="{FF2B5EF4-FFF2-40B4-BE49-F238E27FC236}">
                <a16:creationId xmlns:a16="http://schemas.microsoft.com/office/drawing/2014/main" id="{8F1CDB8D-36BA-45A8-A03B-F00B80AFF188}"/>
              </a:ext>
            </a:extLst>
          </p:cNvPr>
          <p:cNvSpPr/>
          <p:nvPr userDrawn="1"/>
        </p:nvSpPr>
        <p:spPr>
          <a:xfrm>
            <a:off x="9174896" y="4395155"/>
            <a:ext cx="3017105" cy="2462845"/>
          </a:xfrm>
          <a:custGeom>
            <a:avLst/>
            <a:gdLst>
              <a:gd name="connsiteX0" fmla="*/ 2404809 w 3017105"/>
              <a:gd name="connsiteY0" fmla="*/ 0 h 2462845"/>
              <a:gd name="connsiteX1" fmla="*/ 2889664 w 3017105"/>
              <a:gd name="connsiteY1" fmla="*/ 50037 h 2462845"/>
              <a:gd name="connsiteX2" fmla="*/ 3017105 w 3017105"/>
              <a:gd name="connsiteY2" fmla="*/ 83585 h 2462845"/>
              <a:gd name="connsiteX3" fmla="*/ 3017105 w 3017105"/>
              <a:gd name="connsiteY3" fmla="*/ 1077494 h 2462845"/>
              <a:gd name="connsiteX4" fmla="*/ 2983326 w 3017105"/>
              <a:gd name="connsiteY4" fmla="*/ 1060831 h 2462845"/>
              <a:gd name="connsiteX5" fmla="*/ 2404809 w 3017105"/>
              <a:gd name="connsiteY5" fmla="*/ 941248 h 2462845"/>
              <a:gd name="connsiteX6" fmla="*/ 918886 w 3017105"/>
              <a:gd name="connsiteY6" fmla="*/ 2462845 h 2462845"/>
              <a:gd name="connsiteX7" fmla="*/ 918886 w 3017105"/>
              <a:gd name="connsiteY7" fmla="*/ 2462845 h 2462845"/>
              <a:gd name="connsiteX8" fmla="*/ 0 w 3017105"/>
              <a:gd name="connsiteY8" fmla="*/ 2462845 h 2462845"/>
              <a:gd name="connsiteX9" fmla="*/ 0 w 3017105"/>
              <a:gd name="connsiteY9" fmla="*/ 2462845 h 2462845"/>
              <a:gd name="connsiteX10" fmla="*/ 2404809 w 3017105"/>
              <a:gd name="connsiteY10" fmla="*/ 0 h 2462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7105" h="2462845">
                <a:moveTo>
                  <a:pt x="2404809" y="0"/>
                </a:moveTo>
                <a:cubicBezTo>
                  <a:pt x="2570903" y="0"/>
                  <a:pt x="2733059" y="17229"/>
                  <a:pt x="2889664" y="50037"/>
                </a:cubicBezTo>
                <a:lnTo>
                  <a:pt x="3017105" y="83585"/>
                </a:lnTo>
                <a:lnTo>
                  <a:pt x="3017105" y="1077494"/>
                </a:lnTo>
                <a:lnTo>
                  <a:pt x="2983326" y="1060831"/>
                </a:lnTo>
                <a:cubicBezTo>
                  <a:pt x="2805538" y="983829"/>
                  <a:pt x="2610048" y="941248"/>
                  <a:pt x="2404809" y="941248"/>
                </a:cubicBezTo>
                <a:cubicBezTo>
                  <a:pt x="1583861" y="941248"/>
                  <a:pt x="918886" y="1622549"/>
                  <a:pt x="918886" y="2462845"/>
                </a:cubicBezTo>
                <a:lnTo>
                  <a:pt x="918886" y="2462845"/>
                </a:lnTo>
                <a:lnTo>
                  <a:pt x="0" y="2462845"/>
                </a:lnTo>
                <a:lnTo>
                  <a:pt x="0" y="2462845"/>
                </a:lnTo>
                <a:cubicBezTo>
                  <a:pt x="0" y="1102656"/>
                  <a:pt x="1076666" y="0"/>
                  <a:pt x="2404809" y="0"/>
                </a:cubicBezTo>
                <a:close/>
              </a:path>
            </a:pathLst>
          </a:custGeom>
          <a:solidFill>
            <a:srgbClr val="FF9E18"/>
          </a:solidFill>
          <a:ln w="9264" cap="flat">
            <a:noFill/>
            <a:prstDash val="solid"/>
            <a:miter/>
          </a:ln>
        </p:spPr>
        <p:txBody>
          <a:bodyPr wrap="square" rtlCol="0" anchor="ctr">
            <a:noAutofit/>
          </a:bodyPr>
          <a:lstStyle/>
          <a:p>
            <a:endParaRPr lang="en-US"/>
          </a:p>
        </p:txBody>
      </p:sp>
      <p:sp>
        <p:nvSpPr>
          <p:cNvPr id="18" name="Slide Number Placeholder 4">
            <a:extLst>
              <a:ext uri="{FF2B5EF4-FFF2-40B4-BE49-F238E27FC236}">
                <a16:creationId xmlns:a16="http://schemas.microsoft.com/office/drawing/2014/main" id="{FB9406CE-5C4F-47EE-9919-BA69D4031944}"/>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27912886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ervic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3182875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 name="Rectangle 1">
            <a:extLst>
              <a:ext uri="{FF2B5EF4-FFF2-40B4-BE49-F238E27FC236}">
                <a16:creationId xmlns:a16="http://schemas.microsoft.com/office/drawing/2014/main" id="{C839B2B1-C315-422E-BD3B-CABEBB902647}"/>
              </a:ext>
            </a:extLst>
          </p:cNvPr>
          <p:cNvSpPr/>
          <p:nvPr userDrawn="1"/>
        </p:nvSpPr>
        <p:spPr>
          <a:xfrm>
            <a:off x="2476500" y="2409371"/>
            <a:ext cx="9715500" cy="37628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Arial" panose="020B0604020202020204" pitchFamily="34" charset="0"/>
              <a:buNone/>
            </a:pPr>
            <a:endParaRPr lang="en-US"/>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16383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Services</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3145971" y="2699658"/>
            <a:ext cx="2835729" cy="1531257"/>
          </a:xfrm>
        </p:spPr>
        <p:txBody>
          <a:bodyPr vert="horz" lIns="91440" tIns="45720" rIns="91440" bIns="45720" rtlCol="0">
            <a:normAutofit/>
          </a:bodyPr>
          <a:lstStyle>
            <a:lvl1pPr marL="0" indent="0">
              <a:buNone/>
              <a:defRPr lang="en-US" sz="2000" b="0" dirty="0"/>
            </a:lvl1pPr>
          </a:lstStyle>
          <a:p>
            <a:pPr lvl="0"/>
            <a:r>
              <a:rPr lang="en-US"/>
              <a:t>Case  Study Description</a:t>
            </a:r>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2705100" y="1369885"/>
            <a:ext cx="8648700" cy="879829"/>
          </a:xfrm>
        </p:spPr>
        <p:txBody>
          <a:bodyPr anchor="ctr">
            <a:noAutofit/>
          </a:bodyPr>
          <a:lstStyle>
            <a:lvl1pPr marL="0" marR="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sz="3200" b="1">
                <a:solidFill>
                  <a:schemeClr val="accent1"/>
                </a:solidFill>
                <a:latin typeface="+mj-lt"/>
              </a:defRPr>
            </a:lvl1pPr>
          </a:lstStyle>
          <a:p>
            <a:pPr marL="457200" marR="0" lvl="0" indent="-457200" algn="l" defTabSz="914400" rtl="0" eaLnBrk="1" fontAlgn="auto" latinLnBrk="0" hangingPunct="1">
              <a:lnSpc>
                <a:spcPct val="100000"/>
              </a:lnSpc>
              <a:spcBef>
                <a:spcPts val="1200"/>
              </a:spcBef>
              <a:spcAft>
                <a:spcPts val="0"/>
              </a:spcAft>
              <a:buClrTx/>
              <a:buSzTx/>
              <a:tabLst/>
              <a:defRPr/>
            </a:pPr>
            <a:r>
              <a:rPr lang="en-US"/>
              <a:t>Challenges</a:t>
            </a:r>
          </a:p>
        </p:txBody>
      </p:sp>
      <p:sp>
        <p:nvSpPr>
          <p:cNvPr id="18" name="Freeform: Shape 17">
            <a:extLst>
              <a:ext uri="{FF2B5EF4-FFF2-40B4-BE49-F238E27FC236}">
                <a16:creationId xmlns:a16="http://schemas.microsoft.com/office/drawing/2014/main" id="{B84DCFD5-6A9C-4DB7-B536-806E96415153}"/>
              </a:ext>
            </a:extLst>
          </p:cNvPr>
          <p:cNvSpPr/>
          <p:nvPr userDrawn="1"/>
        </p:nvSpPr>
        <p:spPr>
          <a:xfrm>
            <a:off x="2790754" y="2769325"/>
            <a:ext cx="220960" cy="226292"/>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a:p>
        </p:txBody>
      </p:sp>
      <p:sp>
        <p:nvSpPr>
          <p:cNvPr id="19" name="Text Placeholder 5">
            <a:extLst>
              <a:ext uri="{FF2B5EF4-FFF2-40B4-BE49-F238E27FC236}">
                <a16:creationId xmlns:a16="http://schemas.microsoft.com/office/drawing/2014/main" id="{BC93A242-256A-4BFA-BF37-3902B0218AB4}"/>
              </a:ext>
            </a:extLst>
          </p:cNvPr>
          <p:cNvSpPr>
            <a:spLocks noGrp="1"/>
          </p:cNvSpPr>
          <p:nvPr>
            <p:ph type="body" sz="quarter" idx="25" hasCustomPrompt="1"/>
          </p:nvPr>
        </p:nvSpPr>
        <p:spPr>
          <a:xfrm>
            <a:off x="2705099" y="723901"/>
            <a:ext cx="8648701" cy="454818"/>
          </a:xfrm>
        </p:spPr>
        <p:txBody>
          <a:bodyPr vert="horz" lIns="91440" tIns="45720" rIns="91440" bIns="45720" rtlCol="0" anchor="ctr">
            <a:noAutofit/>
          </a:bodyPr>
          <a:lstStyle>
            <a:lvl1pPr marL="0" indent="0">
              <a:buNone/>
              <a:defRPr lang="en-US" sz="1600" b="0" dirty="0">
                <a:solidFill>
                  <a:schemeClr val="accent1"/>
                </a:solidFill>
                <a:latin typeface="+mn-lt"/>
                <a:ea typeface="+mj-ea"/>
                <a:cs typeface="+mj-cs"/>
              </a:defRPr>
            </a:lvl1pPr>
          </a:lstStyle>
          <a:p>
            <a:pPr lvl="0">
              <a:lnSpc>
                <a:spcPct val="90000"/>
              </a:lnSpc>
              <a:spcBef>
                <a:spcPct val="0"/>
              </a:spcBef>
            </a:pPr>
            <a:r>
              <a:rPr lang="en-US"/>
              <a:t>Title</a:t>
            </a:r>
          </a:p>
        </p:txBody>
      </p:sp>
      <p:sp>
        <p:nvSpPr>
          <p:cNvPr id="20" name="Text Placeholder 5">
            <a:extLst>
              <a:ext uri="{FF2B5EF4-FFF2-40B4-BE49-F238E27FC236}">
                <a16:creationId xmlns:a16="http://schemas.microsoft.com/office/drawing/2014/main" id="{0D696219-8291-4BB8-8AA8-2F73D2D62787}"/>
              </a:ext>
            </a:extLst>
          </p:cNvPr>
          <p:cNvSpPr>
            <a:spLocks noGrp="1"/>
          </p:cNvSpPr>
          <p:nvPr>
            <p:ph type="body" sz="quarter" idx="26" hasCustomPrompt="1"/>
          </p:nvPr>
        </p:nvSpPr>
        <p:spPr>
          <a:xfrm>
            <a:off x="6651171" y="2699658"/>
            <a:ext cx="2835729" cy="1531257"/>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22" name="Freeform: Shape 21">
            <a:extLst>
              <a:ext uri="{FF2B5EF4-FFF2-40B4-BE49-F238E27FC236}">
                <a16:creationId xmlns:a16="http://schemas.microsoft.com/office/drawing/2014/main" id="{414629A3-4478-4FF6-AE92-ECC9F8EEB269}"/>
              </a:ext>
            </a:extLst>
          </p:cNvPr>
          <p:cNvSpPr/>
          <p:nvPr userDrawn="1"/>
        </p:nvSpPr>
        <p:spPr>
          <a:xfrm>
            <a:off x="6295954" y="2769325"/>
            <a:ext cx="220960" cy="226292"/>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a:p>
        </p:txBody>
      </p:sp>
      <p:sp>
        <p:nvSpPr>
          <p:cNvPr id="30" name="Text Placeholder 5">
            <a:extLst>
              <a:ext uri="{FF2B5EF4-FFF2-40B4-BE49-F238E27FC236}">
                <a16:creationId xmlns:a16="http://schemas.microsoft.com/office/drawing/2014/main" id="{552EC2FD-5405-4BE8-B8AE-CFDBAEC54532}"/>
              </a:ext>
            </a:extLst>
          </p:cNvPr>
          <p:cNvSpPr>
            <a:spLocks noGrp="1"/>
          </p:cNvSpPr>
          <p:nvPr>
            <p:ph type="body" sz="quarter" idx="27" hasCustomPrompt="1"/>
          </p:nvPr>
        </p:nvSpPr>
        <p:spPr>
          <a:xfrm>
            <a:off x="3145971" y="4441373"/>
            <a:ext cx="2835729" cy="1531257"/>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31" name="Freeform: Shape 30">
            <a:extLst>
              <a:ext uri="{FF2B5EF4-FFF2-40B4-BE49-F238E27FC236}">
                <a16:creationId xmlns:a16="http://schemas.microsoft.com/office/drawing/2014/main" id="{C4C7685A-6CCC-4ECC-A3E4-6B26B7DF8E67}"/>
              </a:ext>
            </a:extLst>
          </p:cNvPr>
          <p:cNvSpPr/>
          <p:nvPr userDrawn="1"/>
        </p:nvSpPr>
        <p:spPr>
          <a:xfrm>
            <a:off x="2790754" y="4511040"/>
            <a:ext cx="220960" cy="226292"/>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a:p>
        </p:txBody>
      </p:sp>
      <p:sp>
        <p:nvSpPr>
          <p:cNvPr id="32" name="Text Placeholder 5">
            <a:extLst>
              <a:ext uri="{FF2B5EF4-FFF2-40B4-BE49-F238E27FC236}">
                <a16:creationId xmlns:a16="http://schemas.microsoft.com/office/drawing/2014/main" id="{5377545F-380E-45B5-B0EA-7B24FB6D1CFE}"/>
              </a:ext>
            </a:extLst>
          </p:cNvPr>
          <p:cNvSpPr>
            <a:spLocks noGrp="1"/>
          </p:cNvSpPr>
          <p:nvPr>
            <p:ph type="body" sz="quarter" idx="28" hasCustomPrompt="1"/>
          </p:nvPr>
        </p:nvSpPr>
        <p:spPr>
          <a:xfrm>
            <a:off x="6651171" y="4441373"/>
            <a:ext cx="2835729" cy="1531257"/>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33" name="Freeform: Shape 32">
            <a:extLst>
              <a:ext uri="{FF2B5EF4-FFF2-40B4-BE49-F238E27FC236}">
                <a16:creationId xmlns:a16="http://schemas.microsoft.com/office/drawing/2014/main" id="{117E217C-3579-4D9D-B3E2-2B2D89BD7CA6}"/>
              </a:ext>
            </a:extLst>
          </p:cNvPr>
          <p:cNvSpPr/>
          <p:nvPr userDrawn="1"/>
        </p:nvSpPr>
        <p:spPr>
          <a:xfrm>
            <a:off x="6295954" y="4511040"/>
            <a:ext cx="220960" cy="226292"/>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a:p>
        </p:txBody>
      </p:sp>
      <p:sp>
        <p:nvSpPr>
          <p:cNvPr id="7" name="Picture Placeholder 6">
            <a:extLst>
              <a:ext uri="{FF2B5EF4-FFF2-40B4-BE49-F238E27FC236}">
                <a16:creationId xmlns:a16="http://schemas.microsoft.com/office/drawing/2014/main" id="{E49B6C3F-8E59-4DBE-B426-864306595AAA}"/>
              </a:ext>
            </a:extLst>
          </p:cNvPr>
          <p:cNvSpPr>
            <a:spLocks noGrp="1"/>
          </p:cNvSpPr>
          <p:nvPr>
            <p:ph type="pic" sz="quarter" idx="29"/>
          </p:nvPr>
        </p:nvSpPr>
        <p:spPr>
          <a:xfrm>
            <a:off x="0" y="2423886"/>
            <a:ext cx="2476500" cy="3748314"/>
          </a:xfrm>
        </p:spPr>
        <p:txBody>
          <a:bodyPr/>
          <a:lstStyle>
            <a:lvl1pPr marL="0" indent="0">
              <a:buNone/>
              <a:defRPr/>
            </a:lvl1pPr>
          </a:lstStyle>
          <a:p>
            <a:endParaRPr lang="en-US"/>
          </a:p>
        </p:txBody>
      </p:sp>
      <p:sp>
        <p:nvSpPr>
          <p:cNvPr id="29" name="Slide Number Placeholder 4">
            <a:extLst>
              <a:ext uri="{FF2B5EF4-FFF2-40B4-BE49-F238E27FC236}">
                <a16:creationId xmlns:a16="http://schemas.microsoft.com/office/drawing/2014/main" id="{90C915D5-EE68-4F5A-9425-85CA2C6F2C9C}"/>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9065338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ervic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3371542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16383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Services</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2705100" y="2557463"/>
            <a:ext cx="3078843" cy="1299029"/>
          </a:xfrm>
        </p:spPr>
        <p:txBody>
          <a:bodyPr vert="horz" lIns="91440" tIns="45720" rIns="91440" bIns="45720" rtlCol="0">
            <a:normAutofit/>
          </a:bodyPr>
          <a:lstStyle>
            <a:lvl1pPr marL="0" indent="0">
              <a:buNone/>
              <a:defRPr lang="en-US" sz="6000" b="0" dirty="0">
                <a:solidFill>
                  <a:schemeClr val="accent1"/>
                </a:solidFill>
              </a:defRPr>
            </a:lvl1pPr>
          </a:lstStyle>
          <a:p>
            <a:pPr lvl="0"/>
            <a:r>
              <a:rPr lang="en-US"/>
              <a:t>00</a:t>
            </a:r>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2705100" y="1369885"/>
            <a:ext cx="8648700" cy="879829"/>
          </a:xfrm>
        </p:spPr>
        <p:txBody>
          <a:bodyPr anchor="ctr">
            <a:noAutofit/>
          </a:bodyPr>
          <a:lstStyle>
            <a:lvl1pPr marL="0" indent="0">
              <a:lnSpc>
                <a:spcPct val="100000"/>
              </a:lnSpc>
              <a:buNone/>
              <a:defRPr sz="3200" b="1">
                <a:solidFill>
                  <a:schemeClr val="accent1"/>
                </a:solidFill>
                <a:latin typeface="+mj-lt"/>
              </a:defRPr>
            </a:lvl1pPr>
          </a:lstStyle>
          <a:p>
            <a:pPr lvl="0"/>
            <a:r>
              <a:rPr lang="en-US"/>
              <a:t>Efficiency Impact</a:t>
            </a:r>
          </a:p>
        </p:txBody>
      </p:sp>
      <p:sp>
        <p:nvSpPr>
          <p:cNvPr id="19" name="Text Placeholder 5">
            <a:extLst>
              <a:ext uri="{FF2B5EF4-FFF2-40B4-BE49-F238E27FC236}">
                <a16:creationId xmlns:a16="http://schemas.microsoft.com/office/drawing/2014/main" id="{BC93A242-256A-4BFA-BF37-3902B0218AB4}"/>
              </a:ext>
            </a:extLst>
          </p:cNvPr>
          <p:cNvSpPr>
            <a:spLocks noGrp="1"/>
          </p:cNvSpPr>
          <p:nvPr>
            <p:ph type="body" sz="quarter" idx="25" hasCustomPrompt="1"/>
          </p:nvPr>
        </p:nvSpPr>
        <p:spPr>
          <a:xfrm>
            <a:off x="2705099" y="723901"/>
            <a:ext cx="8648701" cy="454818"/>
          </a:xfrm>
        </p:spPr>
        <p:txBody>
          <a:bodyPr vert="horz" lIns="91440" tIns="45720" rIns="91440" bIns="45720" rtlCol="0" anchor="ctr">
            <a:noAutofit/>
          </a:bodyPr>
          <a:lstStyle>
            <a:lvl1pPr marL="0" indent="0">
              <a:buNone/>
              <a:defRPr lang="en-US" sz="2000" b="0" dirty="0">
                <a:solidFill>
                  <a:schemeClr val="accent1"/>
                </a:solidFill>
                <a:latin typeface="+mn-lt"/>
                <a:ea typeface="+mj-ea"/>
                <a:cs typeface="+mj-cs"/>
              </a:defRPr>
            </a:lvl1pPr>
          </a:lstStyle>
          <a:p>
            <a:pPr lvl="0">
              <a:lnSpc>
                <a:spcPct val="90000"/>
              </a:lnSpc>
              <a:spcBef>
                <a:spcPct val="0"/>
              </a:spcBef>
            </a:pPr>
            <a:r>
              <a:rPr lang="en-US"/>
              <a:t>Title</a:t>
            </a:r>
          </a:p>
        </p:txBody>
      </p:sp>
      <p:sp>
        <p:nvSpPr>
          <p:cNvPr id="20" name="Text Placeholder 5">
            <a:extLst>
              <a:ext uri="{FF2B5EF4-FFF2-40B4-BE49-F238E27FC236}">
                <a16:creationId xmlns:a16="http://schemas.microsoft.com/office/drawing/2014/main" id="{0D696219-8291-4BB8-8AA8-2F73D2D62787}"/>
              </a:ext>
            </a:extLst>
          </p:cNvPr>
          <p:cNvSpPr>
            <a:spLocks noGrp="1"/>
          </p:cNvSpPr>
          <p:nvPr>
            <p:ph type="body" sz="quarter" idx="26" hasCustomPrompt="1"/>
          </p:nvPr>
        </p:nvSpPr>
        <p:spPr>
          <a:xfrm>
            <a:off x="2705100" y="3846287"/>
            <a:ext cx="3078843" cy="2325912"/>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30" name="Text Placeholder 5">
            <a:extLst>
              <a:ext uri="{FF2B5EF4-FFF2-40B4-BE49-F238E27FC236}">
                <a16:creationId xmlns:a16="http://schemas.microsoft.com/office/drawing/2014/main" id="{552EC2FD-5405-4BE8-B8AE-CFDBAEC54532}"/>
              </a:ext>
            </a:extLst>
          </p:cNvPr>
          <p:cNvSpPr>
            <a:spLocks noGrp="1"/>
          </p:cNvSpPr>
          <p:nvPr>
            <p:ph type="body" sz="quarter" idx="27" hasCustomPrompt="1"/>
          </p:nvPr>
        </p:nvSpPr>
        <p:spPr>
          <a:xfrm>
            <a:off x="6210300" y="2557463"/>
            <a:ext cx="3078843" cy="1299029"/>
          </a:xfrm>
        </p:spPr>
        <p:txBody>
          <a:bodyPr vert="horz" lIns="91440" tIns="45720" rIns="91440" bIns="45720" rtlCol="0">
            <a:normAutofit/>
          </a:bodyPr>
          <a:lstStyle>
            <a:lvl1pPr marL="0" indent="0">
              <a:buNone/>
              <a:defRPr lang="en-US" sz="6000" b="0" dirty="0">
                <a:solidFill>
                  <a:schemeClr val="accent1"/>
                </a:solidFill>
              </a:defRPr>
            </a:lvl1pPr>
          </a:lstStyle>
          <a:p>
            <a:pPr lvl="0"/>
            <a:r>
              <a:rPr lang="en-US"/>
              <a:t>00</a:t>
            </a:r>
          </a:p>
        </p:txBody>
      </p:sp>
      <p:sp>
        <p:nvSpPr>
          <p:cNvPr id="32" name="Text Placeholder 5">
            <a:extLst>
              <a:ext uri="{FF2B5EF4-FFF2-40B4-BE49-F238E27FC236}">
                <a16:creationId xmlns:a16="http://schemas.microsoft.com/office/drawing/2014/main" id="{5377545F-380E-45B5-B0EA-7B24FB6D1CFE}"/>
              </a:ext>
            </a:extLst>
          </p:cNvPr>
          <p:cNvSpPr>
            <a:spLocks noGrp="1"/>
          </p:cNvSpPr>
          <p:nvPr>
            <p:ph type="body" sz="quarter" idx="28" hasCustomPrompt="1"/>
          </p:nvPr>
        </p:nvSpPr>
        <p:spPr>
          <a:xfrm>
            <a:off x="6210300" y="3846288"/>
            <a:ext cx="3078843" cy="2325912"/>
          </a:xfrm>
        </p:spPr>
        <p:txBody>
          <a:bodyPr vert="horz" lIns="91440" tIns="45720" rIns="91440" bIns="45720" rtlCol="0">
            <a:normAutofit/>
          </a:bodyPr>
          <a:lstStyle>
            <a:lvl1pPr marL="0" indent="0">
              <a:buNone/>
              <a:defRPr lang="en-US" sz="2000" b="0" dirty="0"/>
            </a:lvl1pPr>
          </a:lstStyle>
          <a:p>
            <a:pPr lvl="0"/>
            <a:r>
              <a:rPr lang="en-US"/>
              <a:t>Case  Study Description</a:t>
            </a:r>
          </a:p>
        </p:txBody>
      </p:sp>
      <p:cxnSp>
        <p:nvCxnSpPr>
          <p:cNvPr id="10" name="Straight Connector 9">
            <a:extLst>
              <a:ext uri="{FF2B5EF4-FFF2-40B4-BE49-F238E27FC236}">
                <a16:creationId xmlns:a16="http://schemas.microsoft.com/office/drawing/2014/main" id="{A77F312A-B533-4FBF-834D-DD33B6925B24}"/>
              </a:ext>
            </a:extLst>
          </p:cNvPr>
          <p:cNvCxnSpPr>
            <a:cxnSpLocks/>
          </p:cNvCxnSpPr>
          <p:nvPr userDrawn="1"/>
        </p:nvCxnSpPr>
        <p:spPr>
          <a:xfrm>
            <a:off x="5981700" y="2844800"/>
            <a:ext cx="0" cy="33274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Picture Placeholder 14">
            <a:extLst>
              <a:ext uri="{FF2B5EF4-FFF2-40B4-BE49-F238E27FC236}">
                <a16:creationId xmlns:a16="http://schemas.microsoft.com/office/drawing/2014/main" id="{A6DAE905-E936-4718-B479-BA797F414549}"/>
              </a:ext>
            </a:extLst>
          </p:cNvPr>
          <p:cNvSpPr>
            <a:spLocks noGrp="1"/>
          </p:cNvSpPr>
          <p:nvPr>
            <p:ph type="pic" sz="quarter" idx="29"/>
          </p:nvPr>
        </p:nvSpPr>
        <p:spPr>
          <a:xfrm>
            <a:off x="934357" y="2483984"/>
            <a:ext cx="1445986" cy="1445986"/>
          </a:xfrm>
        </p:spPr>
        <p:txBody>
          <a:bodyPr/>
          <a:lstStyle>
            <a:lvl1pPr marL="0" indent="0">
              <a:buNone/>
              <a:defRPr/>
            </a:lvl1pPr>
          </a:lstStyle>
          <a:p>
            <a:endParaRPr lang="en-US"/>
          </a:p>
        </p:txBody>
      </p:sp>
      <p:sp>
        <p:nvSpPr>
          <p:cNvPr id="34" name="Picture Placeholder 14">
            <a:extLst>
              <a:ext uri="{FF2B5EF4-FFF2-40B4-BE49-F238E27FC236}">
                <a16:creationId xmlns:a16="http://schemas.microsoft.com/office/drawing/2014/main" id="{1C7DF88C-94AE-4FA5-92E5-F440A02525C9}"/>
              </a:ext>
            </a:extLst>
          </p:cNvPr>
          <p:cNvSpPr>
            <a:spLocks noGrp="1"/>
          </p:cNvSpPr>
          <p:nvPr>
            <p:ph type="pic" sz="quarter" idx="30"/>
          </p:nvPr>
        </p:nvSpPr>
        <p:spPr>
          <a:xfrm>
            <a:off x="9811657" y="2483984"/>
            <a:ext cx="1445986" cy="1445986"/>
          </a:xfrm>
        </p:spPr>
        <p:txBody>
          <a:bodyPr/>
          <a:lstStyle>
            <a:lvl1pPr marL="0" indent="0">
              <a:buNone/>
              <a:defRPr/>
            </a:lvl1pPr>
          </a:lstStyle>
          <a:p>
            <a:endParaRPr lang="en-US"/>
          </a:p>
        </p:txBody>
      </p:sp>
      <p:sp>
        <p:nvSpPr>
          <p:cNvPr id="21" name="Slide Number Placeholder 4">
            <a:extLst>
              <a:ext uri="{FF2B5EF4-FFF2-40B4-BE49-F238E27FC236}">
                <a16:creationId xmlns:a16="http://schemas.microsoft.com/office/drawing/2014/main" id="{6560B12E-155B-4185-B346-158066E030A2}"/>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9671888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Servic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1423095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16383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Services</a:t>
            </a:r>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2705100" y="1369885"/>
            <a:ext cx="8648700" cy="879829"/>
          </a:xfrm>
        </p:spPr>
        <p:txBody>
          <a:bodyPr anchor="ctr">
            <a:noAutofit/>
          </a:bodyPr>
          <a:lstStyle>
            <a:lvl1pPr marL="0" indent="0">
              <a:lnSpc>
                <a:spcPct val="100000"/>
              </a:lnSpc>
              <a:buNone/>
              <a:defRPr sz="3200" b="1">
                <a:solidFill>
                  <a:schemeClr val="accent1"/>
                </a:solidFill>
                <a:latin typeface="+mj-lt"/>
              </a:defRPr>
            </a:lvl1pPr>
          </a:lstStyle>
          <a:p>
            <a:pPr lvl="0"/>
            <a:r>
              <a:rPr lang="en-US"/>
              <a:t>Efficiency team leader</a:t>
            </a:r>
          </a:p>
        </p:txBody>
      </p:sp>
      <p:sp>
        <p:nvSpPr>
          <p:cNvPr id="19" name="Text Placeholder 5">
            <a:extLst>
              <a:ext uri="{FF2B5EF4-FFF2-40B4-BE49-F238E27FC236}">
                <a16:creationId xmlns:a16="http://schemas.microsoft.com/office/drawing/2014/main" id="{BC93A242-256A-4BFA-BF37-3902B0218AB4}"/>
              </a:ext>
            </a:extLst>
          </p:cNvPr>
          <p:cNvSpPr>
            <a:spLocks noGrp="1"/>
          </p:cNvSpPr>
          <p:nvPr>
            <p:ph type="body" sz="quarter" idx="25" hasCustomPrompt="1"/>
          </p:nvPr>
        </p:nvSpPr>
        <p:spPr>
          <a:xfrm>
            <a:off x="2705099" y="723901"/>
            <a:ext cx="8648701" cy="454818"/>
          </a:xfrm>
        </p:spPr>
        <p:txBody>
          <a:bodyPr vert="horz" lIns="91440" tIns="45720" rIns="91440" bIns="45720" rtlCol="0" anchor="ctr">
            <a:noAutofit/>
          </a:bodyPr>
          <a:lstStyle>
            <a:lvl1pPr marL="0" indent="0">
              <a:buNone/>
              <a:defRPr lang="en-US" sz="2000" b="0" dirty="0">
                <a:solidFill>
                  <a:schemeClr val="accent1"/>
                </a:solidFill>
                <a:latin typeface="+mn-lt"/>
                <a:ea typeface="+mj-ea"/>
                <a:cs typeface="+mj-cs"/>
              </a:defRPr>
            </a:lvl1pPr>
          </a:lstStyle>
          <a:p>
            <a:pPr lvl="0">
              <a:lnSpc>
                <a:spcPct val="90000"/>
              </a:lnSpc>
              <a:spcBef>
                <a:spcPct val="0"/>
              </a:spcBef>
            </a:pPr>
            <a:r>
              <a:rPr lang="en-US"/>
              <a:t>Title</a:t>
            </a:r>
          </a:p>
        </p:txBody>
      </p:sp>
      <p:sp>
        <p:nvSpPr>
          <p:cNvPr id="21" name="Text Placeholder 13">
            <a:extLst>
              <a:ext uri="{FF2B5EF4-FFF2-40B4-BE49-F238E27FC236}">
                <a16:creationId xmlns:a16="http://schemas.microsoft.com/office/drawing/2014/main" id="{4D6ACD3A-4E2C-4FBA-9EA1-7F3D19494E57}"/>
              </a:ext>
            </a:extLst>
          </p:cNvPr>
          <p:cNvSpPr>
            <a:spLocks noGrp="1"/>
          </p:cNvSpPr>
          <p:nvPr>
            <p:ph type="body" sz="quarter" idx="13" hasCustomPrompt="1"/>
          </p:nvPr>
        </p:nvSpPr>
        <p:spPr>
          <a:xfrm>
            <a:off x="6210300" y="4330473"/>
            <a:ext cx="1524000" cy="598487"/>
          </a:xfrm>
        </p:spPr>
        <p:txBody>
          <a:bodyPr lIns="0">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22" name="Text Placeholder 13">
            <a:extLst>
              <a:ext uri="{FF2B5EF4-FFF2-40B4-BE49-F238E27FC236}">
                <a16:creationId xmlns:a16="http://schemas.microsoft.com/office/drawing/2014/main" id="{0375A356-5A05-48D3-B136-202DB48B089D}"/>
              </a:ext>
            </a:extLst>
          </p:cNvPr>
          <p:cNvSpPr>
            <a:spLocks noGrp="1"/>
          </p:cNvSpPr>
          <p:nvPr>
            <p:ph type="body" sz="quarter" idx="14" hasCustomPrompt="1"/>
          </p:nvPr>
        </p:nvSpPr>
        <p:spPr>
          <a:xfrm>
            <a:off x="6210300" y="5047230"/>
            <a:ext cx="1524000" cy="1124970"/>
          </a:xfrm>
        </p:spPr>
        <p:txBody>
          <a:bodyPr lIns="0">
            <a:normAutofit/>
          </a:bodyPr>
          <a:lstStyle>
            <a:lvl1pPr marL="0" indent="0">
              <a:lnSpc>
                <a:spcPct val="100000"/>
              </a:lnSpc>
              <a:buNone/>
              <a:defRPr sz="2000" b="0">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29" name="Text Placeholder 13">
            <a:extLst>
              <a:ext uri="{FF2B5EF4-FFF2-40B4-BE49-F238E27FC236}">
                <a16:creationId xmlns:a16="http://schemas.microsoft.com/office/drawing/2014/main" id="{1249BF92-8310-4779-8826-12C381BCD586}"/>
              </a:ext>
            </a:extLst>
          </p:cNvPr>
          <p:cNvSpPr>
            <a:spLocks noGrp="1"/>
          </p:cNvSpPr>
          <p:nvPr>
            <p:ph type="body" sz="quarter" idx="17" hasCustomPrompt="1"/>
          </p:nvPr>
        </p:nvSpPr>
        <p:spPr>
          <a:xfrm>
            <a:off x="7962900" y="4330473"/>
            <a:ext cx="1524000" cy="598487"/>
          </a:xfrm>
        </p:spPr>
        <p:txBody>
          <a:bodyPr lIns="0">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31" name="Text Placeholder 13">
            <a:extLst>
              <a:ext uri="{FF2B5EF4-FFF2-40B4-BE49-F238E27FC236}">
                <a16:creationId xmlns:a16="http://schemas.microsoft.com/office/drawing/2014/main" id="{484142FA-E904-4086-8F6F-1A790F7B260C}"/>
              </a:ext>
            </a:extLst>
          </p:cNvPr>
          <p:cNvSpPr>
            <a:spLocks noGrp="1"/>
          </p:cNvSpPr>
          <p:nvPr>
            <p:ph type="body" sz="quarter" idx="18" hasCustomPrompt="1"/>
          </p:nvPr>
        </p:nvSpPr>
        <p:spPr>
          <a:xfrm>
            <a:off x="7962900" y="5047230"/>
            <a:ext cx="1524000" cy="1124970"/>
          </a:xfrm>
        </p:spPr>
        <p:txBody>
          <a:bodyPr lIns="0">
            <a:normAutofit/>
          </a:bodyPr>
          <a:lstStyle>
            <a:lvl1pPr marL="0" indent="0">
              <a:lnSpc>
                <a:spcPct val="100000"/>
              </a:lnSpc>
              <a:buNone/>
              <a:defRPr sz="2000" b="0">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33" name="Text Placeholder 13">
            <a:extLst>
              <a:ext uri="{FF2B5EF4-FFF2-40B4-BE49-F238E27FC236}">
                <a16:creationId xmlns:a16="http://schemas.microsoft.com/office/drawing/2014/main" id="{C98BC453-71C1-48E1-8728-ED6D126E8066}"/>
              </a:ext>
            </a:extLst>
          </p:cNvPr>
          <p:cNvSpPr>
            <a:spLocks noGrp="1"/>
          </p:cNvSpPr>
          <p:nvPr>
            <p:ph type="body" sz="quarter" idx="20" hasCustomPrompt="1"/>
          </p:nvPr>
        </p:nvSpPr>
        <p:spPr>
          <a:xfrm>
            <a:off x="9715500" y="4330473"/>
            <a:ext cx="1638301" cy="598487"/>
          </a:xfrm>
        </p:spPr>
        <p:txBody>
          <a:bodyPr lIns="0">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First Name Last Name</a:t>
            </a:r>
          </a:p>
        </p:txBody>
      </p:sp>
      <p:sp>
        <p:nvSpPr>
          <p:cNvPr id="35" name="Text Placeholder 13">
            <a:extLst>
              <a:ext uri="{FF2B5EF4-FFF2-40B4-BE49-F238E27FC236}">
                <a16:creationId xmlns:a16="http://schemas.microsoft.com/office/drawing/2014/main" id="{7DE9F41F-1CE2-47D1-8588-438D24CAED12}"/>
              </a:ext>
            </a:extLst>
          </p:cNvPr>
          <p:cNvSpPr>
            <a:spLocks noGrp="1"/>
          </p:cNvSpPr>
          <p:nvPr>
            <p:ph type="body" sz="quarter" idx="21" hasCustomPrompt="1"/>
          </p:nvPr>
        </p:nvSpPr>
        <p:spPr>
          <a:xfrm>
            <a:off x="9715500" y="5047230"/>
            <a:ext cx="1638301" cy="1124970"/>
          </a:xfrm>
        </p:spPr>
        <p:txBody>
          <a:bodyPr lIns="0">
            <a:normAutofit/>
          </a:bodyPr>
          <a:lstStyle>
            <a:lvl1pPr marL="0" indent="0">
              <a:lnSpc>
                <a:spcPct val="100000"/>
              </a:lnSpc>
              <a:buNone/>
              <a:defRPr sz="2000" b="0">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Title </a:t>
            </a:r>
          </a:p>
        </p:txBody>
      </p:sp>
      <p:sp>
        <p:nvSpPr>
          <p:cNvPr id="36" name="Picture Placeholder 3">
            <a:extLst>
              <a:ext uri="{FF2B5EF4-FFF2-40B4-BE49-F238E27FC236}">
                <a16:creationId xmlns:a16="http://schemas.microsoft.com/office/drawing/2014/main" id="{3C5CB4AC-EB58-417C-9041-7FF2109D20EF}"/>
              </a:ext>
            </a:extLst>
          </p:cNvPr>
          <p:cNvSpPr>
            <a:spLocks noGrp="1"/>
          </p:cNvSpPr>
          <p:nvPr>
            <p:ph type="pic" sz="quarter" idx="22"/>
          </p:nvPr>
        </p:nvSpPr>
        <p:spPr>
          <a:xfrm>
            <a:off x="6209845" y="2585810"/>
            <a:ext cx="1524000" cy="1524000"/>
          </a:xfrm>
          <a:solidFill>
            <a:schemeClr val="accent1">
              <a:lumMod val="90000"/>
              <a:lumOff val="10000"/>
            </a:schemeClr>
          </a:solidFill>
        </p:spPr>
        <p:txBody>
          <a:bodyPr/>
          <a:lstStyle>
            <a:lvl1pPr marL="0" indent="0">
              <a:buNone/>
              <a:defRPr/>
            </a:lvl1pPr>
          </a:lstStyle>
          <a:p>
            <a:endParaRPr lang="en-US"/>
          </a:p>
        </p:txBody>
      </p:sp>
      <p:sp>
        <p:nvSpPr>
          <p:cNvPr id="37" name="Picture Placeholder 3">
            <a:extLst>
              <a:ext uri="{FF2B5EF4-FFF2-40B4-BE49-F238E27FC236}">
                <a16:creationId xmlns:a16="http://schemas.microsoft.com/office/drawing/2014/main" id="{E3544239-32CC-4AD4-8C4E-A5669C0ED5F1}"/>
              </a:ext>
            </a:extLst>
          </p:cNvPr>
          <p:cNvSpPr>
            <a:spLocks noGrp="1"/>
          </p:cNvSpPr>
          <p:nvPr>
            <p:ph type="pic" sz="quarter" idx="26"/>
          </p:nvPr>
        </p:nvSpPr>
        <p:spPr>
          <a:xfrm>
            <a:off x="7991020" y="2585810"/>
            <a:ext cx="1524000" cy="1524000"/>
          </a:xfrm>
          <a:solidFill>
            <a:schemeClr val="accent1">
              <a:lumMod val="90000"/>
              <a:lumOff val="10000"/>
            </a:schemeClr>
          </a:solidFill>
        </p:spPr>
        <p:txBody>
          <a:bodyPr/>
          <a:lstStyle>
            <a:lvl1pPr marL="0" indent="0">
              <a:buNone/>
              <a:defRPr/>
            </a:lvl1pPr>
          </a:lstStyle>
          <a:p>
            <a:endParaRPr lang="en-US"/>
          </a:p>
        </p:txBody>
      </p:sp>
      <p:sp>
        <p:nvSpPr>
          <p:cNvPr id="38" name="Picture Placeholder 3">
            <a:extLst>
              <a:ext uri="{FF2B5EF4-FFF2-40B4-BE49-F238E27FC236}">
                <a16:creationId xmlns:a16="http://schemas.microsoft.com/office/drawing/2014/main" id="{93AF9B94-8A78-47FB-8CE8-2471F90892ED}"/>
              </a:ext>
            </a:extLst>
          </p:cNvPr>
          <p:cNvSpPr>
            <a:spLocks noGrp="1"/>
          </p:cNvSpPr>
          <p:nvPr>
            <p:ph type="pic" sz="quarter" idx="24"/>
          </p:nvPr>
        </p:nvSpPr>
        <p:spPr>
          <a:xfrm>
            <a:off x="9753145" y="2585810"/>
            <a:ext cx="1524000" cy="1524000"/>
          </a:xfrm>
          <a:solidFill>
            <a:schemeClr val="accent1">
              <a:lumMod val="90000"/>
              <a:lumOff val="10000"/>
            </a:schemeClr>
          </a:solidFill>
        </p:spPr>
        <p:txBody>
          <a:bodyPr/>
          <a:lstStyle>
            <a:lvl1pPr marL="0" indent="0">
              <a:buNone/>
              <a:defRPr/>
            </a:lvl1pPr>
          </a:lstStyle>
          <a:p>
            <a:endParaRPr lang="en-US"/>
          </a:p>
        </p:txBody>
      </p:sp>
      <p:sp>
        <p:nvSpPr>
          <p:cNvPr id="39" name="Text Placeholder 5">
            <a:extLst>
              <a:ext uri="{FF2B5EF4-FFF2-40B4-BE49-F238E27FC236}">
                <a16:creationId xmlns:a16="http://schemas.microsoft.com/office/drawing/2014/main" id="{A33FE43D-668F-4A70-864E-FDE2F0511176}"/>
              </a:ext>
            </a:extLst>
          </p:cNvPr>
          <p:cNvSpPr>
            <a:spLocks noGrp="1"/>
          </p:cNvSpPr>
          <p:nvPr>
            <p:ph type="body" sz="quarter" idx="27" hasCustomPrompt="1"/>
          </p:nvPr>
        </p:nvSpPr>
        <p:spPr>
          <a:xfrm>
            <a:off x="2705101" y="2590800"/>
            <a:ext cx="2556328" cy="3581400"/>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30" name="Slide Number Placeholder 4">
            <a:extLst>
              <a:ext uri="{FF2B5EF4-FFF2-40B4-BE49-F238E27FC236}">
                <a16:creationId xmlns:a16="http://schemas.microsoft.com/office/drawing/2014/main" id="{707F83F8-6962-4485-90E9-288BB5106263}"/>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3135660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Servic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2769620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053B6AE6-73A9-4A90-8188-77666567F858}"/>
              </a:ext>
            </a:extLst>
          </p:cNvPr>
          <p:cNvSpPr/>
          <p:nvPr userDrawn="1"/>
        </p:nvSpPr>
        <p:spPr>
          <a:xfrm>
            <a:off x="1" y="2416628"/>
            <a:ext cx="12192000" cy="444137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16383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a:t>Services</a:t>
            </a:r>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2705100" y="1369885"/>
            <a:ext cx="8648700" cy="879829"/>
          </a:xfrm>
        </p:spPr>
        <p:txBody>
          <a:bodyPr anchor="ctr">
            <a:noAutofit/>
          </a:bodyPr>
          <a:lstStyle>
            <a:lvl1pPr marL="0" indent="0">
              <a:lnSpc>
                <a:spcPct val="100000"/>
              </a:lnSpc>
              <a:buNone/>
              <a:defRPr sz="3200" b="1">
                <a:solidFill>
                  <a:schemeClr val="accent1"/>
                </a:solidFill>
                <a:latin typeface="+mj-lt"/>
              </a:defRPr>
            </a:lvl1pPr>
          </a:lstStyle>
          <a:p>
            <a:pPr lvl="0"/>
            <a:r>
              <a:rPr lang="en-US"/>
              <a:t>Graph</a:t>
            </a:r>
          </a:p>
        </p:txBody>
      </p:sp>
      <p:sp>
        <p:nvSpPr>
          <p:cNvPr id="19" name="Text Placeholder 5">
            <a:extLst>
              <a:ext uri="{FF2B5EF4-FFF2-40B4-BE49-F238E27FC236}">
                <a16:creationId xmlns:a16="http://schemas.microsoft.com/office/drawing/2014/main" id="{BC93A242-256A-4BFA-BF37-3902B0218AB4}"/>
              </a:ext>
            </a:extLst>
          </p:cNvPr>
          <p:cNvSpPr>
            <a:spLocks noGrp="1"/>
          </p:cNvSpPr>
          <p:nvPr>
            <p:ph type="body" sz="quarter" idx="25" hasCustomPrompt="1"/>
          </p:nvPr>
        </p:nvSpPr>
        <p:spPr>
          <a:xfrm>
            <a:off x="2705099" y="723901"/>
            <a:ext cx="8648701" cy="454818"/>
          </a:xfrm>
        </p:spPr>
        <p:txBody>
          <a:bodyPr vert="horz" lIns="91440" tIns="45720" rIns="91440" bIns="45720" rtlCol="0" anchor="ctr">
            <a:noAutofit/>
          </a:bodyPr>
          <a:lstStyle>
            <a:lvl1pPr marL="0" indent="0">
              <a:buNone/>
              <a:defRPr lang="en-US" sz="1600" b="0" dirty="0">
                <a:solidFill>
                  <a:schemeClr val="accent1"/>
                </a:solidFill>
                <a:latin typeface="+mn-lt"/>
                <a:ea typeface="+mj-ea"/>
                <a:cs typeface="+mj-cs"/>
              </a:defRPr>
            </a:lvl1pPr>
          </a:lstStyle>
          <a:p>
            <a:pPr lvl="0">
              <a:lnSpc>
                <a:spcPct val="90000"/>
              </a:lnSpc>
              <a:spcBef>
                <a:spcPct val="0"/>
              </a:spcBef>
            </a:pPr>
            <a:r>
              <a:rPr lang="en-US"/>
              <a:t>Title</a:t>
            </a:r>
          </a:p>
        </p:txBody>
      </p:sp>
      <p:sp>
        <p:nvSpPr>
          <p:cNvPr id="39" name="Text Placeholder 5">
            <a:extLst>
              <a:ext uri="{FF2B5EF4-FFF2-40B4-BE49-F238E27FC236}">
                <a16:creationId xmlns:a16="http://schemas.microsoft.com/office/drawing/2014/main" id="{A33FE43D-668F-4A70-864E-FDE2F0511176}"/>
              </a:ext>
            </a:extLst>
          </p:cNvPr>
          <p:cNvSpPr>
            <a:spLocks noGrp="1"/>
          </p:cNvSpPr>
          <p:nvPr>
            <p:ph type="body" sz="quarter" idx="27" hasCustomPrompt="1"/>
          </p:nvPr>
        </p:nvSpPr>
        <p:spPr>
          <a:xfrm>
            <a:off x="2705101" y="2590800"/>
            <a:ext cx="2556328" cy="3581400"/>
          </a:xfrm>
        </p:spPr>
        <p:txBody>
          <a:bodyPr vert="horz" lIns="91440" tIns="45720" rIns="91440" bIns="45720" rtlCol="0">
            <a:normAutofit/>
          </a:bodyPr>
          <a:lstStyle>
            <a:lvl1pPr marL="0" indent="0">
              <a:buNone/>
              <a:defRPr lang="en-US" sz="2000" b="0" dirty="0"/>
            </a:lvl1pPr>
          </a:lstStyle>
          <a:p>
            <a:pPr lvl="0"/>
            <a:r>
              <a:rPr lang="en-US"/>
              <a:t>Case  Study Description</a:t>
            </a:r>
          </a:p>
        </p:txBody>
      </p:sp>
      <p:sp>
        <p:nvSpPr>
          <p:cNvPr id="3" name="Chart Placeholder 2">
            <a:extLst>
              <a:ext uri="{FF2B5EF4-FFF2-40B4-BE49-F238E27FC236}">
                <a16:creationId xmlns:a16="http://schemas.microsoft.com/office/drawing/2014/main" id="{03ACCA39-4F83-44D4-BE05-A01D7BD4C222}"/>
              </a:ext>
            </a:extLst>
          </p:cNvPr>
          <p:cNvSpPr>
            <a:spLocks noGrp="1"/>
          </p:cNvSpPr>
          <p:nvPr>
            <p:ph type="chart" sz="quarter" idx="28"/>
          </p:nvPr>
        </p:nvSpPr>
        <p:spPr>
          <a:xfrm>
            <a:off x="6210300" y="2583543"/>
            <a:ext cx="5143500" cy="3588657"/>
          </a:xfrm>
        </p:spPr>
        <p:txBody>
          <a:bodyPr/>
          <a:lstStyle>
            <a:lvl1pPr marL="0" indent="0">
              <a:buNone/>
              <a:defRPr/>
            </a:lvl1pPr>
          </a:lstStyle>
          <a:p>
            <a:endParaRPr lang="en-US"/>
          </a:p>
        </p:txBody>
      </p:sp>
      <p:sp>
        <p:nvSpPr>
          <p:cNvPr id="17" name="Slide Number Placeholder 4">
            <a:extLst>
              <a:ext uri="{FF2B5EF4-FFF2-40B4-BE49-F238E27FC236}">
                <a16:creationId xmlns:a16="http://schemas.microsoft.com/office/drawing/2014/main" id="{F82AA609-695B-4877-AAA0-05CAB55F8680}"/>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22610214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 Icon + Arc Imag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9D30C42F-D1DF-4DC7-BB9B-E099A6AA365E}"/>
              </a:ext>
            </a:extLst>
          </p:cNvPr>
          <p:cNvGraphicFramePr>
            <a:graphicFrameLocks noChangeAspect="1"/>
          </p:cNvGraphicFramePr>
          <p:nvPr userDrawn="1">
            <p:custDataLst>
              <p:tags r:id="rId1"/>
            </p:custDataLst>
            <p:extLst>
              <p:ext uri="{D42A27DB-BD31-4B8C-83A1-F6EECF244321}">
                <p14:modId xmlns:p14="http://schemas.microsoft.com/office/powerpoint/2010/main" val="1703389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9D30C42F-D1DF-4DC7-BB9B-E099A6AA36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C16794C-2337-4C40-A156-DC10DA4791A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F08B033D-F8A4-469B-9BEC-6C9B9720C696}"/>
              </a:ext>
            </a:extLst>
          </p:cNvPr>
          <p:cNvSpPr/>
          <p:nvPr userDrawn="1"/>
        </p:nvSpPr>
        <p:spPr>
          <a:xfrm>
            <a:off x="7962900" y="0"/>
            <a:ext cx="42291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5"/>
            <a:ext cx="6896100" cy="1806828"/>
          </a:xfrm>
        </p:spPr>
        <p:txBody>
          <a:bodyPr/>
          <a:lstStyle/>
          <a:p>
            <a:r>
              <a:rPr lang="en-US"/>
              <a:t>Click to edit Master title style</a:t>
            </a:r>
          </a:p>
        </p:txBody>
      </p:sp>
      <p:sp>
        <p:nvSpPr>
          <p:cNvPr id="7" name="Freeform: Shape 6">
            <a:extLst>
              <a:ext uri="{FF2B5EF4-FFF2-40B4-BE49-F238E27FC236}">
                <a16:creationId xmlns:a16="http://schemas.microsoft.com/office/drawing/2014/main" id="{E2276809-A9DE-422F-AFAA-F64539633E43}"/>
              </a:ext>
            </a:extLst>
          </p:cNvPr>
          <p:cNvSpPr/>
          <p:nvPr userDrawn="1"/>
        </p:nvSpPr>
        <p:spPr>
          <a:xfrm>
            <a:off x="1247775" y="2628900"/>
            <a:ext cx="8826528" cy="3190875"/>
          </a:xfrm>
          <a:custGeom>
            <a:avLst/>
            <a:gdLst>
              <a:gd name="connsiteX0" fmla="*/ 0 w 8353425"/>
              <a:gd name="connsiteY0" fmla="*/ 0 h 3190875"/>
              <a:gd name="connsiteX1" fmla="*/ 0 w 8353425"/>
              <a:gd name="connsiteY1" fmla="*/ 3190875 h 3190875"/>
              <a:gd name="connsiteX2" fmla="*/ 8353425 w 8353425"/>
              <a:gd name="connsiteY2" fmla="*/ 3190875 h 3190875"/>
              <a:gd name="connsiteX3" fmla="*/ 8353425 w 8353425"/>
              <a:gd name="connsiteY3" fmla="*/ 2733675 h 3190875"/>
            </a:gdLst>
            <a:ahLst/>
            <a:cxnLst>
              <a:cxn ang="0">
                <a:pos x="connsiteX0" y="connsiteY0"/>
              </a:cxn>
              <a:cxn ang="0">
                <a:pos x="connsiteX1" y="connsiteY1"/>
              </a:cxn>
              <a:cxn ang="0">
                <a:pos x="connsiteX2" y="connsiteY2"/>
              </a:cxn>
              <a:cxn ang="0">
                <a:pos x="connsiteX3" y="connsiteY3"/>
              </a:cxn>
            </a:cxnLst>
            <a:rect l="l" t="t" r="r" b="b"/>
            <a:pathLst>
              <a:path w="8353425" h="3190875">
                <a:moveTo>
                  <a:pt x="0" y="0"/>
                </a:moveTo>
                <a:lnTo>
                  <a:pt x="0" y="3190875"/>
                </a:lnTo>
                <a:lnTo>
                  <a:pt x="8353425" y="3190875"/>
                </a:lnTo>
                <a:lnTo>
                  <a:pt x="8353425" y="2733675"/>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7DB26AD-D582-41F9-9002-795358E4B4BD}"/>
              </a:ext>
            </a:extLst>
          </p:cNvPr>
          <p:cNvSpPr/>
          <p:nvPr userDrawn="1"/>
        </p:nvSpPr>
        <p:spPr>
          <a:xfrm>
            <a:off x="916576" y="2569411"/>
            <a:ext cx="5303520"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11E1AE8A-CDFD-4A99-B8A2-9D047969B70E}"/>
              </a:ext>
            </a:extLst>
          </p:cNvPr>
          <p:cNvSpPr>
            <a:spLocks noGrp="1"/>
          </p:cNvSpPr>
          <p:nvPr userDrawn="1">
            <p:ph type="body" sz="quarter" idx="14"/>
          </p:nvPr>
        </p:nvSpPr>
        <p:spPr>
          <a:xfrm>
            <a:off x="1740694" y="3013075"/>
            <a:ext cx="4241006" cy="2443163"/>
          </a:xfrm>
        </p:spPr>
        <p:txBody>
          <a:bodyPr>
            <a:noAutofit/>
          </a:bodyPr>
          <a:lstStyle>
            <a:lvl1pPr marL="171450" indent="-171450">
              <a:buFont typeface="Arial" panose="020B0604020202020204" pitchFamily="34" charset="0"/>
              <a:buChar char="•"/>
              <a:defRPr sz="2000"/>
            </a:lvl1pPr>
            <a:lvl2pPr marL="628650" indent="-171450">
              <a:buFont typeface="Arial" panose="020B0604020202020204" pitchFamily="34" charset="0"/>
              <a:buChar char="•"/>
              <a:defRPr sz="2000"/>
            </a:lvl2pPr>
            <a:lvl3pPr marL="1085850" indent="-171450">
              <a:buFont typeface="Arial" panose="020B0604020202020204" pitchFamily="34" charset="0"/>
              <a:buChar char="•"/>
              <a:defRPr sz="2000"/>
            </a:lvl3pPr>
            <a:lvl4pPr marL="1543050" indent="-171450">
              <a:buFont typeface="Arial" panose="020B0604020202020204" pitchFamily="34" charset="0"/>
              <a:buChar char="•"/>
              <a:defRPr sz="2000"/>
            </a:lvl4pPr>
            <a:lvl5pPr marL="2000250" indent="-17145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Oval 17">
            <a:extLst>
              <a:ext uri="{FF2B5EF4-FFF2-40B4-BE49-F238E27FC236}">
                <a16:creationId xmlns:a16="http://schemas.microsoft.com/office/drawing/2014/main" id="{AFBD5D6E-29F4-49E1-B5ED-AF6E60E1F591}"/>
              </a:ext>
            </a:extLst>
          </p:cNvPr>
          <p:cNvSpPr/>
          <p:nvPr userDrawn="1"/>
        </p:nvSpPr>
        <p:spPr>
          <a:xfrm>
            <a:off x="9061327" y="3337289"/>
            <a:ext cx="2032247" cy="20322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7">
            <a:extLst>
              <a:ext uri="{FF2B5EF4-FFF2-40B4-BE49-F238E27FC236}">
                <a16:creationId xmlns:a16="http://schemas.microsoft.com/office/drawing/2014/main" id="{91DB5F0C-83BA-4271-8671-F6945C0F0088}"/>
              </a:ext>
            </a:extLst>
          </p:cNvPr>
          <p:cNvSpPr>
            <a:spLocks noGrp="1"/>
          </p:cNvSpPr>
          <p:nvPr>
            <p:ph type="pic" sz="quarter" idx="16" hasCustomPrompt="1"/>
          </p:nvPr>
        </p:nvSpPr>
        <p:spPr>
          <a:xfrm>
            <a:off x="9498807" y="3773975"/>
            <a:ext cx="1157287" cy="1158875"/>
          </a:xfrm>
        </p:spPr>
        <p:txBody>
          <a:bodyPr anchor="ctr"/>
          <a:lstStyle>
            <a:lvl1pPr algn="ctr">
              <a:defRPr>
                <a:solidFill>
                  <a:schemeClr val="bg1"/>
                </a:solidFill>
              </a:defRPr>
            </a:lvl1pPr>
          </a:lstStyle>
          <a:p>
            <a:r>
              <a:rPr lang="en-US"/>
              <a:t>Add icon here</a:t>
            </a:r>
          </a:p>
        </p:txBody>
      </p:sp>
      <p:grpSp>
        <p:nvGrpSpPr>
          <p:cNvPr id="20" name="Graphic 6">
            <a:extLst>
              <a:ext uri="{FF2B5EF4-FFF2-40B4-BE49-F238E27FC236}">
                <a16:creationId xmlns:a16="http://schemas.microsoft.com/office/drawing/2014/main" id="{7A0A905F-5526-427F-8313-02DBD5CCF48A}"/>
              </a:ext>
            </a:extLst>
          </p:cNvPr>
          <p:cNvGrpSpPr/>
          <p:nvPr userDrawn="1"/>
        </p:nvGrpSpPr>
        <p:grpSpPr>
          <a:xfrm>
            <a:off x="891988" y="6394893"/>
            <a:ext cx="432890" cy="187030"/>
            <a:chOff x="85969" y="3646150"/>
            <a:chExt cx="1544103" cy="667132"/>
          </a:xfrm>
          <a:solidFill>
            <a:srgbClr val="FF9E18"/>
          </a:solidFill>
        </p:grpSpPr>
        <p:sp>
          <p:nvSpPr>
            <p:cNvPr id="25" name="Freeform: Shape 24">
              <a:extLst>
                <a:ext uri="{FF2B5EF4-FFF2-40B4-BE49-F238E27FC236}">
                  <a16:creationId xmlns:a16="http://schemas.microsoft.com/office/drawing/2014/main" id="{D744C706-56D9-4049-B600-54A1D543BEFD}"/>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8BC18EFB-EB46-4F5A-A17C-DF35BB1111D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2808B8E4-878B-41C7-88CD-89E4A3C9066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241375AE-39BD-4641-9E99-98B6749E5053}"/>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1" name="Text Placeholder 16">
            <a:extLst>
              <a:ext uri="{FF2B5EF4-FFF2-40B4-BE49-F238E27FC236}">
                <a16:creationId xmlns:a16="http://schemas.microsoft.com/office/drawing/2014/main" id="{6032DE2C-D49C-4BAD-8B30-05B8CE85FD1D}"/>
              </a:ext>
            </a:extLst>
          </p:cNvPr>
          <p:cNvSpPr>
            <a:spLocks noGrp="1"/>
          </p:cNvSpPr>
          <p:nvPr>
            <p:ph type="body" sz="quarter" idx="17" hasCustomPrompt="1"/>
          </p:nvPr>
        </p:nvSpPr>
        <p:spPr>
          <a:xfrm>
            <a:off x="8713812" y="1589793"/>
            <a:ext cx="2727276" cy="326472"/>
          </a:xfrm>
        </p:spPr>
        <p:txBody>
          <a:bodyPr anchor="ctr">
            <a:noAutofit/>
          </a:bodyPr>
          <a:lstStyle>
            <a:lvl1pPr marL="0" indent="0" algn="ctr">
              <a:buNone/>
              <a:defRPr sz="16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Title</a:t>
            </a:r>
          </a:p>
        </p:txBody>
      </p:sp>
      <p:sp>
        <p:nvSpPr>
          <p:cNvPr id="22" name="Text Placeholder 16">
            <a:extLst>
              <a:ext uri="{FF2B5EF4-FFF2-40B4-BE49-F238E27FC236}">
                <a16:creationId xmlns:a16="http://schemas.microsoft.com/office/drawing/2014/main" id="{35342DC0-67CA-404B-8E57-F8DDBB6D1CC5}"/>
              </a:ext>
            </a:extLst>
          </p:cNvPr>
          <p:cNvSpPr>
            <a:spLocks noGrp="1"/>
          </p:cNvSpPr>
          <p:nvPr>
            <p:ph type="body" sz="quarter" idx="18" hasCustomPrompt="1"/>
          </p:nvPr>
        </p:nvSpPr>
        <p:spPr>
          <a:xfrm>
            <a:off x="8713812" y="1956688"/>
            <a:ext cx="2727276" cy="811501"/>
          </a:xfrm>
        </p:spPr>
        <p:txBody>
          <a:bodyPr anchor="ctr">
            <a:normAutofit/>
          </a:bodyPr>
          <a:lstStyle>
            <a:lvl1pPr marL="0" indent="0" algn="ctr">
              <a:buNone/>
              <a:defRPr sz="32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Data</a:t>
            </a:r>
          </a:p>
        </p:txBody>
      </p:sp>
      <p:sp>
        <p:nvSpPr>
          <p:cNvPr id="23" name="Slide Number Placeholder 4">
            <a:extLst>
              <a:ext uri="{FF2B5EF4-FFF2-40B4-BE49-F238E27FC236}">
                <a16:creationId xmlns:a16="http://schemas.microsoft.com/office/drawing/2014/main" id="{1E331BA0-6428-45A6-BF48-497E6EAD7D92}"/>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9603591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2">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34690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Section Title</a:t>
            </a:r>
          </a:p>
        </p:txBody>
      </p:sp>
      <p:sp>
        <p:nvSpPr>
          <p:cNvPr id="26" name="Freeform: Shape 25">
            <a:extLst>
              <a:ext uri="{FF2B5EF4-FFF2-40B4-BE49-F238E27FC236}">
                <a16:creationId xmlns:a16="http://schemas.microsoft.com/office/drawing/2014/main" id="{F2A2AE34-7892-42F4-AFE1-463A5BEF0007}"/>
              </a:ext>
            </a:extLst>
          </p:cNvPr>
          <p:cNvSpPr/>
          <p:nvPr userDrawn="1"/>
        </p:nvSpPr>
        <p:spPr>
          <a:xfrm>
            <a:off x="8694644" y="0"/>
            <a:ext cx="3497357" cy="6858000"/>
          </a:xfrm>
          <a:custGeom>
            <a:avLst/>
            <a:gdLst>
              <a:gd name="connsiteX0" fmla="*/ 1398588 w 3497357"/>
              <a:gd name="connsiteY0" fmla="*/ 0 h 6858000"/>
              <a:gd name="connsiteX1" fmla="*/ 3497357 w 3497357"/>
              <a:gd name="connsiteY1" fmla="*/ 0 h 6858000"/>
              <a:gd name="connsiteX2" fmla="*/ 3497357 w 3497357"/>
              <a:gd name="connsiteY2" fmla="*/ 722525 h 6858000"/>
              <a:gd name="connsiteX3" fmla="*/ 3321786 w 3497357"/>
              <a:gd name="connsiteY3" fmla="*/ 809134 h 6858000"/>
              <a:gd name="connsiteX4" fmla="*/ 1799307 w 3497357"/>
              <a:gd name="connsiteY4" fmla="*/ 3429000 h 6858000"/>
              <a:gd name="connsiteX5" fmla="*/ 3322313 w 3497357"/>
              <a:gd name="connsiteY5" fmla="*/ 6048867 h 6858000"/>
              <a:gd name="connsiteX6" fmla="*/ 3497357 w 3497357"/>
              <a:gd name="connsiteY6" fmla="*/ 6135224 h 6858000"/>
              <a:gd name="connsiteX7" fmla="*/ 3497357 w 3497357"/>
              <a:gd name="connsiteY7" fmla="*/ 6858000 h 6858000"/>
              <a:gd name="connsiteX8" fmla="*/ 1398588 w 3497357"/>
              <a:gd name="connsiteY8" fmla="*/ 6858000 h 6858000"/>
              <a:gd name="connsiteX9" fmla="*/ 1379218 w 3497357"/>
              <a:gd name="connsiteY9" fmla="*/ 6839087 h 6858000"/>
              <a:gd name="connsiteX10" fmla="*/ 0 w 3497357"/>
              <a:gd name="connsiteY10" fmla="*/ 3429000 h 6858000"/>
              <a:gd name="connsiteX11" fmla="*/ 1379218 w 3497357"/>
              <a:gd name="connsiteY11" fmla="*/ 189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357" h="6858000">
                <a:moveTo>
                  <a:pt x="1398588" y="0"/>
                </a:moveTo>
                <a:lnTo>
                  <a:pt x="3497357" y="0"/>
                </a:lnTo>
                <a:lnTo>
                  <a:pt x="3497357" y="722525"/>
                </a:lnTo>
                <a:lnTo>
                  <a:pt x="3321786" y="809134"/>
                </a:lnTo>
                <a:cubicBezTo>
                  <a:pt x="2414760" y="1313706"/>
                  <a:pt x="1799307" y="2297777"/>
                  <a:pt x="1799307" y="3429000"/>
                </a:cubicBezTo>
                <a:cubicBezTo>
                  <a:pt x="1799307" y="4560224"/>
                  <a:pt x="2415321" y="5544294"/>
                  <a:pt x="3322313" y="6048867"/>
                </a:cubicBezTo>
                <a:lnTo>
                  <a:pt x="3497357" y="6135224"/>
                </a:lnTo>
                <a:lnTo>
                  <a:pt x="3497357" y="6858000"/>
                </a:lnTo>
                <a:lnTo>
                  <a:pt x="1398588" y="6858000"/>
                </a:lnTo>
                <a:lnTo>
                  <a:pt x="1379218" y="6839087"/>
                </a:lnTo>
                <a:cubicBezTo>
                  <a:pt x="527066" y="5966368"/>
                  <a:pt x="0" y="4760720"/>
                  <a:pt x="0" y="3429000"/>
                </a:cubicBezTo>
                <a:cubicBezTo>
                  <a:pt x="0" y="2097281"/>
                  <a:pt x="527066" y="891632"/>
                  <a:pt x="1379218" y="18914"/>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31" name="Text Placeholder 19">
            <a:extLst>
              <a:ext uri="{FF2B5EF4-FFF2-40B4-BE49-F238E27FC236}">
                <a16:creationId xmlns:a16="http://schemas.microsoft.com/office/drawing/2014/main" id="{7BA5FB97-E6BC-4D7A-B26D-B9F1C20C4AC3}"/>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Tree>
    <p:extLst>
      <p:ext uri="{BB962C8B-B14F-4D97-AF65-F5344CB8AC3E}">
        <p14:creationId xmlns:p14="http://schemas.microsoft.com/office/powerpoint/2010/main" val="132081874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ntent + Icon + Arc Imag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9D30C42F-D1DF-4DC7-BB9B-E099A6AA365E}"/>
              </a:ext>
            </a:extLst>
          </p:cNvPr>
          <p:cNvGraphicFramePr>
            <a:graphicFrameLocks noChangeAspect="1"/>
          </p:cNvGraphicFramePr>
          <p:nvPr userDrawn="1">
            <p:custDataLst>
              <p:tags r:id="rId1"/>
            </p:custDataLst>
            <p:extLst>
              <p:ext uri="{D42A27DB-BD31-4B8C-83A1-F6EECF244321}">
                <p14:modId xmlns:p14="http://schemas.microsoft.com/office/powerpoint/2010/main" val="2583717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9D30C42F-D1DF-4DC7-BB9B-E099A6AA36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C16794C-2337-4C40-A156-DC10DA4791A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34" name="Picture Placeholder 33">
            <a:extLst>
              <a:ext uri="{FF2B5EF4-FFF2-40B4-BE49-F238E27FC236}">
                <a16:creationId xmlns:a16="http://schemas.microsoft.com/office/drawing/2014/main" id="{28F29D78-42FA-4483-94E3-B2762A6D27FD}"/>
              </a:ext>
            </a:extLst>
          </p:cNvPr>
          <p:cNvSpPr>
            <a:spLocks noGrp="1"/>
          </p:cNvSpPr>
          <p:nvPr>
            <p:ph type="pic" sz="quarter" idx="17"/>
          </p:nvPr>
        </p:nvSpPr>
        <p:spPr>
          <a:xfrm>
            <a:off x="7962900" y="0"/>
            <a:ext cx="4229100" cy="6858000"/>
          </a:xfrm>
          <a:custGeom>
            <a:avLst/>
            <a:gdLst>
              <a:gd name="connsiteX0" fmla="*/ 3129148 w 4229100"/>
              <a:gd name="connsiteY0" fmla="*/ 4323177 h 6858000"/>
              <a:gd name="connsiteX1" fmla="*/ 3383747 w 4229100"/>
              <a:gd name="connsiteY1" fmla="*/ 4336339 h 6858000"/>
              <a:gd name="connsiteX2" fmla="*/ 4127419 w 4229100"/>
              <a:gd name="connsiteY2" fmla="*/ 4531134 h 6858000"/>
              <a:gd name="connsiteX3" fmla="*/ 4229100 w 4229100"/>
              <a:gd name="connsiteY3" fmla="*/ 4581292 h 6858000"/>
              <a:gd name="connsiteX4" fmla="*/ 4229100 w 4229100"/>
              <a:gd name="connsiteY4" fmla="*/ 6858000 h 6858000"/>
              <a:gd name="connsiteX5" fmla="*/ 533865 w 4229100"/>
              <a:gd name="connsiteY5" fmla="*/ 6858000 h 6858000"/>
              <a:gd name="connsiteX6" fmla="*/ 541441 w 4229100"/>
              <a:gd name="connsiteY6" fmla="*/ 6704315 h 6858000"/>
              <a:gd name="connsiteX7" fmla="*/ 1211395 w 4229100"/>
              <a:gd name="connsiteY7" fmla="*/ 5180086 h 6858000"/>
              <a:gd name="connsiteX8" fmla="*/ 1360250 w 4229100"/>
              <a:gd name="connsiteY8" fmla="*/ 5028539 h 6858000"/>
              <a:gd name="connsiteX9" fmla="*/ 1396043 w 4229100"/>
              <a:gd name="connsiteY9" fmla="*/ 5071921 h 6858000"/>
              <a:gd name="connsiteX10" fmla="*/ 2114551 w 4229100"/>
              <a:gd name="connsiteY10" fmla="*/ 5369536 h 6858000"/>
              <a:gd name="connsiteX11" fmla="*/ 3130675 w 4229100"/>
              <a:gd name="connsiteY11" fmla="*/ 4353412 h 6858000"/>
              <a:gd name="connsiteX12" fmla="*/ 0 w 4229100"/>
              <a:gd name="connsiteY12" fmla="*/ 0 h 6858000"/>
              <a:gd name="connsiteX13" fmla="*/ 4229100 w 4229100"/>
              <a:gd name="connsiteY13" fmla="*/ 0 h 6858000"/>
              <a:gd name="connsiteX14" fmla="*/ 4229100 w 4229100"/>
              <a:gd name="connsiteY14" fmla="*/ 2834805 h 6858000"/>
              <a:gd name="connsiteX15" fmla="*/ 4167041 w 4229100"/>
              <a:gd name="connsiteY15" fmla="*/ 2816763 h 6858000"/>
              <a:gd name="connsiteX16" fmla="*/ 3118776 w 4229100"/>
              <a:gd name="connsiteY16" fmla="*/ 2681577 h 6858000"/>
              <a:gd name="connsiteX17" fmla="*/ 226006 w 4229100"/>
              <a:gd name="connsiteY17" fmla="*/ 3867278 h 6858000"/>
              <a:gd name="connsiteX18" fmla="*/ 0 w 4229100"/>
              <a:gd name="connsiteY18" fmla="*/ 41093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29100" h="6858000">
                <a:moveTo>
                  <a:pt x="3129148" y="4323177"/>
                </a:moveTo>
                <a:lnTo>
                  <a:pt x="3383747" y="4336339"/>
                </a:lnTo>
                <a:cubicBezTo>
                  <a:pt x="3645098" y="4363512"/>
                  <a:pt x="3894939" y="4430445"/>
                  <a:pt x="4127419" y="4531134"/>
                </a:cubicBezTo>
                <a:lnTo>
                  <a:pt x="4229100" y="4581292"/>
                </a:lnTo>
                <a:lnTo>
                  <a:pt x="4229100" y="6858000"/>
                </a:lnTo>
                <a:lnTo>
                  <a:pt x="533865" y="6858000"/>
                </a:lnTo>
                <a:lnTo>
                  <a:pt x="541441" y="6704315"/>
                </a:lnTo>
                <a:cubicBezTo>
                  <a:pt x="599460" y="6119085"/>
                  <a:pt x="843189" y="5590064"/>
                  <a:pt x="1211395" y="5180086"/>
                </a:cubicBezTo>
                <a:lnTo>
                  <a:pt x="1360250" y="5028539"/>
                </a:lnTo>
                <a:lnTo>
                  <a:pt x="1396043" y="5071921"/>
                </a:lnTo>
                <a:cubicBezTo>
                  <a:pt x="1579925" y="5255803"/>
                  <a:pt x="1833956" y="5369536"/>
                  <a:pt x="2114551" y="5369536"/>
                </a:cubicBezTo>
                <a:cubicBezTo>
                  <a:pt x="2675741" y="5369536"/>
                  <a:pt x="3130675" y="4914602"/>
                  <a:pt x="3130675" y="4353412"/>
                </a:cubicBezTo>
                <a:close/>
                <a:moveTo>
                  <a:pt x="0" y="0"/>
                </a:moveTo>
                <a:lnTo>
                  <a:pt x="4229100" y="0"/>
                </a:lnTo>
                <a:lnTo>
                  <a:pt x="4229100" y="2834805"/>
                </a:lnTo>
                <a:lnTo>
                  <a:pt x="4167041" y="2816763"/>
                </a:lnTo>
                <a:cubicBezTo>
                  <a:pt x="3832009" y="2728513"/>
                  <a:pt x="3480758" y="2681577"/>
                  <a:pt x="3118776" y="2681577"/>
                </a:cubicBezTo>
                <a:cubicBezTo>
                  <a:pt x="1997151" y="2681577"/>
                  <a:pt x="978393" y="3132628"/>
                  <a:pt x="226006" y="3867278"/>
                </a:cubicBezTo>
                <a:lnTo>
                  <a:pt x="0" y="4109327"/>
                </a:lnTo>
                <a:close/>
              </a:path>
            </a:pathLst>
          </a:custGeom>
        </p:spPr>
        <p:txBody>
          <a:bodyPr wrap="square">
            <a:noAutofit/>
          </a:bodyPr>
          <a:lstStyle/>
          <a:p>
            <a:endParaRPr lang="en-US"/>
          </a:p>
        </p:txBody>
      </p:sp>
      <p:sp>
        <p:nvSpPr>
          <p:cNvPr id="30" name="Freeform: Shape 29">
            <a:extLst>
              <a:ext uri="{FF2B5EF4-FFF2-40B4-BE49-F238E27FC236}">
                <a16:creationId xmlns:a16="http://schemas.microsoft.com/office/drawing/2014/main" id="{CF482F91-54C7-4976-8676-FCDBEE237E29}"/>
              </a:ext>
            </a:extLst>
          </p:cNvPr>
          <p:cNvSpPr/>
          <p:nvPr userDrawn="1"/>
        </p:nvSpPr>
        <p:spPr>
          <a:xfrm>
            <a:off x="6891798" y="2681578"/>
            <a:ext cx="5300202" cy="4176423"/>
          </a:xfrm>
          <a:custGeom>
            <a:avLst/>
            <a:gdLst>
              <a:gd name="connsiteX0" fmla="*/ 4189878 w 5300202"/>
              <a:gd name="connsiteY0" fmla="*/ 0 h 4176423"/>
              <a:gd name="connsiteX1" fmla="*/ 5238143 w 5300202"/>
              <a:gd name="connsiteY1" fmla="*/ 135186 h 4176423"/>
              <a:gd name="connsiteX2" fmla="*/ 5300202 w 5300202"/>
              <a:gd name="connsiteY2" fmla="*/ 153228 h 4176423"/>
              <a:gd name="connsiteX3" fmla="*/ 5300202 w 5300202"/>
              <a:gd name="connsiteY3" fmla="*/ 1899715 h 4176423"/>
              <a:gd name="connsiteX4" fmla="*/ 5198521 w 5300202"/>
              <a:gd name="connsiteY4" fmla="*/ 1849557 h 4176423"/>
              <a:gd name="connsiteX5" fmla="*/ 4189878 w 5300202"/>
              <a:gd name="connsiteY5" fmla="*/ 1641064 h 4176423"/>
              <a:gd name="connsiteX6" fmla="*/ 1612543 w 5300202"/>
              <a:gd name="connsiteY6" fmla="*/ 4022738 h 4176423"/>
              <a:gd name="connsiteX7" fmla="*/ 1604967 w 5300202"/>
              <a:gd name="connsiteY7" fmla="*/ 4176423 h 4176423"/>
              <a:gd name="connsiteX8" fmla="*/ 0 w 5300202"/>
              <a:gd name="connsiteY8" fmla="*/ 4176423 h 4176423"/>
              <a:gd name="connsiteX9" fmla="*/ 2554 w 5300202"/>
              <a:gd name="connsiteY9" fmla="*/ 4072999 h 4176423"/>
              <a:gd name="connsiteX10" fmla="*/ 4189878 w 5300202"/>
              <a:gd name="connsiteY10" fmla="*/ 0 h 417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00202" h="4176423">
                <a:moveTo>
                  <a:pt x="4189878" y="0"/>
                </a:moveTo>
                <a:cubicBezTo>
                  <a:pt x="4551860" y="0"/>
                  <a:pt x="4903111" y="46936"/>
                  <a:pt x="5238143" y="135186"/>
                </a:cubicBezTo>
                <a:lnTo>
                  <a:pt x="5300202" y="153228"/>
                </a:lnTo>
                <a:lnTo>
                  <a:pt x="5300202" y="1899715"/>
                </a:lnTo>
                <a:lnTo>
                  <a:pt x="5198521" y="1849557"/>
                </a:lnTo>
                <a:cubicBezTo>
                  <a:pt x="4888548" y="1715304"/>
                  <a:pt x="4547711" y="1641064"/>
                  <a:pt x="4189878" y="1641064"/>
                </a:cubicBezTo>
                <a:cubicBezTo>
                  <a:pt x="2848014" y="1641064"/>
                  <a:pt x="1745158" y="2685070"/>
                  <a:pt x="1612543" y="4022738"/>
                </a:cubicBezTo>
                <a:lnTo>
                  <a:pt x="1604967" y="4176423"/>
                </a:lnTo>
                <a:lnTo>
                  <a:pt x="0" y="4176423"/>
                </a:lnTo>
                <a:lnTo>
                  <a:pt x="2554" y="4072999"/>
                </a:lnTo>
                <a:cubicBezTo>
                  <a:pt x="114849" y="1804202"/>
                  <a:pt x="1946627" y="0"/>
                  <a:pt x="4189878" y="0"/>
                </a:cubicBezTo>
                <a:close/>
              </a:path>
            </a:pathLst>
          </a:custGeom>
          <a:solidFill>
            <a:srgbClr val="FF9E18"/>
          </a:solidFill>
          <a:ln w="9264" cap="flat">
            <a:noFill/>
            <a:prstDash val="solid"/>
            <a:miter/>
          </a:ln>
        </p:spPr>
        <p:txBody>
          <a:bodyPr wrap="square" rtlCol="0" anchor="ctr">
            <a:noAutofit/>
          </a:bodyPr>
          <a:lstStyle/>
          <a:p>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5"/>
            <a:ext cx="6896100" cy="1806828"/>
          </a:xfrm>
        </p:spPr>
        <p:txBody>
          <a:bodyPr/>
          <a:lstStyle/>
          <a:p>
            <a:r>
              <a:rPr lang="en-US"/>
              <a:t>Click to edit Master title style</a:t>
            </a:r>
          </a:p>
        </p:txBody>
      </p:sp>
      <p:sp>
        <p:nvSpPr>
          <p:cNvPr id="7" name="Freeform: Shape 6">
            <a:extLst>
              <a:ext uri="{FF2B5EF4-FFF2-40B4-BE49-F238E27FC236}">
                <a16:creationId xmlns:a16="http://schemas.microsoft.com/office/drawing/2014/main" id="{E2276809-A9DE-422F-AFAA-F64539633E43}"/>
              </a:ext>
            </a:extLst>
          </p:cNvPr>
          <p:cNvSpPr/>
          <p:nvPr userDrawn="1"/>
        </p:nvSpPr>
        <p:spPr>
          <a:xfrm>
            <a:off x="1247775" y="2628900"/>
            <a:ext cx="8826528" cy="3190875"/>
          </a:xfrm>
          <a:custGeom>
            <a:avLst/>
            <a:gdLst>
              <a:gd name="connsiteX0" fmla="*/ 0 w 8353425"/>
              <a:gd name="connsiteY0" fmla="*/ 0 h 3190875"/>
              <a:gd name="connsiteX1" fmla="*/ 0 w 8353425"/>
              <a:gd name="connsiteY1" fmla="*/ 3190875 h 3190875"/>
              <a:gd name="connsiteX2" fmla="*/ 8353425 w 8353425"/>
              <a:gd name="connsiteY2" fmla="*/ 3190875 h 3190875"/>
              <a:gd name="connsiteX3" fmla="*/ 8353425 w 8353425"/>
              <a:gd name="connsiteY3" fmla="*/ 2733675 h 3190875"/>
            </a:gdLst>
            <a:ahLst/>
            <a:cxnLst>
              <a:cxn ang="0">
                <a:pos x="connsiteX0" y="connsiteY0"/>
              </a:cxn>
              <a:cxn ang="0">
                <a:pos x="connsiteX1" y="connsiteY1"/>
              </a:cxn>
              <a:cxn ang="0">
                <a:pos x="connsiteX2" y="connsiteY2"/>
              </a:cxn>
              <a:cxn ang="0">
                <a:pos x="connsiteX3" y="connsiteY3"/>
              </a:cxn>
            </a:cxnLst>
            <a:rect l="l" t="t" r="r" b="b"/>
            <a:pathLst>
              <a:path w="8353425" h="3190875">
                <a:moveTo>
                  <a:pt x="0" y="0"/>
                </a:moveTo>
                <a:lnTo>
                  <a:pt x="0" y="3190875"/>
                </a:lnTo>
                <a:lnTo>
                  <a:pt x="8353425" y="3190875"/>
                </a:lnTo>
                <a:lnTo>
                  <a:pt x="8353425" y="2733675"/>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7DB26AD-D582-41F9-9002-795358E4B4BD}"/>
              </a:ext>
            </a:extLst>
          </p:cNvPr>
          <p:cNvSpPr/>
          <p:nvPr userDrawn="1"/>
        </p:nvSpPr>
        <p:spPr>
          <a:xfrm>
            <a:off x="916576" y="2569411"/>
            <a:ext cx="5303520"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11E1AE8A-CDFD-4A99-B8A2-9D047969B70E}"/>
              </a:ext>
            </a:extLst>
          </p:cNvPr>
          <p:cNvSpPr>
            <a:spLocks noGrp="1"/>
          </p:cNvSpPr>
          <p:nvPr userDrawn="1">
            <p:ph type="body" sz="quarter" idx="14"/>
          </p:nvPr>
        </p:nvSpPr>
        <p:spPr>
          <a:xfrm>
            <a:off x="1740694" y="3013075"/>
            <a:ext cx="4241006" cy="2443163"/>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Oval 17">
            <a:extLst>
              <a:ext uri="{FF2B5EF4-FFF2-40B4-BE49-F238E27FC236}">
                <a16:creationId xmlns:a16="http://schemas.microsoft.com/office/drawing/2014/main" id="{AFBD5D6E-29F4-49E1-B5ED-AF6E60E1F591}"/>
              </a:ext>
            </a:extLst>
          </p:cNvPr>
          <p:cNvSpPr/>
          <p:nvPr userDrawn="1"/>
        </p:nvSpPr>
        <p:spPr>
          <a:xfrm>
            <a:off x="9061327" y="3337289"/>
            <a:ext cx="2032247" cy="20322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7">
            <a:extLst>
              <a:ext uri="{FF2B5EF4-FFF2-40B4-BE49-F238E27FC236}">
                <a16:creationId xmlns:a16="http://schemas.microsoft.com/office/drawing/2014/main" id="{91DB5F0C-83BA-4271-8671-F6945C0F0088}"/>
              </a:ext>
            </a:extLst>
          </p:cNvPr>
          <p:cNvSpPr>
            <a:spLocks noGrp="1"/>
          </p:cNvSpPr>
          <p:nvPr>
            <p:ph type="pic" sz="quarter" idx="16" hasCustomPrompt="1"/>
          </p:nvPr>
        </p:nvSpPr>
        <p:spPr>
          <a:xfrm>
            <a:off x="9498807" y="3773975"/>
            <a:ext cx="1157287" cy="1158875"/>
          </a:xfrm>
        </p:spPr>
        <p:txBody>
          <a:bodyPr anchor="ctr"/>
          <a:lstStyle>
            <a:lvl1pPr algn="ctr">
              <a:defRPr>
                <a:solidFill>
                  <a:schemeClr val="bg1"/>
                </a:solidFill>
              </a:defRPr>
            </a:lvl1pPr>
          </a:lstStyle>
          <a:p>
            <a:r>
              <a:rPr lang="en-US"/>
              <a:t>Add icon here</a:t>
            </a:r>
          </a:p>
        </p:txBody>
      </p:sp>
      <p:grpSp>
        <p:nvGrpSpPr>
          <p:cNvPr id="20" name="Graphic 6">
            <a:extLst>
              <a:ext uri="{FF2B5EF4-FFF2-40B4-BE49-F238E27FC236}">
                <a16:creationId xmlns:a16="http://schemas.microsoft.com/office/drawing/2014/main" id="{7A0A905F-5526-427F-8313-02DBD5CCF48A}"/>
              </a:ext>
            </a:extLst>
          </p:cNvPr>
          <p:cNvGrpSpPr/>
          <p:nvPr userDrawn="1"/>
        </p:nvGrpSpPr>
        <p:grpSpPr>
          <a:xfrm>
            <a:off x="891988" y="6394893"/>
            <a:ext cx="432890" cy="187030"/>
            <a:chOff x="85969" y="3646150"/>
            <a:chExt cx="1544103" cy="667132"/>
          </a:xfrm>
          <a:solidFill>
            <a:srgbClr val="FF9E18"/>
          </a:solidFill>
        </p:grpSpPr>
        <p:sp>
          <p:nvSpPr>
            <p:cNvPr id="25" name="Freeform: Shape 24">
              <a:extLst>
                <a:ext uri="{FF2B5EF4-FFF2-40B4-BE49-F238E27FC236}">
                  <a16:creationId xmlns:a16="http://schemas.microsoft.com/office/drawing/2014/main" id="{D744C706-56D9-4049-B600-54A1D543BEFD}"/>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8BC18EFB-EB46-4F5A-A17C-DF35BB1111D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2808B8E4-878B-41C7-88CD-89E4A3C9066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241375AE-39BD-4641-9E99-98B6749E5053}"/>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9" name="Slide Number Placeholder 4">
            <a:extLst>
              <a:ext uri="{FF2B5EF4-FFF2-40B4-BE49-F238E27FC236}">
                <a16:creationId xmlns:a16="http://schemas.microsoft.com/office/drawing/2014/main" id="{7BAB97D1-DA86-49B1-81DE-66805C844691}"/>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1433210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 Big data">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438879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4"/>
            <a:ext cx="6896100" cy="1810512"/>
          </a:xfrm>
        </p:spPr>
        <p:txBody>
          <a:bodyPr/>
          <a:lstStyle/>
          <a:p>
            <a:r>
              <a:rPr lang="en-US"/>
              <a:t>Click to edit Master title style</a:t>
            </a:r>
          </a:p>
        </p:txBody>
      </p:sp>
      <p:sp>
        <p:nvSpPr>
          <p:cNvPr id="7" name="Text Placeholder 6">
            <a:extLst>
              <a:ext uri="{FF2B5EF4-FFF2-40B4-BE49-F238E27FC236}">
                <a16:creationId xmlns:a16="http://schemas.microsoft.com/office/drawing/2014/main" id="{03448144-7B66-4D27-B0CC-18F4D7D7B1F8}"/>
              </a:ext>
            </a:extLst>
          </p:cNvPr>
          <p:cNvSpPr>
            <a:spLocks noGrp="1"/>
          </p:cNvSpPr>
          <p:nvPr>
            <p:ph type="body" sz="quarter" idx="13"/>
          </p:nvPr>
        </p:nvSpPr>
        <p:spPr>
          <a:xfrm>
            <a:off x="4457700" y="2992438"/>
            <a:ext cx="3276600" cy="2044700"/>
          </a:xfrm>
        </p:spPr>
        <p:txBody>
          <a:bodyPr rIns="182880">
            <a:no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E0560DBA-D041-49A5-A4F7-C21CC3CBA5B0}"/>
              </a:ext>
            </a:extLst>
          </p:cNvPr>
          <p:cNvSpPr>
            <a:spLocks noGrp="1"/>
          </p:cNvSpPr>
          <p:nvPr>
            <p:ph type="body" sz="quarter" idx="14" hasCustomPrompt="1"/>
          </p:nvPr>
        </p:nvSpPr>
        <p:spPr>
          <a:xfrm>
            <a:off x="838200" y="2936081"/>
            <a:ext cx="3190875" cy="2101057"/>
          </a:xfrm>
        </p:spPr>
        <p:txBody>
          <a:bodyPr>
            <a:normAutofit/>
          </a:bodyPr>
          <a:lstStyle>
            <a:lvl1pPr marL="0" indent="0" algn="ctr">
              <a:buNone/>
              <a:defRPr sz="9600" b="1">
                <a:solidFill>
                  <a:schemeClr val="accent2"/>
                </a:solidFill>
              </a:defRPr>
            </a:lvl1pPr>
          </a:lstStyle>
          <a:p>
            <a:pPr lvl="0"/>
            <a:r>
              <a:rPr lang="en-US"/>
              <a:t>00%</a:t>
            </a:r>
          </a:p>
        </p:txBody>
      </p:sp>
      <p:sp>
        <p:nvSpPr>
          <p:cNvPr id="9" name="Rectangle 8">
            <a:extLst>
              <a:ext uri="{FF2B5EF4-FFF2-40B4-BE49-F238E27FC236}">
                <a16:creationId xmlns:a16="http://schemas.microsoft.com/office/drawing/2014/main" id="{38A9244C-FE63-433B-BA27-6FB4AAB94D95}"/>
              </a:ext>
            </a:extLst>
          </p:cNvPr>
          <p:cNvSpPr/>
          <p:nvPr userDrawn="1"/>
        </p:nvSpPr>
        <p:spPr>
          <a:xfrm>
            <a:off x="7962900" y="0"/>
            <a:ext cx="42291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320C3D2-8363-4A66-AFC5-56A5E35FE6B8}"/>
              </a:ext>
            </a:extLst>
          </p:cNvPr>
          <p:cNvSpPr/>
          <p:nvPr userDrawn="1"/>
        </p:nvSpPr>
        <p:spPr>
          <a:xfrm>
            <a:off x="4146415" y="2889115"/>
            <a:ext cx="82685" cy="2177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Arial" panose="020B0604020202020204" pitchFamily="34" charset="0"/>
              <a:buNone/>
            </a:pPr>
            <a:endParaRPr lang="en-US"/>
          </a:p>
        </p:txBody>
      </p:sp>
      <p:sp>
        <p:nvSpPr>
          <p:cNvPr id="14" name="Picture Placeholder 13">
            <a:extLst>
              <a:ext uri="{FF2B5EF4-FFF2-40B4-BE49-F238E27FC236}">
                <a16:creationId xmlns:a16="http://schemas.microsoft.com/office/drawing/2014/main" id="{40F64B93-F8FD-4384-9EC9-0C5FE4B55E44}"/>
              </a:ext>
            </a:extLst>
          </p:cNvPr>
          <p:cNvSpPr>
            <a:spLocks noGrp="1"/>
          </p:cNvSpPr>
          <p:nvPr>
            <p:ph type="pic" sz="quarter" idx="15"/>
          </p:nvPr>
        </p:nvSpPr>
        <p:spPr>
          <a:xfrm>
            <a:off x="9337675" y="723900"/>
            <a:ext cx="1479550" cy="1477963"/>
          </a:xfrm>
          <a:noFill/>
        </p:spPr>
        <p:txBody>
          <a:bodyPr/>
          <a:lstStyle/>
          <a:p>
            <a:endParaRPr lang="en-US"/>
          </a:p>
        </p:txBody>
      </p:sp>
      <p:sp>
        <p:nvSpPr>
          <p:cNvPr id="15" name="Picture Placeholder 13">
            <a:extLst>
              <a:ext uri="{FF2B5EF4-FFF2-40B4-BE49-F238E27FC236}">
                <a16:creationId xmlns:a16="http://schemas.microsoft.com/office/drawing/2014/main" id="{737282CA-0ECD-428F-954E-3B940B0152F7}"/>
              </a:ext>
            </a:extLst>
          </p:cNvPr>
          <p:cNvSpPr>
            <a:spLocks noGrp="1"/>
          </p:cNvSpPr>
          <p:nvPr>
            <p:ph type="pic" sz="quarter" idx="16"/>
          </p:nvPr>
        </p:nvSpPr>
        <p:spPr>
          <a:xfrm>
            <a:off x="9337675" y="2709069"/>
            <a:ext cx="1479550" cy="1477963"/>
          </a:xfrm>
          <a:noFill/>
        </p:spPr>
        <p:txBody>
          <a:bodyPr/>
          <a:lstStyle/>
          <a:p>
            <a:endParaRPr lang="en-US"/>
          </a:p>
        </p:txBody>
      </p:sp>
      <p:sp>
        <p:nvSpPr>
          <p:cNvPr id="16" name="Picture Placeholder 13">
            <a:extLst>
              <a:ext uri="{FF2B5EF4-FFF2-40B4-BE49-F238E27FC236}">
                <a16:creationId xmlns:a16="http://schemas.microsoft.com/office/drawing/2014/main" id="{27A19C05-4373-40B6-837A-81D7270C200E}"/>
              </a:ext>
            </a:extLst>
          </p:cNvPr>
          <p:cNvSpPr>
            <a:spLocks noGrp="1"/>
          </p:cNvSpPr>
          <p:nvPr>
            <p:ph type="pic" sz="quarter" idx="17"/>
          </p:nvPr>
        </p:nvSpPr>
        <p:spPr>
          <a:xfrm>
            <a:off x="9337675" y="4694237"/>
            <a:ext cx="1479550" cy="1477963"/>
          </a:xfrm>
          <a:noFill/>
        </p:spPr>
        <p:txBody>
          <a:bodyPr/>
          <a:lstStyle/>
          <a:p>
            <a:endParaRPr lang="en-US"/>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Tree>
    <p:extLst>
      <p:ext uri="{BB962C8B-B14F-4D97-AF65-F5344CB8AC3E}">
        <p14:creationId xmlns:p14="http://schemas.microsoft.com/office/powerpoint/2010/main" val="52262022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945386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6" name="Rectangle 5">
            <a:extLst>
              <a:ext uri="{FF2B5EF4-FFF2-40B4-BE49-F238E27FC236}">
                <a16:creationId xmlns:a16="http://schemas.microsoft.com/office/drawing/2014/main" id="{2D7957A9-CF4A-4FD6-84D8-9CA19A006F43}"/>
              </a:ext>
            </a:extLst>
          </p:cNvPr>
          <p:cNvSpPr/>
          <p:nvPr userDrawn="1"/>
        </p:nvSpPr>
        <p:spPr>
          <a:xfrm>
            <a:off x="0" y="2202511"/>
            <a:ext cx="12192000" cy="3969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10515600" cy="1054127"/>
          </a:xfrm>
        </p:spPr>
        <p:txBody>
          <a:body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838200" y="2663686"/>
            <a:ext cx="10515600" cy="3077155"/>
          </a:xfrm>
        </p:spPr>
        <p:txBody>
          <a:bodyPr/>
          <a:lstStyle/>
          <a:p>
            <a:endParaRPr lang="en-US"/>
          </a:p>
        </p:txBody>
      </p:sp>
      <p:sp>
        <p:nvSpPr>
          <p:cNvPr id="20" name="Slide Number Placeholder 4">
            <a:extLst>
              <a:ext uri="{FF2B5EF4-FFF2-40B4-BE49-F238E27FC236}">
                <a16:creationId xmlns:a16="http://schemas.microsoft.com/office/drawing/2014/main" id="{B65F330A-D1F4-4FB5-BB01-F185461CA1B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40219181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013431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7" name="Rectangle 16">
            <a:extLst>
              <a:ext uri="{FF2B5EF4-FFF2-40B4-BE49-F238E27FC236}">
                <a16:creationId xmlns:a16="http://schemas.microsoft.com/office/drawing/2014/main" id="{B16B9C26-E90D-4349-A823-FD4E503CB881}"/>
              </a:ext>
            </a:extLst>
          </p:cNvPr>
          <p:cNvSpPr/>
          <p:nvPr userDrawn="1"/>
        </p:nvSpPr>
        <p:spPr>
          <a:xfrm>
            <a:off x="0" y="2202511"/>
            <a:ext cx="12192000" cy="3969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10515600" cy="1054127"/>
          </a:xfrm>
        </p:spPr>
        <p:txBody>
          <a:bodyPr/>
          <a:lstStyle>
            <a:lvl1pPr>
              <a:defRPr/>
            </a:lvl1p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6210300" y="2708412"/>
            <a:ext cx="5143499" cy="2957886"/>
          </a:xfrm>
        </p:spPr>
        <p:txBody>
          <a:bodyPr/>
          <a:lstStyle/>
          <a:p>
            <a:endParaRPr lang="en-US"/>
          </a:p>
        </p:txBody>
      </p:sp>
      <p:sp>
        <p:nvSpPr>
          <p:cNvPr id="13" name="Chart Placeholder 3">
            <a:extLst>
              <a:ext uri="{FF2B5EF4-FFF2-40B4-BE49-F238E27FC236}">
                <a16:creationId xmlns:a16="http://schemas.microsoft.com/office/drawing/2014/main" id="{7048A711-B921-4306-90D3-1FDF9364209C}"/>
              </a:ext>
            </a:extLst>
          </p:cNvPr>
          <p:cNvSpPr>
            <a:spLocks noGrp="1"/>
          </p:cNvSpPr>
          <p:nvPr>
            <p:ph type="chart" sz="quarter" idx="13"/>
          </p:nvPr>
        </p:nvSpPr>
        <p:spPr>
          <a:xfrm>
            <a:off x="806918" y="2708412"/>
            <a:ext cx="5174782" cy="2957886"/>
          </a:xfrm>
        </p:spPr>
        <p:txBody>
          <a:bodyPr/>
          <a:lstStyle/>
          <a:p>
            <a:endParaRPr lang="en-US"/>
          </a:p>
        </p:txBody>
      </p:sp>
      <p:sp>
        <p:nvSpPr>
          <p:cNvPr id="14" name="Slide Number Placeholder 4">
            <a:extLst>
              <a:ext uri="{FF2B5EF4-FFF2-40B4-BE49-F238E27FC236}">
                <a16:creationId xmlns:a16="http://schemas.microsoft.com/office/drawing/2014/main" id="{B54B9D48-CAB9-4E4F-B63F-4C9D642CCC4B}"/>
              </a:ext>
            </a:extLst>
          </p:cNvPr>
          <p:cNvSpPr>
            <a:spLocks noGrp="1"/>
          </p:cNvSpPr>
          <p:nvPr>
            <p:ph type="sldNum" sz="quarter" idx="14"/>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4839805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632029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6" name="Rectangle 15">
            <a:extLst>
              <a:ext uri="{FF2B5EF4-FFF2-40B4-BE49-F238E27FC236}">
                <a16:creationId xmlns:a16="http://schemas.microsoft.com/office/drawing/2014/main" id="{EB3498FB-F8A7-4078-A087-AD1C8C95AD8A}"/>
              </a:ext>
            </a:extLst>
          </p:cNvPr>
          <p:cNvSpPr/>
          <p:nvPr userDrawn="1"/>
        </p:nvSpPr>
        <p:spPr>
          <a:xfrm>
            <a:off x="0" y="2202511"/>
            <a:ext cx="12192000" cy="3969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10515600" cy="1054127"/>
          </a:xfrm>
        </p:spPr>
        <p:txBody>
          <a:body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4457700" y="2612003"/>
            <a:ext cx="3276600" cy="3150704"/>
          </a:xfrm>
        </p:spPr>
        <p:txBody>
          <a:bodyPr/>
          <a:lstStyle/>
          <a:p>
            <a:endParaRPr lang="en-US"/>
          </a:p>
        </p:txBody>
      </p:sp>
      <p:sp>
        <p:nvSpPr>
          <p:cNvPr id="13" name="Chart Placeholder 3">
            <a:extLst>
              <a:ext uri="{FF2B5EF4-FFF2-40B4-BE49-F238E27FC236}">
                <a16:creationId xmlns:a16="http://schemas.microsoft.com/office/drawing/2014/main" id="{7048A711-B921-4306-90D3-1FDF9364209C}"/>
              </a:ext>
            </a:extLst>
          </p:cNvPr>
          <p:cNvSpPr>
            <a:spLocks noGrp="1"/>
          </p:cNvSpPr>
          <p:nvPr>
            <p:ph type="chart" sz="quarter" idx="13"/>
          </p:nvPr>
        </p:nvSpPr>
        <p:spPr>
          <a:xfrm>
            <a:off x="838200" y="2612003"/>
            <a:ext cx="3390900" cy="3150704"/>
          </a:xfrm>
        </p:spPr>
        <p:txBody>
          <a:bodyPr/>
          <a:lstStyle/>
          <a:p>
            <a:endParaRPr lang="en-US"/>
          </a:p>
        </p:txBody>
      </p:sp>
      <p:sp>
        <p:nvSpPr>
          <p:cNvPr id="14" name="Chart Placeholder 3">
            <a:extLst>
              <a:ext uri="{FF2B5EF4-FFF2-40B4-BE49-F238E27FC236}">
                <a16:creationId xmlns:a16="http://schemas.microsoft.com/office/drawing/2014/main" id="{AF558914-EDDB-4BEF-81BF-3077CD5C4955}"/>
              </a:ext>
            </a:extLst>
          </p:cNvPr>
          <p:cNvSpPr>
            <a:spLocks noGrp="1"/>
          </p:cNvSpPr>
          <p:nvPr>
            <p:ph type="chart" sz="quarter" idx="14"/>
          </p:nvPr>
        </p:nvSpPr>
        <p:spPr>
          <a:xfrm>
            <a:off x="7962900" y="2612003"/>
            <a:ext cx="3390900" cy="3150704"/>
          </a:xfrm>
        </p:spPr>
        <p:txBody>
          <a:bodyPr/>
          <a:lstStyle/>
          <a:p>
            <a:endParaRPr lang="en-US"/>
          </a:p>
        </p:txBody>
      </p:sp>
      <p:sp>
        <p:nvSpPr>
          <p:cNvPr id="15" name="Slide Number Placeholder 4">
            <a:extLst>
              <a:ext uri="{FF2B5EF4-FFF2-40B4-BE49-F238E27FC236}">
                <a16:creationId xmlns:a16="http://schemas.microsoft.com/office/drawing/2014/main" id="{9368823E-5B3B-4630-8848-17D5082D8979}"/>
              </a:ext>
            </a:extLst>
          </p:cNvPr>
          <p:cNvSpPr>
            <a:spLocks noGrp="1"/>
          </p:cNvSpPr>
          <p:nvPr>
            <p:ph type="sldNum" sz="quarter" idx="15"/>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3706390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Chart">
    <p:bg>
      <p:bgPr>
        <a:solidFill>
          <a:schemeClr val="accent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735639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5200152" y="723900"/>
            <a:ext cx="6153647" cy="5448300"/>
          </a:xfrm>
        </p:spPr>
        <p:txBody>
          <a:bodyPr/>
          <a:lstStyle/>
          <a:p>
            <a:endParaRPr lang="en-US"/>
          </a:p>
        </p:txBody>
      </p:sp>
      <p:sp>
        <p:nvSpPr>
          <p:cNvPr id="13" name="Slide Number Placeholder 4">
            <a:extLst>
              <a:ext uri="{FF2B5EF4-FFF2-40B4-BE49-F238E27FC236}">
                <a16:creationId xmlns:a16="http://schemas.microsoft.com/office/drawing/2014/main" id="{F774B5F9-4EF5-4AA3-8D71-E3F394E4E418}"/>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a:p>
        </p:txBody>
      </p:sp>
      <p:sp>
        <p:nvSpPr>
          <p:cNvPr id="15" name="Freeform: Shape 14">
            <a:extLst>
              <a:ext uri="{FF2B5EF4-FFF2-40B4-BE49-F238E27FC236}">
                <a16:creationId xmlns:a16="http://schemas.microsoft.com/office/drawing/2014/main" id="{300F1E2B-891F-47CC-B753-6F3BFA633D22}"/>
              </a:ext>
            </a:extLst>
          </p:cNvPr>
          <p:cNvSpPr/>
          <p:nvPr userDrawn="1"/>
        </p:nvSpPr>
        <p:spPr>
          <a:xfrm>
            <a:off x="0" y="0"/>
            <a:ext cx="3412199" cy="3483429"/>
          </a:xfrm>
          <a:custGeom>
            <a:avLst/>
            <a:gdLst>
              <a:gd name="connsiteX0" fmla="*/ 1601424 w 2476506"/>
              <a:gd name="connsiteY0" fmla="*/ 0 h 2528203"/>
              <a:gd name="connsiteX1" fmla="*/ 2464176 w 2476506"/>
              <a:gd name="connsiteY1" fmla="*/ 0 h 2528203"/>
              <a:gd name="connsiteX2" fmla="*/ 2465069 w 2476506"/>
              <a:gd name="connsiteY2" fmla="*/ 6007 h 2528203"/>
              <a:gd name="connsiteX3" fmla="*/ 2476506 w 2476506"/>
              <a:gd name="connsiteY3" fmla="*/ 239966 h 2528203"/>
              <a:gd name="connsiteX4" fmla="*/ 242184 w 2476506"/>
              <a:gd name="connsiteY4" fmla="*/ 2528203 h 2528203"/>
              <a:gd name="connsiteX5" fmla="*/ 13737 w 2476506"/>
              <a:gd name="connsiteY5" fmla="*/ 2516389 h 2528203"/>
              <a:gd name="connsiteX6" fmla="*/ 0 w 2476506"/>
              <a:gd name="connsiteY6" fmla="*/ 2514242 h 2528203"/>
              <a:gd name="connsiteX7" fmla="*/ 0 w 2476506"/>
              <a:gd name="connsiteY7" fmla="*/ 1630586 h 2528203"/>
              <a:gd name="connsiteX8" fmla="*/ 101075 w 2476506"/>
              <a:gd name="connsiteY8" fmla="*/ 1646387 h 2528203"/>
              <a:gd name="connsiteX9" fmla="*/ 242184 w 2476506"/>
              <a:gd name="connsiteY9" fmla="*/ 1653687 h 2528203"/>
              <a:gd name="connsiteX10" fmla="*/ 1622766 w 2476506"/>
              <a:gd name="connsiteY10" fmla="*/ 239966 h 2528203"/>
              <a:gd name="connsiteX11" fmla="*/ 1615642 w 2476506"/>
              <a:gd name="connsiteY11" fmla="*/ 95430 h 2528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6" h="2528203">
                <a:moveTo>
                  <a:pt x="1601424" y="0"/>
                </a:moveTo>
                <a:lnTo>
                  <a:pt x="2464176" y="0"/>
                </a:lnTo>
                <a:lnTo>
                  <a:pt x="2465069" y="6007"/>
                </a:lnTo>
                <a:cubicBezTo>
                  <a:pt x="2472666" y="82931"/>
                  <a:pt x="2476541" y="160981"/>
                  <a:pt x="2476506" y="239966"/>
                </a:cubicBezTo>
                <a:cubicBezTo>
                  <a:pt x="2476506" y="1503721"/>
                  <a:pt x="1476172" y="2528203"/>
                  <a:pt x="242184" y="2528203"/>
                </a:cubicBezTo>
                <a:cubicBezTo>
                  <a:pt x="165060" y="2528203"/>
                  <a:pt x="88849" y="2524201"/>
                  <a:pt x="13737" y="2516389"/>
                </a:cubicBezTo>
                <a:lnTo>
                  <a:pt x="0" y="2514242"/>
                </a:lnTo>
                <a:lnTo>
                  <a:pt x="0" y="1630586"/>
                </a:lnTo>
                <a:lnTo>
                  <a:pt x="101075" y="1646387"/>
                </a:lnTo>
                <a:cubicBezTo>
                  <a:pt x="147473" y="1651214"/>
                  <a:pt x="194547" y="1653687"/>
                  <a:pt x="242184" y="1653687"/>
                </a:cubicBezTo>
                <a:cubicBezTo>
                  <a:pt x="1004936" y="1653687"/>
                  <a:pt x="1622766" y="1020687"/>
                  <a:pt x="1622766" y="239966"/>
                </a:cubicBezTo>
                <a:cubicBezTo>
                  <a:pt x="1622766" y="191171"/>
                  <a:pt x="1620353" y="142952"/>
                  <a:pt x="1615642" y="95430"/>
                </a:cubicBezTo>
                <a:close/>
              </a:path>
            </a:pathLst>
          </a:custGeom>
          <a:solidFill>
            <a:schemeClr val="accent3">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3390900" cy="3296395"/>
          </a:xfrm>
        </p:spPr>
        <p:txBody>
          <a:bodyPr anchor="t"/>
          <a:lstStyle>
            <a:lvl1pPr>
              <a:defRPr>
                <a:solidFill>
                  <a:schemeClr val="bg1"/>
                </a:solidFill>
              </a:defRPr>
            </a:lvl1pPr>
          </a:lstStyle>
          <a:p>
            <a:r>
              <a:rPr lang="en-US"/>
              <a:t>Title Chart</a:t>
            </a:r>
          </a:p>
        </p:txBody>
      </p:sp>
    </p:spTree>
    <p:extLst>
      <p:ext uri="{BB962C8B-B14F-4D97-AF65-F5344CB8AC3E}">
        <p14:creationId xmlns:p14="http://schemas.microsoft.com/office/powerpoint/2010/main" val="2151319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hart">
    <p:bg>
      <p:bgPr>
        <a:solidFill>
          <a:schemeClr val="accent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412919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3" name="Rectangle 2">
            <a:extLst>
              <a:ext uri="{FF2B5EF4-FFF2-40B4-BE49-F238E27FC236}">
                <a16:creationId xmlns:a16="http://schemas.microsoft.com/office/drawing/2014/main" id="{982EE070-8447-4BF8-BCAB-BAE87F583F9A}"/>
              </a:ext>
            </a:extLst>
          </p:cNvPr>
          <p:cNvSpPr/>
          <p:nvPr userDrawn="1"/>
        </p:nvSpPr>
        <p:spPr>
          <a:xfrm>
            <a:off x="4457700" y="3432412"/>
            <a:ext cx="7734300" cy="34255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0DAF48C-6E3B-4C2E-AB78-15301150B49B}"/>
              </a:ext>
            </a:extLst>
          </p:cNvPr>
          <p:cNvSpPr/>
          <p:nvPr userDrawn="1"/>
        </p:nvSpPr>
        <p:spPr>
          <a:xfrm>
            <a:off x="4457700" y="-1"/>
            <a:ext cx="7734300" cy="34733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3390900" cy="3296395"/>
          </a:xfrm>
        </p:spPr>
        <p:txBody>
          <a:bodyPr anchor="t"/>
          <a:lstStyle>
            <a:lvl1pPr>
              <a:defRPr>
                <a:solidFill>
                  <a:schemeClr val="bg1"/>
                </a:solidFill>
              </a:defRPr>
            </a:lvl1p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5247862" y="723901"/>
            <a:ext cx="6105938" cy="2346845"/>
          </a:xfrm>
        </p:spPr>
        <p:txBody>
          <a:bodyPr/>
          <a:lstStyle/>
          <a:p>
            <a:endParaRPr lang="en-US"/>
          </a:p>
        </p:txBody>
      </p:sp>
      <p:sp>
        <p:nvSpPr>
          <p:cNvPr id="13" name="Chart Placeholder 3">
            <a:extLst>
              <a:ext uri="{FF2B5EF4-FFF2-40B4-BE49-F238E27FC236}">
                <a16:creationId xmlns:a16="http://schemas.microsoft.com/office/drawing/2014/main" id="{81955327-4B49-48FF-B50A-72BD8BDDE4C8}"/>
              </a:ext>
            </a:extLst>
          </p:cNvPr>
          <p:cNvSpPr>
            <a:spLocks noGrp="1"/>
          </p:cNvSpPr>
          <p:nvPr>
            <p:ph type="chart" sz="quarter" idx="13"/>
          </p:nvPr>
        </p:nvSpPr>
        <p:spPr>
          <a:xfrm>
            <a:off x="5247862" y="3889612"/>
            <a:ext cx="6105938" cy="2282588"/>
          </a:xfrm>
        </p:spPr>
        <p:txBody>
          <a:bodyPr/>
          <a:lstStyle/>
          <a:p>
            <a:endParaRPr lang="en-US"/>
          </a:p>
        </p:txBody>
      </p:sp>
      <p:sp>
        <p:nvSpPr>
          <p:cNvPr id="14" name="Slide Number Placeholder 4">
            <a:extLst>
              <a:ext uri="{FF2B5EF4-FFF2-40B4-BE49-F238E27FC236}">
                <a16:creationId xmlns:a16="http://schemas.microsoft.com/office/drawing/2014/main" id="{02DA2DB2-0F75-424E-A015-267EF955B6D4}"/>
              </a:ext>
            </a:extLst>
          </p:cNvPr>
          <p:cNvSpPr>
            <a:spLocks noGrp="1"/>
          </p:cNvSpPr>
          <p:nvPr>
            <p:ph type="sldNum" sz="quarter" idx="14"/>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3949483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1729156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904522C1-D012-42A2-AFC4-F0F717E734AF}"/>
              </a:ext>
            </a:extLst>
          </p:cNvPr>
          <p:cNvSpPr/>
          <p:nvPr userDrawn="1"/>
        </p:nvSpPr>
        <p:spPr>
          <a:xfrm>
            <a:off x="5208104" y="0"/>
            <a:ext cx="6983896"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5"/>
            <a:ext cx="3390900" cy="1777442"/>
          </a:xfrm>
        </p:spPr>
        <p:txBody>
          <a:bodyPr anchor="t"/>
          <a:lstStyle>
            <a:lvl1pPr>
              <a:defRPr>
                <a:solidFill>
                  <a:schemeClr val="accent1"/>
                </a:solidFill>
              </a:defRPr>
            </a:lvl1p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5981700" y="723901"/>
            <a:ext cx="5372099" cy="3013528"/>
          </a:xfrm>
        </p:spPr>
        <p:txBody>
          <a:bodyPr/>
          <a:lstStyle/>
          <a:p>
            <a:endParaRPr lang="en-US"/>
          </a:p>
        </p:txBody>
      </p:sp>
      <p:sp>
        <p:nvSpPr>
          <p:cNvPr id="6" name="Table Placeholder 5">
            <a:extLst>
              <a:ext uri="{FF2B5EF4-FFF2-40B4-BE49-F238E27FC236}">
                <a16:creationId xmlns:a16="http://schemas.microsoft.com/office/drawing/2014/main" id="{97B86655-1229-4102-A789-E546668AE8AE}"/>
              </a:ext>
            </a:extLst>
          </p:cNvPr>
          <p:cNvSpPr>
            <a:spLocks noGrp="1"/>
          </p:cNvSpPr>
          <p:nvPr>
            <p:ph type="tbl" sz="quarter" idx="13"/>
          </p:nvPr>
        </p:nvSpPr>
        <p:spPr>
          <a:xfrm>
            <a:off x="4457700" y="4463142"/>
            <a:ext cx="6896100" cy="1709057"/>
          </a:xfrm>
        </p:spPr>
        <p:txBody>
          <a:bodyPr/>
          <a:lstStyle/>
          <a:p>
            <a:endParaRPr lang="en-US"/>
          </a:p>
        </p:txBody>
      </p:sp>
      <p:sp>
        <p:nvSpPr>
          <p:cNvPr id="16" name="Slide Number Placeholder 4">
            <a:extLst>
              <a:ext uri="{FF2B5EF4-FFF2-40B4-BE49-F238E27FC236}">
                <a16:creationId xmlns:a16="http://schemas.microsoft.com/office/drawing/2014/main" id="{FF85FC8A-AA30-497A-84B3-8CC1ED0086FE}"/>
              </a:ext>
            </a:extLst>
          </p:cNvPr>
          <p:cNvSpPr>
            <a:spLocks noGrp="1"/>
          </p:cNvSpPr>
          <p:nvPr>
            <p:ph type="sldNum" sz="quarter" idx="14"/>
          </p:nvPr>
        </p:nvSpPr>
        <p:spPr>
          <a:xfrm>
            <a:off x="10564238" y="6001967"/>
            <a:ext cx="789562" cy="690326"/>
          </a:xfrm>
        </p:spPr>
        <p:txBody>
          <a:bodyPr/>
          <a:lstStyle/>
          <a:p>
            <a:fld id="{A1471D42-392E-4D14-982B-D9D765EA1509}" type="slidenum">
              <a:rPr lang="en-US" smtClean="0"/>
              <a:t>‹#›</a:t>
            </a:fld>
            <a:endParaRPr lang="en-US"/>
          </a:p>
        </p:txBody>
      </p:sp>
      <p:sp>
        <p:nvSpPr>
          <p:cNvPr id="18" name="Text Placeholder 16">
            <a:extLst>
              <a:ext uri="{FF2B5EF4-FFF2-40B4-BE49-F238E27FC236}">
                <a16:creationId xmlns:a16="http://schemas.microsoft.com/office/drawing/2014/main" id="{B8581E84-EAE0-4640-8A25-77EB6A0D3C2C}"/>
              </a:ext>
            </a:extLst>
          </p:cNvPr>
          <p:cNvSpPr>
            <a:spLocks noGrp="1"/>
          </p:cNvSpPr>
          <p:nvPr>
            <p:ph type="body" sz="quarter" idx="15" hasCustomPrompt="1"/>
          </p:nvPr>
        </p:nvSpPr>
        <p:spPr>
          <a:xfrm>
            <a:off x="838200" y="2773590"/>
            <a:ext cx="2635155" cy="3398610"/>
          </a:xfrm>
        </p:spPr>
        <p:txBody>
          <a:bodyPr>
            <a:normAutofit/>
          </a:bodyPr>
          <a:lstStyle>
            <a:lvl1pPr marL="0" indent="0">
              <a:buNone/>
              <a:defRPr sz="2000"/>
            </a:lvl1pPr>
          </a:lstStyle>
          <a:p>
            <a:pPr lvl="0"/>
            <a:r>
              <a:rPr lang="en-US"/>
              <a:t>Text</a:t>
            </a:r>
          </a:p>
        </p:txBody>
      </p:sp>
    </p:spTree>
    <p:extLst>
      <p:ext uri="{BB962C8B-B14F-4D97-AF65-F5344CB8AC3E}">
        <p14:creationId xmlns:p14="http://schemas.microsoft.com/office/powerpoint/2010/main" val="33080278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12735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Poppins ExtraBold" panose="00000900000000000000" pitchFamily="2" charset="0"/>
              <a:ea typeface="+mj-ea"/>
              <a:cs typeface="+mj-cs"/>
              <a:sym typeface="Poppins ExtraBold" panose="00000900000000000000" pitchFamily="2" charset="0"/>
            </a:endParaRPr>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10515600" cy="1216465"/>
          </a:xfrm>
        </p:spPr>
        <p:txBody>
          <a:bodyPr anchor="t"/>
          <a:lstStyle>
            <a:lvl1pPr>
              <a:defRPr>
                <a:solidFill>
                  <a:schemeClr val="accent1"/>
                </a:solidFill>
              </a:defRPr>
            </a:lvl1p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6" name="Freeform: Shape 15">
            <a:extLst>
              <a:ext uri="{FF2B5EF4-FFF2-40B4-BE49-F238E27FC236}">
                <a16:creationId xmlns:a16="http://schemas.microsoft.com/office/drawing/2014/main" id="{706F2C7E-71AD-4887-8193-04E6C2EBCB95}"/>
              </a:ext>
            </a:extLst>
          </p:cNvPr>
          <p:cNvSpPr/>
          <p:nvPr userDrawn="1"/>
        </p:nvSpPr>
        <p:spPr>
          <a:xfrm>
            <a:off x="4310106" y="1762584"/>
            <a:ext cx="7881895" cy="5095417"/>
          </a:xfrm>
          <a:custGeom>
            <a:avLst/>
            <a:gdLst>
              <a:gd name="connsiteX0" fmla="*/ 5870277 w 7881895"/>
              <a:gd name="connsiteY0" fmla="*/ 0 h 5095417"/>
              <a:gd name="connsiteX1" fmla="*/ 7640702 w 7881895"/>
              <a:gd name="connsiteY1" fmla="*/ 274016 h 5095417"/>
              <a:gd name="connsiteX2" fmla="*/ 7881895 w 7881895"/>
              <a:gd name="connsiteY2" fmla="*/ 357571 h 5095417"/>
              <a:gd name="connsiteX3" fmla="*/ 7881895 w 7881895"/>
              <a:gd name="connsiteY3" fmla="*/ 2944664 h 5095417"/>
              <a:gd name="connsiteX4" fmla="*/ 7623420 w 7881895"/>
              <a:gd name="connsiteY4" fmla="*/ 2783858 h 5095417"/>
              <a:gd name="connsiteX5" fmla="*/ 5870277 w 7881895"/>
              <a:gd name="connsiteY5" fmla="*/ 2329346 h 5095417"/>
              <a:gd name="connsiteX6" fmla="*/ 2358261 w 7881895"/>
              <a:gd name="connsiteY6" fmla="*/ 4975198 h 5095417"/>
              <a:gd name="connsiteX7" fmla="*/ 2324933 w 7881895"/>
              <a:gd name="connsiteY7" fmla="*/ 5095417 h 5095417"/>
              <a:gd name="connsiteX8" fmla="*/ 0 w 7881895"/>
              <a:gd name="connsiteY8" fmla="*/ 5095417 h 5095417"/>
              <a:gd name="connsiteX9" fmla="*/ 39904 w 7881895"/>
              <a:gd name="connsiteY9" fmla="*/ 4866572 h 5095417"/>
              <a:gd name="connsiteX10" fmla="*/ 5870277 w 7881895"/>
              <a:gd name="connsiteY10" fmla="*/ 0 h 509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81895" h="5095417">
                <a:moveTo>
                  <a:pt x="5870277" y="0"/>
                </a:moveTo>
                <a:cubicBezTo>
                  <a:pt x="6486839" y="0"/>
                  <a:pt x="7081467" y="95934"/>
                  <a:pt x="7640702" y="274016"/>
                </a:cubicBezTo>
                <a:lnTo>
                  <a:pt x="7881895" y="357571"/>
                </a:lnTo>
                <a:lnTo>
                  <a:pt x="7881895" y="2944664"/>
                </a:lnTo>
                <a:lnTo>
                  <a:pt x="7623420" y="2783858"/>
                </a:lnTo>
                <a:cubicBezTo>
                  <a:pt x="7102363" y="2493999"/>
                  <a:pt x="6505168" y="2329346"/>
                  <a:pt x="5870277" y="2329346"/>
                </a:cubicBezTo>
                <a:cubicBezTo>
                  <a:pt x="4219574" y="2329346"/>
                  <a:pt x="2823686" y="3442399"/>
                  <a:pt x="2358261" y="4975198"/>
                </a:cubicBezTo>
                <a:lnTo>
                  <a:pt x="2324933" y="5095417"/>
                </a:lnTo>
                <a:lnTo>
                  <a:pt x="0" y="5095417"/>
                </a:lnTo>
                <a:lnTo>
                  <a:pt x="39904" y="4866572"/>
                </a:lnTo>
                <a:cubicBezTo>
                  <a:pt x="594837" y="2089230"/>
                  <a:pt x="2994318" y="0"/>
                  <a:pt x="5870277"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a:p>
        </p:txBody>
      </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6210300" y="2019631"/>
            <a:ext cx="5143499" cy="3768916"/>
          </a:xfrm>
        </p:spPr>
        <p:txBody>
          <a:bodyPr/>
          <a:lstStyle/>
          <a:p>
            <a:endParaRPr lang="en-US"/>
          </a:p>
        </p:txBody>
      </p:sp>
      <p:sp>
        <p:nvSpPr>
          <p:cNvPr id="9" name="Text Placeholder 8">
            <a:extLst>
              <a:ext uri="{FF2B5EF4-FFF2-40B4-BE49-F238E27FC236}">
                <a16:creationId xmlns:a16="http://schemas.microsoft.com/office/drawing/2014/main" id="{E5D1D65E-D649-49A4-88AC-73DB1642DBD6}"/>
              </a:ext>
            </a:extLst>
          </p:cNvPr>
          <p:cNvSpPr>
            <a:spLocks noGrp="1"/>
          </p:cNvSpPr>
          <p:nvPr>
            <p:ph type="body" sz="quarter" idx="14" hasCustomPrompt="1"/>
          </p:nvPr>
        </p:nvSpPr>
        <p:spPr>
          <a:xfrm>
            <a:off x="838200" y="2623770"/>
            <a:ext cx="3619500" cy="2560638"/>
          </a:xfrm>
        </p:spPr>
        <p:txBody>
          <a:bodyPr lIns="91440" tIns="0" rIns="0" bIns="0" anchor="ctr">
            <a:noAutofit/>
          </a:bodyPr>
          <a:lstStyle>
            <a:lvl1pPr marL="0" indent="0">
              <a:lnSpc>
                <a:spcPct val="100000"/>
              </a:lnSpc>
              <a:buNone/>
              <a:defRPr sz="8800">
                <a:solidFill>
                  <a:schemeClr val="accent2"/>
                </a:solidFill>
                <a:latin typeface="+mj-lt"/>
              </a:defRPr>
            </a:lvl1pPr>
          </a:lstStyle>
          <a:p>
            <a:pPr lvl="0"/>
            <a:r>
              <a:rPr lang="en-US"/>
              <a:t>Data</a:t>
            </a:r>
          </a:p>
        </p:txBody>
      </p:sp>
    </p:spTree>
    <p:extLst>
      <p:ext uri="{BB962C8B-B14F-4D97-AF65-F5344CB8AC3E}">
        <p14:creationId xmlns:p14="http://schemas.microsoft.com/office/powerpoint/2010/main" val="261420356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1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408321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1" name="Freeform: Shape 20">
            <a:extLst>
              <a:ext uri="{FF2B5EF4-FFF2-40B4-BE49-F238E27FC236}">
                <a16:creationId xmlns:a16="http://schemas.microsoft.com/office/drawing/2014/main" id="{C7131C88-186B-442C-A676-9EF6CA7D8EBC}"/>
              </a:ext>
            </a:extLst>
          </p:cNvPr>
          <p:cNvSpPr/>
          <p:nvPr userDrawn="1"/>
        </p:nvSpPr>
        <p:spPr>
          <a:xfrm rot="5400000">
            <a:off x="6106297" y="2433099"/>
            <a:ext cx="4404306" cy="4424901"/>
          </a:xfrm>
          <a:custGeom>
            <a:avLst/>
            <a:gdLst>
              <a:gd name="connsiteX0" fmla="*/ 4630678 w 4630678"/>
              <a:gd name="connsiteY0" fmla="*/ 0 h 4652332"/>
              <a:gd name="connsiteX1" fmla="*/ 4630678 w 4630678"/>
              <a:gd name="connsiteY1" fmla="*/ 1813352 h 4652332"/>
              <a:gd name="connsiteX2" fmla="*/ 4337892 w 4630678"/>
              <a:gd name="connsiteY2" fmla="*/ 1828488 h 4652332"/>
              <a:gd name="connsiteX3" fmla="*/ 1771712 w 4630678"/>
              <a:gd name="connsiteY3" fmla="*/ 4593928 h 4652332"/>
              <a:gd name="connsiteX4" fmla="*/ 1770270 w 4630678"/>
              <a:gd name="connsiteY4" fmla="*/ 4652332 h 4652332"/>
              <a:gd name="connsiteX5" fmla="*/ 0 w 4630678"/>
              <a:gd name="connsiteY5" fmla="*/ 4652332 h 4652332"/>
              <a:gd name="connsiteX6" fmla="*/ 3746 w 4630678"/>
              <a:gd name="connsiteY6" fmla="*/ 4500604 h 4652332"/>
              <a:gd name="connsiteX7" fmla="*/ 4156985 w 4630678"/>
              <a:gd name="connsiteY7" fmla="*/ 24497 h 465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0678" h="4652332">
                <a:moveTo>
                  <a:pt x="4630678" y="0"/>
                </a:moveTo>
                <a:lnTo>
                  <a:pt x="4630678" y="1813352"/>
                </a:lnTo>
                <a:lnTo>
                  <a:pt x="4337892" y="1828488"/>
                </a:lnTo>
                <a:cubicBezTo>
                  <a:pt x="2942087" y="1973613"/>
                  <a:pt x="1843406" y="3145074"/>
                  <a:pt x="1771712" y="4593928"/>
                </a:cubicBezTo>
                <a:lnTo>
                  <a:pt x="1770270" y="4652332"/>
                </a:lnTo>
                <a:lnTo>
                  <a:pt x="0" y="4652332"/>
                </a:lnTo>
                <a:lnTo>
                  <a:pt x="3746" y="4500604"/>
                </a:lnTo>
                <a:cubicBezTo>
                  <a:pt x="119826" y="2155358"/>
                  <a:pt x="1898654" y="259378"/>
                  <a:pt x="4156985" y="24497"/>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36A8D0B3-B9C5-4116-A854-7A82CC762B05}"/>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3390900" cy="2962439"/>
          </a:xfrm>
        </p:spPr>
        <p:txBody>
          <a:bodyPr anchor="t"/>
          <a:lstStyle>
            <a:lvl1pPr>
              <a:defRPr>
                <a:solidFill>
                  <a:schemeClr val="bg1"/>
                </a:solidFill>
              </a:defRPr>
            </a:lvl1p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chemeClr val="bg1"/>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a:p>
        </p:txBody>
      </p:sp>
      <p:sp>
        <p:nvSpPr>
          <p:cNvPr id="16" name="Chart Placeholder 3">
            <a:extLst>
              <a:ext uri="{FF2B5EF4-FFF2-40B4-BE49-F238E27FC236}">
                <a16:creationId xmlns:a16="http://schemas.microsoft.com/office/drawing/2014/main" id="{62DD3A9B-F3AD-43B4-823C-B0008CAF7ED3}"/>
              </a:ext>
            </a:extLst>
          </p:cNvPr>
          <p:cNvSpPr>
            <a:spLocks noGrp="1"/>
          </p:cNvSpPr>
          <p:nvPr>
            <p:ph type="chart" sz="quarter" idx="12"/>
          </p:nvPr>
        </p:nvSpPr>
        <p:spPr>
          <a:xfrm>
            <a:off x="6997148" y="1311965"/>
            <a:ext cx="4356651" cy="4317556"/>
          </a:xfrm>
        </p:spPr>
        <p:txBody>
          <a:bodyPr/>
          <a:lstStyle/>
          <a:p>
            <a:endParaRPr lang="en-US"/>
          </a:p>
        </p:txBody>
      </p:sp>
      <p:sp>
        <p:nvSpPr>
          <p:cNvPr id="20" name="Freeform: Shape 19">
            <a:extLst>
              <a:ext uri="{FF2B5EF4-FFF2-40B4-BE49-F238E27FC236}">
                <a16:creationId xmlns:a16="http://schemas.microsoft.com/office/drawing/2014/main" id="{59330F67-9ED9-49EE-929E-03E72670F3EA}"/>
              </a:ext>
            </a:extLst>
          </p:cNvPr>
          <p:cNvSpPr/>
          <p:nvPr userDrawn="1"/>
        </p:nvSpPr>
        <p:spPr>
          <a:xfrm>
            <a:off x="1691694" y="2433098"/>
            <a:ext cx="4404306" cy="4424901"/>
          </a:xfrm>
          <a:custGeom>
            <a:avLst/>
            <a:gdLst>
              <a:gd name="connsiteX0" fmla="*/ 4630678 w 4630678"/>
              <a:gd name="connsiteY0" fmla="*/ 0 h 4652332"/>
              <a:gd name="connsiteX1" fmla="*/ 4630678 w 4630678"/>
              <a:gd name="connsiteY1" fmla="*/ 1813352 h 4652332"/>
              <a:gd name="connsiteX2" fmla="*/ 4337892 w 4630678"/>
              <a:gd name="connsiteY2" fmla="*/ 1828488 h 4652332"/>
              <a:gd name="connsiteX3" fmla="*/ 1771712 w 4630678"/>
              <a:gd name="connsiteY3" fmla="*/ 4593928 h 4652332"/>
              <a:gd name="connsiteX4" fmla="*/ 1770270 w 4630678"/>
              <a:gd name="connsiteY4" fmla="*/ 4652332 h 4652332"/>
              <a:gd name="connsiteX5" fmla="*/ 0 w 4630678"/>
              <a:gd name="connsiteY5" fmla="*/ 4652332 h 4652332"/>
              <a:gd name="connsiteX6" fmla="*/ 3746 w 4630678"/>
              <a:gd name="connsiteY6" fmla="*/ 4500604 h 4652332"/>
              <a:gd name="connsiteX7" fmla="*/ 4156985 w 4630678"/>
              <a:gd name="connsiteY7" fmla="*/ 24497 h 465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0678" h="4652332">
                <a:moveTo>
                  <a:pt x="4630678" y="0"/>
                </a:moveTo>
                <a:lnTo>
                  <a:pt x="4630678" y="1813352"/>
                </a:lnTo>
                <a:lnTo>
                  <a:pt x="4337892" y="1828488"/>
                </a:lnTo>
                <a:cubicBezTo>
                  <a:pt x="2942087" y="1973613"/>
                  <a:pt x="1843406" y="3145074"/>
                  <a:pt x="1771712" y="4593928"/>
                </a:cubicBezTo>
                <a:lnTo>
                  <a:pt x="1770270" y="4652332"/>
                </a:lnTo>
                <a:lnTo>
                  <a:pt x="0" y="4652332"/>
                </a:lnTo>
                <a:lnTo>
                  <a:pt x="3746" y="4500604"/>
                </a:lnTo>
                <a:cubicBezTo>
                  <a:pt x="119826" y="2155358"/>
                  <a:pt x="1898654" y="259378"/>
                  <a:pt x="4156985" y="2449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16">
            <a:extLst>
              <a:ext uri="{FF2B5EF4-FFF2-40B4-BE49-F238E27FC236}">
                <a16:creationId xmlns:a16="http://schemas.microsoft.com/office/drawing/2014/main" id="{88F92985-2AD2-44CE-83B8-55AA9E725C7C}"/>
              </a:ext>
            </a:extLst>
          </p:cNvPr>
          <p:cNvSpPr>
            <a:spLocks noGrp="1"/>
          </p:cNvSpPr>
          <p:nvPr>
            <p:ph type="body" sz="quarter" idx="15" hasCustomPrompt="1"/>
          </p:nvPr>
        </p:nvSpPr>
        <p:spPr>
          <a:xfrm>
            <a:off x="838200" y="2773590"/>
            <a:ext cx="3390900" cy="2386239"/>
          </a:xfrm>
        </p:spPr>
        <p:txBody>
          <a:bodyPr>
            <a:normAutofit/>
          </a:bodyPr>
          <a:lstStyle>
            <a:lvl1pPr marL="0" indent="0">
              <a:buNone/>
              <a:defRPr sz="2000">
                <a:solidFill>
                  <a:schemeClr val="bg1"/>
                </a:solidFill>
              </a:defRPr>
            </a:lvl1pPr>
          </a:lstStyle>
          <a:p>
            <a:pPr lvl="0"/>
            <a:r>
              <a:rPr lang="en-US"/>
              <a:t>Text</a:t>
            </a:r>
          </a:p>
        </p:txBody>
      </p:sp>
    </p:spTree>
    <p:extLst>
      <p:ext uri="{BB962C8B-B14F-4D97-AF65-F5344CB8AC3E}">
        <p14:creationId xmlns:p14="http://schemas.microsoft.com/office/powerpoint/2010/main" val="41328673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3">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887740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Section Title</a:t>
            </a:r>
          </a:p>
        </p:txBody>
      </p:sp>
      <p:sp>
        <p:nvSpPr>
          <p:cNvPr id="18" name="Freeform: Shape 17">
            <a:extLst>
              <a:ext uri="{FF2B5EF4-FFF2-40B4-BE49-F238E27FC236}">
                <a16:creationId xmlns:a16="http://schemas.microsoft.com/office/drawing/2014/main" id="{FE7C006C-C0E0-4482-AC7F-F81FF3BEF348}"/>
              </a:ext>
            </a:extLst>
          </p:cNvPr>
          <p:cNvSpPr/>
          <p:nvPr userDrawn="1"/>
        </p:nvSpPr>
        <p:spPr>
          <a:xfrm>
            <a:off x="8226453" y="0"/>
            <a:ext cx="3431948" cy="6858000"/>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a:p>
        </p:txBody>
      </p:sp>
      <p:sp>
        <p:nvSpPr>
          <p:cNvPr id="27" name="Text Placeholder 19">
            <a:extLst>
              <a:ext uri="{FF2B5EF4-FFF2-40B4-BE49-F238E27FC236}">
                <a16:creationId xmlns:a16="http://schemas.microsoft.com/office/drawing/2014/main" id="{31D63194-B773-4B19-A8E4-6A7BFC8F58E8}"/>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Tree>
    <p:extLst>
      <p:ext uri="{BB962C8B-B14F-4D97-AF65-F5344CB8AC3E}">
        <p14:creationId xmlns:p14="http://schemas.microsoft.com/office/powerpoint/2010/main" val="38859188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2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489245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Poppins ExtraBold" panose="00000900000000000000" pitchFamily="2" charset="0"/>
              <a:ea typeface="+mj-ea"/>
              <a:cs typeface="+mj-cs"/>
              <a:sym typeface="Poppins ExtraBold" panose="00000900000000000000" pitchFamily="2" charset="0"/>
            </a:endParaRPr>
          </a:p>
        </p:txBody>
      </p:sp>
      <p:sp>
        <p:nvSpPr>
          <p:cNvPr id="3" name="Rectangle 2">
            <a:extLst>
              <a:ext uri="{FF2B5EF4-FFF2-40B4-BE49-F238E27FC236}">
                <a16:creationId xmlns:a16="http://schemas.microsoft.com/office/drawing/2014/main" id="{36A8D0B3-B9C5-4116-A854-7A82CC762B05}"/>
              </a:ext>
            </a:extLst>
          </p:cNvPr>
          <p:cNvSpPr/>
          <p:nvPr userDrawn="1"/>
        </p:nvSpPr>
        <p:spPr>
          <a:xfrm>
            <a:off x="0" y="3427012"/>
            <a:ext cx="12192000" cy="34309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5143500" cy="2496625"/>
          </a:xfrm>
        </p:spPr>
        <p:txBody>
          <a:bodyPr anchor="t"/>
          <a:lstStyle>
            <a:lvl1pPr>
              <a:defRPr>
                <a:solidFill>
                  <a:schemeClr val="accent1"/>
                </a:solidFill>
              </a:defRPr>
            </a:lvl1pPr>
          </a:lstStyle>
          <a:p>
            <a:r>
              <a:rPr lang="en-US"/>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chemeClr val="bg1"/>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lvl1pPr>
              <a:defRPr>
                <a:solidFill>
                  <a:schemeClr val="bg1"/>
                </a:solidFill>
              </a:defRPr>
            </a:lvl1pPr>
          </a:lstStyle>
          <a:p>
            <a:fld id="{A1471D42-392E-4D14-982B-D9D765EA1509}" type="slidenum">
              <a:rPr lang="en-US" smtClean="0"/>
              <a:pPr/>
              <a:t>‹#›</a:t>
            </a:fld>
            <a:endParaRPr lang="en-US"/>
          </a:p>
        </p:txBody>
      </p:sp>
      <p:sp>
        <p:nvSpPr>
          <p:cNvPr id="16" name="Chart Placeholder 3">
            <a:extLst>
              <a:ext uri="{FF2B5EF4-FFF2-40B4-BE49-F238E27FC236}">
                <a16:creationId xmlns:a16="http://schemas.microsoft.com/office/drawing/2014/main" id="{62DD3A9B-F3AD-43B4-823C-B0008CAF7ED3}"/>
              </a:ext>
            </a:extLst>
          </p:cNvPr>
          <p:cNvSpPr>
            <a:spLocks noGrp="1"/>
          </p:cNvSpPr>
          <p:nvPr>
            <p:ph type="chart" sz="quarter" idx="12"/>
          </p:nvPr>
        </p:nvSpPr>
        <p:spPr>
          <a:xfrm>
            <a:off x="6210300" y="723900"/>
            <a:ext cx="5143499" cy="5448300"/>
          </a:xfrm>
          <a:solidFill>
            <a:schemeClr val="bg1"/>
          </a:solidFill>
        </p:spPr>
        <p:txBody>
          <a:bodyPr/>
          <a:lstStyle/>
          <a:p>
            <a:endParaRPr lang="en-US"/>
          </a:p>
        </p:txBody>
      </p:sp>
      <p:sp>
        <p:nvSpPr>
          <p:cNvPr id="7" name="Text Placeholder 6">
            <a:extLst>
              <a:ext uri="{FF2B5EF4-FFF2-40B4-BE49-F238E27FC236}">
                <a16:creationId xmlns:a16="http://schemas.microsoft.com/office/drawing/2014/main" id="{97DD064E-109F-4F1B-81FE-1D65BA479DCC}"/>
              </a:ext>
            </a:extLst>
          </p:cNvPr>
          <p:cNvSpPr>
            <a:spLocks noGrp="1"/>
          </p:cNvSpPr>
          <p:nvPr>
            <p:ph type="body" sz="quarter" idx="14"/>
          </p:nvPr>
        </p:nvSpPr>
        <p:spPr>
          <a:xfrm>
            <a:off x="838200" y="3838575"/>
            <a:ext cx="3390900" cy="2333625"/>
          </a:xfrm>
        </p:spPr>
        <p:txBody>
          <a:bodyPr>
            <a:no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7994234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943715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Poppins ExtraBold" panose="00000900000000000000" pitchFamily="2" charset="0"/>
              <a:ea typeface="+mj-ea"/>
              <a:cs typeface="+mj-cs"/>
              <a:sym typeface="Poppins ExtraBold" panose="00000900000000000000" pitchFamily="2" charset="0"/>
            </a:endParaRPr>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10515600" cy="1346005"/>
          </a:xfrm>
        </p:spPr>
        <p:txBody>
          <a:bodyPr anchor="t"/>
          <a:lstStyle>
            <a:lvl1pPr>
              <a:defRPr>
                <a:solidFill>
                  <a:schemeClr val="accent1"/>
                </a:solidFill>
              </a:defRPr>
            </a:lvl1pPr>
          </a:lstStyle>
          <a:p>
            <a:r>
              <a:rPr lang="en-US"/>
              <a:t>Title Table</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6" name="Freeform: Shape 15">
            <a:extLst>
              <a:ext uri="{FF2B5EF4-FFF2-40B4-BE49-F238E27FC236}">
                <a16:creationId xmlns:a16="http://schemas.microsoft.com/office/drawing/2014/main" id="{706F2C7E-71AD-4887-8193-04E6C2EBCB95}"/>
              </a:ext>
            </a:extLst>
          </p:cNvPr>
          <p:cNvSpPr/>
          <p:nvPr userDrawn="1"/>
        </p:nvSpPr>
        <p:spPr>
          <a:xfrm flipH="1">
            <a:off x="0" y="1762584"/>
            <a:ext cx="7881895" cy="5095417"/>
          </a:xfrm>
          <a:custGeom>
            <a:avLst/>
            <a:gdLst>
              <a:gd name="connsiteX0" fmla="*/ 5870277 w 7881895"/>
              <a:gd name="connsiteY0" fmla="*/ 0 h 5095417"/>
              <a:gd name="connsiteX1" fmla="*/ 7640702 w 7881895"/>
              <a:gd name="connsiteY1" fmla="*/ 274016 h 5095417"/>
              <a:gd name="connsiteX2" fmla="*/ 7881895 w 7881895"/>
              <a:gd name="connsiteY2" fmla="*/ 357571 h 5095417"/>
              <a:gd name="connsiteX3" fmla="*/ 7881895 w 7881895"/>
              <a:gd name="connsiteY3" fmla="*/ 2944664 h 5095417"/>
              <a:gd name="connsiteX4" fmla="*/ 7623420 w 7881895"/>
              <a:gd name="connsiteY4" fmla="*/ 2783858 h 5095417"/>
              <a:gd name="connsiteX5" fmla="*/ 5870277 w 7881895"/>
              <a:gd name="connsiteY5" fmla="*/ 2329346 h 5095417"/>
              <a:gd name="connsiteX6" fmla="*/ 2358261 w 7881895"/>
              <a:gd name="connsiteY6" fmla="*/ 4975198 h 5095417"/>
              <a:gd name="connsiteX7" fmla="*/ 2324933 w 7881895"/>
              <a:gd name="connsiteY7" fmla="*/ 5095417 h 5095417"/>
              <a:gd name="connsiteX8" fmla="*/ 0 w 7881895"/>
              <a:gd name="connsiteY8" fmla="*/ 5095417 h 5095417"/>
              <a:gd name="connsiteX9" fmla="*/ 39904 w 7881895"/>
              <a:gd name="connsiteY9" fmla="*/ 4866572 h 5095417"/>
              <a:gd name="connsiteX10" fmla="*/ 5870277 w 7881895"/>
              <a:gd name="connsiteY10" fmla="*/ 0 h 509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81895" h="5095417">
                <a:moveTo>
                  <a:pt x="5870277" y="0"/>
                </a:moveTo>
                <a:cubicBezTo>
                  <a:pt x="6486839" y="0"/>
                  <a:pt x="7081467" y="95934"/>
                  <a:pt x="7640702" y="274016"/>
                </a:cubicBezTo>
                <a:lnTo>
                  <a:pt x="7881895" y="357571"/>
                </a:lnTo>
                <a:lnTo>
                  <a:pt x="7881895" y="2944664"/>
                </a:lnTo>
                <a:lnTo>
                  <a:pt x="7623420" y="2783858"/>
                </a:lnTo>
                <a:cubicBezTo>
                  <a:pt x="7102363" y="2493999"/>
                  <a:pt x="6505168" y="2329346"/>
                  <a:pt x="5870277" y="2329346"/>
                </a:cubicBezTo>
                <a:cubicBezTo>
                  <a:pt x="4219574" y="2329346"/>
                  <a:pt x="2823686" y="3442399"/>
                  <a:pt x="2358261" y="4975198"/>
                </a:cubicBezTo>
                <a:lnTo>
                  <a:pt x="2324933" y="5095417"/>
                </a:lnTo>
                <a:lnTo>
                  <a:pt x="0" y="5095417"/>
                </a:lnTo>
                <a:lnTo>
                  <a:pt x="39904" y="4866572"/>
                </a:lnTo>
                <a:cubicBezTo>
                  <a:pt x="594837" y="2089230"/>
                  <a:pt x="2994318" y="0"/>
                  <a:pt x="5870277"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a:p>
        </p:txBody>
      </p:sp>
      <p:sp>
        <p:nvSpPr>
          <p:cNvPr id="6" name="Table Placeholder 5">
            <a:extLst>
              <a:ext uri="{FF2B5EF4-FFF2-40B4-BE49-F238E27FC236}">
                <a16:creationId xmlns:a16="http://schemas.microsoft.com/office/drawing/2014/main" id="{7D664E7E-F4D0-4663-856C-A819AFED315A}"/>
              </a:ext>
            </a:extLst>
          </p:cNvPr>
          <p:cNvSpPr>
            <a:spLocks noGrp="1"/>
          </p:cNvSpPr>
          <p:nvPr>
            <p:ph type="tbl" sz="quarter" idx="14"/>
          </p:nvPr>
        </p:nvSpPr>
        <p:spPr>
          <a:xfrm>
            <a:off x="4457700" y="2282024"/>
            <a:ext cx="6896100" cy="3299792"/>
          </a:xfrm>
        </p:spPr>
        <p:txBody>
          <a:bodyPr/>
          <a:lstStyle/>
          <a:p>
            <a:endParaRPr lang="en-US"/>
          </a:p>
        </p:txBody>
      </p:sp>
      <p:sp>
        <p:nvSpPr>
          <p:cNvPr id="18" name="Text Placeholder 16">
            <a:extLst>
              <a:ext uri="{FF2B5EF4-FFF2-40B4-BE49-F238E27FC236}">
                <a16:creationId xmlns:a16="http://schemas.microsoft.com/office/drawing/2014/main" id="{79A7F854-7080-4102-B317-DBDEC414DC72}"/>
              </a:ext>
            </a:extLst>
          </p:cNvPr>
          <p:cNvSpPr>
            <a:spLocks noGrp="1"/>
          </p:cNvSpPr>
          <p:nvPr>
            <p:ph type="body" sz="quarter" idx="15" hasCustomPrompt="1"/>
          </p:nvPr>
        </p:nvSpPr>
        <p:spPr>
          <a:xfrm>
            <a:off x="838200" y="2271486"/>
            <a:ext cx="3390900" cy="3338285"/>
          </a:xfrm>
        </p:spPr>
        <p:txBody>
          <a:bodyPr>
            <a:normAutofit/>
          </a:bodyPr>
          <a:lstStyle>
            <a:lvl1pPr marL="0" indent="0">
              <a:buNone/>
              <a:defRPr sz="2000"/>
            </a:lvl1pPr>
          </a:lstStyle>
          <a:p>
            <a:pPr lvl="0"/>
            <a:r>
              <a:rPr lang="en-US"/>
              <a:t>Text</a:t>
            </a:r>
          </a:p>
        </p:txBody>
      </p:sp>
    </p:spTree>
    <p:extLst>
      <p:ext uri="{BB962C8B-B14F-4D97-AF65-F5344CB8AC3E}">
        <p14:creationId xmlns:p14="http://schemas.microsoft.com/office/powerpoint/2010/main" val="376647689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02">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920717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4662714" cy="1879043"/>
          </a:xfrm>
        </p:spPr>
        <p:txBody>
          <a:bodyPr anchor="t"/>
          <a:lstStyle>
            <a:lvl1pPr>
              <a:defRPr>
                <a:solidFill>
                  <a:schemeClr val="accent1"/>
                </a:solidFill>
              </a:defRPr>
            </a:lvl1pPr>
          </a:lstStyle>
          <a:p>
            <a:r>
              <a:rPr lang="en-US"/>
              <a:t>Title Table</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a:p>
        </p:txBody>
      </p:sp>
      <p:sp>
        <p:nvSpPr>
          <p:cNvPr id="16" name="Freeform: Shape 15">
            <a:extLst>
              <a:ext uri="{FF2B5EF4-FFF2-40B4-BE49-F238E27FC236}">
                <a16:creationId xmlns:a16="http://schemas.microsoft.com/office/drawing/2014/main" id="{114B2366-132C-489E-9650-A0063E6E4159}"/>
              </a:ext>
            </a:extLst>
          </p:cNvPr>
          <p:cNvSpPr/>
          <p:nvPr userDrawn="1"/>
        </p:nvSpPr>
        <p:spPr>
          <a:xfrm>
            <a:off x="1932232" y="3460806"/>
            <a:ext cx="8327933" cy="3397195"/>
          </a:xfrm>
          <a:custGeom>
            <a:avLst/>
            <a:gdLst>
              <a:gd name="connsiteX0" fmla="*/ 4163769 w 8327933"/>
              <a:gd name="connsiteY0" fmla="*/ 0 h 3397195"/>
              <a:gd name="connsiteX1" fmla="*/ 8301994 w 8327933"/>
              <a:gd name="connsiteY1" fmla="*/ 3281919 h 3397195"/>
              <a:gd name="connsiteX2" fmla="*/ 8327933 w 8327933"/>
              <a:gd name="connsiteY2" fmla="*/ 3397195 h 3397195"/>
              <a:gd name="connsiteX3" fmla="*/ 6622667 w 8327933"/>
              <a:gd name="connsiteY3" fmla="*/ 3397195 h 3397195"/>
              <a:gd name="connsiteX4" fmla="*/ 6596238 w 8327933"/>
              <a:gd name="connsiteY4" fmla="*/ 3323230 h 3397195"/>
              <a:gd name="connsiteX5" fmla="*/ 4163769 w 8327933"/>
              <a:gd name="connsiteY5" fmla="*/ 1672185 h 3397195"/>
              <a:gd name="connsiteX6" fmla="*/ 1731311 w 8327933"/>
              <a:gd name="connsiteY6" fmla="*/ 3323230 h 3397195"/>
              <a:gd name="connsiteX7" fmla="*/ 1704882 w 8327933"/>
              <a:gd name="connsiteY7" fmla="*/ 3397195 h 3397195"/>
              <a:gd name="connsiteX8" fmla="*/ 0 w 8327933"/>
              <a:gd name="connsiteY8" fmla="*/ 3397195 h 3397195"/>
              <a:gd name="connsiteX9" fmla="*/ 25979 w 8327933"/>
              <a:gd name="connsiteY9" fmla="*/ 3281919 h 3397195"/>
              <a:gd name="connsiteX10" fmla="*/ 4163769 w 8327933"/>
              <a:gd name="connsiteY10" fmla="*/ 0 h 3397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27933" h="3397195">
                <a:moveTo>
                  <a:pt x="4163769" y="0"/>
                </a:moveTo>
                <a:cubicBezTo>
                  <a:pt x="6155541" y="0"/>
                  <a:pt x="7828470" y="1394596"/>
                  <a:pt x="8301994" y="3281919"/>
                </a:cubicBezTo>
                <a:lnTo>
                  <a:pt x="8327933" y="3397195"/>
                </a:lnTo>
                <a:lnTo>
                  <a:pt x="6622667" y="3397195"/>
                </a:lnTo>
                <a:lnTo>
                  <a:pt x="6596238" y="3323230"/>
                </a:lnTo>
                <a:cubicBezTo>
                  <a:pt x="6195612" y="2353021"/>
                  <a:pt x="5257627" y="1672185"/>
                  <a:pt x="4163769" y="1672185"/>
                </a:cubicBezTo>
                <a:cubicBezTo>
                  <a:pt x="3069920" y="1672185"/>
                  <a:pt x="2131937" y="2353021"/>
                  <a:pt x="1731311" y="3323230"/>
                </a:cubicBezTo>
                <a:lnTo>
                  <a:pt x="1704882" y="3397195"/>
                </a:lnTo>
                <a:lnTo>
                  <a:pt x="0" y="3397195"/>
                </a:lnTo>
                <a:lnTo>
                  <a:pt x="25979" y="3281919"/>
                </a:lnTo>
                <a:cubicBezTo>
                  <a:pt x="500123" y="1394596"/>
                  <a:pt x="2172917" y="0"/>
                  <a:pt x="4163769" y="0"/>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6" name="Table Placeholder 5">
            <a:extLst>
              <a:ext uri="{FF2B5EF4-FFF2-40B4-BE49-F238E27FC236}">
                <a16:creationId xmlns:a16="http://schemas.microsoft.com/office/drawing/2014/main" id="{7D664E7E-F4D0-4663-856C-A819AFED315A}"/>
              </a:ext>
            </a:extLst>
          </p:cNvPr>
          <p:cNvSpPr>
            <a:spLocks noGrp="1"/>
          </p:cNvSpPr>
          <p:nvPr>
            <p:ph type="tbl" sz="quarter" idx="14"/>
          </p:nvPr>
        </p:nvSpPr>
        <p:spPr>
          <a:xfrm>
            <a:off x="838200" y="2685143"/>
            <a:ext cx="4662714" cy="3485243"/>
          </a:xfrm>
        </p:spPr>
        <p:txBody>
          <a:bodyPr/>
          <a:lstStyle>
            <a:lvl1pPr marL="0" indent="0">
              <a:buNone/>
              <a:defRPr/>
            </a:lvl1pPr>
          </a:lstStyle>
          <a:p>
            <a:endParaRPr lang="en-US"/>
          </a:p>
        </p:txBody>
      </p:sp>
      <p:sp>
        <p:nvSpPr>
          <p:cNvPr id="4" name="Picture Placeholder 3">
            <a:extLst>
              <a:ext uri="{FF2B5EF4-FFF2-40B4-BE49-F238E27FC236}">
                <a16:creationId xmlns:a16="http://schemas.microsoft.com/office/drawing/2014/main" id="{96598D4F-EFF7-4CFF-BDDC-2A2492766847}"/>
              </a:ext>
            </a:extLst>
          </p:cNvPr>
          <p:cNvSpPr>
            <a:spLocks noGrp="1"/>
          </p:cNvSpPr>
          <p:nvPr>
            <p:ph type="pic" sz="quarter" idx="15"/>
          </p:nvPr>
        </p:nvSpPr>
        <p:spPr>
          <a:xfrm>
            <a:off x="5981700" y="0"/>
            <a:ext cx="6210300" cy="6858000"/>
          </a:xfrm>
        </p:spPr>
        <p:txBody>
          <a:bodyPr/>
          <a:lstStyle/>
          <a:p>
            <a:endParaRPr lang="en-US"/>
          </a:p>
        </p:txBody>
      </p:sp>
    </p:spTree>
    <p:extLst>
      <p:ext uri="{BB962C8B-B14F-4D97-AF65-F5344CB8AC3E}">
        <p14:creationId xmlns:p14="http://schemas.microsoft.com/office/powerpoint/2010/main" val="16484710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03">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509056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4" name="Freeform: Shape 13">
            <a:extLst>
              <a:ext uri="{FF2B5EF4-FFF2-40B4-BE49-F238E27FC236}">
                <a16:creationId xmlns:a16="http://schemas.microsoft.com/office/drawing/2014/main" id="{24022FD4-9C49-4C23-8511-46B8CBBACB33}"/>
              </a:ext>
            </a:extLst>
          </p:cNvPr>
          <p:cNvSpPr/>
          <p:nvPr userDrawn="1"/>
        </p:nvSpPr>
        <p:spPr>
          <a:xfrm>
            <a:off x="3453517" y="759692"/>
            <a:ext cx="5284966" cy="5412508"/>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endParaRPr lang="en-US"/>
          </a:p>
        </p:txBody>
      </p:sp>
      <p:sp>
        <p:nvSpPr>
          <p:cNvPr id="3" name="Rectangle 2">
            <a:extLst>
              <a:ext uri="{FF2B5EF4-FFF2-40B4-BE49-F238E27FC236}">
                <a16:creationId xmlns:a16="http://schemas.microsoft.com/office/drawing/2014/main" id="{36A8D0B3-B9C5-4116-A854-7A82CC762B05}"/>
              </a:ext>
            </a:extLst>
          </p:cNvPr>
          <p:cNvSpPr/>
          <p:nvPr userDrawn="1"/>
        </p:nvSpPr>
        <p:spPr>
          <a:xfrm>
            <a:off x="6096000" y="0"/>
            <a:ext cx="6096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3390900" cy="2962439"/>
          </a:xfrm>
        </p:spPr>
        <p:txBody>
          <a:bodyPr anchor="t"/>
          <a:lstStyle>
            <a:lvl1pPr>
              <a:defRPr>
                <a:solidFill>
                  <a:schemeClr val="accent1"/>
                </a:solidFill>
              </a:defRPr>
            </a:lvl1pPr>
          </a:lstStyle>
          <a:p>
            <a:r>
              <a:rPr lang="en-US"/>
              <a:t>Title Table</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a:p>
        </p:txBody>
      </p:sp>
      <p:sp>
        <p:nvSpPr>
          <p:cNvPr id="6" name="Table Placeholder 5">
            <a:extLst>
              <a:ext uri="{FF2B5EF4-FFF2-40B4-BE49-F238E27FC236}">
                <a16:creationId xmlns:a16="http://schemas.microsoft.com/office/drawing/2014/main" id="{7D664E7E-F4D0-4663-856C-A819AFED315A}"/>
              </a:ext>
            </a:extLst>
          </p:cNvPr>
          <p:cNvSpPr>
            <a:spLocks noGrp="1"/>
          </p:cNvSpPr>
          <p:nvPr>
            <p:ph type="tbl" sz="quarter" idx="14"/>
          </p:nvPr>
        </p:nvSpPr>
        <p:spPr>
          <a:xfrm>
            <a:off x="6806316" y="723900"/>
            <a:ext cx="4547483" cy="5448300"/>
          </a:xfrm>
        </p:spPr>
        <p:txBody>
          <a:bodyPr/>
          <a:lstStyle>
            <a:lvl1pPr marL="0" indent="0">
              <a:buNone/>
              <a:defRPr/>
            </a:lvl1pPr>
          </a:lstStyle>
          <a:p>
            <a:endParaRPr lang="en-US"/>
          </a:p>
        </p:txBody>
      </p:sp>
    </p:spTree>
    <p:extLst>
      <p:ext uri="{BB962C8B-B14F-4D97-AF65-F5344CB8AC3E}">
        <p14:creationId xmlns:p14="http://schemas.microsoft.com/office/powerpoint/2010/main" val="18918644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04">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146129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Freeform: Shape 18">
            <a:extLst>
              <a:ext uri="{FF2B5EF4-FFF2-40B4-BE49-F238E27FC236}">
                <a16:creationId xmlns:a16="http://schemas.microsoft.com/office/drawing/2014/main" id="{4B5FCC33-4312-41E1-B24D-2C7E4E126197}"/>
              </a:ext>
            </a:extLst>
          </p:cNvPr>
          <p:cNvSpPr/>
          <p:nvPr userDrawn="1"/>
        </p:nvSpPr>
        <p:spPr>
          <a:xfrm>
            <a:off x="3453517" y="759692"/>
            <a:ext cx="5284966" cy="5412508"/>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chemeClr val="accent5"/>
          </a:solidFill>
          <a:ln w="9264" cap="flat">
            <a:noFill/>
            <a:prstDash val="solid"/>
            <a:miter/>
          </a:ln>
        </p:spPr>
        <p:txBody>
          <a:bodyPr rtlCol="0" anchor="ctr"/>
          <a:lstStyle/>
          <a:p>
            <a:endParaRPr lang="en-US"/>
          </a:p>
        </p:txBody>
      </p:sp>
      <p:sp>
        <p:nvSpPr>
          <p:cNvPr id="3" name="Rectangle 2">
            <a:extLst>
              <a:ext uri="{FF2B5EF4-FFF2-40B4-BE49-F238E27FC236}">
                <a16:creationId xmlns:a16="http://schemas.microsoft.com/office/drawing/2014/main" id="{36A8D0B3-B9C5-4116-A854-7A82CC762B05}"/>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DBE7A2D5-95FD-4B6B-BA80-8CC5D54385A5}"/>
              </a:ext>
            </a:extLst>
          </p:cNvPr>
          <p:cNvSpPr/>
          <p:nvPr userDrawn="1"/>
        </p:nvSpPr>
        <p:spPr>
          <a:xfrm>
            <a:off x="3453518" y="759692"/>
            <a:ext cx="2642483" cy="5412508"/>
          </a:xfrm>
          <a:custGeom>
            <a:avLst/>
            <a:gdLst>
              <a:gd name="connsiteX0" fmla="*/ 2642483 w 2642483"/>
              <a:gd name="connsiteY0" fmla="*/ 0 h 5412508"/>
              <a:gd name="connsiteX1" fmla="*/ 2642483 w 2642483"/>
              <a:gd name="connsiteY1" fmla="*/ 1034274 h 5412508"/>
              <a:gd name="connsiteX2" fmla="*/ 1009702 w 2642483"/>
              <a:gd name="connsiteY2" fmla="*/ 2706254 h 5412508"/>
              <a:gd name="connsiteX3" fmla="*/ 2642483 w 2642483"/>
              <a:gd name="connsiteY3" fmla="*/ 4378235 h 5412508"/>
              <a:gd name="connsiteX4" fmla="*/ 2642483 w 2642483"/>
              <a:gd name="connsiteY4" fmla="*/ 5412508 h 5412508"/>
              <a:gd name="connsiteX5" fmla="*/ 0 w 2642483"/>
              <a:gd name="connsiteY5" fmla="*/ 2706254 h 5412508"/>
              <a:gd name="connsiteX6" fmla="*/ 2642483 w 2642483"/>
              <a:gd name="connsiteY6" fmla="*/ 0 h 541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2483" h="5412508">
                <a:moveTo>
                  <a:pt x="2642483" y="0"/>
                </a:moveTo>
                <a:lnTo>
                  <a:pt x="2642483" y="1034274"/>
                </a:lnTo>
                <a:cubicBezTo>
                  <a:pt x="1740398" y="1034274"/>
                  <a:pt x="1009702" y="1782910"/>
                  <a:pt x="1009702" y="2706254"/>
                </a:cubicBezTo>
                <a:cubicBezTo>
                  <a:pt x="1009702" y="3629598"/>
                  <a:pt x="1741065" y="4378235"/>
                  <a:pt x="2642483" y="4378235"/>
                </a:cubicBezTo>
                <a:lnTo>
                  <a:pt x="2642483" y="5412508"/>
                </a:lnTo>
                <a:cubicBezTo>
                  <a:pt x="1183076" y="5412508"/>
                  <a:pt x="0" y="4200874"/>
                  <a:pt x="0" y="2706254"/>
                </a:cubicBezTo>
                <a:cubicBezTo>
                  <a:pt x="0" y="1211635"/>
                  <a:pt x="1183076" y="0"/>
                  <a:pt x="2642483" y="0"/>
                </a:cubicBezTo>
                <a:close/>
              </a:path>
            </a:pathLst>
          </a:custGeom>
          <a:solidFill>
            <a:schemeClr val="accent6">
              <a:alpha val="20000"/>
            </a:schemeClr>
          </a:solidFill>
          <a:ln w="9264" cap="flat">
            <a:noFill/>
            <a:prstDash val="solid"/>
            <a:miter/>
          </a:ln>
        </p:spPr>
        <p:txBody>
          <a:bodyPr wrap="square" rtlCol="0" anchor="ctr">
            <a:noAutofit/>
          </a:bodyPr>
          <a:lstStyle/>
          <a:p>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3390900" cy="2962439"/>
          </a:xfrm>
        </p:spPr>
        <p:txBody>
          <a:bodyPr anchor="t"/>
          <a:lstStyle>
            <a:lvl1pPr>
              <a:defRPr>
                <a:solidFill>
                  <a:schemeClr val="accent1"/>
                </a:solidFill>
              </a:defRPr>
            </a:lvl1pPr>
          </a:lstStyle>
          <a:p>
            <a:r>
              <a:rPr lang="en-US"/>
              <a:t>Title Table</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chemeClr val="bg1"/>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a:p>
        </p:txBody>
      </p:sp>
      <p:sp>
        <p:nvSpPr>
          <p:cNvPr id="6" name="Table Placeholder 5">
            <a:extLst>
              <a:ext uri="{FF2B5EF4-FFF2-40B4-BE49-F238E27FC236}">
                <a16:creationId xmlns:a16="http://schemas.microsoft.com/office/drawing/2014/main" id="{7D664E7E-F4D0-4663-856C-A819AFED315A}"/>
              </a:ext>
            </a:extLst>
          </p:cNvPr>
          <p:cNvSpPr>
            <a:spLocks noGrp="1"/>
          </p:cNvSpPr>
          <p:nvPr>
            <p:ph type="tbl" sz="quarter" idx="14"/>
          </p:nvPr>
        </p:nvSpPr>
        <p:spPr>
          <a:xfrm>
            <a:off x="6806316" y="723900"/>
            <a:ext cx="4547483" cy="5448300"/>
          </a:xfrm>
        </p:spPr>
        <p:txBody>
          <a:bodyPr/>
          <a:lstStyle>
            <a:lvl1pPr marL="0" indent="0">
              <a:buNone/>
              <a:defRPr/>
            </a:lvl1pPr>
          </a:lstStyle>
          <a:p>
            <a:endParaRPr lang="en-US"/>
          </a:p>
        </p:txBody>
      </p:sp>
    </p:spTree>
    <p:extLst>
      <p:ext uri="{BB962C8B-B14F-4D97-AF65-F5344CB8AC3E}">
        <p14:creationId xmlns:p14="http://schemas.microsoft.com/office/powerpoint/2010/main" val="33143897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1338759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9" name="Rectangle 8">
            <a:extLst>
              <a:ext uri="{FF2B5EF4-FFF2-40B4-BE49-F238E27FC236}">
                <a16:creationId xmlns:a16="http://schemas.microsoft.com/office/drawing/2014/main" id="{38A9244C-FE63-433B-BA27-6FB4AAB94D95}"/>
              </a:ext>
            </a:extLst>
          </p:cNvPr>
          <p:cNvSpPr/>
          <p:nvPr userDrawn="1"/>
        </p:nvSpPr>
        <p:spPr>
          <a:xfrm>
            <a:off x="1" y="3271838"/>
            <a:ext cx="12192000" cy="358616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325F9C52-1E55-484C-98AE-45A477E21B47}"/>
              </a:ext>
            </a:extLst>
          </p:cNvPr>
          <p:cNvCxnSpPr>
            <a:cxnSpLocks/>
          </p:cNvCxnSpPr>
          <p:nvPr userDrawn="1"/>
        </p:nvCxnSpPr>
        <p:spPr>
          <a:xfrm>
            <a:off x="11187112" y="3278752"/>
            <a:ext cx="1004888" cy="0"/>
          </a:xfrm>
          <a:prstGeom prst="straightConnector1">
            <a:avLst/>
          </a:prstGeom>
          <a:ln w="53975">
            <a:solidFill>
              <a:schemeClr val="accent1"/>
            </a:solidFill>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4"/>
            <a:ext cx="10577052" cy="1065541"/>
          </a:xfrm>
        </p:spPr>
        <p:txBody>
          <a:bodyPr/>
          <a:lstStyle/>
          <a:p>
            <a:r>
              <a:rPr lang="en-US"/>
              <a:t>Click to edit Master title style</a:t>
            </a:r>
          </a:p>
        </p:txBody>
      </p:sp>
      <p:sp>
        <p:nvSpPr>
          <p:cNvPr id="7" name="Text Placeholder 6">
            <a:extLst>
              <a:ext uri="{FF2B5EF4-FFF2-40B4-BE49-F238E27FC236}">
                <a16:creationId xmlns:a16="http://schemas.microsoft.com/office/drawing/2014/main" id="{03448144-7B66-4D27-B0CC-18F4D7D7B1F8}"/>
              </a:ext>
            </a:extLst>
          </p:cNvPr>
          <p:cNvSpPr>
            <a:spLocks noGrp="1"/>
          </p:cNvSpPr>
          <p:nvPr>
            <p:ph type="body" sz="quarter" idx="13"/>
          </p:nvPr>
        </p:nvSpPr>
        <p:spPr>
          <a:xfrm>
            <a:off x="963101" y="4107657"/>
            <a:ext cx="3100110"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8" name="Text Placeholder 6">
            <a:extLst>
              <a:ext uri="{FF2B5EF4-FFF2-40B4-BE49-F238E27FC236}">
                <a16:creationId xmlns:a16="http://schemas.microsoft.com/office/drawing/2014/main" id="{E0560DBA-D041-49A5-A4F7-C21CC3CBA5B0}"/>
              </a:ext>
            </a:extLst>
          </p:cNvPr>
          <p:cNvSpPr>
            <a:spLocks noGrp="1"/>
          </p:cNvSpPr>
          <p:nvPr>
            <p:ph type="body" sz="quarter" idx="14" hasCustomPrompt="1"/>
          </p:nvPr>
        </p:nvSpPr>
        <p:spPr>
          <a:xfrm>
            <a:off x="963101" y="3270456"/>
            <a:ext cx="1497806" cy="687182"/>
          </a:xfrm>
        </p:spPr>
        <p:txBody>
          <a:bodyPr anchor="ctr">
            <a:noAutofit/>
          </a:bodyPr>
          <a:lstStyle>
            <a:lvl1pPr marL="0" indent="0" algn="l">
              <a:buNone/>
              <a:defRPr sz="4000" b="1">
                <a:solidFill>
                  <a:schemeClr val="accent2"/>
                </a:solidFill>
              </a:defRPr>
            </a:lvl1pPr>
          </a:lstStyle>
          <a:p>
            <a:pPr lvl="0"/>
            <a:r>
              <a:rPr lang="en-US"/>
              <a:t>0000</a:t>
            </a:r>
          </a:p>
        </p:txBody>
      </p:sp>
      <p:sp>
        <p:nvSpPr>
          <p:cNvPr id="14" name="Picture Placeholder 13">
            <a:extLst>
              <a:ext uri="{FF2B5EF4-FFF2-40B4-BE49-F238E27FC236}">
                <a16:creationId xmlns:a16="http://schemas.microsoft.com/office/drawing/2014/main" id="{40F64B93-F8FD-4384-9EC9-0C5FE4B55E44}"/>
              </a:ext>
            </a:extLst>
          </p:cNvPr>
          <p:cNvSpPr>
            <a:spLocks noGrp="1"/>
          </p:cNvSpPr>
          <p:nvPr>
            <p:ph type="pic" sz="quarter" idx="15"/>
          </p:nvPr>
        </p:nvSpPr>
        <p:spPr>
          <a:xfrm>
            <a:off x="963101" y="1971420"/>
            <a:ext cx="1070487" cy="1069339"/>
          </a:xfrm>
          <a:noFill/>
        </p:spPr>
        <p:txBody>
          <a:bodyPr/>
          <a:lstStyle>
            <a:lvl1pPr marL="0" indent="0">
              <a:buNone/>
              <a:defRPr/>
            </a:lvl1pPr>
          </a:lstStyle>
          <a:p>
            <a:endParaRPr lang="en-US"/>
          </a:p>
        </p:txBody>
      </p:sp>
      <p:sp>
        <p:nvSpPr>
          <p:cNvPr id="15" name="Picture Placeholder 13">
            <a:extLst>
              <a:ext uri="{FF2B5EF4-FFF2-40B4-BE49-F238E27FC236}">
                <a16:creationId xmlns:a16="http://schemas.microsoft.com/office/drawing/2014/main" id="{737282CA-0ECD-428F-954E-3B940B0152F7}"/>
              </a:ext>
            </a:extLst>
          </p:cNvPr>
          <p:cNvSpPr>
            <a:spLocks noGrp="1"/>
          </p:cNvSpPr>
          <p:nvPr>
            <p:ph type="pic" sz="quarter" idx="16"/>
          </p:nvPr>
        </p:nvSpPr>
        <p:spPr>
          <a:xfrm>
            <a:off x="4582601" y="1971420"/>
            <a:ext cx="1070487" cy="1069339"/>
          </a:xfrm>
          <a:noFill/>
        </p:spPr>
        <p:txBody>
          <a:bodyPr/>
          <a:lstStyle>
            <a:lvl1pPr marL="0" indent="0">
              <a:buNone/>
              <a:defRPr/>
            </a:lvl1pPr>
          </a:lstStyle>
          <a:p>
            <a:endParaRPr lang="en-US"/>
          </a:p>
        </p:txBody>
      </p:sp>
      <p:sp>
        <p:nvSpPr>
          <p:cNvPr id="16" name="Picture Placeholder 13">
            <a:extLst>
              <a:ext uri="{FF2B5EF4-FFF2-40B4-BE49-F238E27FC236}">
                <a16:creationId xmlns:a16="http://schemas.microsoft.com/office/drawing/2014/main" id="{27A19C05-4373-40B6-837A-81D7270C200E}"/>
              </a:ext>
            </a:extLst>
          </p:cNvPr>
          <p:cNvSpPr>
            <a:spLocks noGrp="1"/>
          </p:cNvSpPr>
          <p:nvPr>
            <p:ph type="pic" sz="quarter" idx="17"/>
          </p:nvPr>
        </p:nvSpPr>
        <p:spPr>
          <a:xfrm>
            <a:off x="8087801" y="1971420"/>
            <a:ext cx="1070487" cy="1069339"/>
          </a:xfrm>
          <a:noFill/>
        </p:spPr>
        <p:txBody>
          <a:bodyPr/>
          <a:lstStyle>
            <a:lvl1pPr marL="0" indent="0">
              <a:buNone/>
              <a:defRPr/>
            </a:lvl1pPr>
          </a:lstStyle>
          <a:p>
            <a:endParaRPr lang="en-US"/>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cxnSp>
        <p:nvCxnSpPr>
          <p:cNvPr id="17" name="Straight Arrow Connector 16">
            <a:extLst>
              <a:ext uri="{FF2B5EF4-FFF2-40B4-BE49-F238E27FC236}">
                <a16:creationId xmlns:a16="http://schemas.microsoft.com/office/drawing/2014/main" id="{B191F46D-24FB-484B-8FE4-DAF4D3DF2A21}"/>
              </a:ext>
            </a:extLst>
          </p:cNvPr>
          <p:cNvCxnSpPr/>
          <p:nvPr userDrawn="1"/>
        </p:nvCxnSpPr>
        <p:spPr>
          <a:xfrm>
            <a:off x="0" y="3278752"/>
            <a:ext cx="11353800" cy="0"/>
          </a:xfrm>
          <a:prstGeom prst="straightConnector1">
            <a:avLst/>
          </a:prstGeom>
          <a:ln w="53975">
            <a:solidFill>
              <a:schemeClr val="accent2"/>
            </a:solidFill>
            <a:tailEnd type="triangle" w="med" len="med"/>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12D91811-49F2-49DE-A41C-90B55CDBCC3D}"/>
              </a:ext>
            </a:extLst>
          </p:cNvPr>
          <p:cNvSpPr>
            <a:spLocks noGrp="1"/>
          </p:cNvSpPr>
          <p:nvPr>
            <p:ph type="body" sz="quarter" idx="18"/>
          </p:nvPr>
        </p:nvSpPr>
        <p:spPr>
          <a:xfrm>
            <a:off x="4582601" y="4107657"/>
            <a:ext cx="2995612"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0" name="Text Placeholder 6">
            <a:extLst>
              <a:ext uri="{FF2B5EF4-FFF2-40B4-BE49-F238E27FC236}">
                <a16:creationId xmlns:a16="http://schemas.microsoft.com/office/drawing/2014/main" id="{D67037C5-BE6D-4CA0-94D0-FD8A28BB2281}"/>
              </a:ext>
            </a:extLst>
          </p:cNvPr>
          <p:cNvSpPr>
            <a:spLocks noGrp="1"/>
          </p:cNvSpPr>
          <p:nvPr>
            <p:ph type="body" sz="quarter" idx="19" hasCustomPrompt="1"/>
          </p:nvPr>
        </p:nvSpPr>
        <p:spPr>
          <a:xfrm>
            <a:off x="4582601" y="3270456"/>
            <a:ext cx="1497806" cy="687182"/>
          </a:xfrm>
        </p:spPr>
        <p:txBody>
          <a:bodyPr anchor="ctr">
            <a:noAutofit/>
          </a:bodyPr>
          <a:lstStyle>
            <a:lvl1pPr marL="0" indent="0" algn="l">
              <a:buNone/>
              <a:defRPr sz="4000" b="1">
                <a:solidFill>
                  <a:schemeClr val="accent2"/>
                </a:solidFill>
              </a:defRPr>
            </a:lvl1pPr>
          </a:lstStyle>
          <a:p>
            <a:pPr lvl="0"/>
            <a:r>
              <a:rPr lang="en-US"/>
              <a:t>0000</a:t>
            </a:r>
          </a:p>
        </p:txBody>
      </p:sp>
      <p:sp>
        <p:nvSpPr>
          <p:cNvPr id="31" name="Text Placeholder 6">
            <a:extLst>
              <a:ext uri="{FF2B5EF4-FFF2-40B4-BE49-F238E27FC236}">
                <a16:creationId xmlns:a16="http://schemas.microsoft.com/office/drawing/2014/main" id="{AD686306-F20F-4242-BE95-422BDAD1D207}"/>
              </a:ext>
            </a:extLst>
          </p:cNvPr>
          <p:cNvSpPr>
            <a:spLocks noGrp="1"/>
          </p:cNvSpPr>
          <p:nvPr>
            <p:ph type="body" sz="quarter" idx="20"/>
          </p:nvPr>
        </p:nvSpPr>
        <p:spPr>
          <a:xfrm>
            <a:off x="8087801" y="4107657"/>
            <a:ext cx="3100110"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2" name="Text Placeholder 6">
            <a:extLst>
              <a:ext uri="{FF2B5EF4-FFF2-40B4-BE49-F238E27FC236}">
                <a16:creationId xmlns:a16="http://schemas.microsoft.com/office/drawing/2014/main" id="{9BAEDCD1-68AA-4C1E-84F7-9BD7E0994001}"/>
              </a:ext>
            </a:extLst>
          </p:cNvPr>
          <p:cNvSpPr>
            <a:spLocks noGrp="1"/>
          </p:cNvSpPr>
          <p:nvPr>
            <p:ph type="body" sz="quarter" idx="21" hasCustomPrompt="1"/>
          </p:nvPr>
        </p:nvSpPr>
        <p:spPr>
          <a:xfrm>
            <a:off x="8087801" y="3270456"/>
            <a:ext cx="1497806" cy="687182"/>
          </a:xfrm>
        </p:spPr>
        <p:txBody>
          <a:bodyPr anchor="ctr">
            <a:noAutofit/>
          </a:bodyPr>
          <a:lstStyle>
            <a:lvl1pPr marL="0" indent="0" algn="l">
              <a:buNone/>
              <a:defRPr sz="4000" b="1">
                <a:solidFill>
                  <a:schemeClr val="accent2"/>
                </a:solidFill>
              </a:defRPr>
            </a:lvl1pPr>
          </a:lstStyle>
          <a:p>
            <a:pPr lvl="0"/>
            <a:r>
              <a:rPr lang="en-US"/>
              <a:t>0000</a:t>
            </a:r>
          </a:p>
        </p:txBody>
      </p:sp>
      <p:grpSp>
        <p:nvGrpSpPr>
          <p:cNvPr id="18" name="Group 17">
            <a:extLst>
              <a:ext uri="{FF2B5EF4-FFF2-40B4-BE49-F238E27FC236}">
                <a16:creationId xmlns:a16="http://schemas.microsoft.com/office/drawing/2014/main" id="{3838023B-A775-47CC-94CA-7B0DC3B61F3D}"/>
              </a:ext>
            </a:extLst>
          </p:cNvPr>
          <p:cNvGrpSpPr/>
          <p:nvPr userDrawn="1"/>
        </p:nvGrpSpPr>
        <p:grpSpPr>
          <a:xfrm>
            <a:off x="838200" y="1985962"/>
            <a:ext cx="7124700" cy="4129087"/>
            <a:chOff x="1039761" y="1845853"/>
            <a:chExt cx="7086599" cy="1673941"/>
          </a:xfrm>
        </p:grpSpPr>
        <p:cxnSp>
          <p:nvCxnSpPr>
            <p:cNvPr id="4" name="Straight Connector 3">
              <a:extLst>
                <a:ext uri="{FF2B5EF4-FFF2-40B4-BE49-F238E27FC236}">
                  <a16:creationId xmlns:a16="http://schemas.microsoft.com/office/drawing/2014/main" id="{EE3375A3-45F3-4D91-A38E-BA0466E1B9E2}"/>
                </a:ext>
              </a:extLst>
            </p:cNvPr>
            <p:cNvCxnSpPr/>
            <p:nvPr userDrawn="1"/>
          </p:nvCxnSpPr>
          <p:spPr>
            <a:xfrm flipV="1">
              <a:off x="1039761" y="1845853"/>
              <a:ext cx="0" cy="1673941"/>
            </a:xfrm>
            <a:prstGeom prst="line">
              <a:avLst/>
            </a:prstGeom>
            <a:ln w="12700">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C6ABD93-F673-428C-8326-65F0A87F3C82}"/>
                </a:ext>
              </a:extLst>
            </p:cNvPr>
            <p:cNvCxnSpPr/>
            <p:nvPr userDrawn="1"/>
          </p:nvCxnSpPr>
          <p:spPr>
            <a:xfrm flipV="1">
              <a:off x="4638367" y="1845853"/>
              <a:ext cx="0" cy="1673941"/>
            </a:xfrm>
            <a:prstGeom prst="line">
              <a:avLst/>
            </a:prstGeom>
            <a:ln w="12700">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367EF3D-E0A5-4476-9AC2-9A90480395B0}"/>
                </a:ext>
              </a:extLst>
            </p:cNvPr>
            <p:cNvCxnSpPr/>
            <p:nvPr userDrawn="1"/>
          </p:nvCxnSpPr>
          <p:spPr>
            <a:xfrm flipV="1">
              <a:off x="8126360" y="1845853"/>
              <a:ext cx="0" cy="1673941"/>
            </a:xfrm>
            <a:prstGeom prst="line">
              <a:avLst/>
            </a:prstGeom>
            <a:ln w="12700">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sp>
        <p:nvSpPr>
          <p:cNvPr id="34" name="Slide Number Placeholder 4">
            <a:extLst>
              <a:ext uri="{FF2B5EF4-FFF2-40B4-BE49-F238E27FC236}">
                <a16:creationId xmlns:a16="http://schemas.microsoft.com/office/drawing/2014/main" id="{8D16B5DC-973B-4F0D-8FF5-9DBABE66B1CC}"/>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96893818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meline 1">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677432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9" name="Rectangle 8">
            <a:extLst>
              <a:ext uri="{FF2B5EF4-FFF2-40B4-BE49-F238E27FC236}">
                <a16:creationId xmlns:a16="http://schemas.microsoft.com/office/drawing/2014/main" id="{38A9244C-FE63-433B-BA27-6FB4AAB94D95}"/>
              </a:ext>
            </a:extLst>
          </p:cNvPr>
          <p:cNvSpPr/>
          <p:nvPr userDrawn="1"/>
        </p:nvSpPr>
        <p:spPr>
          <a:xfrm>
            <a:off x="1" y="3271838"/>
            <a:ext cx="12192000" cy="358616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4"/>
            <a:ext cx="10577052" cy="1065541"/>
          </a:xfrm>
        </p:spPr>
        <p:txBody>
          <a:bodyPr/>
          <a:lstStyle/>
          <a:p>
            <a:r>
              <a:rPr lang="en-US"/>
              <a:t>Click to edit Master title style</a:t>
            </a:r>
          </a:p>
        </p:txBody>
      </p:sp>
      <p:sp>
        <p:nvSpPr>
          <p:cNvPr id="7" name="Text Placeholder 6">
            <a:extLst>
              <a:ext uri="{FF2B5EF4-FFF2-40B4-BE49-F238E27FC236}">
                <a16:creationId xmlns:a16="http://schemas.microsoft.com/office/drawing/2014/main" id="{03448144-7B66-4D27-B0CC-18F4D7D7B1F8}"/>
              </a:ext>
            </a:extLst>
          </p:cNvPr>
          <p:cNvSpPr>
            <a:spLocks noGrp="1"/>
          </p:cNvSpPr>
          <p:nvPr>
            <p:ph type="body" sz="quarter" idx="13"/>
          </p:nvPr>
        </p:nvSpPr>
        <p:spPr>
          <a:xfrm>
            <a:off x="963101" y="4107657"/>
            <a:ext cx="3100110"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8" name="Text Placeholder 6">
            <a:extLst>
              <a:ext uri="{FF2B5EF4-FFF2-40B4-BE49-F238E27FC236}">
                <a16:creationId xmlns:a16="http://schemas.microsoft.com/office/drawing/2014/main" id="{E0560DBA-D041-49A5-A4F7-C21CC3CBA5B0}"/>
              </a:ext>
            </a:extLst>
          </p:cNvPr>
          <p:cNvSpPr>
            <a:spLocks noGrp="1"/>
          </p:cNvSpPr>
          <p:nvPr>
            <p:ph type="body" sz="quarter" idx="14" hasCustomPrompt="1"/>
          </p:nvPr>
        </p:nvSpPr>
        <p:spPr>
          <a:xfrm>
            <a:off x="963101" y="3270456"/>
            <a:ext cx="1497806" cy="687182"/>
          </a:xfrm>
        </p:spPr>
        <p:txBody>
          <a:bodyPr anchor="ctr">
            <a:noAutofit/>
          </a:bodyPr>
          <a:lstStyle>
            <a:lvl1pPr marL="0" indent="0" algn="l">
              <a:buNone/>
              <a:defRPr sz="4000" b="1">
                <a:solidFill>
                  <a:schemeClr val="accent2"/>
                </a:solidFill>
              </a:defRPr>
            </a:lvl1pPr>
          </a:lstStyle>
          <a:p>
            <a:pPr lvl="0"/>
            <a:r>
              <a:rPr lang="en-US"/>
              <a:t>0000</a:t>
            </a:r>
          </a:p>
        </p:txBody>
      </p:sp>
      <p:sp>
        <p:nvSpPr>
          <p:cNvPr id="14" name="Picture Placeholder 13">
            <a:extLst>
              <a:ext uri="{FF2B5EF4-FFF2-40B4-BE49-F238E27FC236}">
                <a16:creationId xmlns:a16="http://schemas.microsoft.com/office/drawing/2014/main" id="{40F64B93-F8FD-4384-9EC9-0C5FE4B55E44}"/>
              </a:ext>
            </a:extLst>
          </p:cNvPr>
          <p:cNvSpPr>
            <a:spLocks noGrp="1"/>
          </p:cNvSpPr>
          <p:nvPr>
            <p:ph type="pic" sz="quarter" idx="15"/>
          </p:nvPr>
        </p:nvSpPr>
        <p:spPr>
          <a:xfrm>
            <a:off x="963101" y="1971420"/>
            <a:ext cx="1070487" cy="1069339"/>
          </a:xfrm>
          <a:noFill/>
        </p:spPr>
        <p:txBody>
          <a:bodyPr/>
          <a:lstStyle>
            <a:lvl1pPr marL="0" indent="0">
              <a:buNone/>
              <a:defRPr/>
            </a:lvl1pPr>
          </a:lstStyle>
          <a:p>
            <a:endParaRPr lang="en-US"/>
          </a:p>
        </p:txBody>
      </p:sp>
      <p:sp>
        <p:nvSpPr>
          <p:cNvPr id="15" name="Picture Placeholder 13">
            <a:extLst>
              <a:ext uri="{FF2B5EF4-FFF2-40B4-BE49-F238E27FC236}">
                <a16:creationId xmlns:a16="http://schemas.microsoft.com/office/drawing/2014/main" id="{737282CA-0ECD-428F-954E-3B940B0152F7}"/>
              </a:ext>
            </a:extLst>
          </p:cNvPr>
          <p:cNvSpPr>
            <a:spLocks noGrp="1"/>
          </p:cNvSpPr>
          <p:nvPr>
            <p:ph type="pic" sz="quarter" idx="16"/>
          </p:nvPr>
        </p:nvSpPr>
        <p:spPr>
          <a:xfrm>
            <a:off x="4582601" y="1971420"/>
            <a:ext cx="1070487" cy="1069339"/>
          </a:xfrm>
          <a:noFill/>
        </p:spPr>
        <p:txBody>
          <a:bodyPr/>
          <a:lstStyle>
            <a:lvl1pPr marL="0" indent="0">
              <a:buNone/>
              <a:defRPr/>
            </a:lvl1pPr>
          </a:lstStyle>
          <a:p>
            <a:endParaRPr lang="en-US"/>
          </a:p>
        </p:txBody>
      </p:sp>
      <p:sp>
        <p:nvSpPr>
          <p:cNvPr id="16" name="Picture Placeholder 13">
            <a:extLst>
              <a:ext uri="{FF2B5EF4-FFF2-40B4-BE49-F238E27FC236}">
                <a16:creationId xmlns:a16="http://schemas.microsoft.com/office/drawing/2014/main" id="{27A19C05-4373-40B6-837A-81D7270C200E}"/>
              </a:ext>
            </a:extLst>
          </p:cNvPr>
          <p:cNvSpPr>
            <a:spLocks noGrp="1"/>
          </p:cNvSpPr>
          <p:nvPr>
            <p:ph type="pic" sz="quarter" idx="17"/>
          </p:nvPr>
        </p:nvSpPr>
        <p:spPr>
          <a:xfrm>
            <a:off x="8087801" y="1971420"/>
            <a:ext cx="1070487" cy="1069339"/>
          </a:xfrm>
          <a:noFill/>
        </p:spPr>
        <p:txBody>
          <a:bodyPr/>
          <a:lstStyle>
            <a:lvl1pPr marL="0" indent="0">
              <a:buNone/>
              <a:defRPr/>
            </a:lvl1pPr>
          </a:lstStyle>
          <a:p>
            <a:endParaRPr lang="en-US"/>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cxnSp>
        <p:nvCxnSpPr>
          <p:cNvPr id="17" name="Straight Arrow Connector 16">
            <a:extLst>
              <a:ext uri="{FF2B5EF4-FFF2-40B4-BE49-F238E27FC236}">
                <a16:creationId xmlns:a16="http://schemas.microsoft.com/office/drawing/2014/main" id="{B191F46D-24FB-484B-8FE4-DAF4D3DF2A21}"/>
              </a:ext>
            </a:extLst>
          </p:cNvPr>
          <p:cNvCxnSpPr/>
          <p:nvPr userDrawn="1"/>
        </p:nvCxnSpPr>
        <p:spPr>
          <a:xfrm>
            <a:off x="0" y="3278752"/>
            <a:ext cx="11353800" cy="0"/>
          </a:xfrm>
          <a:prstGeom prst="straightConnector1">
            <a:avLst/>
          </a:prstGeom>
          <a:ln w="539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12D91811-49F2-49DE-A41C-90B55CDBCC3D}"/>
              </a:ext>
            </a:extLst>
          </p:cNvPr>
          <p:cNvSpPr>
            <a:spLocks noGrp="1"/>
          </p:cNvSpPr>
          <p:nvPr>
            <p:ph type="body" sz="quarter" idx="18"/>
          </p:nvPr>
        </p:nvSpPr>
        <p:spPr>
          <a:xfrm>
            <a:off x="4582601" y="4107657"/>
            <a:ext cx="2995612"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0" name="Text Placeholder 6">
            <a:extLst>
              <a:ext uri="{FF2B5EF4-FFF2-40B4-BE49-F238E27FC236}">
                <a16:creationId xmlns:a16="http://schemas.microsoft.com/office/drawing/2014/main" id="{D67037C5-BE6D-4CA0-94D0-FD8A28BB2281}"/>
              </a:ext>
            </a:extLst>
          </p:cNvPr>
          <p:cNvSpPr>
            <a:spLocks noGrp="1"/>
          </p:cNvSpPr>
          <p:nvPr>
            <p:ph type="body" sz="quarter" idx="19" hasCustomPrompt="1"/>
          </p:nvPr>
        </p:nvSpPr>
        <p:spPr>
          <a:xfrm>
            <a:off x="4582601" y="3270456"/>
            <a:ext cx="1497806" cy="687182"/>
          </a:xfrm>
        </p:spPr>
        <p:txBody>
          <a:bodyPr anchor="ctr">
            <a:noAutofit/>
          </a:bodyPr>
          <a:lstStyle>
            <a:lvl1pPr marL="0" indent="0" algn="l">
              <a:buNone/>
              <a:defRPr sz="4000" b="1">
                <a:solidFill>
                  <a:schemeClr val="accent2"/>
                </a:solidFill>
              </a:defRPr>
            </a:lvl1pPr>
          </a:lstStyle>
          <a:p>
            <a:pPr lvl="0"/>
            <a:r>
              <a:rPr lang="en-US"/>
              <a:t>0000</a:t>
            </a:r>
          </a:p>
        </p:txBody>
      </p:sp>
      <p:sp>
        <p:nvSpPr>
          <p:cNvPr id="31" name="Text Placeholder 6">
            <a:extLst>
              <a:ext uri="{FF2B5EF4-FFF2-40B4-BE49-F238E27FC236}">
                <a16:creationId xmlns:a16="http://schemas.microsoft.com/office/drawing/2014/main" id="{AD686306-F20F-4242-BE95-422BDAD1D207}"/>
              </a:ext>
            </a:extLst>
          </p:cNvPr>
          <p:cNvSpPr>
            <a:spLocks noGrp="1"/>
          </p:cNvSpPr>
          <p:nvPr>
            <p:ph type="body" sz="quarter" idx="20"/>
          </p:nvPr>
        </p:nvSpPr>
        <p:spPr>
          <a:xfrm>
            <a:off x="8087801" y="4107657"/>
            <a:ext cx="3100110"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32" name="Text Placeholder 6">
            <a:extLst>
              <a:ext uri="{FF2B5EF4-FFF2-40B4-BE49-F238E27FC236}">
                <a16:creationId xmlns:a16="http://schemas.microsoft.com/office/drawing/2014/main" id="{9BAEDCD1-68AA-4C1E-84F7-9BD7E0994001}"/>
              </a:ext>
            </a:extLst>
          </p:cNvPr>
          <p:cNvSpPr>
            <a:spLocks noGrp="1"/>
          </p:cNvSpPr>
          <p:nvPr>
            <p:ph type="body" sz="quarter" idx="21" hasCustomPrompt="1"/>
          </p:nvPr>
        </p:nvSpPr>
        <p:spPr>
          <a:xfrm>
            <a:off x="8087801" y="3270456"/>
            <a:ext cx="1497806" cy="687182"/>
          </a:xfrm>
        </p:spPr>
        <p:txBody>
          <a:bodyPr anchor="ctr">
            <a:noAutofit/>
          </a:bodyPr>
          <a:lstStyle>
            <a:lvl1pPr marL="0" indent="0" algn="l">
              <a:buNone/>
              <a:defRPr sz="4000" b="1">
                <a:solidFill>
                  <a:schemeClr val="accent2"/>
                </a:solidFill>
              </a:defRPr>
            </a:lvl1pPr>
          </a:lstStyle>
          <a:p>
            <a:pPr lvl="0"/>
            <a:r>
              <a:rPr lang="en-US"/>
              <a:t>0000</a:t>
            </a:r>
          </a:p>
        </p:txBody>
      </p:sp>
      <p:grpSp>
        <p:nvGrpSpPr>
          <p:cNvPr id="18" name="Group 17">
            <a:extLst>
              <a:ext uri="{FF2B5EF4-FFF2-40B4-BE49-F238E27FC236}">
                <a16:creationId xmlns:a16="http://schemas.microsoft.com/office/drawing/2014/main" id="{3838023B-A775-47CC-94CA-7B0DC3B61F3D}"/>
              </a:ext>
            </a:extLst>
          </p:cNvPr>
          <p:cNvGrpSpPr/>
          <p:nvPr userDrawn="1"/>
        </p:nvGrpSpPr>
        <p:grpSpPr>
          <a:xfrm>
            <a:off x="838200" y="1985962"/>
            <a:ext cx="7124700" cy="4129087"/>
            <a:chOff x="1039761" y="1845853"/>
            <a:chExt cx="7086599" cy="1673941"/>
          </a:xfrm>
        </p:grpSpPr>
        <p:cxnSp>
          <p:nvCxnSpPr>
            <p:cNvPr id="4" name="Straight Connector 3">
              <a:extLst>
                <a:ext uri="{FF2B5EF4-FFF2-40B4-BE49-F238E27FC236}">
                  <a16:creationId xmlns:a16="http://schemas.microsoft.com/office/drawing/2014/main" id="{EE3375A3-45F3-4D91-A38E-BA0466E1B9E2}"/>
                </a:ext>
              </a:extLst>
            </p:cNvPr>
            <p:cNvCxnSpPr/>
            <p:nvPr userDrawn="1"/>
          </p:nvCxnSpPr>
          <p:spPr>
            <a:xfrm flipV="1">
              <a:off x="1039761" y="1845853"/>
              <a:ext cx="0" cy="1673941"/>
            </a:xfrm>
            <a:prstGeom prst="line">
              <a:avLst/>
            </a:prstGeom>
            <a:ln w="12700">
              <a:solidFill>
                <a:schemeClr val="accent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C6ABD93-F673-428C-8326-65F0A87F3C82}"/>
                </a:ext>
              </a:extLst>
            </p:cNvPr>
            <p:cNvCxnSpPr/>
            <p:nvPr userDrawn="1"/>
          </p:nvCxnSpPr>
          <p:spPr>
            <a:xfrm flipV="1">
              <a:off x="4638367" y="1845853"/>
              <a:ext cx="0" cy="1673941"/>
            </a:xfrm>
            <a:prstGeom prst="line">
              <a:avLst/>
            </a:prstGeom>
            <a:ln w="12700">
              <a:solidFill>
                <a:schemeClr val="accent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367EF3D-E0A5-4476-9AC2-9A90480395B0}"/>
                </a:ext>
              </a:extLst>
            </p:cNvPr>
            <p:cNvCxnSpPr/>
            <p:nvPr userDrawn="1"/>
          </p:nvCxnSpPr>
          <p:spPr>
            <a:xfrm flipV="1">
              <a:off x="8126360" y="1845853"/>
              <a:ext cx="0" cy="1673941"/>
            </a:xfrm>
            <a:prstGeom prst="line">
              <a:avLst/>
            </a:prstGeom>
            <a:ln w="12700">
              <a:solidFill>
                <a:schemeClr val="accent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sp>
        <p:nvSpPr>
          <p:cNvPr id="33" name="Slide Number Placeholder 4">
            <a:extLst>
              <a:ext uri="{FF2B5EF4-FFF2-40B4-BE49-F238E27FC236}">
                <a16:creationId xmlns:a16="http://schemas.microsoft.com/office/drawing/2014/main" id="{F8AC8DE9-56A4-4E5B-B341-048AE024A1CF}"/>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35822973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meline 1">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907492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cxnSp>
        <p:nvCxnSpPr>
          <p:cNvPr id="36" name="Straight Arrow Connector 35">
            <a:extLst>
              <a:ext uri="{FF2B5EF4-FFF2-40B4-BE49-F238E27FC236}">
                <a16:creationId xmlns:a16="http://schemas.microsoft.com/office/drawing/2014/main" id="{B85C9FF5-52E7-4826-97FA-372F67FD027C}"/>
              </a:ext>
            </a:extLst>
          </p:cNvPr>
          <p:cNvCxnSpPr>
            <a:cxnSpLocks/>
          </p:cNvCxnSpPr>
          <p:nvPr userDrawn="1"/>
        </p:nvCxnSpPr>
        <p:spPr>
          <a:xfrm>
            <a:off x="6210300" y="5857875"/>
            <a:ext cx="0" cy="1000125"/>
          </a:xfrm>
          <a:prstGeom prst="straightConnector1">
            <a:avLst/>
          </a:prstGeom>
          <a:ln w="53975">
            <a:solidFill>
              <a:schemeClr val="accent2"/>
            </a:solidFill>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8A9244C-FE63-433B-BA27-6FB4AAB94D95}"/>
              </a:ext>
            </a:extLst>
          </p:cNvPr>
          <p:cNvSpPr/>
          <p:nvPr userDrawn="1"/>
        </p:nvSpPr>
        <p:spPr>
          <a:xfrm>
            <a:off x="1" y="0"/>
            <a:ext cx="4457699" cy="6858001"/>
          </a:xfrm>
          <a:prstGeom prst="rect">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4"/>
            <a:ext cx="2997994" cy="2824286"/>
          </a:xfrm>
        </p:spPr>
        <p:txBody>
          <a:bodyPr anchor="t"/>
          <a:lstStyle/>
          <a:p>
            <a:r>
              <a:rPr lang="en-US"/>
              <a:t>Click to edit Master title style</a:t>
            </a:r>
          </a:p>
        </p:txBody>
      </p:sp>
      <p:sp>
        <p:nvSpPr>
          <p:cNvPr id="7" name="Text Placeholder 6">
            <a:extLst>
              <a:ext uri="{FF2B5EF4-FFF2-40B4-BE49-F238E27FC236}">
                <a16:creationId xmlns:a16="http://schemas.microsoft.com/office/drawing/2014/main" id="{03448144-7B66-4D27-B0CC-18F4D7D7B1F8}"/>
              </a:ext>
            </a:extLst>
          </p:cNvPr>
          <p:cNvSpPr>
            <a:spLocks noGrp="1"/>
          </p:cNvSpPr>
          <p:nvPr>
            <p:ph type="body" sz="quarter" idx="13" hasCustomPrompt="1"/>
          </p:nvPr>
        </p:nvSpPr>
        <p:spPr>
          <a:xfrm>
            <a:off x="6588919" y="1229262"/>
            <a:ext cx="4764881" cy="1034615"/>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8" name="Text Placeholder 6">
            <a:extLst>
              <a:ext uri="{FF2B5EF4-FFF2-40B4-BE49-F238E27FC236}">
                <a16:creationId xmlns:a16="http://schemas.microsoft.com/office/drawing/2014/main" id="{E0560DBA-D041-49A5-A4F7-C21CC3CBA5B0}"/>
              </a:ext>
            </a:extLst>
          </p:cNvPr>
          <p:cNvSpPr>
            <a:spLocks noGrp="1"/>
          </p:cNvSpPr>
          <p:nvPr>
            <p:ph type="body" sz="quarter" idx="14" hasCustomPrompt="1"/>
          </p:nvPr>
        </p:nvSpPr>
        <p:spPr>
          <a:xfrm>
            <a:off x="6588919" y="532171"/>
            <a:ext cx="1497806" cy="687182"/>
          </a:xfrm>
        </p:spPr>
        <p:txBody>
          <a:bodyPr anchor="t">
            <a:noAutofit/>
          </a:bodyPr>
          <a:lstStyle>
            <a:lvl1pPr marL="0" indent="0" algn="l">
              <a:buNone/>
              <a:defRPr sz="3200" b="1">
                <a:solidFill>
                  <a:schemeClr val="accent2"/>
                </a:solidFill>
              </a:defRPr>
            </a:lvl1pPr>
          </a:lstStyle>
          <a:p>
            <a:pPr lvl="0"/>
            <a:r>
              <a:rPr lang="en-US"/>
              <a:t>0000</a:t>
            </a:r>
          </a:p>
        </p:txBody>
      </p:sp>
      <p:sp>
        <p:nvSpPr>
          <p:cNvPr id="14" name="Picture Placeholder 13">
            <a:extLst>
              <a:ext uri="{FF2B5EF4-FFF2-40B4-BE49-F238E27FC236}">
                <a16:creationId xmlns:a16="http://schemas.microsoft.com/office/drawing/2014/main" id="{40F64B93-F8FD-4384-9EC9-0C5FE4B55E44}"/>
              </a:ext>
            </a:extLst>
          </p:cNvPr>
          <p:cNvSpPr>
            <a:spLocks noGrp="1"/>
          </p:cNvSpPr>
          <p:nvPr>
            <p:ph type="pic" sz="quarter" idx="15"/>
          </p:nvPr>
        </p:nvSpPr>
        <p:spPr>
          <a:xfrm>
            <a:off x="4839661" y="959645"/>
            <a:ext cx="1070487" cy="1069339"/>
          </a:xfrm>
          <a:noFill/>
        </p:spPr>
        <p:txBody>
          <a:bodyPr/>
          <a:lstStyle/>
          <a:p>
            <a:endParaRPr lang="en-US"/>
          </a:p>
        </p:txBody>
      </p:sp>
      <p:sp>
        <p:nvSpPr>
          <p:cNvPr id="15" name="Picture Placeholder 13">
            <a:extLst>
              <a:ext uri="{FF2B5EF4-FFF2-40B4-BE49-F238E27FC236}">
                <a16:creationId xmlns:a16="http://schemas.microsoft.com/office/drawing/2014/main" id="{737282CA-0ECD-428F-954E-3B940B0152F7}"/>
              </a:ext>
            </a:extLst>
          </p:cNvPr>
          <p:cNvSpPr>
            <a:spLocks noGrp="1"/>
          </p:cNvSpPr>
          <p:nvPr>
            <p:ph type="pic" sz="quarter" idx="16"/>
          </p:nvPr>
        </p:nvSpPr>
        <p:spPr>
          <a:xfrm>
            <a:off x="4839661" y="2711145"/>
            <a:ext cx="1070487" cy="1069339"/>
          </a:xfrm>
          <a:noFill/>
        </p:spPr>
        <p:txBody>
          <a:bodyPr/>
          <a:lstStyle/>
          <a:p>
            <a:endParaRPr lang="en-US"/>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chemeClr val="accent6"/>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cxnSp>
        <p:nvCxnSpPr>
          <p:cNvPr id="17" name="Straight Arrow Connector 16">
            <a:extLst>
              <a:ext uri="{FF2B5EF4-FFF2-40B4-BE49-F238E27FC236}">
                <a16:creationId xmlns:a16="http://schemas.microsoft.com/office/drawing/2014/main" id="{B191F46D-24FB-484B-8FE4-DAF4D3DF2A21}"/>
              </a:ext>
            </a:extLst>
          </p:cNvPr>
          <p:cNvCxnSpPr>
            <a:cxnSpLocks/>
          </p:cNvCxnSpPr>
          <p:nvPr userDrawn="1"/>
        </p:nvCxnSpPr>
        <p:spPr>
          <a:xfrm>
            <a:off x="6210300" y="0"/>
            <a:ext cx="0" cy="6120581"/>
          </a:xfrm>
          <a:prstGeom prst="straightConnector1">
            <a:avLst/>
          </a:prstGeom>
          <a:ln w="539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12D91811-49F2-49DE-A41C-90B55CDBCC3D}"/>
              </a:ext>
            </a:extLst>
          </p:cNvPr>
          <p:cNvSpPr>
            <a:spLocks noGrp="1"/>
          </p:cNvSpPr>
          <p:nvPr>
            <p:ph type="body" sz="quarter" idx="18" hasCustomPrompt="1"/>
          </p:nvPr>
        </p:nvSpPr>
        <p:spPr>
          <a:xfrm>
            <a:off x="6588919" y="2974566"/>
            <a:ext cx="4764881" cy="1103364"/>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30" name="Text Placeholder 6">
            <a:extLst>
              <a:ext uri="{FF2B5EF4-FFF2-40B4-BE49-F238E27FC236}">
                <a16:creationId xmlns:a16="http://schemas.microsoft.com/office/drawing/2014/main" id="{D67037C5-BE6D-4CA0-94D0-FD8A28BB2281}"/>
              </a:ext>
            </a:extLst>
          </p:cNvPr>
          <p:cNvSpPr>
            <a:spLocks noGrp="1"/>
          </p:cNvSpPr>
          <p:nvPr>
            <p:ph type="body" sz="quarter" idx="19" hasCustomPrompt="1"/>
          </p:nvPr>
        </p:nvSpPr>
        <p:spPr>
          <a:xfrm>
            <a:off x="6588919" y="2277474"/>
            <a:ext cx="1497806" cy="687182"/>
          </a:xfrm>
        </p:spPr>
        <p:txBody>
          <a:bodyPr anchor="t">
            <a:noAutofit/>
          </a:bodyPr>
          <a:lstStyle>
            <a:lvl1pPr marL="0" indent="0" algn="l">
              <a:buNone/>
              <a:defRPr sz="3200" b="1">
                <a:solidFill>
                  <a:schemeClr val="accent2"/>
                </a:solidFill>
              </a:defRPr>
            </a:lvl1pPr>
          </a:lstStyle>
          <a:p>
            <a:pPr lvl="0"/>
            <a:r>
              <a:rPr lang="en-US"/>
              <a:t>0000</a:t>
            </a:r>
          </a:p>
        </p:txBody>
      </p:sp>
      <p:sp>
        <p:nvSpPr>
          <p:cNvPr id="33" name="Picture Placeholder 13">
            <a:extLst>
              <a:ext uri="{FF2B5EF4-FFF2-40B4-BE49-F238E27FC236}">
                <a16:creationId xmlns:a16="http://schemas.microsoft.com/office/drawing/2014/main" id="{F55C0C8F-DBF5-41C3-A84B-0F13E7F55DEC}"/>
              </a:ext>
            </a:extLst>
          </p:cNvPr>
          <p:cNvSpPr>
            <a:spLocks noGrp="1"/>
          </p:cNvSpPr>
          <p:nvPr>
            <p:ph type="pic" sz="quarter" idx="22"/>
          </p:nvPr>
        </p:nvSpPr>
        <p:spPr>
          <a:xfrm>
            <a:off x="4839661" y="4532571"/>
            <a:ext cx="1070487" cy="1069339"/>
          </a:xfrm>
          <a:noFill/>
        </p:spPr>
        <p:txBody>
          <a:bodyPr/>
          <a:lstStyle/>
          <a:p>
            <a:endParaRPr lang="en-US"/>
          </a:p>
        </p:txBody>
      </p:sp>
      <p:sp>
        <p:nvSpPr>
          <p:cNvPr id="34" name="Text Placeholder 6">
            <a:extLst>
              <a:ext uri="{FF2B5EF4-FFF2-40B4-BE49-F238E27FC236}">
                <a16:creationId xmlns:a16="http://schemas.microsoft.com/office/drawing/2014/main" id="{6D77B5B2-870C-447D-8120-25CC8AF13B57}"/>
              </a:ext>
            </a:extLst>
          </p:cNvPr>
          <p:cNvSpPr>
            <a:spLocks noGrp="1"/>
          </p:cNvSpPr>
          <p:nvPr>
            <p:ph type="body" sz="quarter" idx="23" hasCustomPrompt="1"/>
          </p:nvPr>
        </p:nvSpPr>
        <p:spPr>
          <a:xfrm>
            <a:off x="6588919" y="4795992"/>
            <a:ext cx="4764881" cy="1103364"/>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35" name="Text Placeholder 6">
            <a:extLst>
              <a:ext uri="{FF2B5EF4-FFF2-40B4-BE49-F238E27FC236}">
                <a16:creationId xmlns:a16="http://schemas.microsoft.com/office/drawing/2014/main" id="{A4AEE409-F640-457C-BF6B-FE9677EA1A8A}"/>
              </a:ext>
            </a:extLst>
          </p:cNvPr>
          <p:cNvSpPr>
            <a:spLocks noGrp="1"/>
          </p:cNvSpPr>
          <p:nvPr>
            <p:ph type="body" sz="quarter" idx="24" hasCustomPrompt="1"/>
          </p:nvPr>
        </p:nvSpPr>
        <p:spPr>
          <a:xfrm>
            <a:off x="6588919" y="4098900"/>
            <a:ext cx="1497806" cy="687182"/>
          </a:xfrm>
        </p:spPr>
        <p:txBody>
          <a:bodyPr anchor="t">
            <a:noAutofit/>
          </a:bodyPr>
          <a:lstStyle>
            <a:lvl1pPr marL="0" indent="0" algn="l">
              <a:buNone/>
              <a:defRPr sz="3200" b="1">
                <a:solidFill>
                  <a:schemeClr val="accent2"/>
                </a:solidFill>
              </a:defRPr>
            </a:lvl1pPr>
          </a:lstStyle>
          <a:p>
            <a:pPr lvl="0"/>
            <a:r>
              <a:rPr lang="en-US"/>
              <a:t>0000</a:t>
            </a:r>
          </a:p>
        </p:txBody>
      </p:sp>
      <p:sp>
        <p:nvSpPr>
          <p:cNvPr id="39" name="Freeform: Shape 38">
            <a:extLst>
              <a:ext uri="{FF2B5EF4-FFF2-40B4-BE49-F238E27FC236}">
                <a16:creationId xmlns:a16="http://schemas.microsoft.com/office/drawing/2014/main" id="{FE196616-97E0-4D60-A5DD-1A33D9B4282D}"/>
              </a:ext>
            </a:extLst>
          </p:cNvPr>
          <p:cNvSpPr/>
          <p:nvPr userDrawn="1"/>
        </p:nvSpPr>
        <p:spPr>
          <a:xfrm>
            <a:off x="2226468" y="4723392"/>
            <a:ext cx="2231232" cy="2134609"/>
          </a:xfrm>
          <a:custGeom>
            <a:avLst/>
            <a:gdLst>
              <a:gd name="connsiteX0" fmla="*/ 2063384 w 2231232"/>
              <a:gd name="connsiteY0" fmla="*/ 0 h 2134609"/>
              <a:gd name="connsiteX1" fmla="*/ 2231232 w 2231232"/>
              <a:gd name="connsiteY1" fmla="*/ 8677 h 2134609"/>
              <a:gd name="connsiteX2" fmla="*/ 2231232 w 2231232"/>
              <a:gd name="connsiteY2" fmla="*/ 820206 h 2134609"/>
              <a:gd name="connsiteX3" fmla="*/ 2193783 w 2231232"/>
              <a:gd name="connsiteY3" fmla="*/ 814354 h 2134609"/>
              <a:gd name="connsiteX4" fmla="*/ 2063384 w 2231232"/>
              <a:gd name="connsiteY4" fmla="*/ 807613 h 2134609"/>
              <a:gd name="connsiteX5" fmla="*/ 788426 w 2231232"/>
              <a:gd name="connsiteY5" fmla="*/ 2113180 h 2134609"/>
              <a:gd name="connsiteX6" fmla="*/ 789483 w 2231232"/>
              <a:gd name="connsiteY6" fmla="*/ 2134609 h 2134609"/>
              <a:gd name="connsiteX7" fmla="*/ 1057 w 2231232"/>
              <a:gd name="connsiteY7" fmla="*/ 2134609 h 2134609"/>
              <a:gd name="connsiteX8" fmla="*/ 0 w 2231232"/>
              <a:gd name="connsiteY8" fmla="*/ 2113180 h 2134609"/>
              <a:gd name="connsiteX9" fmla="*/ 2063384 w 2231232"/>
              <a:gd name="connsiteY9" fmla="*/ 0 h 213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1232" h="2134609">
                <a:moveTo>
                  <a:pt x="2063384" y="0"/>
                </a:moveTo>
                <a:lnTo>
                  <a:pt x="2231232" y="8677"/>
                </a:lnTo>
                <a:lnTo>
                  <a:pt x="2231232" y="820206"/>
                </a:lnTo>
                <a:lnTo>
                  <a:pt x="2193783" y="814354"/>
                </a:lnTo>
                <a:cubicBezTo>
                  <a:pt x="2150911" y="809897"/>
                  <a:pt x="2107409" y="807613"/>
                  <a:pt x="2063384" y="807613"/>
                </a:cubicBezTo>
                <a:cubicBezTo>
                  <a:pt x="1358991" y="807613"/>
                  <a:pt x="788426" y="1392186"/>
                  <a:pt x="788426" y="2113180"/>
                </a:cubicBezTo>
                <a:lnTo>
                  <a:pt x="789483" y="2134609"/>
                </a:lnTo>
                <a:lnTo>
                  <a:pt x="1057" y="2134609"/>
                </a:lnTo>
                <a:lnTo>
                  <a:pt x="0" y="2113180"/>
                </a:lnTo>
                <a:cubicBezTo>
                  <a:pt x="0" y="946106"/>
                  <a:pt x="923805" y="0"/>
                  <a:pt x="20633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4">
            <a:extLst>
              <a:ext uri="{FF2B5EF4-FFF2-40B4-BE49-F238E27FC236}">
                <a16:creationId xmlns:a16="http://schemas.microsoft.com/office/drawing/2014/main" id="{EE1E4EDB-AAF6-42F2-A8AB-C9D4A6B5A2E5}"/>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151599372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Timeline 1">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988429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9" name="Rectangle 8">
            <a:extLst>
              <a:ext uri="{FF2B5EF4-FFF2-40B4-BE49-F238E27FC236}">
                <a16:creationId xmlns:a16="http://schemas.microsoft.com/office/drawing/2014/main" id="{38A9244C-FE63-433B-BA27-6FB4AAB94D95}"/>
              </a:ext>
            </a:extLst>
          </p:cNvPr>
          <p:cNvSpPr/>
          <p:nvPr userDrawn="1"/>
        </p:nvSpPr>
        <p:spPr>
          <a:xfrm>
            <a:off x="1" y="0"/>
            <a:ext cx="4457699"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Shape 45">
            <a:extLst>
              <a:ext uri="{FF2B5EF4-FFF2-40B4-BE49-F238E27FC236}">
                <a16:creationId xmlns:a16="http://schemas.microsoft.com/office/drawing/2014/main" id="{E336A2F7-7111-4E4B-BBED-4927F4CF5D47}"/>
              </a:ext>
            </a:extLst>
          </p:cNvPr>
          <p:cNvSpPr/>
          <p:nvPr userDrawn="1"/>
        </p:nvSpPr>
        <p:spPr>
          <a:xfrm>
            <a:off x="2227525" y="0"/>
            <a:ext cx="4124659" cy="2091750"/>
          </a:xfrm>
          <a:custGeom>
            <a:avLst/>
            <a:gdLst>
              <a:gd name="connsiteX0" fmla="*/ 0 w 4124659"/>
              <a:gd name="connsiteY0" fmla="*/ 0 h 2091750"/>
              <a:gd name="connsiteX1" fmla="*/ 788426 w 4124659"/>
              <a:gd name="connsiteY1" fmla="*/ 0 h 2091750"/>
              <a:gd name="connsiteX2" fmla="*/ 793954 w 4124659"/>
              <a:gd name="connsiteY2" fmla="*/ 112049 h 2091750"/>
              <a:gd name="connsiteX3" fmla="*/ 2062327 w 4124659"/>
              <a:gd name="connsiteY3" fmla="*/ 1284137 h 2091750"/>
              <a:gd name="connsiteX4" fmla="*/ 3330711 w 4124659"/>
              <a:gd name="connsiteY4" fmla="*/ 112049 h 2091750"/>
              <a:gd name="connsiteX5" fmla="*/ 3336234 w 4124659"/>
              <a:gd name="connsiteY5" fmla="*/ 0 h 2091750"/>
              <a:gd name="connsiteX6" fmla="*/ 4124659 w 4124659"/>
              <a:gd name="connsiteY6" fmla="*/ 0 h 2091750"/>
              <a:gd name="connsiteX7" fmla="*/ 4115063 w 4124659"/>
              <a:gd name="connsiteY7" fmla="*/ 194631 h 2091750"/>
              <a:gd name="connsiteX8" fmla="*/ 2062327 w 4124659"/>
              <a:gd name="connsiteY8" fmla="*/ 2091750 h 2091750"/>
              <a:gd name="connsiteX9" fmla="*/ 9596 w 4124659"/>
              <a:gd name="connsiteY9" fmla="*/ 194631 h 209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4659" h="2091750">
                <a:moveTo>
                  <a:pt x="0" y="0"/>
                </a:moveTo>
                <a:lnTo>
                  <a:pt x="788426" y="0"/>
                </a:lnTo>
                <a:lnTo>
                  <a:pt x="793954" y="112049"/>
                </a:lnTo>
                <a:cubicBezTo>
                  <a:pt x="859273" y="770352"/>
                  <a:pt x="1402446" y="1284137"/>
                  <a:pt x="2062327" y="1284137"/>
                </a:cubicBezTo>
                <a:cubicBezTo>
                  <a:pt x="2722700" y="1284137"/>
                  <a:pt x="3265447" y="770352"/>
                  <a:pt x="3330711" y="112049"/>
                </a:cubicBezTo>
                <a:lnTo>
                  <a:pt x="3336234" y="0"/>
                </a:lnTo>
                <a:lnTo>
                  <a:pt x="4124659" y="0"/>
                </a:lnTo>
                <a:lnTo>
                  <a:pt x="4115063" y="194631"/>
                </a:lnTo>
                <a:cubicBezTo>
                  <a:pt x="4009397" y="1260212"/>
                  <a:pt x="3130686" y="2091750"/>
                  <a:pt x="2062327" y="2091750"/>
                </a:cubicBezTo>
                <a:cubicBezTo>
                  <a:pt x="993972" y="2091750"/>
                  <a:pt x="115262" y="1260212"/>
                  <a:pt x="9596" y="194631"/>
                </a:cubicBezTo>
                <a:close/>
              </a:path>
            </a:pathLst>
          </a:custGeom>
          <a:solidFill>
            <a:schemeClr val="bg1"/>
          </a:solidFill>
          <a:ln w="9264" cap="flat">
            <a:noFill/>
            <a:prstDash val="solid"/>
            <a:miter/>
          </a:ln>
        </p:spPr>
        <p:txBody>
          <a:bodyPr wrap="square" rtlCol="0" anchor="ctr">
            <a:noAutofit/>
          </a:bodyPr>
          <a:lstStyle/>
          <a:p>
            <a:endParaRPr lang="en-US"/>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3693320"/>
            <a:ext cx="3048000" cy="2478880"/>
          </a:xfrm>
        </p:spPr>
        <p:txBody>
          <a:bodyPr anchor="b"/>
          <a:lstStyle>
            <a:lvl1pPr>
              <a:defRPr>
                <a:solidFill>
                  <a:schemeClr val="accent2"/>
                </a:solidFill>
              </a:defRPr>
            </a:lvl1pPr>
          </a:lstStyle>
          <a:p>
            <a:r>
              <a:rPr lang="en-US"/>
              <a:t>Click to edit Master title style</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cxnSp>
        <p:nvCxnSpPr>
          <p:cNvPr id="17" name="Straight Arrow Connector 16">
            <a:extLst>
              <a:ext uri="{FF2B5EF4-FFF2-40B4-BE49-F238E27FC236}">
                <a16:creationId xmlns:a16="http://schemas.microsoft.com/office/drawing/2014/main" id="{B191F46D-24FB-484B-8FE4-DAF4D3DF2A21}"/>
              </a:ext>
            </a:extLst>
          </p:cNvPr>
          <p:cNvCxnSpPr>
            <a:cxnSpLocks/>
          </p:cNvCxnSpPr>
          <p:nvPr userDrawn="1"/>
        </p:nvCxnSpPr>
        <p:spPr>
          <a:xfrm>
            <a:off x="6210300" y="0"/>
            <a:ext cx="0" cy="6120581"/>
          </a:xfrm>
          <a:prstGeom prst="straightConnector1">
            <a:avLst/>
          </a:prstGeom>
          <a:ln w="53975">
            <a:solidFill>
              <a:schemeClr val="accent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7" name="Picture Placeholder 13">
            <a:extLst>
              <a:ext uri="{FF2B5EF4-FFF2-40B4-BE49-F238E27FC236}">
                <a16:creationId xmlns:a16="http://schemas.microsoft.com/office/drawing/2014/main" id="{5108B657-645F-446B-8DD3-39C61A1552AE}"/>
              </a:ext>
            </a:extLst>
          </p:cNvPr>
          <p:cNvSpPr>
            <a:spLocks noGrp="1"/>
          </p:cNvSpPr>
          <p:nvPr>
            <p:ph type="pic" sz="quarter" idx="15"/>
          </p:nvPr>
        </p:nvSpPr>
        <p:spPr>
          <a:xfrm>
            <a:off x="4839661" y="959645"/>
            <a:ext cx="1070487" cy="1069339"/>
          </a:xfrm>
          <a:noFill/>
        </p:spPr>
        <p:txBody>
          <a:bodyPr/>
          <a:lstStyle/>
          <a:p>
            <a:endParaRPr lang="en-US"/>
          </a:p>
        </p:txBody>
      </p:sp>
      <p:sp>
        <p:nvSpPr>
          <p:cNvPr id="38" name="Picture Placeholder 13">
            <a:extLst>
              <a:ext uri="{FF2B5EF4-FFF2-40B4-BE49-F238E27FC236}">
                <a16:creationId xmlns:a16="http://schemas.microsoft.com/office/drawing/2014/main" id="{64885FA7-D8F4-4247-AA04-1BA479975716}"/>
              </a:ext>
            </a:extLst>
          </p:cNvPr>
          <p:cNvSpPr>
            <a:spLocks noGrp="1"/>
          </p:cNvSpPr>
          <p:nvPr>
            <p:ph type="pic" sz="quarter" idx="16"/>
          </p:nvPr>
        </p:nvSpPr>
        <p:spPr>
          <a:xfrm>
            <a:off x="4839661" y="2711145"/>
            <a:ext cx="1070487" cy="1069339"/>
          </a:xfrm>
          <a:noFill/>
        </p:spPr>
        <p:txBody>
          <a:bodyPr/>
          <a:lstStyle/>
          <a:p>
            <a:endParaRPr lang="en-US"/>
          </a:p>
        </p:txBody>
      </p:sp>
      <p:sp>
        <p:nvSpPr>
          <p:cNvPr id="39" name="Picture Placeholder 13">
            <a:extLst>
              <a:ext uri="{FF2B5EF4-FFF2-40B4-BE49-F238E27FC236}">
                <a16:creationId xmlns:a16="http://schemas.microsoft.com/office/drawing/2014/main" id="{1C6CB4DB-9AB8-461F-9522-F00958FE0528}"/>
              </a:ext>
            </a:extLst>
          </p:cNvPr>
          <p:cNvSpPr>
            <a:spLocks noGrp="1"/>
          </p:cNvSpPr>
          <p:nvPr>
            <p:ph type="pic" sz="quarter" idx="22"/>
          </p:nvPr>
        </p:nvSpPr>
        <p:spPr>
          <a:xfrm>
            <a:off x="4839661" y="4532571"/>
            <a:ext cx="1070487" cy="1069339"/>
          </a:xfrm>
          <a:noFill/>
        </p:spPr>
        <p:txBody>
          <a:bodyPr/>
          <a:lstStyle/>
          <a:p>
            <a:endParaRPr lang="en-US"/>
          </a:p>
        </p:txBody>
      </p:sp>
      <p:sp>
        <p:nvSpPr>
          <p:cNvPr id="40" name="Text Placeholder 6">
            <a:extLst>
              <a:ext uri="{FF2B5EF4-FFF2-40B4-BE49-F238E27FC236}">
                <a16:creationId xmlns:a16="http://schemas.microsoft.com/office/drawing/2014/main" id="{B811C772-B95C-46AE-8280-A6E63EF489B8}"/>
              </a:ext>
            </a:extLst>
          </p:cNvPr>
          <p:cNvSpPr>
            <a:spLocks noGrp="1"/>
          </p:cNvSpPr>
          <p:nvPr>
            <p:ph type="body" sz="quarter" idx="13" hasCustomPrompt="1"/>
          </p:nvPr>
        </p:nvSpPr>
        <p:spPr>
          <a:xfrm>
            <a:off x="6588919" y="1229262"/>
            <a:ext cx="4764881" cy="1034615"/>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41" name="Text Placeholder 6">
            <a:extLst>
              <a:ext uri="{FF2B5EF4-FFF2-40B4-BE49-F238E27FC236}">
                <a16:creationId xmlns:a16="http://schemas.microsoft.com/office/drawing/2014/main" id="{BC7792E3-0F00-4E5C-A24A-43DDA625A7D4}"/>
              </a:ext>
            </a:extLst>
          </p:cNvPr>
          <p:cNvSpPr>
            <a:spLocks noGrp="1"/>
          </p:cNvSpPr>
          <p:nvPr>
            <p:ph type="body" sz="quarter" idx="14" hasCustomPrompt="1"/>
          </p:nvPr>
        </p:nvSpPr>
        <p:spPr>
          <a:xfrm>
            <a:off x="6588919" y="532171"/>
            <a:ext cx="1497806" cy="687182"/>
          </a:xfrm>
        </p:spPr>
        <p:txBody>
          <a:bodyPr anchor="t">
            <a:noAutofit/>
          </a:bodyPr>
          <a:lstStyle>
            <a:lvl1pPr marL="0" indent="0" algn="l">
              <a:buNone/>
              <a:defRPr sz="3200" b="1">
                <a:solidFill>
                  <a:schemeClr val="accent2"/>
                </a:solidFill>
              </a:defRPr>
            </a:lvl1pPr>
          </a:lstStyle>
          <a:p>
            <a:pPr lvl="0"/>
            <a:r>
              <a:rPr lang="en-US"/>
              <a:t>0000</a:t>
            </a:r>
          </a:p>
        </p:txBody>
      </p:sp>
      <p:sp>
        <p:nvSpPr>
          <p:cNvPr id="42" name="Text Placeholder 6">
            <a:extLst>
              <a:ext uri="{FF2B5EF4-FFF2-40B4-BE49-F238E27FC236}">
                <a16:creationId xmlns:a16="http://schemas.microsoft.com/office/drawing/2014/main" id="{D1C5E190-114E-4F46-9D7E-19390CB9F47F}"/>
              </a:ext>
            </a:extLst>
          </p:cNvPr>
          <p:cNvSpPr>
            <a:spLocks noGrp="1"/>
          </p:cNvSpPr>
          <p:nvPr>
            <p:ph type="body" sz="quarter" idx="18" hasCustomPrompt="1"/>
          </p:nvPr>
        </p:nvSpPr>
        <p:spPr>
          <a:xfrm>
            <a:off x="6588919" y="2974566"/>
            <a:ext cx="4764881" cy="1103364"/>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43" name="Text Placeholder 6">
            <a:extLst>
              <a:ext uri="{FF2B5EF4-FFF2-40B4-BE49-F238E27FC236}">
                <a16:creationId xmlns:a16="http://schemas.microsoft.com/office/drawing/2014/main" id="{1D38EF96-4804-41E1-B46E-517B630B97EE}"/>
              </a:ext>
            </a:extLst>
          </p:cNvPr>
          <p:cNvSpPr>
            <a:spLocks noGrp="1"/>
          </p:cNvSpPr>
          <p:nvPr>
            <p:ph type="body" sz="quarter" idx="19" hasCustomPrompt="1"/>
          </p:nvPr>
        </p:nvSpPr>
        <p:spPr>
          <a:xfrm>
            <a:off x="6588919" y="2277474"/>
            <a:ext cx="1497806" cy="687182"/>
          </a:xfrm>
        </p:spPr>
        <p:txBody>
          <a:bodyPr anchor="t">
            <a:noAutofit/>
          </a:bodyPr>
          <a:lstStyle>
            <a:lvl1pPr marL="0" indent="0" algn="l">
              <a:buNone/>
              <a:defRPr sz="3200" b="1">
                <a:solidFill>
                  <a:schemeClr val="accent2"/>
                </a:solidFill>
              </a:defRPr>
            </a:lvl1pPr>
          </a:lstStyle>
          <a:p>
            <a:pPr lvl="0"/>
            <a:r>
              <a:rPr lang="en-US"/>
              <a:t>0000</a:t>
            </a:r>
          </a:p>
        </p:txBody>
      </p:sp>
      <p:sp>
        <p:nvSpPr>
          <p:cNvPr id="44" name="Text Placeholder 6">
            <a:extLst>
              <a:ext uri="{FF2B5EF4-FFF2-40B4-BE49-F238E27FC236}">
                <a16:creationId xmlns:a16="http://schemas.microsoft.com/office/drawing/2014/main" id="{9C330B96-DC27-4871-AF65-5A02FE12FE83}"/>
              </a:ext>
            </a:extLst>
          </p:cNvPr>
          <p:cNvSpPr>
            <a:spLocks noGrp="1"/>
          </p:cNvSpPr>
          <p:nvPr>
            <p:ph type="body" sz="quarter" idx="23" hasCustomPrompt="1"/>
          </p:nvPr>
        </p:nvSpPr>
        <p:spPr>
          <a:xfrm>
            <a:off x="6588919" y="4795992"/>
            <a:ext cx="4764881" cy="1103364"/>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p:txBody>
      </p:sp>
      <p:sp>
        <p:nvSpPr>
          <p:cNvPr id="45" name="Text Placeholder 6">
            <a:extLst>
              <a:ext uri="{FF2B5EF4-FFF2-40B4-BE49-F238E27FC236}">
                <a16:creationId xmlns:a16="http://schemas.microsoft.com/office/drawing/2014/main" id="{23BE1BB0-477A-438F-8EDE-4596C7C5D8F4}"/>
              </a:ext>
            </a:extLst>
          </p:cNvPr>
          <p:cNvSpPr>
            <a:spLocks noGrp="1"/>
          </p:cNvSpPr>
          <p:nvPr>
            <p:ph type="body" sz="quarter" idx="24" hasCustomPrompt="1"/>
          </p:nvPr>
        </p:nvSpPr>
        <p:spPr>
          <a:xfrm>
            <a:off x="6588919" y="4098900"/>
            <a:ext cx="1497806" cy="687182"/>
          </a:xfrm>
        </p:spPr>
        <p:txBody>
          <a:bodyPr anchor="t">
            <a:noAutofit/>
          </a:bodyPr>
          <a:lstStyle>
            <a:lvl1pPr marL="0" indent="0" algn="l">
              <a:buNone/>
              <a:defRPr sz="3200" b="1">
                <a:solidFill>
                  <a:schemeClr val="accent2"/>
                </a:solidFill>
              </a:defRPr>
            </a:lvl1pPr>
          </a:lstStyle>
          <a:p>
            <a:pPr lvl="0"/>
            <a:r>
              <a:rPr lang="en-US"/>
              <a:t>0000</a:t>
            </a:r>
          </a:p>
        </p:txBody>
      </p:sp>
      <p:sp>
        <p:nvSpPr>
          <p:cNvPr id="27" name="Slide Number Placeholder 4">
            <a:extLst>
              <a:ext uri="{FF2B5EF4-FFF2-40B4-BE49-F238E27FC236}">
                <a16:creationId xmlns:a16="http://schemas.microsoft.com/office/drawing/2014/main" id="{1E53760C-67B7-4DF5-9F4F-93FD50A1ADE4}"/>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a:p>
        </p:txBody>
      </p:sp>
    </p:spTree>
    <p:extLst>
      <p:ext uri="{BB962C8B-B14F-4D97-AF65-F5344CB8AC3E}">
        <p14:creationId xmlns:p14="http://schemas.microsoft.com/office/powerpoint/2010/main" val="209057344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02">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3047440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7200" b="0" i="0" baseline="0">
              <a:latin typeface="Poppins ExtraBold" panose="00000900000000000000" pitchFamily="2" charset="0"/>
              <a:ea typeface="+mj-ea"/>
              <a:cs typeface="+mj-cs"/>
              <a:sym typeface="Poppins ExtraBold" panose="00000900000000000000" pitchFamily="2" charset="0"/>
            </a:endParaRPr>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2"/>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838200" y="1553029"/>
            <a:ext cx="5143500" cy="936624"/>
          </a:xfrm>
        </p:spPr>
        <p:txBody>
          <a:bodyPr anchor="ctr">
            <a:noAutofit/>
          </a:bodyPr>
          <a:lstStyle>
            <a:lvl1pPr marL="0" indent="0">
              <a:buNone/>
              <a:defRPr sz="3200" b="1">
                <a:solidFill>
                  <a:schemeClr val="accent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Get in touch</a:t>
            </a:r>
          </a:p>
        </p:txBody>
      </p:sp>
      <p:sp>
        <p:nvSpPr>
          <p:cNvPr id="28" name="Picture Placeholder 27">
            <a:extLst>
              <a:ext uri="{FF2B5EF4-FFF2-40B4-BE49-F238E27FC236}">
                <a16:creationId xmlns:a16="http://schemas.microsoft.com/office/drawing/2014/main" id="{9218AEC5-B009-4CA6-8C15-D341FD6254C2}"/>
              </a:ext>
            </a:extLst>
          </p:cNvPr>
          <p:cNvSpPr>
            <a:spLocks noGrp="1"/>
          </p:cNvSpPr>
          <p:nvPr>
            <p:ph type="pic" sz="quarter" idx="11"/>
          </p:nvPr>
        </p:nvSpPr>
        <p:spPr>
          <a:xfrm>
            <a:off x="6210300" y="723900"/>
            <a:ext cx="5143500" cy="5448300"/>
          </a:xfrm>
          <a:custGeom>
            <a:avLst/>
            <a:gdLst>
              <a:gd name="connsiteX0" fmla="*/ 5143500 w 5143500"/>
              <a:gd name="connsiteY0" fmla="*/ 4187827 h 5448300"/>
              <a:gd name="connsiteX1" fmla="*/ 5143500 w 5143500"/>
              <a:gd name="connsiteY1" fmla="*/ 5448300 h 5448300"/>
              <a:gd name="connsiteX2" fmla="*/ 3912579 w 5143500"/>
              <a:gd name="connsiteY2" fmla="*/ 5448300 h 5448300"/>
              <a:gd name="connsiteX3" fmla="*/ 3918931 w 5143500"/>
              <a:gd name="connsiteY3" fmla="*/ 5319433 h 5448300"/>
              <a:gd name="connsiteX4" fmla="*/ 5017606 w 5143500"/>
              <a:gd name="connsiteY4" fmla="*/ 4194335 h 5448300"/>
              <a:gd name="connsiteX5" fmla="*/ 0 w 5143500"/>
              <a:gd name="connsiteY5" fmla="*/ 0 h 5448300"/>
              <a:gd name="connsiteX6" fmla="*/ 5143500 w 5143500"/>
              <a:gd name="connsiteY6" fmla="*/ 0 h 5448300"/>
              <a:gd name="connsiteX7" fmla="*/ 5143500 w 5143500"/>
              <a:gd name="connsiteY7" fmla="*/ 3408108 h 5448300"/>
              <a:gd name="connsiteX8" fmla="*/ 4939818 w 5143500"/>
              <a:gd name="connsiteY8" fmla="*/ 3418641 h 5448300"/>
              <a:gd name="connsiteX9" fmla="*/ 3161669 w 5143500"/>
              <a:gd name="connsiteY9" fmla="*/ 5239704 h 5448300"/>
              <a:gd name="connsiteX10" fmla="*/ 3151384 w 5143500"/>
              <a:gd name="connsiteY10" fmla="*/ 5448300 h 5448300"/>
              <a:gd name="connsiteX11" fmla="*/ 0 w 5143500"/>
              <a:gd name="connsiteY11" fmla="*/ 5448300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3500" h="5448300">
                <a:moveTo>
                  <a:pt x="5143500" y="4187827"/>
                </a:moveTo>
                <a:lnTo>
                  <a:pt x="5143500" y="5448300"/>
                </a:lnTo>
                <a:lnTo>
                  <a:pt x="3912579" y="5448300"/>
                </a:lnTo>
                <a:lnTo>
                  <a:pt x="3918931" y="5319433"/>
                </a:lnTo>
                <a:cubicBezTo>
                  <a:pt x="3977740" y="4726238"/>
                  <a:pt x="4438123" y="4254586"/>
                  <a:pt x="5017606" y="4194335"/>
                </a:cubicBezTo>
                <a:close/>
                <a:moveTo>
                  <a:pt x="0" y="0"/>
                </a:moveTo>
                <a:lnTo>
                  <a:pt x="5143500" y="0"/>
                </a:lnTo>
                <a:lnTo>
                  <a:pt x="5143500" y="3408108"/>
                </a:lnTo>
                <a:lnTo>
                  <a:pt x="4939818" y="3418641"/>
                </a:lnTo>
                <a:cubicBezTo>
                  <a:pt x="4002248" y="3516155"/>
                  <a:pt x="3256884" y="4279511"/>
                  <a:pt x="3161669" y="5239704"/>
                </a:cubicBezTo>
                <a:lnTo>
                  <a:pt x="3151384" y="5448300"/>
                </a:lnTo>
                <a:lnTo>
                  <a:pt x="0" y="5448300"/>
                </a:lnTo>
                <a:close/>
              </a:path>
            </a:pathLst>
          </a:custGeom>
          <a:solidFill>
            <a:schemeClr val="accent5"/>
          </a:solidFill>
        </p:spPr>
        <p:txBody>
          <a:bodyPr wrap="square">
            <a:noAutofit/>
          </a:bodyPr>
          <a:lstStyle/>
          <a:p>
            <a:endParaRPr lang="en-US"/>
          </a:p>
        </p:txBody>
      </p:sp>
      <p:sp>
        <p:nvSpPr>
          <p:cNvPr id="18" name="Text Placeholder 19">
            <a:extLst>
              <a:ext uri="{FF2B5EF4-FFF2-40B4-BE49-F238E27FC236}">
                <a16:creationId xmlns:a16="http://schemas.microsoft.com/office/drawing/2014/main" id="{5A27E887-A1C7-4999-A975-43871A589DF6}"/>
              </a:ext>
            </a:extLst>
          </p:cNvPr>
          <p:cNvSpPr>
            <a:spLocks noGrp="1"/>
          </p:cNvSpPr>
          <p:nvPr>
            <p:ph type="body" sz="quarter" idx="12" hasCustomPrompt="1"/>
          </p:nvPr>
        </p:nvSpPr>
        <p:spPr>
          <a:xfrm>
            <a:off x="838200" y="2638423"/>
            <a:ext cx="3443514" cy="1614263"/>
          </a:xfrm>
        </p:spPr>
        <p:txBody>
          <a:bodyPr anchor="t">
            <a:noAutofit/>
          </a:bodyPr>
          <a:lstStyle>
            <a:lvl1pPr marL="0" indent="0">
              <a:buNone/>
              <a:defRPr sz="2000" b="0">
                <a:solidFill>
                  <a:schemeClr val="tx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19" name="Text Placeholder 19">
            <a:extLst>
              <a:ext uri="{FF2B5EF4-FFF2-40B4-BE49-F238E27FC236}">
                <a16:creationId xmlns:a16="http://schemas.microsoft.com/office/drawing/2014/main" id="{56119B23-2632-4155-8B4C-387550CC5D1A}"/>
              </a:ext>
            </a:extLst>
          </p:cNvPr>
          <p:cNvSpPr>
            <a:spLocks noGrp="1"/>
          </p:cNvSpPr>
          <p:nvPr>
            <p:ph type="body" sz="quarter" idx="13" hasCustomPrompt="1"/>
          </p:nvPr>
        </p:nvSpPr>
        <p:spPr>
          <a:xfrm>
            <a:off x="838200" y="4358367"/>
            <a:ext cx="5143500" cy="381000"/>
          </a:xfrm>
        </p:spPr>
        <p:txBody>
          <a:bodyPr anchor="ctr">
            <a:noAutofit/>
          </a:bodyPr>
          <a:lstStyle>
            <a:lvl1pPr marL="0" indent="0">
              <a:buNone/>
              <a:defRPr sz="1800" b="1">
                <a:solidFill>
                  <a:schemeClr val="accent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0" name="Text Placeholder 19">
            <a:extLst>
              <a:ext uri="{FF2B5EF4-FFF2-40B4-BE49-F238E27FC236}">
                <a16:creationId xmlns:a16="http://schemas.microsoft.com/office/drawing/2014/main" id="{B6EB55DA-EA74-497F-846B-D67100702BE4}"/>
              </a:ext>
            </a:extLst>
          </p:cNvPr>
          <p:cNvSpPr>
            <a:spLocks noGrp="1"/>
          </p:cNvSpPr>
          <p:nvPr>
            <p:ph type="body" sz="quarter" idx="14" hasCustomPrompt="1"/>
          </p:nvPr>
        </p:nvSpPr>
        <p:spPr>
          <a:xfrm>
            <a:off x="838200" y="4888138"/>
            <a:ext cx="3390900" cy="656320"/>
          </a:xfrm>
        </p:spPr>
        <p:txBody>
          <a:bodyPr anchor="t">
            <a:noAutofit/>
          </a:bodyPr>
          <a:lstStyle>
            <a:lvl1pPr marL="0" indent="0">
              <a:lnSpc>
                <a:spcPct val="100000"/>
              </a:lnSpc>
              <a:buNone/>
              <a:defRPr sz="2000" b="0">
                <a:solidFill>
                  <a:schemeClr val="tx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5" name="Text Placeholder 19">
            <a:extLst>
              <a:ext uri="{FF2B5EF4-FFF2-40B4-BE49-F238E27FC236}">
                <a16:creationId xmlns:a16="http://schemas.microsoft.com/office/drawing/2014/main" id="{2D3B211B-BE43-4A83-985B-B83FD16C2239}"/>
              </a:ext>
            </a:extLst>
          </p:cNvPr>
          <p:cNvSpPr>
            <a:spLocks noGrp="1"/>
          </p:cNvSpPr>
          <p:nvPr>
            <p:ph type="body" sz="quarter" idx="15" hasCustomPrompt="1"/>
          </p:nvPr>
        </p:nvSpPr>
        <p:spPr>
          <a:xfrm>
            <a:off x="1157514" y="5776686"/>
            <a:ext cx="3390900" cy="395514"/>
          </a:xfrm>
        </p:spPr>
        <p:txBody>
          <a:bodyPr anchor="ctr">
            <a:noAutofit/>
          </a:bodyPr>
          <a:lstStyle>
            <a:lvl1pPr marL="0" indent="0">
              <a:buNone/>
              <a:defRPr sz="2000" b="0">
                <a:solidFill>
                  <a:schemeClr val="tx2"/>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Location</a:t>
            </a:r>
          </a:p>
        </p:txBody>
      </p:sp>
      <p:pic>
        <p:nvPicPr>
          <p:cNvPr id="26" name="Graphic 25" descr="Marker">
            <a:extLst>
              <a:ext uri="{FF2B5EF4-FFF2-40B4-BE49-F238E27FC236}">
                <a16:creationId xmlns:a16="http://schemas.microsoft.com/office/drawing/2014/main" id="{1206ECF0-DEC8-41EE-BF89-A2E981758264}"/>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6428" y="5769428"/>
            <a:ext cx="406402" cy="406402"/>
          </a:xfrm>
          <a:prstGeom prst="rect">
            <a:avLst/>
          </a:prstGeom>
        </p:spPr>
      </p:pic>
    </p:spTree>
    <p:extLst>
      <p:ext uri="{BB962C8B-B14F-4D97-AF65-F5344CB8AC3E}">
        <p14:creationId xmlns:p14="http://schemas.microsoft.com/office/powerpoint/2010/main" val="4128798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5">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874309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21F82D18-A7FF-456E-805E-A70AC625A2E8}"/>
              </a:ext>
            </a:extLst>
          </p:cNvPr>
          <p:cNvSpPr/>
          <p:nvPr userDrawn="1"/>
        </p:nvSpPr>
        <p:spPr>
          <a:xfrm>
            <a:off x="0" y="0"/>
            <a:ext cx="77343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Section Title</a:t>
            </a:r>
          </a:p>
        </p:txBody>
      </p:sp>
      <p:sp>
        <p:nvSpPr>
          <p:cNvPr id="26" name="Text Placeholder 19">
            <a:extLst>
              <a:ext uri="{FF2B5EF4-FFF2-40B4-BE49-F238E27FC236}">
                <a16:creationId xmlns:a16="http://schemas.microsoft.com/office/drawing/2014/main" id="{6B195838-967E-4121-BBF1-51F32A68DFF9}"/>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9" name="Picture Placeholder 8">
            <a:extLst>
              <a:ext uri="{FF2B5EF4-FFF2-40B4-BE49-F238E27FC236}">
                <a16:creationId xmlns:a16="http://schemas.microsoft.com/office/drawing/2014/main" id="{58CE89ED-413D-47E7-B6FD-C32A75B80955}"/>
              </a:ext>
            </a:extLst>
          </p:cNvPr>
          <p:cNvSpPr>
            <a:spLocks noGrp="1"/>
          </p:cNvSpPr>
          <p:nvPr>
            <p:ph type="pic" sz="quarter" idx="11"/>
          </p:nvPr>
        </p:nvSpPr>
        <p:spPr>
          <a:xfrm>
            <a:off x="7734300" y="0"/>
            <a:ext cx="4457700" cy="6858000"/>
          </a:xfrm>
        </p:spPr>
        <p:txBody>
          <a:bodyPr/>
          <a:lstStyle/>
          <a:p>
            <a:endParaRPr lang="en-US"/>
          </a:p>
        </p:txBody>
      </p:sp>
    </p:spTree>
    <p:extLst>
      <p:ext uri="{BB962C8B-B14F-4D97-AF65-F5344CB8AC3E}">
        <p14:creationId xmlns:p14="http://schemas.microsoft.com/office/powerpoint/2010/main" val="93350533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d 03">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529043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7200" b="0" i="0" baseline="0">
              <a:latin typeface="Poppins ExtraBold" panose="00000900000000000000" pitchFamily="2" charset="0"/>
              <a:ea typeface="+mj-ea"/>
              <a:cs typeface="+mj-cs"/>
              <a:sym typeface="Poppins ExtraBold" panose="00000900000000000000" pitchFamily="2" charset="0"/>
            </a:endParaRPr>
          </a:p>
        </p:txBody>
      </p:sp>
      <p:sp>
        <p:nvSpPr>
          <p:cNvPr id="34" name="Freeform: Shape 33">
            <a:extLst>
              <a:ext uri="{FF2B5EF4-FFF2-40B4-BE49-F238E27FC236}">
                <a16:creationId xmlns:a16="http://schemas.microsoft.com/office/drawing/2014/main" id="{50125DA0-2888-4964-B311-B44814979B1B}"/>
              </a:ext>
            </a:extLst>
          </p:cNvPr>
          <p:cNvSpPr/>
          <p:nvPr userDrawn="1"/>
        </p:nvSpPr>
        <p:spPr>
          <a:xfrm>
            <a:off x="6096000" y="723900"/>
            <a:ext cx="5319915" cy="5448300"/>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chemeClr val="accent5"/>
          </a:solidFill>
          <a:ln w="9264" cap="flat">
            <a:noFill/>
            <a:prstDash val="solid"/>
            <a:miter/>
          </a:ln>
        </p:spPr>
        <p:txBody>
          <a:bodyPr rtlCol="0" anchor="ctr"/>
          <a:lstStyle/>
          <a:p>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2"/>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18" name="Rectangle 17">
            <a:extLst>
              <a:ext uri="{FF2B5EF4-FFF2-40B4-BE49-F238E27FC236}">
                <a16:creationId xmlns:a16="http://schemas.microsoft.com/office/drawing/2014/main" id="{D3D0F794-BF98-49A7-A3AA-94AEDBE61DC7}"/>
              </a:ext>
            </a:extLst>
          </p:cNvPr>
          <p:cNvSpPr/>
          <p:nvPr userDrawn="1"/>
        </p:nvSpPr>
        <p:spPr>
          <a:xfrm>
            <a:off x="8736746" y="0"/>
            <a:ext cx="345525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2322249F-FBC2-4DD3-BD5B-014B02DCF611}"/>
              </a:ext>
            </a:extLst>
          </p:cNvPr>
          <p:cNvSpPr/>
          <p:nvPr userDrawn="1"/>
        </p:nvSpPr>
        <p:spPr>
          <a:xfrm>
            <a:off x="8736746" y="726620"/>
            <a:ext cx="2607372" cy="5442861"/>
          </a:xfrm>
          <a:custGeom>
            <a:avLst/>
            <a:gdLst>
              <a:gd name="connsiteX0" fmla="*/ 0 w 2607372"/>
              <a:gd name="connsiteY0" fmla="*/ 0 h 5442861"/>
              <a:gd name="connsiteX1" fmla="*/ 219493 w 2607372"/>
              <a:gd name="connsiteY1" fmla="*/ 11346 h 5442861"/>
              <a:gd name="connsiteX2" fmla="*/ 2607372 w 2607372"/>
              <a:gd name="connsiteY2" fmla="*/ 2721431 h 5442861"/>
              <a:gd name="connsiteX3" fmla="*/ 219375 w 2607372"/>
              <a:gd name="connsiteY3" fmla="*/ 5431517 h 5442861"/>
              <a:gd name="connsiteX4" fmla="*/ 0 w 2607372"/>
              <a:gd name="connsiteY4" fmla="*/ 5442861 h 5442861"/>
              <a:gd name="connsiteX5" fmla="*/ 0 w 2607372"/>
              <a:gd name="connsiteY5" fmla="*/ 4401749 h 5442861"/>
              <a:gd name="connsiteX6" fmla="*/ 115509 w 2607372"/>
              <a:gd name="connsiteY6" fmla="*/ 4395778 h 5442861"/>
              <a:gd name="connsiteX7" fmla="*/ 1590993 w 2607372"/>
              <a:gd name="connsiteY7" fmla="*/ 2721431 h 5442861"/>
              <a:gd name="connsiteX8" fmla="*/ 115509 w 2607372"/>
              <a:gd name="connsiteY8" fmla="*/ 1047085 h 5442861"/>
              <a:gd name="connsiteX9" fmla="*/ 0 w 2607372"/>
              <a:gd name="connsiteY9" fmla="*/ 1041113 h 544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7372" h="5442861">
                <a:moveTo>
                  <a:pt x="0" y="0"/>
                </a:moveTo>
                <a:lnTo>
                  <a:pt x="219493" y="11346"/>
                </a:lnTo>
                <a:cubicBezTo>
                  <a:pt x="1561351" y="150850"/>
                  <a:pt x="2607994" y="1310960"/>
                  <a:pt x="2607372" y="2721431"/>
                </a:cubicBezTo>
                <a:cubicBezTo>
                  <a:pt x="2607372" y="4131903"/>
                  <a:pt x="1560683" y="5292013"/>
                  <a:pt x="219375" y="5431517"/>
                </a:cubicBezTo>
                <a:lnTo>
                  <a:pt x="0" y="5442861"/>
                </a:lnTo>
                <a:lnTo>
                  <a:pt x="0" y="4401749"/>
                </a:lnTo>
                <a:lnTo>
                  <a:pt x="115509" y="4395778"/>
                </a:lnTo>
                <a:cubicBezTo>
                  <a:pt x="944533" y="4309583"/>
                  <a:pt x="1590993" y="3592791"/>
                  <a:pt x="1590993" y="2721431"/>
                </a:cubicBezTo>
                <a:cubicBezTo>
                  <a:pt x="1590993" y="1850072"/>
                  <a:pt x="944533" y="1133280"/>
                  <a:pt x="115509" y="1047085"/>
                </a:cubicBezTo>
                <a:lnTo>
                  <a:pt x="0" y="1041113"/>
                </a:lnTo>
                <a:close/>
              </a:path>
            </a:pathLst>
          </a:custGeom>
          <a:solidFill>
            <a:schemeClr val="accent2"/>
          </a:solidFill>
          <a:ln w="25400" cap="flat">
            <a:noFill/>
            <a:prstDash val="solid"/>
            <a:miter/>
          </a:ln>
        </p:spPr>
        <p:txBody>
          <a:bodyPr wrap="square" rtlCol="0" anchor="ctr">
            <a:noAutofit/>
          </a:bodyPr>
          <a:lstStyle/>
          <a:p>
            <a:endParaRPr lang="en-US"/>
          </a:p>
        </p:txBody>
      </p:sp>
      <p:sp>
        <p:nvSpPr>
          <p:cNvPr id="20" name="Text Placeholder 19">
            <a:extLst>
              <a:ext uri="{FF2B5EF4-FFF2-40B4-BE49-F238E27FC236}">
                <a16:creationId xmlns:a16="http://schemas.microsoft.com/office/drawing/2014/main" id="{A42BCB1D-1DBE-4137-AE3E-7C8FDDC1B9C7}"/>
              </a:ext>
            </a:extLst>
          </p:cNvPr>
          <p:cNvSpPr>
            <a:spLocks noGrp="1"/>
          </p:cNvSpPr>
          <p:nvPr>
            <p:ph type="body" sz="quarter" idx="10" hasCustomPrompt="1"/>
          </p:nvPr>
        </p:nvSpPr>
        <p:spPr>
          <a:xfrm>
            <a:off x="838200" y="1553029"/>
            <a:ext cx="5143500" cy="936624"/>
          </a:xfrm>
        </p:spPr>
        <p:txBody>
          <a:bodyPr anchor="ctr">
            <a:noAutofit/>
          </a:bodyPr>
          <a:lstStyle>
            <a:lvl1pPr marL="0" indent="0">
              <a:buNone/>
              <a:defRPr sz="3200" b="1">
                <a:solidFill>
                  <a:schemeClr val="accent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Get in touch</a:t>
            </a:r>
          </a:p>
        </p:txBody>
      </p:sp>
      <p:sp>
        <p:nvSpPr>
          <p:cNvPr id="25" name="Text Placeholder 19">
            <a:extLst>
              <a:ext uri="{FF2B5EF4-FFF2-40B4-BE49-F238E27FC236}">
                <a16:creationId xmlns:a16="http://schemas.microsoft.com/office/drawing/2014/main" id="{43438594-87F2-48ED-A304-431973F0FF9A}"/>
              </a:ext>
            </a:extLst>
          </p:cNvPr>
          <p:cNvSpPr>
            <a:spLocks noGrp="1"/>
          </p:cNvSpPr>
          <p:nvPr>
            <p:ph type="body" sz="quarter" idx="13" hasCustomPrompt="1"/>
          </p:nvPr>
        </p:nvSpPr>
        <p:spPr>
          <a:xfrm>
            <a:off x="838200" y="2660195"/>
            <a:ext cx="5143500" cy="381000"/>
          </a:xfrm>
        </p:spPr>
        <p:txBody>
          <a:bodyPr anchor="ctr">
            <a:noAutofit/>
          </a:bodyPr>
          <a:lstStyle>
            <a:lvl1pPr marL="0" indent="0">
              <a:buNone/>
              <a:defRPr sz="1800" b="1">
                <a:solidFill>
                  <a:schemeClr val="accent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6" name="Text Placeholder 19">
            <a:extLst>
              <a:ext uri="{FF2B5EF4-FFF2-40B4-BE49-F238E27FC236}">
                <a16:creationId xmlns:a16="http://schemas.microsoft.com/office/drawing/2014/main" id="{EE62091C-3107-44A8-B428-143FD01D2F8D}"/>
              </a:ext>
            </a:extLst>
          </p:cNvPr>
          <p:cNvSpPr>
            <a:spLocks noGrp="1"/>
          </p:cNvSpPr>
          <p:nvPr>
            <p:ph type="body" sz="quarter" idx="14" hasCustomPrompt="1"/>
          </p:nvPr>
        </p:nvSpPr>
        <p:spPr>
          <a:xfrm>
            <a:off x="838200" y="3081108"/>
            <a:ext cx="3390900" cy="656320"/>
          </a:xfrm>
        </p:spPr>
        <p:txBody>
          <a:bodyPr anchor="t">
            <a:noAutofit/>
          </a:bodyPr>
          <a:lstStyle>
            <a:lvl1pPr marL="0" indent="0">
              <a:lnSpc>
                <a:spcPct val="100000"/>
              </a:lnSpc>
              <a:buNone/>
              <a:defRPr sz="2000" b="0">
                <a:solidFill>
                  <a:schemeClr val="tx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7" name="Text Placeholder 19">
            <a:extLst>
              <a:ext uri="{FF2B5EF4-FFF2-40B4-BE49-F238E27FC236}">
                <a16:creationId xmlns:a16="http://schemas.microsoft.com/office/drawing/2014/main" id="{619E251F-4D23-4468-900C-BF5FAC2CC3A9}"/>
              </a:ext>
            </a:extLst>
          </p:cNvPr>
          <p:cNvSpPr>
            <a:spLocks noGrp="1"/>
          </p:cNvSpPr>
          <p:nvPr>
            <p:ph type="body" sz="quarter" idx="15" hasCustomPrompt="1"/>
          </p:nvPr>
        </p:nvSpPr>
        <p:spPr>
          <a:xfrm>
            <a:off x="1157514" y="3846285"/>
            <a:ext cx="3390900" cy="395514"/>
          </a:xfrm>
        </p:spPr>
        <p:txBody>
          <a:bodyPr anchor="ctr">
            <a:noAutofit/>
          </a:bodyPr>
          <a:lstStyle>
            <a:lvl1pPr marL="0" indent="0">
              <a:buNone/>
              <a:defRPr sz="2000" b="0">
                <a:solidFill>
                  <a:schemeClr val="tx2"/>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Location</a:t>
            </a:r>
          </a:p>
        </p:txBody>
      </p:sp>
      <p:pic>
        <p:nvPicPr>
          <p:cNvPr id="28" name="Graphic 27" descr="Marker">
            <a:extLst>
              <a:ext uri="{FF2B5EF4-FFF2-40B4-BE49-F238E27FC236}">
                <a16:creationId xmlns:a16="http://schemas.microsoft.com/office/drawing/2014/main" id="{FE41185B-9D93-407C-AF1F-D2B5B02B1142}"/>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6428" y="3839027"/>
            <a:ext cx="406402" cy="406402"/>
          </a:xfrm>
          <a:prstGeom prst="rect">
            <a:avLst/>
          </a:prstGeom>
        </p:spPr>
      </p:pic>
      <p:sp>
        <p:nvSpPr>
          <p:cNvPr id="29" name="Text Placeholder 19">
            <a:extLst>
              <a:ext uri="{FF2B5EF4-FFF2-40B4-BE49-F238E27FC236}">
                <a16:creationId xmlns:a16="http://schemas.microsoft.com/office/drawing/2014/main" id="{F1A54FBC-0783-42C7-AAB0-447237780D1F}"/>
              </a:ext>
            </a:extLst>
          </p:cNvPr>
          <p:cNvSpPr>
            <a:spLocks noGrp="1"/>
          </p:cNvSpPr>
          <p:nvPr>
            <p:ph type="body" sz="quarter" idx="16" hasCustomPrompt="1"/>
          </p:nvPr>
        </p:nvSpPr>
        <p:spPr>
          <a:xfrm>
            <a:off x="838200" y="4521652"/>
            <a:ext cx="5143500" cy="381000"/>
          </a:xfrm>
        </p:spPr>
        <p:txBody>
          <a:bodyPr anchor="ctr">
            <a:noAutofit/>
          </a:bodyPr>
          <a:lstStyle>
            <a:lvl1pPr marL="0" indent="0">
              <a:buNone/>
              <a:defRPr sz="1800" b="1">
                <a:solidFill>
                  <a:schemeClr val="accent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30" name="Text Placeholder 19">
            <a:extLst>
              <a:ext uri="{FF2B5EF4-FFF2-40B4-BE49-F238E27FC236}">
                <a16:creationId xmlns:a16="http://schemas.microsoft.com/office/drawing/2014/main" id="{C05A40B9-D3BC-4F82-AFEE-2E5AFC78B6C0}"/>
              </a:ext>
            </a:extLst>
          </p:cNvPr>
          <p:cNvSpPr>
            <a:spLocks noGrp="1"/>
          </p:cNvSpPr>
          <p:nvPr>
            <p:ph type="body" sz="quarter" idx="17" hasCustomPrompt="1"/>
          </p:nvPr>
        </p:nvSpPr>
        <p:spPr>
          <a:xfrm>
            <a:off x="838200" y="4957080"/>
            <a:ext cx="3390900" cy="656320"/>
          </a:xfrm>
        </p:spPr>
        <p:txBody>
          <a:bodyPr anchor="t">
            <a:noAutofit/>
          </a:bodyPr>
          <a:lstStyle>
            <a:lvl1pPr marL="0" indent="0">
              <a:lnSpc>
                <a:spcPct val="100000"/>
              </a:lnSpc>
              <a:buNone/>
              <a:defRPr sz="2000" b="0">
                <a:solidFill>
                  <a:schemeClr val="tx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31" name="Text Placeholder 19">
            <a:extLst>
              <a:ext uri="{FF2B5EF4-FFF2-40B4-BE49-F238E27FC236}">
                <a16:creationId xmlns:a16="http://schemas.microsoft.com/office/drawing/2014/main" id="{91FA6253-C047-48A2-BA4B-9489970CDBF3}"/>
              </a:ext>
            </a:extLst>
          </p:cNvPr>
          <p:cNvSpPr>
            <a:spLocks noGrp="1"/>
          </p:cNvSpPr>
          <p:nvPr>
            <p:ph type="body" sz="quarter" idx="18" hasCustomPrompt="1"/>
          </p:nvPr>
        </p:nvSpPr>
        <p:spPr>
          <a:xfrm>
            <a:off x="1157514" y="5776686"/>
            <a:ext cx="3390900" cy="395514"/>
          </a:xfrm>
        </p:spPr>
        <p:txBody>
          <a:bodyPr anchor="ctr">
            <a:noAutofit/>
          </a:bodyPr>
          <a:lstStyle>
            <a:lvl1pPr marL="0" indent="0">
              <a:buNone/>
              <a:defRPr sz="2000" b="0">
                <a:solidFill>
                  <a:schemeClr val="tx2"/>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Location</a:t>
            </a:r>
          </a:p>
        </p:txBody>
      </p:sp>
      <p:pic>
        <p:nvPicPr>
          <p:cNvPr id="32" name="Graphic 31" descr="Marker">
            <a:extLst>
              <a:ext uri="{FF2B5EF4-FFF2-40B4-BE49-F238E27FC236}">
                <a16:creationId xmlns:a16="http://schemas.microsoft.com/office/drawing/2014/main" id="{16E13A47-C8D5-4FFF-9214-2AF186DA8BD5}"/>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6428" y="5769428"/>
            <a:ext cx="406402" cy="406402"/>
          </a:xfrm>
          <a:prstGeom prst="rect">
            <a:avLst/>
          </a:prstGeom>
        </p:spPr>
      </p:pic>
      <p:cxnSp>
        <p:nvCxnSpPr>
          <p:cNvPr id="3" name="Straight Connector 2">
            <a:extLst>
              <a:ext uri="{FF2B5EF4-FFF2-40B4-BE49-F238E27FC236}">
                <a16:creationId xmlns:a16="http://schemas.microsoft.com/office/drawing/2014/main" id="{853673FB-BAD4-4556-AD14-9ADD867C2AE6}"/>
              </a:ext>
            </a:extLst>
          </p:cNvPr>
          <p:cNvCxnSpPr/>
          <p:nvPr userDrawn="1"/>
        </p:nvCxnSpPr>
        <p:spPr>
          <a:xfrm>
            <a:off x="838200" y="4434114"/>
            <a:ext cx="33909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700182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05">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3304445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21F82D18-A7FF-456E-805E-A70AC625A2E8}"/>
              </a:ext>
            </a:extLst>
          </p:cNvPr>
          <p:cNvSpPr/>
          <p:nvPr userDrawn="1"/>
        </p:nvSpPr>
        <p:spPr>
          <a:xfrm>
            <a:off x="0" y="0"/>
            <a:ext cx="77343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9" name="Picture Placeholder 8">
            <a:extLst>
              <a:ext uri="{FF2B5EF4-FFF2-40B4-BE49-F238E27FC236}">
                <a16:creationId xmlns:a16="http://schemas.microsoft.com/office/drawing/2014/main" id="{58CE89ED-413D-47E7-B6FD-C32A75B80955}"/>
              </a:ext>
            </a:extLst>
          </p:cNvPr>
          <p:cNvSpPr>
            <a:spLocks noGrp="1"/>
          </p:cNvSpPr>
          <p:nvPr>
            <p:ph type="pic" sz="quarter" idx="11"/>
          </p:nvPr>
        </p:nvSpPr>
        <p:spPr>
          <a:xfrm>
            <a:off x="7734300" y="0"/>
            <a:ext cx="4457700" cy="6858000"/>
          </a:xfrm>
        </p:spPr>
        <p:txBody>
          <a:bodyPr/>
          <a:lstStyle/>
          <a:p>
            <a:endParaRPr lang="en-US"/>
          </a:p>
        </p:txBody>
      </p:sp>
      <p:sp>
        <p:nvSpPr>
          <p:cNvPr id="18" name="Text Placeholder 19">
            <a:extLst>
              <a:ext uri="{FF2B5EF4-FFF2-40B4-BE49-F238E27FC236}">
                <a16:creationId xmlns:a16="http://schemas.microsoft.com/office/drawing/2014/main" id="{1A430E2B-8ED8-4D85-9C56-176192A4A79D}"/>
              </a:ext>
            </a:extLst>
          </p:cNvPr>
          <p:cNvSpPr>
            <a:spLocks noGrp="1"/>
          </p:cNvSpPr>
          <p:nvPr>
            <p:ph type="body" sz="quarter" idx="10" hasCustomPrompt="1"/>
          </p:nvPr>
        </p:nvSpPr>
        <p:spPr>
          <a:xfrm>
            <a:off x="838200" y="1553029"/>
            <a:ext cx="5143500" cy="936624"/>
          </a:xfrm>
        </p:spPr>
        <p:txBody>
          <a:bodyPr anchor="ctr">
            <a:noAutofit/>
          </a:bodyPr>
          <a:lstStyle>
            <a:lvl1pPr marL="0" indent="0">
              <a:buNone/>
              <a:defRPr sz="3200" b="1">
                <a:solidFill>
                  <a:schemeClr val="bg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Get in touch</a:t>
            </a:r>
          </a:p>
        </p:txBody>
      </p:sp>
      <p:sp>
        <p:nvSpPr>
          <p:cNvPr id="19" name="Text Placeholder 19">
            <a:extLst>
              <a:ext uri="{FF2B5EF4-FFF2-40B4-BE49-F238E27FC236}">
                <a16:creationId xmlns:a16="http://schemas.microsoft.com/office/drawing/2014/main" id="{995DB472-FD40-4927-BF49-923A6B809C18}"/>
              </a:ext>
            </a:extLst>
          </p:cNvPr>
          <p:cNvSpPr>
            <a:spLocks noGrp="1"/>
          </p:cNvSpPr>
          <p:nvPr>
            <p:ph type="body" sz="quarter" idx="13" hasCustomPrompt="1"/>
          </p:nvPr>
        </p:nvSpPr>
        <p:spPr>
          <a:xfrm>
            <a:off x="838200" y="2660195"/>
            <a:ext cx="5143500" cy="381000"/>
          </a:xfrm>
        </p:spPr>
        <p:txBody>
          <a:bodyPr anchor="ctr">
            <a:noAutofit/>
          </a:bodyPr>
          <a:lstStyle>
            <a:lvl1pPr marL="0" indent="0">
              <a:buNone/>
              <a:defRPr sz="20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0" name="Text Placeholder 19">
            <a:extLst>
              <a:ext uri="{FF2B5EF4-FFF2-40B4-BE49-F238E27FC236}">
                <a16:creationId xmlns:a16="http://schemas.microsoft.com/office/drawing/2014/main" id="{556786F3-6457-4101-9D74-9846484E508D}"/>
              </a:ext>
            </a:extLst>
          </p:cNvPr>
          <p:cNvSpPr>
            <a:spLocks noGrp="1"/>
          </p:cNvSpPr>
          <p:nvPr>
            <p:ph type="body" sz="quarter" idx="14" hasCustomPrompt="1"/>
          </p:nvPr>
        </p:nvSpPr>
        <p:spPr>
          <a:xfrm>
            <a:off x="838200" y="3081108"/>
            <a:ext cx="3390900" cy="656320"/>
          </a:xfrm>
        </p:spPr>
        <p:txBody>
          <a:bodyPr anchor="t">
            <a:noAutofit/>
          </a:bodyPr>
          <a:lstStyle>
            <a:lvl1pPr marL="0" indent="0">
              <a:lnSpc>
                <a:spcPct val="100000"/>
              </a:lnSpc>
              <a:buNone/>
              <a:defRPr sz="20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2" name="Text Placeholder 19">
            <a:extLst>
              <a:ext uri="{FF2B5EF4-FFF2-40B4-BE49-F238E27FC236}">
                <a16:creationId xmlns:a16="http://schemas.microsoft.com/office/drawing/2014/main" id="{993CAD56-7ECD-4BCF-BCBE-E722F11EFAAD}"/>
              </a:ext>
            </a:extLst>
          </p:cNvPr>
          <p:cNvSpPr>
            <a:spLocks noGrp="1"/>
          </p:cNvSpPr>
          <p:nvPr>
            <p:ph type="body" sz="quarter" idx="15" hasCustomPrompt="1"/>
          </p:nvPr>
        </p:nvSpPr>
        <p:spPr>
          <a:xfrm>
            <a:off x="1157514" y="3846285"/>
            <a:ext cx="3390900" cy="395514"/>
          </a:xfrm>
        </p:spPr>
        <p:txBody>
          <a:bodyPr anchor="ctr">
            <a:noAutofit/>
          </a:bodyPr>
          <a:lstStyle>
            <a:lvl1pPr marL="0" indent="0">
              <a:buNone/>
              <a:defRPr sz="1600" b="0">
                <a:solidFill>
                  <a:schemeClr val="bg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Location</a:t>
            </a:r>
          </a:p>
        </p:txBody>
      </p:sp>
      <p:pic>
        <p:nvPicPr>
          <p:cNvPr id="25" name="Graphic 24" descr="Marker">
            <a:extLst>
              <a:ext uri="{FF2B5EF4-FFF2-40B4-BE49-F238E27FC236}">
                <a16:creationId xmlns:a16="http://schemas.microsoft.com/office/drawing/2014/main" id="{A1682CF7-DD18-4D06-AF3A-C6D45EEA71E8}"/>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6428" y="3839027"/>
            <a:ext cx="406402" cy="406402"/>
          </a:xfrm>
          <a:prstGeom prst="rect">
            <a:avLst/>
          </a:prstGeom>
        </p:spPr>
      </p:pic>
      <p:sp>
        <p:nvSpPr>
          <p:cNvPr id="27" name="Text Placeholder 19">
            <a:extLst>
              <a:ext uri="{FF2B5EF4-FFF2-40B4-BE49-F238E27FC236}">
                <a16:creationId xmlns:a16="http://schemas.microsoft.com/office/drawing/2014/main" id="{B9945815-D07B-4DC9-AE2F-444DEE42DEAA}"/>
              </a:ext>
            </a:extLst>
          </p:cNvPr>
          <p:cNvSpPr>
            <a:spLocks noGrp="1"/>
          </p:cNvSpPr>
          <p:nvPr>
            <p:ph type="body" sz="quarter" idx="16" hasCustomPrompt="1"/>
          </p:nvPr>
        </p:nvSpPr>
        <p:spPr>
          <a:xfrm>
            <a:off x="838200" y="4521652"/>
            <a:ext cx="5143500" cy="381000"/>
          </a:xfrm>
        </p:spPr>
        <p:txBody>
          <a:bodyPr anchor="ctr">
            <a:noAutofit/>
          </a:bodyPr>
          <a:lstStyle>
            <a:lvl1pPr marL="0" indent="0">
              <a:buNone/>
              <a:defRPr sz="20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8" name="Text Placeholder 19">
            <a:extLst>
              <a:ext uri="{FF2B5EF4-FFF2-40B4-BE49-F238E27FC236}">
                <a16:creationId xmlns:a16="http://schemas.microsoft.com/office/drawing/2014/main" id="{83C797FB-88CF-4E5D-9527-516888E34010}"/>
              </a:ext>
            </a:extLst>
          </p:cNvPr>
          <p:cNvSpPr>
            <a:spLocks noGrp="1"/>
          </p:cNvSpPr>
          <p:nvPr>
            <p:ph type="body" sz="quarter" idx="17" hasCustomPrompt="1"/>
          </p:nvPr>
        </p:nvSpPr>
        <p:spPr>
          <a:xfrm>
            <a:off x="838200" y="4957080"/>
            <a:ext cx="3390900" cy="656320"/>
          </a:xfrm>
        </p:spPr>
        <p:txBody>
          <a:bodyPr anchor="t">
            <a:noAutofit/>
          </a:bodyPr>
          <a:lstStyle>
            <a:lvl1pPr marL="0" indent="0">
              <a:lnSpc>
                <a:spcPct val="100000"/>
              </a:lnSpc>
              <a:buNone/>
              <a:defRPr sz="20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9" name="Text Placeholder 19">
            <a:extLst>
              <a:ext uri="{FF2B5EF4-FFF2-40B4-BE49-F238E27FC236}">
                <a16:creationId xmlns:a16="http://schemas.microsoft.com/office/drawing/2014/main" id="{4AD3F5B7-EE9D-4708-81E6-88D865106AD5}"/>
              </a:ext>
            </a:extLst>
          </p:cNvPr>
          <p:cNvSpPr>
            <a:spLocks noGrp="1"/>
          </p:cNvSpPr>
          <p:nvPr>
            <p:ph type="body" sz="quarter" idx="18" hasCustomPrompt="1"/>
          </p:nvPr>
        </p:nvSpPr>
        <p:spPr>
          <a:xfrm>
            <a:off x="1157514" y="5776686"/>
            <a:ext cx="3390900" cy="395514"/>
          </a:xfrm>
        </p:spPr>
        <p:txBody>
          <a:bodyPr anchor="ctr">
            <a:noAutofit/>
          </a:bodyPr>
          <a:lstStyle>
            <a:lvl1pPr marL="0" indent="0">
              <a:buNone/>
              <a:defRPr sz="1600" b="0">
                <a:solidFill>
                  <a:schemeClr val="bg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Location</a:t>
            </a:r>
          </a:p>
        </p:txBody>
      </p:sp>
      <p:pic>
        <p:nvPicPr>
          <p:cNvPr id="30" name="Graphic 29" descr="Marker">
            <a:extLst>
              <a:ext uri="{FF2B5EF4-FFF2-40B4-BE49-F238E27FC236}">
                <a16:creationId xmlns:a16="http://schemas.microsoft.com/office/drawing/2014/main" id="{BD0DD077-8224-45CE-845F-CF9B1DC34062}"/>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6428" y="5769428"/>
            <a:ext cx="406402" cy="406402"/>
          </a:xfrm>
          <a:prstGeom prst="rect">
            <a:avLst/>
          </a:prstGeom>
        </p:spPr>
      </p:pic>
      <p:cxnSp>
        <p:nvCxnSpPr>
          <p:cNvPr id="31" name="Straight Connector 30">
            <a:extLst>
              <a:ext uri="{FF2B5EF4-FFF2-40B4-BE49-F238E27FC236}">
                <a16:creationId xmlns:a16="http://schemas.microsoft.com/office/drawing/2014/main" id="{95A7297C-A002-42F4-8627-C9E3C2936A43}"/>
              </a:ext>
            </a:extLst>
          </p:cNvPr>
          <p:cNvCxnSpPr/>
          <p:nvPr userDrawn="1"/>
        </p:nvCxnSpPr>
        <p:spPr>
          <a:xfrm>
            <a:off x="838200" y="4434114"/>
            <a:ext cx="33909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9883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04">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528480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904999" y="0"/>
            <a:ext cx="10287001" cy="6857999"/>
          </a:xfrm>
          <a:prstGeom prst="rect">
            <a:avLst/>
          </a:prstGeom>
          <a:gradFill>
            <a:gsLst>
              <a:gs pos="0">
                <a:schemeClr val="accent5">
                  <a:lumMod val="10000"/>
                  <a:alpha val="73000"/>
                </a:schemeClr>
              </a:gs>
              <a:gs pos="46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4551896"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4457700" y="2288320"/>
            <a:ext cx="5143499" cy="2281360"/>
          </a:xfrm>
        </p:spPr>
        <p:txBody>
          <a:bodyPr anchor="ctr">
            <a:noAutofit/>
          </a:bodyPr>
          <a:lstStyle>
            <a:lvl1pPr>
              <a:defRPr sz="4400">
                <a:solidFill>
                  <a:schemeClr val="bg1"/>
                </a:solidFill>
              </a:defRPr>
            </a:lvl1pPr>
          </a:lstStyle>
          <a:p>
            <a:r>
              <a:rPr lang="en-US"/>
              <a:t>Closing slide</a:t>
            </a:r>
          </a:p>
        </p:txBody>
      </p:sp>
      <p:sp>
        <p:nvSpPr>
          <p:cNvPr id="26" name="Freeform: Shape 25">
            <a:extLst>
              <a:ext uri="{FF2B5EF4-FFF2-40B4-BE49-F238E27FC236}">
                <a16:creationId xmlns:a16="http://schemas.microsoft.com/office/drawing/2014/main" id="{F2A2AE34-7892-42F4-AFE1-463A5BEF0007}"/>
              </a:ext>
            </a:extLst>
          </p:cNvPr>
          <p:cNvSpPr/>
          <p:nvPr userDrawn="1"/>
        </p:nvSpPr>
        <p:spPr>
          <a:xfrm rot="10800000">
            <a:off x="1" y="0"/>
            <a:ext cx="3497357" cy="6858000"/>
          </a:xfrm>
          <a:custGeom>
            <a:avLst/>
            <a:gdLst>
              <a:gd name="connsiteX0" fmla="*/ 1398588 w 3497357"/>
              <a:gd name="connsiteY0" fmla="*/ 0 h 6858000"/>
              <a:gd name="connsiteX1" fmla="*/ 3497357 w 3497357"/>
              <a:gd name="connsiteY1" fmla="*/ 0 h 6858000"/>
              <a:gd name="connsiteX2" fmla="*/ 3497357 w 3497357"/>
              <a:gd name="connsiteY2" fmla="*/ 722525 h 6858000"/>
              <a:gd name="connsiteX3" fmla="*/ 3321786 w 3497357"/>
              <a:gd name="connsiteY3" fmla="*/ 809134 h 6858000"/>
              <a:gd name="connsiteX4" fmla="*/ 1799307 w 3497357"/>
              <a:gd name="connsiteY4" fmla="*/ 3429000 h 6858000"/>
              <a:gd name="connsiteX5" fmla="*/ 3322313 w 3497357"/>
              <a:gd name="connsiteY5" fmla="*/ 6048867 h 6858000"/>
              <a:gd name="connsiteX6" fmla="*/ 3497357 w 3497357"/>
              <a:gd name="connsiteY6" fmla="*/ 6135224 h 6858000"/>
              <a:gd name="connsiteX7" fmla="*/ 3497357 w 3497357"/>
              <a:gd name="connsiteY7" fmla="*/ 6858000 h 6858000"/>
              <a:gd name="connsiteX8" fmla="*/ 1398588 w 3497357"/>
              <a:gd name="connsiteY8" fmla="*/ 6858000 h 6858000"/>
              <a:gd name="connsiteX9" fmla="*/ 1379218 w 3497357"/>
              <a:gd name="connsiteY9" fmla="*/ 6839087 h 6858000"/>
              <a:gd name="connsiteX10" fmla="*/ 0 w 3497357"/>
              <a:gd name="connsiteY10" fmla="*/ 3429000 h 6858000"/>
              <a:gd name="connsiteX11" fmla="*/ 1379218 w 3497357"/>
              <a:gd name="connsiteY11" fmla="*/ 189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357" h="6858000">
                <a:moveTo>
                  <a:pt x="1398588" y="0"/>
                </a:moveTo>
                <a:lnTo>
                  <a:pt x="3497357" y="0"/>
                </a:lnTo>
                <a:lnTo>
                  <a:pt x="3497357" y="722525"/>
                </a:lnTo>
                <a:lnTo>
                  <a:pt x="3321786" y="809134"/>
                </a:lnTo>
                <a:cubicBezTo>
                  <a:pt x="2414760" y="1313706"/>
                  <a:pt x="1799307" y="2297777"/>
                  <a:pt x="1799307" y="3429000"/>
                </a:cubicBezTo>
                <a:cubicBezTo>
                  <a:pt x="1799307" y="4560224"/>
                  <a:pt x="2415321" y="5544294"/>
                  <a:pt x="3322313" y="6048867"/>
                </a:cubicBezTo>
                <a:lnTo>
                  <a:pt x="3497357" y="6135224"/>
                </a:lnTo>
                <a:lnTo>
                  <a:pt x="3497357" y="6858000"/>
                </a:lnTo>
                <a:lnTo>
                  <a:pt x="1398588" y="6858000"/>
                </a:lnTo>
                <a:lnTo>
                  <a:pt x="1379218" y="6839087"/>
                </a:lnTo>
                <a:cubicBezTo>
                  <a:pt x="527066" y="5966368"/>
                  <a:pt x="0" y="4760720"/>
                  <a:pt x="0" y="3429000"/>
                </a:cubicBezTo>
                <a:cubicBezTo>
                  <a:pt x="0" y="2097281"/>
                  <a:pt x="527066" y="891632"/>
                  <a:pt x="1379218" y="18914"/>
                </a:cubicBezTo>
                <a:close/>
              </a:path>
            </a:pathLst>
          </a:custGeom>
          <a:solidFill>
            <a:schemeClr val="accent2"/>
          </a:solidFill>
          <a:ln w="9264" cap="flat">
            <a:noFill/>
            <a:prstDash val="solid"/>
            <a:miter/>
          </a:ln>
        </p:spPr>
        <p:txBody>
          <a:bodyPr wrap="square" rtlCol="0" anchor="ctr">
            <a:noAutofit/>
          </a:bodyPr>
          <a:lstStyle/>
          <a:p>
            <a:endParaRPr lang="en-US"/>
          </a:p>
        </p:txBody>
      </p:sp>
      <p:sp>
        <p:nvSpPr>
          <p:cNvPr id="18" name="Freeform: Shape 17">
            <a:extLst>
              <a:ext uri="{FF2B5EF4-FFF2-40B4-BE49-F238E27FC236}">
                <a16:creationId xmlns:a16="http://schemas.microsoft.com/office/drawing/2014/main" id="{E16B03FA-0ED2-4DEC-8263-A2CD8B9152E6}"/>
              </a:ext>
            </a:extLst>
          </p:cNvPr>
          <p:cNvSpPr/>
          <p:nvPr userDrawn="1"/>
        </p:nvSpPr>
        <p:spPr>
          <a:xfrm>
            <a:off x="8655578" y="2750662"/>
            <a:ext cx="678922" cy="1356677"/>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a:p>
        </p:txBody>
      </p:sp>
    </p:spTree>
    <p:extLst>
      <p:ext uri="{BB962C8B-B14F-4D97-AF65-F5344CB8AC3E}">
        <p14:creationId xmlns:p14="http://schemas.microsoft.com/office/powerpoint/2010/main" val="24688186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776882B-B6FA-4247-837A-97CF996CBF72}"/>
              </a:ext>
            </a:extLst>
          </p:cNvPr>
          <p:cNvGraphicFramePr>
            <a:graphicFrameLocks noChangeAspect="1"/>
          </p:cNvGraphicFramePr>
          <p:nvPr userDrawn="1">
            <p:custDataLst>
              <p:tags r:id="rId1"/>
            </p:custDataLst>
            <p:extLst>
              <p:ext uri="{D42A27DB-BD31-4B8C-83A1-F6EECF244321}">
                <p14:modId xmlns:p14="http://schemas.microsoft.com/office/powerpoint/2010/main" val="2232294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16" name="Object 15" hidden="1">
                        <a:extLst>
                          <a:ext uri="{FF2B5EF4-FFF2-40B4-BE49-F238E27FC236}">
                            <a16:creationId xmlns:a16="http://schemas.microsoft.com/office/drawing/2014/main" id="{1776882B-B6FA-4247-837A-97CF996CBF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EC76C1CB-1CF7-45DF-AB63-A29E3E1B98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7200" b="0" i="0" baseline="0">
              <a:latin typeface="Poppins ExtraBold" panose="00000900000000000000" pitchFamily="2" charset="0"/>
              <a:ea typeface="+mj-ea"/>
              <a:cs typeface="+mj-cs"/>
              <a:sym typeface="Poppins ExtraBold" panose="00000900000000000000" pitchFamily="2" charset="0"/>
            </a:endParaRPr>
          </a:p>
        </p:txBody>
      </p:sp>
      <p:sp>
        <p:nvSpPr>
          <p:cNvPr id="5" name="Rectangle 4">
            <a:extLst>
              <a:ext uri="{FF2B5EF4-FFF2-40B4-BE49-F238E27FC236}">
                <a16:creationId xmlns:a16="http://schemas.microsoft.com/office/drawing/2014/main" id="{A125620E-B7F4-47D4-9203-9C2D6590298E}"/>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E6C6DDF7-879A-4E7C-BAE9-0C03D0717054}"/>
              </a:ext>
            </a:extLst>
          </p:cNvPr>
          <p:cNvSpPr/>
          <p:nvPr userDrawn="1"/>
        </p:nvSpPr>
        <p:spPr>
          <a:xfrm rot="5400000">
            <a:off x="7290914" y="1956914"/>
            <a:ext cx="4985260" cy="4816912"/>
          </a:xfrm>
          <a:custGeom>
            <a:avLst/>
            <a:gdLst>
              <a:gd name="connsiteX0" fmla="*/ 0 w 4985260"/>
              <a:gd name="connsiteY0" fmla="*/ 0 h 4816912"/>
              <a:gd name="connsiteX1" fmla="*/ 1878781 w 4985260"/>
              <a:gd name="connsiteY1" fmla="*/ 0 h 4816912"/>
              <a:gd name="connsiteX2" fmla="*/ 1886645 w 4985260"/>
              <a:gd name="connsiteY2" fmla="*/ 105851 h 4816912"/>
              <a:gd name="connsiteX3" fmla="*/ 4904969 w 4985260"/>
              <a:gd name="connsiteY3" fmla="*/ 2895050 h 4816912"/>
              <a:gd name="connsiteX4" fmla="*/ 4985260 w 4985260"/>
              <a:gd name="connsiteY4" fmla="*/ 2892971 h 4816912"/>
              <a:gd name="connsiteX5" fmla="*/ 4985260 w 4985260"/>
              <a:gd name="connsiteY5" fmla="*/ 4814833 h 4816912"/>
              <a:gd name="connsiteX6" fmla="*/ 4904969 w 4985260"/>
              <a:gd name="connsiteY6" fmla="*/ 4816912 h 4816912"/>
              <a:gd name="connsiteX7" fmla="*/ 1160 w 4985260"/>
              <a:gd name="connsiteY7" fmla="*/ 46991 h 481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5260" h="4816912">
                <a:moveTo>
                  <a:pt x="0" y="0"/>
                </a:moveTo>
                <a:lnTo>
                  <a:pt x="1878781" y="0"/>
                </a:lnTo>
                <a:lnTo>
                  <a:pt x="1886645" y="105851"/>
                </a:lnTo>
                <a:cubicBezTo>
                  <a:pt x="2042084" y="1672405"/>
                  <a:pt x="3334663" y="2895050"/>
                  <a:pt x="4904969" y="2895050"/>
                </a:cubicBezTo>
                <a:lnTo>
                  <a:pt x="4985260" y="2892971"/>
                </a:lnTo>
                <a:lnTo>
                  <a:pt x="4985260" y="4814833"/>
                </a:lnTo>
                <a:lnTo>
                  <a:pt x="4904969" y="4816912"/>
                </a:lnTo>
                <a:cubicBezTo>
                  <a:pt x="2277879" y="4816912"/>
                  <a:pt x="132671" y="2703997"/>
                  <a:pt x="1160" y="46991"/>
                </a:cubicBezTo>
                <a:close/>
              </a:path>
            </a:pathLst>
          </a:custGeom>
          <a:solidFill>
            <a:srgbClr val="FF9E18"/>
          </a:solidFill>
          <a:ln w="9264" cap="flat">
            <a:noFill/>
            <a:prstDash val="solid"/>
            <a:miter/>
          </a:ln>
        </p:spPr>
        <p:txBody>
          <a:bodyPr wrap="square" rtlCol="0" anchor="ctr">
            <a:noAutofit/>
          </a:bodyPr>
          <a:lstStyle/>
          <a:p>
            <a:endParaRPr lang="en-US"/>
          </a:p>
        </p:txBody>
      </p:sp>
      <p:grpSp>
        <p:nvGrpSpPr>
          <p:cNvPr id="9" name="Graphic 6">
            <a:extLst>
              <a:ext uri="{FF2B5EF4-FFF2-40B4-BE49-F238E27FC236}">
                <a16:creationId xmlns:a16="http://schemas.microsoft.com/office/drawing/2014/main" id="{E1BA4648-BD6E-4E74-8851-45EBABEF72E7}"/>
              </a:ext>
            </a:extLst>
          </p:cNvPr>
          <p:cNvGrpSpPr/>
          <p:nvPr/>
        </p:nvGrpSpPr>
        <p:grpSpPr>
          <a:xfrm>
            <a:off x="932397" y="702032"/>
            <a:ext cx="1063488" cy="459481"/>
            <a:chOff x="85969" y="3646150"/>
            <a:chExt cx="1544103" cy="667132"/>
          </a:xfrm>
          <a:solidFill>
            <a:schemeClr val="bg1"/>
          </a:solidFill>
        </p:grpSpPr>
        <p:sp>
          <p:nvSpPr>
            <p:cNvPr id="11" name="Freeform: Shape 10">
              <a:extLst>
                <a:ext uri="{FF2B5EF4-FFF2-40B4-BE49-F238E27FC236}">
                  <a16:creationId xmlns:a16="http://schemas.microsoft.com/office/drawing/2014/main" id="{98C1CA3B-8903-4213-A8E6-83E0B43BD8C1}"/>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5836414-77CE-417A-9897-D3290681691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487FDF2-DA56-4525-800E-1EC016598F5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D217F72-15C5-468B-81F4-C205BCEC74DD}"/>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0DD8270-24BC-42A8-8EBA-64CB62DD4CD1}"/>
              </a:ext>
            </a:extLst>
          </p:cNvPr>
          <p:cNvSpPr>
            <a:spLocks noGrp="1"/>
          </p:cNvSpPr>
          <p:nvPr>
            <p:ph type="title" hasCustomPrompt="1"/>
          </p:nvPr>
        </p:nvSpPr>
        <p:spPr>
          <a:xfrm>
            <a:off x="838201" y="2399043"/>
            <a:ext cx="5143499" cy="2281360"/>
          </a:xfrm>
        </p:spPr>
        <p:txBody>
          <a:bodyPr anchor="ctr">
            <a:noAutofit/>
          </a:bodyPr>
          <a:lstStyle>
            <a:lvl1pPr>
              <a:defRPr sz="4400">
                <a:solidFill>
                  <a:schemeClr val="bg1"/>
                </a:solidFill>
              </a:defRPr>
            </a:lvl1pPr>
          </a:lstStyle>
          <a:p>
            <a:r>
              <a:rPr lang="en-US"/>
              <a:t>Thanks</a:t>
            </a:r>
          </a:p>
        </p:txBody>
      </p:sp>
    </p:spTree>
    <p:extLst>
      <p:ext uri="{BB962C8B-B14F-4D97-AF65-F5344CB8AC3E}">
        <p14:creationId xmlns:p14="http://schemas.microsoft.com/office/powerpoint/2010/main" val="182673901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Title + Subtitle + 1 Colum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353758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C28D76B-1E4B-4CAD-91D0-7031CCB234FF}"/>
              </a:ext>
            </a:extLst>
          </p:cNvPr>
          <p:cNvSpPr/>
          <p:nvPr userDrawn="1"/>
        </p:nvSpPr>
        <p:spPr>
          <a:xfrm>
            <a:off x="7962900" y="0"/>
            <a:ext cx="42291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a:pPr/>
              <a:t>‹#›</a:t>
            </a:fld>
            <a:endParaRPr lang="en-US"/>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838200" y="2243738"/>
            <a:ext cx="3390900" cy="3928462"/>
          </a:xfrm>
        </p:spPr>
        <p:txBody>
          <a:bodyPr>
            <a:normAutofit/>
          </a:bodyPr>
          <a:lstStyle>
            <a:lvl1pPr marL="171450" indent="-171450">
              <a:buFont typeface="Arial" panose="020B0604020202020204" pitchFamily="34" charset="0"/>
              <a:buChar char="•"/>
              <a:defRPr sz="2000">
                <a:solidFill>
                  <a:schemeClr val="tx1"/>
                </a:solidFill>
              </a:defRPr>
            </a:lvl1pPr>
            <a:lvl2pPr marL="628650" indent="-171450">
              <a:buFont typeface="Arial" panose="020B0604020202020204" pitchFamily="34" charset="0"/>
              <a:buChar char="•"/>
              <a:defRPr sz="2000">
                <a:solidFill>
                  <a:schemeClr val="tx1"/>
                </a:solidFill>
              </a:defRPr>
            </a:lvl2pPr>
            <a:lvl3pPr marL="1085850" indent="-171450">
              <a:buFont typeface="Arial" panose="020B0604020202020204" pitchFamily="34" charset="0"/>
              <a:buChar char="•"/>
              <a:defRPr sz="2000">
                <a:solidFill>
                  <a:schemeClr val="tx1"/>
                </a:solidFill>
              </a:defRPr>
            </a:lvl3pPr>
            <a:lvl4pPr marL="1543050" indent="-171450">
              <a:buFont typeface="Arial" panose="020B0604020202020204" pitchFamily="34" charset="0"/>
              <a:buChar char="•"/>
              <a:defRPr sz="2000">
                <a:solidFill>
                  <a:schemeClr val="tx1"/>
                </a:solidFill>
              </a:defRPr>
            </a:lvl4pPr>
            <a:lvl5pPr marL="2000250" indent="-171450">
              <a:buFont typeface="Arial" panose="020B0604020202020204" pitchFamily="34" charset="0"/>
              <a:buChar cha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lvl1pPr>
          </a:lstStyle>
          <a:p>
            <a:r>
              <a:rPr lang="en-US"/>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
        <p:nvSpPr>
          <p:cNvPr id="24" name="Text Placeholder 16">
            <a:extLst>
              <a:ext uri="{FF2B5EF4-FFF2-40B4-BE49-F238E27FC236}">
                <a16:creationId xmlns:a16="http://schemas.microsoft.com/office/drawing/2014/main" id="{9C08595A-C0E9-4D62-A7D5-69C220C46CCE}"/>
              </a:ext>
            </a:extLst>
          </p:cNvPr>
          <p:cNvSpPr>
            <a:spLocks noGrp="1"/>
          </p:cNvSpPr>
          <p:nvPr>
            <p:ph type="body" sz="quarter" idx="14" hasCustomPrompt="1"/>
          </p:nvPr>
        </p:nvSpPr>
        <p:spPr>
          <a:xfrm>
            <a:off x="838200" y="1751960"/>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ubtitle</a:t>
            </a:r>
          </a:p>
        </p:txBody>
      </p:sp>
    </p:spTree>
    <p:extLst>
      <p:ext uri="{BB962C8B-B14F-4D97-AF65-F5344CB8AC3E}">
        <p14:creationId xmlns:p14="http://schemas.microsoft.com/office/powerpoint/2010/main" val="219106869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cSld name="Content with Picture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A09BB-8293-7DED-F5BF-8F3DA4B5760B}"/>
              </a:ext>
            </a:extLst>
          </p:cNvPr>
          <p:cNvSpPr>
            <a:spLocks noGrp="1"/>
          </p:cNvSpPr>
          <p:nvPr>
            <p:ph type="title"/>
          </p:nvPr>
        </p:nvSpPr>
        <p:spPr>
          <a:xfrm>
            <a:off x="4977971" y="691866"/>
            <a:ext cx="6680630" cy="1217337"/>
          </a:xfrm>
        </p:spPr>
        <p:txBody>
          <a:bodyPr/>
          <a:lstStyle/>
          <a:p>
            <a:r>
              <a:rPr lang="en-US"/>
              <a:t>Click to edit Master title style</a:t>
            </a:r>
          </a:p>
        </p:txBody>
      </p:sp>
      <p:sp>
        <p:nvSpPr>
          <p:cNvPr id="10" name="Picture Placeholder 8">
            <a:extLst>
              <a:ext uri="{FF2B5EF4-FFF2-40B4-BE49-F238E27FC236}">
                <a16:creationId xmlns:a16="http://schemas.microsoft.com/office/drawing/2014/main" id="{7BA63699-2EA2-4B8B-E296-BEF5937412F5}"/>
              </a:ext>
            </a:extLst>
          </p:cNvPr>
          <p:cNvSpPr>
            <a:spLocks noGrp="1"/>
          </p:cNvSpPr>
          <p:nvPr>
            <p:ph type="pic" sz="quarter" idx="13" hasCustomPrompt="1"/>
          </p:nvPr>
        </p:nvSpPr>
        <p:spPr>
          <a:xfrm>
            <a:off x="533400" y="533400"/>
            <a:ext cx="3886200" cy="5811924"/>
          </a:xfrm>
          <a:blipFill>
            <a:blip r:embed="rId2">
              <a:alphaModFix amt="70000"/>
            </a:blip>
            <a:stretch>
              <a:fillRect/>
            </a:stretch>
          </a:blipFill>
          <a:effectLst>
            <a:outerShdw blurRad="203200" dist="12700" dir="7800000" algn="r" rotWithShape="0">
              <a:prstClr val="black">
                <a:alpha val="10000"/>
              </a:prstClr>
            </a:outerShdw>
          </a:effectLst>
        </p:spPr>
        <p:txBody>
          <a:bodyPr/>
          <a:lstStyle>
            <a:lvl1pPr marL="0" indent="0">
              <a:buNone/>
              <a:defRPr/>
            </a:lvl1pPr>
          </a:lstStyle>
          <a:p>
            <a:r>
              <a:rPr lang="en-US"/>
              <a:t> </a:t>
            </a:r>
          </a:p>
        </p:txBody>
      </p:sp>
      <p:sp>
        <p:nvSpPr>
          <p:cNvPr id="3" name="Content Placeholder 2">
            <a:extLst>
              <a:ext uri="{FF2B5EF4-FFF2-40B4-BE49-F238E27FC236}">
                <a16:creationId xmlns:a16="http://schemas.microsoft.com/office/drawing/2014/main" id="{1D0AB536-3625-6C4C-BCE1-4533963FDEC5}"/>
              </a:ext>
            </a:extLst>
          </p:cNvPr>
          <p:cNvSpPr>
            <a:spLocks noGrp="1"/>
          </p:cNvSpPr>
          <p:nvPr>
            <p:ph idx="1"/>
          </p:nvPr>
        </p:nvSpPr>
        <p:spPr>
          <a:xfrm>
            <a:off x="4977971" y="2010699"/>
            <a:ext cx="6680630" cy="43139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97D1377-BC65-5D42-5EC9-BECE6F765322}"/>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0EEF9179-12AA-40A3-63A0-84A6ED06611F}"/>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CCE0E3B-6350-CAAC-2CAB-78999D19CADB}"/>
              </a:ext>
            </a:extLst>
          </p:cNvPr>
          <p:cNvSpPr>
            <a:spLocks noGrp="1"/>
          </p:cNvSpPr>
          <p:nvPr>
            <p:ph type="sldNum" sz="quarter" idx="12"/>
          </p:nvPr>
        </p:nvSpPr>
        <p:spPr/>
        <p:txBody>
          <a:bodyPr/>
          <a:lstStyle/>
          <a:p>
            <a:fld id="{DD84031F-D6BF-4677-B12E-7D8B88BA70F7}" type="slidenum">
              <a:rPr lang="en-US" smtClean="0"/>
              <a:t>‹#›</a:t>
            </a:fld>
            <a:endParaRPr lang="en-US"/>
          </a:p>
        </p:txBody>
      </p:sp>
      <p:cxnSp>
        <p:nvCxnSpPr>
          <p:cNvPr id="7" name="Straight Connector 6">
            <a:extLst>
              <a:ext uri="{FF2B5EF4-FFF2-40B4-BE49-F238E27FC236}">
                <a16:creationId xmlns:a16="http://schemas.microsoft.com/office/drawing/2014/main" id="{A04AB0D3-0312-25C6-7159-3EBA07E82C60}"/>
              </a:ext>
            </a:extLst>
          </p:cNvPr>
          <p:cNvCxnSpPr>
            <a:cxnSpLocks/>
          </p:cNvCxnSpPr>
          <p:nvPr/>
        </p:nvCxnSpPr>
        <p:spPr>
          <a:xfrm>
            <a:off x="4984096" y="533400"/>
            <a:ext cx="6680631" cy="0"/>
          </a:xfrm>
          <a:prstGeom prst="line">
            <a:avLst/>
          </a:prstGeom>
          <a:ln w="9525">
            <a:solidFill>
              <a:schemeClr val="tx1">
                <a:alpha val="2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12898492"/>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2B02988-24A9-44AB-B78C-1D4CD87F012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aphicFrame>
        <p:nvGraphicFramePr>
          <p:cNvPr id="16" name="Object 15" hidden="1">
            <a:extLst>
              <a:ext uri="{FF2B5EF4-FFF2-40B4-BE49-F238E27FC236}">
                <a16:creationId xmlns:a16="http://schemas.microsoft.com/office/drawing/2014/main" id="{1776882B-B6FA-4247-837A-97CF996CBF72}"/>
              </a:ext>
            </a:extLst>
          </p:cNvPr>
          <p:cNvGraphicFramePr>
            <a:graphicFrameLocks noChangeAspect="1"/>
          </p:cNvGraphicFramePr>
          <p:nvPr userDrawn="1">
            <p:custDataLst>
              <p:tags r:id="rId1"/>
            </p:custDataLst>
            <p:extLst>
              <p:ext uri="{D42A27DB-BD31-4B8C-83A1-F6EECF244321}">
                <p14:modId xmlns:p14="http://schemas.microsoft.com/office/powerpoint/2010/main" val="2448964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16" name="Object 15" hidden="1">
                        <a:extLst>
                          <a:ext uri="{FF2B5EF4-FFF2-40B4-BE49-F238E27FC236}">
                            <a16:creationId xmlns:a16="http://schemas.microsoft.com/office/drawing/2014/main" id="{1776882B-B6FA-4247-837A-97CF996CBF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EC76C1CB-1CF7-45DF-AB63-A29E3E1B98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5" name="Rectangle 4">
            <a:extLst>
              <a:ext uri="{FF2B5EF4-FFF2-40B4-BE49-F238E27FC236}">
                <a16:creationId xmlns:a16="http://schemas.microsoft.com/office/drawing/2014/main" id="{A125620E-B7F4-47D4-9203-9C2D6590298E}"/>
              </a:ext>
            </a:extLst>
          </p:cNvPr>
          <p:cNvSpPr/>
          <p:nvPr userDrawn="1"/>
        </p:nvSpPr>
        <p:spPr>
          <a:xfrm>
            <a:off x="0" y="0"/>
            <a:ext cx="12192001"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E6C6DDF7-879A-4E7C-BAE9-0C03D0717054}"/>
              </a:ext>
            </a:extLst>
          </p:cNvPr>
          <p:cNvSpPr/>
          <p:nvPr userDrawn="1"/>
        </p:nvSpPr>
        <p:spPr>
          <a:xfrm>
            <a:off x="7206740" y="0"/>
            <a:ext cx="4985260" cy="4816912"/>
          </a:xfrm>
          <a:custGeom>
            <a:avLst/>
            <a:gdLst>
              <a:gd name="connsiteX0" fmla="*/ 0 w 4985260"/>
              <a:gd name="connsiteY0" fmla="*/ 0 h 4816912"/>
              <a:gd name="connsiteX1" fmla="*/ 1878781 w 4985260"/>
              <a:gd name="connsiteY1" fmla="*/ 0 h 4816912"/>
              <a:gd name="connsiteX2" fmla="*/ 1886645 w 4985260"/>
              <a:gd name="connsiteY2" fmla="*/ 105851 h 4816912"/>
              <a:gd name="connsiteX3" fmla="*/ 4904969 w 4985260"/>
              <a:gd name="connsiteY3" fmla="*/ 2895050 h 4816912"/>
              <a:gd name="connsiteX4" fmla="*/ 4985260 w 4985260"/>
              <a:gd name="connsiteY4" fmla="*/ 2892971 h 4816912"/>
              <a:gd name="connsiteX5" fmla="*/ 4985260 w 4985260"/>
              <a:gd name="connsiteY5" fmla="*/ 4814833 h 4816912"/>
              <a:gd name="connsiteX6" fmla="*/ 4904969 w 4985260"/>
              <a:gd name="connsiteY6" fmla="*/ 4816912 h 4816912"/>
              <a:gd name="connsiteX7" fmla="*/ 1160 w 4985260"/>
              <a:gd name="connsiteY7" fmla="*/ 46991 h 481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5260" h="4816912">
                <a:moveTo>
                  <a:pt x="0" y="0"/>
                </a:moveTo>
                <a:lnTo>
                  <a:pt x="1878781" y="0"/>
                </a:lnTo>
                <a:lnTo>
                  <a:pt x="1886645" y="105851"/>
                </a:lnTo>
                <a:cubicBezTo>
                  <a:pt x="2042084" y="1672405"/>
                  <a:pt x="3334663" y="2895050"/>
                  <a:pt x="4904969" y="2895050"/>
                </a:cubicBezTo>
                <a:lnTo>
                  <a:pt x="4985260" y="2892971"/>
                </a:lnTo>
                <a:lnTo>
                  <a:pt x="4985260" y="4814833"/>
                </a:lnTo>
                <a:lnTo>
                  <a:pt x="4904969" y="4816912"/>
                </a:lnTo>
                <a:cubicBezTo>
                  <a:pt x="2277879" y="4816912"/>
                  <a:pt x="132671" y="2703997"/>
                  <a:pt x="1160" y="46991"/>
                </a:cubicBezTo>
                <a:close/>
              </a:path>
            </a:pathLst>
          </a:custGeom>
          <a:solidFill>
            <a:srgbClr val="FF9E18"/>
          </a:solidFill>
          <a:ln w="9264" cap="flat">
            <a:noFill/>
            <a:prstDash val="solid"/>
            <a:miter/>
          </a:ln>
        </p:spPr>
        <p:txBody>
          <a:bodyPr wrap="square" rtlCol="0" anchor="ctr">
            <a:noAutofit/>
          </a:bodyPr>
          <a:lstStyle/>
          <a:p>
            <a:endParaRPr lang="en-US"/>
          </a:p>
        </p:txBody>
      </p:sp>
      <p:sp>
        <p:nvSpPr>
          <p:cNvPr id="7" name="Rectangle 6">
            <a:extLst>
              <a:ext uri="{FF2B5EF4-FFF2-40B4-BE49-F238E27FC236}">
                <a16:creationId xmlns:a16="http://schemas.microsoft.com/office/drawing/2014/main" id="{74B56715-AE28-4C11-8869-7AA1A2D4DC00}"/>
              </a:ext>
            </a:extLst>
          </p:cNvPr>
          <p:cNvSpPr/>
          <p:nvPr userDrawn="1"/>
        </p:nvSpPr>
        <p:spPr>
          <a:xfrm>
            <a:off x="2706449" y="5596645"/>
            <a:ext cx="577702" cy="5777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57FD71DE-F152-48CF-95AE-7F68DADBDCAB}"/>
              </a:ext>
            </a:extLst>
          </p:cNvPr>
          <p:cNvGrpSpPr/>
          <p:nvPr userDrawn="1"/>
        </p:nvGrpSpPr>
        <p:grpSpPr>
          <a:xfrm>
            <a:off x="932397" y="653642"/>
            <a:ext cx="1544103" cy="832491"/>
            <a:chOff x="932397" y="653642"/>
            <a:chExt cx="2241920" cy="1208714"/>
          </a:xfrm>
        </p:grpSpPr>
        <p:grpSp>
          <p:nvGrpSpPr>
            <p:cNvPr id="9" name="Graphic 6">
              <a:extLst>
                <a:ext uri="{FF2B5EF4-FFF2-40B4-BE49-F238E27FC236}">
                  <a16:creationId xmlns:a16="http://schemas.microsoft.com/office/drawing/2014/main" id="{E1BA4648-BD6E-4E74-8851-45EBABEF72E7}"/>
                </a:ext>
              </a:extLst>
            </p:cNvPr>
            <p:cNvGrpSpPr/>
            <p:nvPr/>
          </p:nvGrpSpPr>
          <p:grpSpPr>
            <a:xfrm>
              <a:off x="932397" y="723900"/>
              <a:ext cx="1544103" cy="667132"/>
              <a:chOff x="85969" y="3646150"/>
              <a:chExt cx="1544103" cy="667132"/>
            </a:xfrm>
            <a:solidFill>
              <a:schemeClr val="bg1"/>
            </a:solidFill>
          </p:grpSpPr>
          <p:sp>
            <p:nvSpPr>
              <p:cNvPr id="11" name="Freeform: Shape 10">
                <a:extLst>
                  <a:ext uri="{FF2B5EF4-FFF2-40B4-BE49-F238E27FC236}">
                    <a16:creationId xmlns:a16="http://schemas.microsoft.com/office/drawing/2014/main" id="{98C1CA3B-8903-4213-A8E6-83E0B43BD8C1}"/>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5836414-77CE-417A-9897-D3290681691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487FDF2-DA56-4525-800E-1EC016598F5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D217F72-15C5-468B-81F4-C205BCEC74DD}"/>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pic>
          <p:nvPicPr>
            <p:cNvPr id="10" name="Graphic 9">
              <a:extLst>
                <a:ext uri="{FF2B5EF4-FFF2-40B4-BE49-F238E27FC236}">
                  <a16:creationId xmlns:a16="http://schemas.microsoft.com/office/drawing/2014/main" id="{BE935090-2F88-4800-97AD-B4DD2F55CA4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590800" y="653642"/>
              <a:ext cx="583517" cy="1208714"/>
            </a:xfrm>
            <a:prstGeom prst="rect">
              <a:avLst/>
            </a:prstGeom>
          </p:spPr>
        </p:pic>
      </p:grpSp>
      <p:sp>
        <p:nvSpPr>
          <p:cNvPr id="2" name="Title 1">
            <a:extLst>
              <a:ext uri="{FF2B5EF4-FFF2-40B4-BE49-F238E27FC236}">
                <a16:creationId xmlns:a16="http://schemas.microsoft.com/office/drawing/2014/main" id="{40DD8270-24BC-42A8-8EBA-64CB62DD4CD1}"/>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Title Here</a:t>
            </a:r>
          </a:p>
        </p:txBody>
      </p:sp>
      <p:sp>
        <p:nvSpPr>
          <p:cNvPr id="20" name="Text Placeholder 19">
            <a:extLst>
              <a:ext uri="{FF2B5EF4-FFF2-40B4-BE49-F238E27FC236}">
                <a16:creationId xmlns:a16="http://schemas.microsoft.com/office/drawing/2014/main" id="{16BB815A-06DC-4A68-A35B-38C54785E94B}"/>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3" name="TextBox 2">
            <a:extLst>
              <a:ext uri="{FF2B5EF4-FFF2-40B4-BE49-F238E27FC236}">
                <a16:creationId xmlns:a16="http://schemas.microsoft.com/office/drawing/2014/main" id="{975785DD-AE69-4000-878F-B146079CADB4}"/>
              </a:ext>
            </a:extLst>
          </p:cNvPr>
          <p:cNvSpPr txBox="1">
            <a:spLocks noChangeAspect="1"/>
          </p:cNvSpPr>
          <p:nvPr userDrawn="1"/>
        </p:nvSpPr>
        <p:spPr>
          <a:xfrm>
            <a:off x="12486665" y="0"/>
            <a:ext cx="7811407" cy="12311063"/>
          </a:xfrm>
          <a:prstGeom prst="rect">
            <a:avLst/>
          </a:prstGeom>
          <a:noFill/>
        </p:spPr>
        <p:txBody>
          <a:bodyPr wrap="square" rtlCol="0">
            <a:spAutoFit/>
          </a:bodyPr>
          <a:lstStyle/>
          <a:p>
            <a:r>
              <a:rPr lang="en-US" sz="2800" b="1">
                <a:solidFill>
                  <a:srgbClr val="004B64"/>
                </a:solidFill>
              </a:rPr>
              <a:t>Welcome to the VEIC presentation template.</a:t>
            </a:r>
          </a:p>
          <a:p>
            <a:endParaRPr lang="en-US" sz="2800" b="1">
              <a:solidFill>
                <a:srgbClr val="004B64"/>
              </a:solidFill>
            </a:endParaRPr>
          </a:p>
          <a:p>
            <a:r>
              <a:rPr lang="en-US">
                <a:solidFill>
                  <a:srgbClr val="004B64"/>
                </a:solidFill>
              </a:rPr>
              <a:t>As opposed to the full VEIC PowerPoint, this document is intended to allow you to fully customize the content you are presenting. </a:t>
            </a:r>
          </a:p>
          <a:p>
            <a:endParaRPr lang="en-US">
              <a:solidFill>
                <a:srgbClr val="004B64"/>
              </a:solidFill>
            </a:endParaRPr>
          </a:p>
          <a:p>
            <a:r>
              <a:rPr lang="en-US">
                <a:solidFill>
                  <a:srgbClr val="004B64"/>
                </a:solidFill>
              </a:rPr>
              <a:t>If you are looking for the pre-developed slides that provide important background on VEIC, please leverage the full VEIC PowerPoint. </a:t>
            </a:r>
          </a:p>
          <a:p>
            <a:endParaRPr lang="en-US">
              <a:solidFill>
                <a:srgbClr val="004B64"/>
              </a:solidFill>
            </a:endParaRPr>
          </a:p>
          <a:p>
            <a:r>
              <a:rPr lang="en-US">
                <a:solidFill>
                  <a:srgbClr val="004B64"/>
                </a:solidFill>
              </a:rPr>
              <a:t>Some suggestions as you build your presentations: </a:t>
            </a:r>
          </a:p>
          <a:p>
            <a:endParaRPr lang="en-US">
              <a:solidFill>
                <a:srgbClr val="004B64"/>
              </a:solidFill>
            </a:endParaRPr>
          </a:p>
          <a:p>
            <a:pPr marL="285750" indent="-285750">
              <a:buFontTx/>
              <a:buChar char="-"/>
            </a:pPr>
            <a:r>
              <a:rPr lang="en-US" b="1">
                <a:solidFill>
                  <a:srgbClr val="004B64"/>
                </a:solidFill>
              </a:rPr>
              <a:t>Be thoughtful about the images you include</a:t>
            </a:r>
          </a:p>
          <a:p>
            <a:pPr marL="742950" lvl="1" indent="-285750">
              <a:buFontTx/>
              <a:buChar char="-"/>
            </a:pPr>
            <a:r>
              <a:rPr lang="en-US">
                <a:solidFill>
                  <a:srgbClr val="004B64"/>
                </a:solidFill>
              </a:rPr>
              <a:t>Images sourced from Google should not be used for webinars and presentation with a large attendance. There are both legal implications and quality implications</a:t>
            </a:r>
          </a:p>
          <a:p>
            <a:pPr marL="742950" lvl="1" indent="-285750">
              <a:buFontTx/>
              <a:buChar char="-"/>
            </a:pPr>
            <a:r>
              <a:rPr lang="en-US">
                <a:solidFill>
                  <a:srgbClr val="004B64"/>
                </a:solidFill>
              </a:rPr>
              <a:t>Incorporate images that sync with the deck design (no clip art, please) </a:t>
            </a:r>
          </a:p>
          <a:p>
            <a:pPr marL="742950" lvl="1" indent="-285750">
              <a:buFontTx/>
              <a:buChar char="-"/>
            </a:pPr>
            <a:r>
              <a:rPr lang="en-US">
                <a:solidFill>
                  <a:srgbClr val="004B64"/>
                </a:solidFill>
              </a:rPr>
              <a:t>Over the next few weeks will be adding images to Templafy so you have a core library to pull from </a:t>
            </a:r>
          </a:p>
          <a:p>
            <a:pPr marL="285750" lvl="0" indent="-285750">
              <a:buFontTx/>
              <a:buChar char="-"/>
            </a:pPr>
            <a:r>
              <a:rPr lang="en-US" b="1">
                <a:solidFill>
                  <a:srgbClr val="004B64"/>
                </a:solidFill>
              </a:rPr>
              <a:t>Rebuild charts when possible </a:t>
            </a:r>
          </a:p>
          <a:p>
            <a:pPr marL="742950" lvl="1" indent="-285750">
              <a:buFontTx/>
              <a:buChar char="-"/>
            </a:pPr>
            <a:r>
              <a:rPr lang="en-US">
                <a:solidFill>
                  <a:srgbClr val="004B64"/>
                </a:solidFill>
              </a:rPr>
              <a:t>We reference research from outside sources often</a:t>
            </a:r>
          </a:p>
          <a:p>
            <a:pPr marL="742950" lvl="1" indent="-285750">
              <a:buFontTx/>
              <a:buChar char="-"/>
            </a:pPr>
            <a:r>
              <a:rPr lang="en-US">
                <a:solidFill>
                  <a:srgbClr val="004B64"/>
                </a:solidFill>
              </a:rPr>
              <a:t>Instead of just dropping in image file of this data, rebuild the chart and properly credit the author </a:t>
            </a:r>
          </a:p>
          <a:p>
            <a:pPr marL="285750" indent="-285750">
              <a:buFontTx/>
              <a:buChar char="-"/>
            </a:pPr>
            <a:r>
              <a:rPr lang="en-US">
                <a:solidFill>
                  <a:srgbClr val="004B64"/>
                </a:solidFill>
              </a:rPr>
              <a:t> </a:t>
            </a:r>
            <a:r>
              <a:rPr lang="en-US" b="1">
                <a:solidFill>
                  <a:srgbClr val="004B64"/>
                </a:solidFill>
              </a:rPr>
              <a:t>Rethink how you present information</a:t>
            </a:r>
          </a:p>
          <a:p>
            <a:pPr marL="742950" lvl="1" indent="-285750">
              <a:buFontTx/>
              <a:buChar char="-"/>
            </a:pPr>
            <a:r>
              <a:rPr lang="en-US" b="0">
                <a:solidFill>
                  <a:srgbClr val="004B64"/>
                </a:solidFill>
              </a:rPr>
              <a:t>Consider what needs to be on a slide versus what can be voiceover </a:t>
            </a:r>
          </a:p>
          <a:p>
            <a:pPr marL="742950" lvl="1" indent="-285750">
              <a:buFontTx/>
              <a:buChar char="-"/>
            </a:pPr>
            <a:r>
              <a:rPr lang="en-US" b="0">
                <a:solidFill>
                  <a:srgbClr val="004B64"/>
                </a:solidFill>
              </a:rPr>
              <a:t>The most engaging presentation present prompts of information that you can speak to</a:t>
            </a:r>
          </a:p>
          <a:p>
            <a:pPr marL="285750" lvl="0" indent="-285750">
              <a:buFontTx/>
              <a:buChar char="-"/>
            </a:pPr>
            <a:r>
              <a:rPr lang="en-US" b="1">
                <a:solidFill>
                  <a:srgbClr val="004B64"/>
                </a:solidFill>
              </a:rPr>
              <a:t>Adjust the font for the forum: </a:t>
            </a:r>
          </a:p>
          <a:p>
            <a:pPr marL="742950" marR="0" lvl="1" indent="-285750" algn="l" defTabSz="914400" rtl="0" eaLnBrk="1" fontAlgn="auto" latinLnBrk="0" hangingPunct="1">
              <a:lnSpc>
                <a:spcPct val="100000"/>
              </a:lnSpc>
              <a:spcBef>
                <a:spcPts val="0"/>
              </a:spcBef>
              <a:spcAft>
                <a:spcPts val="0"/>
              </a:spcAft>
              <a:buClrTx/>
              <a:buSzTx/>
              <a:buFontTx/>
              <a:buChar char="-"/>
              <a:tabLst/>
              <a:defRPr/>
            </a:pPr>
            <a:r>
              <a:rPr lang="en-US" b="0">
                <a:solidFill>
                  <a:srgbClr val="004B64"/>
                </a:solidFill>
              </a:rPr>
              <a:t>Team meetings: 18 pts +</a:t>
            </a:r>
          </a:p>
          <a:p>
            <a:pPr marL="742950" lvl="1" indent="-285750">
              <a:buFontTx/>
              <a:buChar char="-"/>
            </a:pPr>
            <a:r>
              <a:rPr lang="en-US" b="0">
                <a:solidFill>
                  <a:srgbClr val="004B64"/>
                </a:solidFill>
              </a:rPr>
              <a:t>Webinars: 20 pts + </a:t>
            </a:r>
          </a:p>
          <a:p>
            <a:pPr marL="742950" lvl="1" indent="-285750">
              <a:buFontTx/>
              <a:buChar char="-"/>
            </a:pPr>
            <a:r>
              <a:rPr lang="en-US" b="0">
                <a:solidFill>
                  <a:srgbClr val="004B64"/>
                </a:solidFill>
              </a:rPr>
              <a:t>Conferences: 26 pts +</a:t>
            </a:r>
          </a:p>
          <a:p>
            <a:pPr marL="742950" lvl="1" indent="-285750">
              <a:buFontTx/>
              <a:buChar char="-"/>
            </a:pPr>
            <a:r>
              <a:rPr lang="en-US" b="0">
                <a:solidFill>
                  <a:srgbClr val="004B64"/>
                </a:solidFill>
              </a:rPr>
              <a:t>Also, keep in mind that GoToMeeting cuts off the bottom of slide decks so provide buffer there. </a:t>
            </a:r>
          </a:p>
          <a:p>
            <a:pPr marL="285750" lvl="0" indent="-285750">
              <a:buFontTx/>
              <a:buChar char="-"/>
            </a:pPr>
            <a:r>
              <a:rPr lang="en-US" b="1">
                <a:solidFill>
                  <a:srgbClr val="004B64"/>
                </a:solidFill>
              </a:rPr>
              <a:t>Have fun:</a:t>
            </a:r>
          </a:p>
          <a:p>
            <a:pPr marL="742950" lvl="1" indent="-285750">
              <a:buFontTx/>
              <a:buChar char="-"/>
            </a:pPr>
            <a:r>
              <a:rPr lang="en-US" b="0">
                <a:solidFill>
                  <a:srgbClr val="004B64"/>
                </a:solidFill>
              </a:rPr>
              <a:t>Explore new ways to bring information forward</a:t>
            </a:r>
          </a:p>
          <a:p>
            <a:pPr marL="742950" lvl="1" indent="-285750">
              <a:buFontTx/>
              <a:buChar char="-"/>
            </a:pPr>
            <a:r>
              <a:rPr lang="en-US" b="0">
                <a:solidFill>
                  <a:srgbClr val="004B64"/>
                </a:solidFill>
              </a:rPr>
              <a:t>Try out new slide templates and play around</a:t>
            </a:r>
          </a:p>
          <a:p>
            <a:pPr marL="457200" lvl="1" indent="0">
              <a:buFontTx/>
              <a:buNone/>
            </a:pPr>
            <a:endParaRPr lang="en-US" b="0">
              <a:solidFill>
                <a:srgbClr val="004B64"/>
              </a:solidFill>
            </a:endParaRPr>
          </a:p>
          <a:p>
            <a:pPr marL="457200" lvl="1" indent="0">
              <a:buFontTx/>
              <a:buNone/>
            </a:pPr>
            <a:r>
              <a:rPr lang="en-US" b="0">
                <a:solidFill>
                  <a:srgbClr val="004B64"/>
                </a:solidFill>
              </a:rPr>
              <a:t>We are all responsible for the sophistication of our work product. That includes having tight designs that can support storytelling. </a:t>
            </a:r>
          </a:p>
          <a:p>
            <a:pPr marL="457200" lvl="1" indent="0">
              <a:buFontTx/>
              <a:buNone/>
            </a:pPr>
            <a:endParaRPr lang="en-US" b="0">
              <a:solidFill>
                <a:srgbClr val="004B64"/>
              </a:solidFill>
            </a:endParaRPr>
          </a:p>
          <a:p>
            <a:pPr marL="457200" lvl="1" indent="0">
              <a:buFontTx/>
              <a:buNone/>
            </a:pPr>
            <a:r>
              <a:rPr lang="en-US" b="0">
                <a:solidFill>
                  <a:srgbClr val="004B64"/>
                </a:solidFill>
              </a:rPr>
              <a:t>Reach out to Kait (k</a:t>
            </a:r>
            <a:r>
              <a:rPr lang="en-US" b="0">
                <a:solidFill>
                  <a:srgbClr val="004B64"/>
                </a:solidFill>
                <a:hlinkClick r:id="rId8"/>
              </a:rPr>
              <a:t>sherman@veic.org</a:t>
            </a:r>
            <a:r>
              <a:rPr lang="en-US" b="0">
                <a:solidFill>
                  <a:srgbClr val="004B64"/>
                </a:solidFill>
              </a:rPr>
              <a:t>) with any questions. </a:t>
            </a:r>
          </a:p>
          <a:p>
            <a:pPr marL="742950" lvl="1" indent="-285750">
              <a:buFontTx/>
              <a:buChar char="-"/>
            </a:pPr>
            <a:endParaRPr lang="en-US" b="0">
              <a:solidFill>
                <a:srgbClr val="004B64"/>
              </a:solidFill>
            </a:endParaRPr>
          </a:p>
          <a:p>
            <a:endParaRPr lang="en-US">
              <a:solidFill>
                <a:srgbClr val="004B64"/>
              </a:solidFill>
            </a:endParaRPr>
          </a:p>
          <a:p>
            <a:endParaRPr lang="en-US">
              <a:solidFill>
                <a:srgbClr val="004B64"/>
              </a:solidFill>
            </a:endParaRPr>
          </a:p>
        </p:txBody>
      </p:sp>
    </p:spTree>
    <p:extLst>
      <p:ext uri="{BB962C8B-B14F-4D97-AF65-F5344CB8AC3E}">
        <p14:creationId xmlns:p14="http://schemas.microsoft.com/office/powerpoint/2010/main" val="32539131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1344981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0" name="Rectangle 9">
            <a:extLst>
              <a:ext uri="{FF2B5EF4-FFF2-40B4-BE49-F238E27FC236}">
                <a16:creationId xmlns:a16="http://schemas.microsoft.com/office/drawing/2014/main" id="{CF8D282B-141A-4592-8956-EF2F480A728A}"/>
              </a:ext>
            </a:extLst>
          </p:cNvPr>
          <p:cNvSpPr/>
          <p:nvPr userDrawn="1"/>
        </p:nvSpPr>
        <p:spPr>
          <a:xfrm>
            <a:off x="2706449" y="5596645"/>
            <a:ext cx="577702" cy="5777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2"/>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accent1"/>
                </a:solidFill>
              </a:defRPr>
            </a:lvl1pPr>
          </a:lstStyle>
          <a:p>
            <a:r>
              <a:rPr lang="en-US"/>
              <a:t>Title Here</a:t>
            </a:r>
          </a:p>
        </p:txBody>
      </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accent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8" name="Picture Placeholder 27">
            <a:extLst>
              <a:ext uri="{FF2B5EF4-FFF2-40B4-BE49-F238E27FC236}">
                <a16:creationId xmlns:a16="http://schemas.microsoft.com/office/drawing/2014/main" id="{9218AEC5-B009-4CA6-8C15-D341FD6254C2}"/>
              </a:ext>
            </a:extLst>
          </p:cNvPr>
          <p:cNvSpPr>
            <a:spLocks noGrp="1"/>
          </p:cNvSpPr>
          <p:nvPr>
            <p:ph type="pic" sz="quarter" idx="11"/>
          </p:nvPr>
        </p:nvSpPr>
        <p:spPr>
          <a:xfrm>
            <a:off x="6210300" y="723900"/>
            <a:ext cx="5143500" cy="5448300"/>
          </a:xfrm>
          <a:custGeom>
            <a:avLst/>
            <a:gdLst>
              <a:gd name="connsiteX0" fmla="*/ 5143500 w 5143500"/>
              <a:gd name="connsiteY0" fmla="*/ 4187827 h 5448300"/>
              <a:gd name="connsiteX1" fmla="*/ 5143500 w 5143500"/>
              <a:gd name="connsiteY1" fmla="*/ 5448300 h 5448300"/>
              <a:gd name="connsiteX2" fmla="*/ 3912579 w 5143500"/>
              <a:gd name="connsiteY2" fmla="*/ 5448300 h 5448300"/>
              <a:gd name="connsiteX3" fmla="*/ 3918931 w 5143500"/>
              <a:gd name="connsiteY3" fmla="*/ 5319433 h 5448300"/>
              <a:gd name="connsiteX4" fmla="*/ 5017606 w 5143500"/>
              <a:gd name="connsiteY4" fmla="*/ 4194335 h 5448300"/>
              <a:gd name="connsiteX5" fmla="*/ 0 w 5143500"/>
              <a:gd name="connsiteY5" fmla="*/ 0 h 5448300"/>
              <a:gd name="connsiteX6" fmla="*/ 5143500 w 5143500"/>
              <a:gd name="connsiteY6" fmla="*/ 0 h 5448300"/>
              <a:gd name="connsiteX7" fmla="*/ 5143500 w 5143500"/>
              <a:gd name="connsiteY7" fmla="*/ 3408108 h 5448300"/>
              <a:gd name="connsiteX8" fmla="*/ 4939818 w 5143500"/>
              <a:gd name="connsiteY8" fmla="*/ 3418641 h 5448300"/>
              <a:gd name="connsiteX9" fmla="*/ 3161669 w 5143500"/>
              <a:gd name="connsiteY9" fmla="*/ 5239704 h 5448300"/>
              <a:gd name="connsiteX10" fmla="*/ 3151384 w 5143500"/>
              <a:gd name="connsiteY10" fmla="*/ 5448300 h 5448300"/>
              <a:gd name="connsiteX11" fmla="*/ 0 w 5143500"/>
              <a:gd name="connsiteY11" fmla="*/ 5448300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3500" h="5448300">
                <a:moveTo>
                  <a:pt x="5143500" y="4187827"/>
                </a:moveTo>
                <a:lnTo>
                  <a:pt x="5143500" y="5448300"/>
                </a:lnTo>
                <a:lnTo>
                  <a:pt x="3912579" y="5448300"/>
                </a:lnTo>
                <a:lnTo>
                  <a:pt x="3918931" y="5319433"/>
                </a:lnTo>
                <a:cubicBezTo>
                  <a:pt x="3977740" y="4726238"/>
                  <a:pt x="4438123" y="4254586"/>
                  <a:pt x="5017606" y="4194335"/>
                </a:cubicBezTo>
                <a:close/>
                <a:moveTo>
                  <a:pt x="0" y="0"/>
                </a:moveTo>
                <a:lnTo>
                  <a:pt x="5143500" y="0"/>
                </a:lnTo>
                <a:lnTo>
                  <a:pt x="5143500" y="3408108"/>
                </a:lnTo>
                <a:lnTo>
                  <a:pt x="4939818" y="3418641"/>
                </a:lnTo>
                <a:cubicBezTo>
                  <a:pt x="4002248" y="3516155"/>
                  <a:pt x="3256884" y="4279511"/>
                  <a:pt x="3161669" y="5239704"/>
                </a:cubicBezTo>
                <a:lnTo>
                  <a:pt x="3151384" y="5448300"/>
                </a:lnTo>
                <a:lnTo>
                  <a:pt x="0" y="5448300"/>
                </a:lnTo>
                <a:close/>
              </a:path>
            </a:pathLst>
          </a:custGeom>
          <a:solidFill>
            <a:schemeClr val="accent5"/>
          </a:solidFill>
        </p:spPr>
        <p:txBody>
          <a:bodyPr wrap="square">
            <a:noAutofit/>
          </a:bodyPr>
          <a:lstStyle/>
          <a:p>
            <a:endParaRPr lang="en-US"/>
          </a:p>
        </p:txBody>
      </p:sp>
    </p:spTree>
    <p:extLst>
      <p:ext uri="{BB962C8B-B14F-4D97-AF65-F5344CB8AC3E}">
        <p14:creationId xmlns:p14="http://schemas.microsoft.com/office/powerpoint/2010/main" val="113408023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1869602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FC62D5C-FCC4-4EA9-A412-5E2F486E6434}"/>
              </a:ext>
            </a:extLst>
          </p:cNvPr>
          <p:cNvSpPr/>
          <p:nvPr userDrawn="1"/>
        </p:nvSpPr>
        <p:spPr>
          <a:xfrm>
            <a:off x="0" y="0"/>
            <a:ext cx="87444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F8D282B-141A-4592-8956-EF2F480A728A}"/>
              </a:ext>
            </a:extLst>
          </p:cNvPr>
          <p:cNvSpPr/>
          <p:nvPr userDrawn="1"/>
        </p:nvSpPr>
        <p:spPr>
          <a:xfrm>
            <a:off x="2706449" y="5596645"/>
            <a:ext cx="577702" cy="5777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2"/>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Title Here</a:t>
            </a:r>
          </a:p>
        </p:txBody>
      </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18" name="Rectangle 17">
            <a:extLst>
              <a:ext uri="{FF2B5EF4-FFF2-40B4-BE49-F238E27FC236}">
                <a16:creationId xmlns:a16="http://schemas.microsoft.com/office/drawing/2014/main" id="{D3D0F794-BF98-49A7-A3AA-94AEDBE61DC7}"/>
              </a:ext>
            </a:extLst>
          </p:cNvPr>
          <p:cNvSpPr/>
          <p:nvPr userDrawn="1"/>
        </p:nvSpPr>
        <p:spPr>
          <a:xfrm>
            <a:off x="8736746" y="0"/>
            <a:ext cx="345525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204BE5A3-1DB4-425C-BBAA-2FE91B09B957}"/>
              </a:ext>
            </a:extLst>
          </p:cNvPr>
          <p:cNvSpPr/>
          <p:nvPr userDrawn="1"/>
        </p:nvSpPr>
        <p:spPr>
          <a:xfrm>
            <a:off x="7694919" y="723900"/>
            <a:ext cx="2726157" cy="5448299"/>
          </a:xfrm>
          <a:custGeom>
            <a:avLst/>
            <a:gdLst>
              <a:gd name="connsiteX0" fmla="*/ 144340 w 377711"/>
              <a:gd name="connsiteY0" fmla="*/ 754866 h 754866"/>
              <a:gd name="connsiteX1" fmla="*/ 0 w 377711"/>
              <a:gd name="connsiteY1" fmla="*/ 754866 h 754866"/>
              <a:gd name="connsiteX2" fmla="*/ 233464 w 377711"/>
              <a:gd name="connsiteY2" fmla="*/ 0 h 754866"/>
              <a:gd name="connsiteX3" fmla="*/ 377711 w 377711"/>
              <a:gd name="connsiteY3" fmla="*/ 0 h 754866"/>
            </a:gdLst>
            <a:ahLst/>
            <a:cxnLst>
              <a:cxn ang="0">
                <a:pos x="connsiteX0" y="connsiteY0"/>
              </a:cxn>
              <a:cxn ang="0">
                <a:pos x="connsiteX1" y="connsiteY1"/>
              </a:cxn>
              <a:cxn ang="0">
                <a:pos x="connsiteX2" y="connsiteY2"/>
              </a:cxn>
              <a:cxn ang="0">
                <a:pos x="connsiteX3" y="connsiteY3"/>
              </a:cxn>
            </a:cxnLst>
            <a:rect l="l" t="t" r="r" b="b"/>
            <a:pathLst>
              <a:path w="377711" h="754866">
                <a:moveTo>
                  <a:pt x="144340" y="754866"/>
                </a:moveTo>
                <a:lnTo>
                  <a:pt x="0" y="754866"/>
                </a:lnTo>
                <a:lnTo>
                  <a:pt x="233464" y="0"/>
                </a:lnTo>
                <a:lnTo>
                  <a:pt x="377711" y="0"/>
                </a:lnTo>
                <a:close/>
              </a:path>
            </a:pathLst>
          </a:custGeom>
          <a:solidFill>
            <a:schemeClr val="bg1"/>
          </a:solidFill>
          <a:ln w="9264" cap="flat">
            <a:noFill/>
            <a:prstDash val="solid"/>
            <a:miter/>
          </a:ln>
        </p:spPr>
        <p:txBody>
          <a:bodyPr rtlCol="0" anchor="ctr"/>
          <a:lstStyle/>
          <a:p>
            <a:endParaRPr lang="en-US"/>
          </a:p>
        </p:txBody>
      </p:sp>
    </p:spTree>
    <p:extLst>
      <p:ext uri="{BB962C8B-B14F-4D97-AF65-F5344CB8AC3E}">
        <p14:creationId xmlns:p14="http://schemas.microsoft.com/office/powerpoint/2010/main" val="225115600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Title Slide 2">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3246969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FC62D5C-FCC4-4EA9-A412-5E2F486E6434}"/>
              </a:ext>
            </a:extLst>
          </p:cNvPr>
          <p:cNvSpPr/>
          <p:nvPr userDrawn="1"/>
        </p:nvSpPr>
        <p:spPr>
          <a:xfrm>
            <a:off x="0" y="0"/>
            <a:ext cx="874443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F8D282B-141A-4592-8956-EF2F480A728A}"/>
              </a:ext>
            </a:extLst>
          </p:cNvPr>
          <p:cNvSpPr/>
          <p:nvPr userDrawn="1"/>
        </p:nvSpPr>
        <p:spPr>
          <a:xfrm>
            <a:off x="2706449" y="5596645"/>
            <a:ext cx="577702" cy="5777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bg1"/>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Title Here</a:t>
            </a:r>
          </a:p>
        </p:txBody>
      </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18" name="Rectangle 17">
            <a:extLst>
              <a:ext uri="{FF2B5EF4-FFF2-40B4-BE49-F238E27FC236}">
                <a16:creationId xmlns:a16="http://schemas.microsoft.com/office/drawing/2014/main" id="{D3D0F794-BF98-49A7-A3AA-94AEDBE61DC7}"/>
              </a:ext>
            </a:extLst>
          </p:cNvPr>
          <p:cNvSpPr/>
          <p:nvPr userDrawn="1"/>
        </p:nvSpPr>
        <p:spPr>
          <a:xfrm>
            <a:off x="8736746" y="0"/>
            <a:ext cx="345525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B9653F2E-8282-41AD-A5BC-AA05BCC7C6A8}"/>
              </a:ext>
            </a:extLst>
          </p:cNvPr>
          <p:cNvGrpSpPr/>
          <p:nvPr userDrawn="1"/>
        </p:nvGrpSpPr>
        <p:grpSpPr>
          <a:xfrm>
            <a:off x="7322121" y="2167755"/>
            <a:ext cx="4329558" cy="2928679"/>
            <a:chOff x="4733366" y="723900"/>
            <a:chExt cx="8054392" cy="5448299"/>
          </a:xfrm>
        </p:grpSpPr>
        <p:sp>
          <p:nvSpPr>
            <p:cNvPr id="25" name="Freeform: Shape 24">
              <a:extLst>
                <a:ext uri="{FF2B5EF4-FFF2-40B4-BE49-F238E27FC236}">
                  <a16:creationId xmlns:a16="http://schemas.microsoft.com/office/drawing/2014/main" id="{0EDE29AB-BCFC-4FAE-9099-123EF692F4EC}"/>
                </a:ext>
              </a:extLst>
            </p:cNvPr>
            <p:cNvSpPr/>
            <p:nvPr userDrawn="1"/>
          </p:nvSpPr>
          <p:spPr>
            <a:xfrm>
              <a:off x="4733366" y="767543"/>
              <a:ext cx="5259720" cy="5386653"/>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chemeClr val="bg1"/>
            </a:solidFill>
            <a:ln w="926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4A1DC4E4-FA3B-4CA9-89B3-4699E67B0A1C}"/>
                </a:ext>
              </a:extLst>
            </p:cNvPr>
            <p:cNvSpPr/>
            <p:nvPr userDrawn="1"/>
          </p:nvSpPr>
          <p:spPr>
            <a:xfrm>
              <a:off x="10061601" y="723900"/>
              <a:ext cx="2726157" cy="5448299"/>
            </a:xfrm>
            <a:custGeom>
              <a:avLst/>
              <a:gdLst>
                <a:gd name="connsiteX0" fmla="*/ 144340 w 377711"/>
                <a:gd name="connsiteY0" fmla="*/ 754866 h 754866"/>
                <a:gd name="connsiteX1" fmla="*/ 0 w 377711"/>
                <a:gd name="connsiteY1" fmla="*/ 754866 h 754866"/>
                <a:gd name="connsiteX2" fmla="*/ 233464 w 377711"/>
                <a:gd name="connsiteY2" fmla="*/ 0 h 754866"/>
                <a:gd name="connsiteX3" fmla="*/ 377711 w 377711"/>
                <a:gd name="connsiteY3" fmla="*/ 0 h 754866"/>
              </a:gdLst>
              <a:ahLst/>
              <a:cxnLst>
                <a:cxn ang="0">
                  <a:pos x="connsiteX0" y="connsiteY0"/>
                </a:cxn>
                <a:cxn ang="0">
                  <a:pos x="connsiteX1" y="connsiteY1"/>
                </a:cxn>
                <a:cxn ang="0">
                  <a:pos x="connsiteX2" y="connsiteY2"/>
                </a:cxn>
                <a:cxn ang="0">
                  <a:pos x="connsiteX3" y="connsiteY3"/>
                </a:cxn>
              </a:cxnLst>
              <a:rect l="l" t="t" r="r" b="b"/>
              <a:pathLst>
                <a:path w="377711" h="754866">
                  <a:moveTo>
                    <a:pt x="144340" y="754866"/>
                  </a:moveTo>
                  <a:lnTo>
                    <a:pt x="0" y="754866"/>
                  </a:lnTo>
                  <a:lnTo>
                    <a:pt x="233464" y="0"/>
                  </a:lnTo>
                  <a:lnTo>
                    <a:pt x="377711" y="0"/>
                  </a:lnTo>
                  <a:close/>
                </a:path>
              </a:pathLst>
            </a:custGeom>
            <a:solidFill>
              <a:schemeClr val="bg1"/>
            </a:solidFill>
            <a:ln w="9264" cap="flat">
              <a:noFill/>
              <a:prstDash val="solid"/>
              <a:miter/>
            </a:ln>
          </p:spPr>
          <p:txBody>
            <a:bodyPr rtlCol="0" anchor="ctr"/>
            <a:lstStyle/>
            <a:p>
              <a:endParaRPr lang="en-US"/>
            </a:p>
          </p:txBody>
        </p:sp>
      </p:grpSp>
    </p:spTree>
    <p:extLst>
      <p:ext uri="{BB962C8B-B14F-4D97-AF65-F5344CB8AC3E}">
        <p14:creationId xmlns:p14="http://schemas.microsoft.com/office/powerpoint/2010/main" val="13949809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Title 5">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923900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21F82D18-A7FF-456E-805E-A70AC625A2E8}"/>
              </a:ext>
            </a:extLst>
          </p:cNvPr>
          <p:cNvSpPr/>
          <p:nvPr userDrawn="1"/>
        </p:nvSpPr>
        <p:spPr>
          <a:xfrm>
            <a:off x="0" y="0"/>
            <a:ext cx="77343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bg1"/>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accent1"/>
                </a:solidFill>
              </a:defRPr>
            </a:lvl1pPr>
          </a:lstStyle>
          <a:p>
            <a:r>
              <a:rPr lang="en-US"/>
              <a:t>Section Title</a:t>
            </a:r>
          </a:p>
        </p:txBody>
      </p:sp>
      <p:sp>
        <p:nvSpPr>
          <p:cNvPr id="26" name="Text Placeholder 19">
            <a:extLst>
              <a:ext uri="{FF2B5EF4-FFF2-40B4-BE49-F238E27FC236}">
                <a16:creationId xmlns:a16="http://schemas.microsoft.com/office/drawing/2014/main" id="{6B195838-967E-4121-BBF1-51F32A68DFF9}"/>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accent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9" name="Picture Placeholder 8">
            <a:extLst>
              <a:ext uri="{FF2B5EF4-FFF2-40B4-BE49-F238E27FC236}">
                <a16:creationId xmlns:a16="http://schemas.microsoft.com/office/drawing/2014/main" id="{58CE89ED-413D-47E7-B6FD-C32A75B80955}"/>
              </a:ext>
            </a:extLst>
          </p:cNvPr>
          <p:cNvSpPr>
            <a:spLocks noGrp="1"/>
          </p:cNvSpPr>
          <p:nvPr>
            <p:ph type="pic" sz="quarter" idx="11"/>
          </p:nvPr>
        </p:nvSpPr>
        <p:spPr>
          <a:xfrm>
            <a:off x="7734300" y="0"/>
            <a:ext cx="4457700" cy="6858000"/>
          </a:xfrm>
        </p:spPr>
        <p:txBody>
          <a:bodyPr/>
          <a:lstStyle/>
          <a:p>
            <a:endParaRPr lang="en-US"/>
          </a:p>
        </p:txBody>
      </p:sp>
    </p:spTree>
    <p:extLst>
      <p:ext uri="{BB962C8B-B14F-4D97-AF65-F5344CB8AC3E}">
        <p14:creationId xmlns:p14="http://schemas.microsoft.com/office/powerpoint/2010/main" val="26003545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Title Slide 2">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398657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0" name="Rectangle 9">
            <a:extLst>
              <a:ext uri="{FF2B5EF4-FFF2-40B4-BE49-F238E27FC236}">
                <a16:creationId xmlns:a16="http://schemas.microsoft.com/office/drawing/2014/main" id="{CF8D282B-141A-4592-8956-EF2F480A728A}"/>
              </a:ext>
            </a:extLst>
          </p:cNvPr>
          <p:cNvSpPr/>
          <p:nvPr userDrawn="1"/>
        </p:nvSpPr>
        <p:spPr>
          <a:xfrm>
            <a:off x="2706449" y="5596645"/>
            <a:ext cx="577702" cy="5777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2"/>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accent1"/>
                </a:solidFill>
              </a:defRPr>
            </a:lvl1pPr>
          </a:lstStyle>
          <a:p>
            <a:r>
              <a:rPr lang="en-US"/>
              <a:t>Title Here</a:t>
            </a:r>
          </a:p>
        </p:txBody>
      </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accent2"/>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18" name="Rectangle 17">
            <a:extLst>
              <a:ext uri="{FF2B5EF4-FFF2-40B4-BE49-F238E27FC236}">
                <a16:creationId xmlns:a16="http://schemas.microsoft.com/office/drawing/2014/main" id="{D3D0F794-BF98-49A7-A3AA-94AEDBE61DC7}"/>
              </a:ext>
            </a:extLst>
          </p:cNvPr>
          <p:cNvSpPr/>
          <p:nvPr userDrawn="1"/>
        </p:nvSpPr>
        <p:spPr>
          <a:xfrm>
            <a:off x="8736746" y="0"/>
            <a:ext cx="345525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2322249F-FBC2-4DD3-BD5B-014B02DCF611}"/>
              </a:ext>
            </a:extLst>
          </p:cNvPr>
          <p:cNvSpPr/>
          <p:nvPr userDrawn="1"/>
        </p:nvSpPr>
        <p:spPr>
          <a:xfrm>
            <a:off x="8736746" y="726620"/>
            <a:ext cx="2607372" cy="5442861"/>
          </a:xfrm>
          <a:custGeom>
            <a:avLst/>
            <a:gdLst>
              <a:gd name="connsiteX0" fmla="*/ 0 w 2607372"/>
              <a:gd name="connsiteY0" fmla="*/ 0 h 5442861"/>
              <a:gd name="connsiteX1" fmla="*/ 219493 w 2607372"/>
              <a:gd name="connsiteY1" fmla="*/ 11346 h 5442861"/>
              <a:gd name="connsiteX2" fmla="*/ 2607372 w 2607372"/>
              <a:gd name="connsiteY2" fmla="*/ 2721431 h 5442861"/>
              <a:gd name="connsiteX3" fmla="*/ 219375 w 2607372"/>
              <a:gd name="connsiteY3" fmla="*/ 5431517 h 5442861"/>
              <a:gd name="connsiteX4" fmla="*/ 0 w 2607372"/>
              <a:gd name="connsiteY4" fmla="*/ 5442861 h 5442861"/>
              <a:gd name="connsiteX5" fmla="*/ 0 w 2607372"/>
              <a:gd name="connsiteY5" fmla="*/ 4401749 h 5442861"/>
              <a:gd name="connsiteX6" fmla="*/ 115509 w 2607372"/>
              <a:gd name="connsiteY6" fmla="*/ 4395778 h 5442861"/>
              <a:gd name="connsiteX7" fmla="*/ 1590993 w 2607372"/>
              <a:gd name="connsiteY7" fmla="*/ 2721431 h 5442861"/>
              <a:gd name="connsiteX8" fmla="*/ 115509 w 2607372"/>
              <a:gd name="connsiteY8" fmla="*/ 1047085 h 5442861"/>
              <a:gd name="connsiteX9" fmla="*/ 0 w 2607372"/>
              <a:gd name="connsiteY9" fmla="*/ 1041113 h 544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7372" h="5442861">
                <a:moveTo>
                  <a:pt x="0" y="0"/>
                </a:moveTo>
                <a:lnTo>
                  <a:pt x="219493" y="11346"/>
                </a:lnTo>
                <a:cubicBezTo>
                  <a:pt x="1561351" y="150850"/>
                  <a:pt x="2607994" y="1310960"/>
                  <a:pt x="2607372" y="2721431"/>
                </a:cubicBezTo>
                <a:cubicBezTo>
                  <a:pt x="2607372" y="4131903"/>
                  <a:pt x="1560683" y="5292013"/>
                  <a:pt x="219375" y="5431517"/>
                </a:cubicBezTo>
                <a:lnTo>
                  <a:pt x="0" y="5442861"/>
                </a:lnTo>
                <a:lnTo>
                  <a:pt x="0" y="4401749"/>
                </a:lnTo>
                <a:lnTo>
                  <a:pt x="115509" y="4395778"/>
                </a:lnTo>
                <a:cubicBezTo>
                  <a:pt x="944533" y="4309583"/>
                  <a:pt x="1590993" y="3592791"/>
                  <a:pt x="1590993" y="2721431"/>
                </a:cubicBezTo>
                <a:cubicBezTo>
                  <a:pt x="1590993" y="1850072"/>
                  <a:pt x="944533" y="1133280"/>
                  <a:pt x="115509" y="1047085"/>
                </a:cubicBezTo>
                <a:lnTo>
                  <a:pt x="0" y="1041113"/>
                </a:lnTo>
                <a:close/>
              </a:path>
            </a:pathLst>
          </a:custGeom>
          <a:solidFill>
            <a:schemeClr val="accent2"/>
          </a:solidFill>
          <a:ln w="25400"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63653053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1">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831647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Section Title</a:t>
            </a:r>
          </a:p>
        </p:txBody>
      </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20" name="Freeform: Shape 19">
            <a:extLst>
              <a:ext uri="{FF2B5EF4-FFF2-40B4-BE49-F238E27FC236}">
                <a16:creationId xmlns:a16="http://schemas.microsoft.com/office/drawing/2014/main" id="{24A8F651-B61D-425B-88CE-5CD87852F272}"/>
              </a:ext>
            </a:extLst>
          </p:cNvPr>
          <p:cNvSpPr/>
          <p:nvPr userDrawn="1"/>
        </p:nvSpPr>
        <p:spPr>
          <a:xfrm>
            <a:off x="2626301" y="2"/>
            <a:ext cx="6939411" cy="2051637"/>
          </a:xfrm>
          <a:custGeom>
            <a:avLst/>
            <a:gdLst>
              <a:gd name="connsiteX0" fmla="*/ 0 w 6939411"/>
              <a:gd name="connsiteY0" fmla="*/ 0 h 2051637"/>
              <a:gd name="connsiteX1" fmla="*/ 2021768 w 6939411"/>
              <a:gd name="connsiteY1" fmla="*/ 0 h 2051637"/>
              <a:gd name="connsiteX2" fmla="*/ 2083611 w 6939411"/>
              <a:gd name="connsiteY2" fmla="*/ 47354 h 2051637"/>
              <a:gd name="connsiteX3" fmla="*/ 3469700 w 6939411"/>
              <a:gd name="connsiteY3" fmla="*/ 481008 h 2051637"/>
              <a:gd name="connsiteX4" fmla="*/ 4856243 w 6939411"/>
              <a:gd name="connsiteY4" fmla="*/ 47354 h 2051637"/>
              <a:gd name="connsiteX5" fmla="*/ 4918078 w 6939411"/>
              <a:gd name="connsiteY5" fmla="*/ 0 h 2051637"/>
              <a:gd name="connsiteX6" fmla="*/ 6939411 w 6939411"/>
              <a:gd name="connsiteY6" fmla="*/ 0 h 2051637"/>
              <a:gd name="connsiteX7" fmla="*/ 6797208 w 6939411"/>
              <a:gd name="connsiteY7" fmla="*/ 239721 h 2051637"/>
              <a:gd name="connsiteX8" fmla="*/ 3469700 w 6939411"/>
              <a:gd name="connsiteY8" fmla="*/ 2051637 h 2051637"/>
              <a:gd name="connsiteX9" fmla="*/ 142202 w 6939411"/>
              <a:gd name="connsiteY9" fmla="*/ 239721 h 2051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39411" h="2051637">
                <a:moveTo>
                  <a:pt x="0" y="0"/>
                </a:moveTo>
                <a:lnTo>
                  <a:pt x="2021768" y="0"/>
                </a:lnTo>
                <a:lnTo>
                  <a:pt x="2083611" y="47354"/>
                </a:lnTo>
                <a:cubicBezTo>
                  <a:pt x="2479359" y="321136"/>
                  <a:pt x="2956372" y="481008"/>
                  <a:pt x="3469700" y="481008"/>
                </a:cubicBezTo>
                <a:cubicBezTo>
                  <a:pt x="3983413" y="481008"/>
                  <a:pt x="4460523" y="321136"/>
                  <a:pt x="4856243" y="47354"/>
                </a:cubicBezTo>
                <a:lnTo>
                  <a:pt x="4918078" y="0"/>
                </a:lnTo>
                <a:lnTo>
                  <a:pt x="6939411" y="0"/>
                </a:lnTo>
                <a:lnTo>
                  <a:pt x="6797208" y="239721"/>
                </a:lnTo>
                <a:cubicBezTo>
                  <a:pt x="6076075" y="1332900"/>
                  <a:pt x="4854849" y="2051637"/>
                  <a:pt x="3469700" y="2051637"/>
                </a:cubicBezTo>
                <a:cubicBezTo>
                  <a:pt x="2084558" y="2051637"/>
                  <a:pt x="863334" y="1332900"/>
                  <a:pt x="142202" y="239721"/>
                </a:cubicBezTo>
                <a:close/>
              </a:path>
            </a:pathLst>
          </a:custGeom>
          <a:solidFill>
            <a:srgbClr val="FF9E18"/>
          </a:solidFill>
          <a:ln w="926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36787006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2">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34690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Section Title</a:t>
            </a:r>
          </a:p>
        </p:txBody>
      </p:sp>
      <p:sp>
        <p:nvSpPr>
          <p:cNvPr id="26" name="Freeform: Shape 25">
            <a:extLst>
              <a:ext uri="{FF2B5EF4-FFF2-40B4-BE49-F238E27FC236}">
                <a16:creationId xmlns:a16="http://schemas.microsoft.com/office/drawing/2014/main" id="{F2A2AE34-7892-42F4-AFE1-463A5BEF0007}"/>
              </a:ext>
            </a:extLst>
          </p:cNvPr>
          <p:cNvSpPr/>
          <p:nvPr userDrawn="1"/>
        </p:nvSpPr>
        <p:spPr>
          <a:xfrm>
            <a:off x="8694644" y="0"/>
            <a:ext cx="3497357" cy="6858000"/>
          </a:xfrm>
          <a:custGeom>
            <a:avLst/>
            <a:gdLst>
              <a:gd name="connsiteX0" fmla="*/ 1398588 w 3497357"/>
              <a:gd name="connsiteY0" fmla="*/ 0 h 6858000"/>
              <a:gd name="connsiteX1" fmla="*/ 3497357 w 3497357"/>
              <a:gd name="connsiteY1" fmla="*/ 0 h 6858000"/>
              <a:gd name="connsiteX2" fmla="*/ 3497357 w 3497357"/>
              <a:gd name="connsiteY2" fmla="*/ 722525 h 6858000"/>
              <a:gd name="connsiteX3" fmla="*/ 3321786 w 3497357"/>
              <a:gd name="connsiteY3" fmla="*/ 809134 h 6858000"/>
              <a:gd name="connsiteX4" fmla="*/ 1799307 w 3497357"/>
              <a:gd name="connsiteY4" fmla="*/ 3429000 h 6858000"/>
              <a:gd name="connsiteX5" fmla="*/ 3322313 w 3497357"/>
              <a:gd name="connsiteY5" fmla="*/ 6048867 h 6858000"/>
              <a:gd name="connsiteX6" fmla="*/ 3497357 w 3497357"/>
              <a:gd name="connsiteY6" fmla="*/ 6135224 h 6858000"/>
              <a:gd name="connsiteX7" fmla="*/ 3497357 w 3497357"/>
              <a:gd name="connsiteY7" fmla="*/ 6858000 h 6858000"/>
              <a:gd name="connsiteX8" fmla="*/ 1398588 w 3497357"/>
              <a:gd name="connsiteY8" fmla="*/ 6858000 h 6858000"/>
              <a:gd name="connsiteX9" fmla="*/ 1379218 w 3497357"/>
              <a:gd name="connsiteY9" fmla="*/ 6839087 h 6858000"/>
              <a:gd name="connsiteX10" fmla="*/ 0 w 3497357"/>
              <a:gd name="connsiteY10" fmla="*/ 3429000 h 6858000"/>
              <a:gd name="connsiteX11" fmla="*/ 1379218 w 3497357"/>
              <a:gd name="connsiteY11" fmla="*/ 189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357" h="6858000">
                <a:moveTo>
                  <a:pt x="1398588" y="0"/>
                </a:moveTo>
                <a:lnTo>
                  <a:pt x="3497357" y="0"/>
                </a:lnTo>
                <a:lnTo>
                  <a:pt x="3497357" y="722525"/>
                </a:lnTo>
                <a:lnTo>
                  <a:pt x="3321786" y="809134"/>
                </a:lnTo>
                <a:cubicBezTo>
                  <a:pt x="2414760" y="1313706"/>
                  <a:pt x="1799307" y="2297777"/>
                  <a:pt x="1799307" y="3429000"/>
                </a:cubicBezTo>
                <a:cubicBezTo>
                  <a:pt x="1799307" y="4560224"/>
                  <a:pt x="2415321" y="5544294"/>
                  <a:pt x="3322313" y="6048867"/>
                </a:cubicBezTo>
                <a:lnTo>
                  <a:pt x="3497357" y="6135224"/>
                </a:lnTo>
                <a:lnTo>
                  <a:pt x="3497357" y="6858000"/>
                </a:lnTo>
                <a:lnTo>
                  <a:pt x="1398588" y="6858000"/>
                </a:lnTo>
                <a:lnTo>
                  <a:pt x="1379218" y="6839087"/>
                </a:lnTo>
                <a:cubicBezTo>
                  <a:pt x="527066" y="5966368"/>
                  <a:pt x="0" y="4760720"/>
                  <a:pt x="0" y="3429000"/>
                </a:cubicBezTo>
                <a:cubicBezTo>
                  <a:pt x="0" y="2097281"/>
                  <a:pt x="527066" y="891632"/>
                  <a:pt x="1379218" y="18914"/>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31" name="Text Placeholder 19">
            <a:extLst>
              <a:ext uri="{FF2B5EF4-FFF2-40B4-BE49-F238E27FC236}">
                <a16:creationId xmlns:a16="http://schemas.microsoft.com/office/drawing/2014/main" id="{7BA5FB97-E6BC-4D7A-B26D-B9F1C20C4AC3}"/>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Tree>
    <p:extLst>
      <p:ext uri="{BB962C8B-B14F-4D97-AF65-F5344CB8AC3E}">
        <p14:creationId xmlns:p14="http://schemas.microsoft.com/office/powerpoint/2010/main" val="29472394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3">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887740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Section Title</a:t>
            </a:r>
          </a:p>
        </p:txBody>
      </p:sp>
      <p:sp>
        <p:nvSpPr>
          <p:cNvPr id="18" name="Freeform: Shape 17">
            <a:extLst>
              <a:ext uri="{FF2B5EF4-FFF2-40B4-BE49-F238E27FC236}">
                <a16:creationId xmlns:a16="http://schemas.microsoft.com/office/drawing/2014/main" id="{FE7C006C-C0E0-4482-AC7F-F81FF3BEF348}"/>
              </a:ext>
            </a:extLst>
          </p:cNvPr>
          <p:cNvSpPr/>
          <p:nvPr userDrawn="1"/>
        </p:nvSpPr>
        <p:spPr>
          <a:xfrm>
            <a:off x="8226453" y="0"/>
            <a:ext cx="3431948" cy="6858000"/>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a:p>
        </p:txBody>
      </p:sp>
      <p:sp>
        <p:nvSpPr>
          <p:cNvPr id="27" name="Text Placeholder 19">
            <a:extLst>
              <a:ext uri="{FF2B5EF4-FFF2-40B4-BE49-F238E27FC236}">
                <a16:creationId xmlns:a16="http://schemas.microsoft.com/office/drawing/2014/main" id="{31D63194-B773-4B19-A8E4-6A7BFC8F58E8}"/>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Tree>
    <p:extLst>
      <p:ext uri="{BB962C8B-B14F-4D97-AF65-F5344CB8AC3E}">
        <p14:creationId xmlns:p14="http://schemas.microsoft.com/office/powerpoint/2010/main" val="210082044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4">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1393377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Section Title</a:t>
            </a:r>
          </a:p>
        </p:txBody>
      </p:sp>
      <p:sp>
        <p:nvSpPr>
          <p:cNvPr id="18" name="Freeform: Shape 17">
            <a:extLst>
              <a:ext uri="{FF2B5EF4-FFF2-40B4-BE49-F238E27FC236}">
                <a16:creationId xmlns:a16="http://schemas.microsoft.com/office/drawing/2014/main" id="{FE7C006C-C0E0-4482-AC7F-F81FF3BEF348}"/>
              </a:ext>
            </a:extLst>
          </p:cNvPr>
          <p:cNvSpPr/>
          <p:nvPr userDrawn="1"/>
        </p:nvSpPr>
        <p:spPr>
          <a:xfrm>
            <a:off x="10506131" y="3489158"/>
            <a:ext cx="1685869" cy="3368841"/>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a:p>
        </p:txBody>
      </p:sp>
      <p:sp>
        <p:nvSpPr>
          <p:cNvPr id="26" name="Text Placeholder 19">
            <a:extLst>
              <a:ext uri="{FF2B5EF4-FFF2-40B4-BE49-F238E27FC236}">
                <a16:creationId xmlns:a16="http://schemas.microsoft.com/office/drawing/2014/main" id="{48CDFF59-67B7-4062-BE0A-DEB0597E73AB}"/>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Tree>
    <p:extLst>
      <p:ext uri="{BB962C8B-B14F-4D97-AF65-F5344CB8AC3E}">
        <p14:creationId xmlns:p14="http://schemas.microsoft.com/office/powerpoint/2010/main" val="343949517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Section Title 4">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5322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Section Title</a:t>
            </a:r>
          </a:p>
        </p:txBody>
      </p:sp>
      <p:sp>
        <p:nvSpPr>
          <p:cNvPr id="26" name="Text Placeholder 19">
            <a:extLst>
              <a:ext uri="{FF2B5EF4-FFF2-40B4-BE49-F238E27FC236}">
                <a16:creationId xmlns:a16="http://schemas.microsoft.com/office/drawing/2014/main" id="{48CDFF59-67B7-4062-BE0A-DEB0597E73AB}"/>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cxnSp>
        <p:nvCxnSpPr>
          <p:cNvPr id="27" name="Straight Connector 26">
            <a:extLst>
              <a:ext uri="{FF2B5EF4-FFF2-40B4-BE49-F238E27FC236}">
                <a16:creationId xmlns:a16="http://schemas.microsoft.com/office/drawing/2014/main" id="{285A4F78-EB86-45ED-A09F-9FBD86DD89D1}"/>
              </a:ext>
            </a:extLst>
          </p:cNvPr>
          <p:cNvCxnSpPr>
            <a:cxnSpLocks/>
          </p:cNvCxnSpPr>
          <p:nvPr userDrawn="1"/>
        </p:nvCxnSpPr>
        <p:spPr>
          <a:xfrm>
            <a:off x="838200" y="4479792"/>
            <a:ext cx="728382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C0152A9C-5C6A-4986-AD8B-1B816693BE88}"/>
              </a:ext>
            </a:extLst>
          </p:cNvPr>
          <p:cNvSpPr/>
          <p:nvPr userDrawn="1"/>
        </p:nvSpPr>
        <p:spPr>
          <a:xfrm>
            <a:off x="7962900" y="2781300"/>
            <a:ext cx="3390900" cy="33909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595899DF-BA62-4912-9844-E858C6BF4C86}"/>
              </a:ext>
            </a:extLst>
          </p:cNvPr>
          <p:cNvSpPr>
            <a:spLocks noGrp="1"/>
          </p:cNvSpPr>
          <p:nvPr>
            <p:ph type="pic" sz="quarter" idx="11"/>
          </p:nvPr>
        </p:nvSpPr>
        <p:spPr>
          <a:xfrm>
            <a:off x="8932069" y="3750469"/>
            <a:ext cx="1452563" cy="1452563"/>
          </a:xfrm>
        </p:spPr>
        <p:txBody>
          <a:bodyPr/>
          <a:lstStyle/>
          <a:p>
            <a:endParaRPr lang="en-US"/>
          </a:p>
        </p:txBody>
      </p:sp>
    </p:spTree>
    <p:extLst>
      <p:ext uri="{BB962C8B-B14F-4D97-AF65-F5344CB8AC3E}">
        <p14:creationId xmlns:p14="http://schemas.microsoft.com/office/powerpoint/2010/main" val="36512100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5">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874309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21F82D18-A7FF-456E-805E-A70AC625A2E8}"/>
              </a:ext>
            </a:extLst>
          </p:cNvPr>
          <p:cNvSpPr/>
          <p:nvPr userDrawn="1"/>
        </p:nvSpPr>
        <p:spPr>
          <a:xfrm>
            <a:off x="0" y="0"/>
            <a:ext cx="77343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a:t>Section Title</a:t>
            </a:r>
          </a:p>
        </p:txBody>
      </p:sp>
      <p:sp>
        <p:nvSpPr>
          <p:cNvPr id="26" name="Text Placeholder 19">
            <a:extLst>
              <a:ext uri="{FF2B5EF4-FFF2-40B4-BE49-F238E27FC236}">
                <a16:creationId xmlns:a16="http://schemas.microsoft.com/office/drawing/2014/main" id="{6B195838-967E-4121-BBF1-51F32A68DFF9}"/>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9" name="Picture Placeholder 8">
            <a:extLst>
              <a:ext uri="{FF2B5EF4-FFF2-40B4-BE49-F238E27FC236}">
                <a16:creationId xmlns:a16="http://schemas.microsoft.com/office/drawing/2014/main" id="{58CE89ED-413D-47E7-B6FD-C32A75B80955}"/>
              </a:ext>
            </a:extLst>
          </p:cNvPr>
          <p:cNvSpPr>
            <a:spLocks noGrp="1"/>
          </p:cNvSpPr>
          <p:nvPr>
            <p:ph type="pic" sz="quarter" idx="11"/>
          </p:nvPr>
        </p:nvSpPr>
        <p:spPr>
          <a:xfrm>
            <a:off x="7734300" y="0"/>
            <a:ext cx="4457700" cy="6858000"/>
          </a:xfrm>
        </p:spPr>
        <p:txBody>
          <a:bodyPr/>
          <a:lstStyle/>
          <a:p>
            <a:endParaRPr lang="en-US"/>
          </a:p>
        </p:txBody>
      </p:sp>
    </p:spTree>
    <p:extLst>
      <p:ext uri="{BB962C8B-B14F-4D97-AF65-F5344CB8AC3E}">
        <p14:creationId xmlns:p14="http://schemas.microsoft.com/office/powerpoint/2010/main" val="80575885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Section Title 5">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923900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21F82D18-A7FF-456E-805E-A70AC625A2E8}"/>
              </a:ext>
            </a:extLst>
          </p:cNvPr>
          <p:cNvSpPr/>
          <p:nvPr userDrawn="1"/>
        </p:nvSpPr>
        <p:spPr>
          <a:xfrm>
            <a:off x="0" y="0"/>
            <a:ext cx="77343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bg1"/>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accent1"/>
                </a:solidFill>
              </a:defRPr>
            </a:lvl1pPr>
          </a:lstStyle>
          <a:p>
            <a:r>
              <a:rPr lang="en-US"/>
              <a:t>Section Title</a:t>
            </a:r>
          </a:p>
        </p:txBody>
      </p:sp>
      <p:sp>
        <p:nvSpPr>
          <p:cNvPr id="26" name="Text Placeholder 19">
            <a:extLst>
              <a:ext uri="{FF2B5EF4-FFF2-40B4-BE49-F238E27FC236}">
                <a16:creationId xmlns:a16="http://schemas.microsoft.com/office/drawing/2014/main" id="{6B195838-967E-4121-BBF1-51F32A68DFF9}"/>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accent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a:t>Subtitle Here</a:t>
            </a:r>
          </a:p>
        </p:txBody>
      </p:sp>
      <p:sp>
        <p:nvSpPr>
          <p:cNvPr id="9" name="Picture Placeholder 8">
            <a:extLst>
              <a:ext uri="{FF2B5EF4-FFF2-40B4-BE49-F238E27FC236}">
                <a16:creationId xmlns:a16="http://schemas.microsoft.com/office/drawing/2014/main" id="{58CE89ED-413D-47E7-B6FD-C32A75B80955}"/>
              </a:ext>
            </a:extLst>
          </p:cNvPr>
          <p:cNvSpPr>
            <a:spLocks noGrp="1"/>
          </p:cNvSpPr>
          <p:nvPr>
            <p:ph type="pic" sz="quarter" idx="11"/>
          </p:nvPr>
        </p:nvSpPr>
        <p:spPr>
          <a:xfrm>
            <a:off x="7734300" y="0"/>
            <a:ext cx="4457700" cy="6858000"/>
          </a:xfrm>
        </p:spPr>
        <p:txBody>
          <a:bodyPr/>
          <a:lstStyle/>
          <a:p>
            <a:endParaRPr lang="en-US"/>
          </a:p>
        </p:txBody>
      </p:sp>
    </p:spTree>
    <p:extLst>
      <p:ext uri="{BB962C8B-B14F-4D97-AF65-F5344CB8AC3E}">
        <p14:creationId xmlns:p14="http://schemas.microsoft.com/office/powerpoint/2010/main" val="12409157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Custom Layout_Bullets">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2F9D91F4-C7FE-4C74-BA0E-A17BDCAA2D30}"/>
              </a:ext>
            </a:extLst>
          </p:cNvPr>
          <p:cNvSpPr/>
          <p:nvPr userDrawn="1"/>
        </p:nvSpPr>
        <p:spPr>
          <a:xfrm rot="5400000">
            <a:off x="5648785" y="314786"/>
            <a:ext cx="6411566" cy="667486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a:p>
        </p:txBody>
      </p:sp>
      <p:sp>
        <p:nvSpPr>
          <p:cNvPr id="2" name="Title 1">
            <a:extLst>
              <a:ext uri="{FF2B5EF4-FFF2-40B4-BE49-F238E27FC236}">
                <a16:creationId xmlns:a16="http://schemas.microsoft.com/office/drawing/2014/main" id="{25C5CDA7-3277-4BEF-B83F-00A6A1F359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7452D38-F127-4220-828A-AD175D044060}"/>
              </a:ext>
            </a:extLst>
          </p:cNvPr>
          <p:cNvSpPr>
            <a:spLocks noGrp="1"/>
          </p:cNvSpPr>
          <p:nvPr>
            <p:ph type="sldNum" sz="quarter" idx="10"/>
          </p:nvPr>
        </p:nvSpPr>
        <p:spPr/>
        <p:txBody>
          <a:bodyPr/>
          <a:lstStyle/>
          <a:p>
            <a:fld id="{A1471D42-392E-4D14-982B-D9D765EA1509}" type="slidenum">
              <a:rPr lang="en-US" smtClean="0"/>
              <a:pPr/>
              <a:t>‹#›</a:t>
            </a:fld>
            <a:endParaRPr lang="en-US"/>
          </a:p>
        </p:txBody>
      </p:sp>
      <p:sp>
        <p:nvSpPr>
          <p:cNvPr id="5" name="Text Placeholder 4">
            <a:extLst>
              <a:ext uri="{FF2B5EF4-FFF2-40B4-BE49-F238E27FC236}">
                <a16:creationId xmlns:a16="http://schemas.microsoft.com/office/drawing/2014/main" id="{77B1E8FD-61C8-4EC3-96A2-10CED7ABF8BB}"/>
              </a:ext>
            </a:extLst>
          </p:cNvPr>
          <p:cNvSpPr>
            <a:spLocks noGrp="1"/>
          </p:cNvSpPr>
          <p:nvPr>
            <p:ph type="body" sz="quarter" idx="11"/>
          </p:nvPr>
        </p:nvSpPr>
        <p:spPr>
          <a:xfrm>
            <a:off x="838200" y="1790700"/>
            <a:ext cx="10515600" cy="4381500"/>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aphic 6">
            <a:extLst>
              <a:ext uri="{FF2B5EF4-FFF2-40B4-BE49-F238E27FC236}">
                <a16:creationId xmlns:a16="http://schemas.microsoft.com/office/drawing/2014/main" id="{DE975AE8-D97D-409D-B91F-2FF9FCDDCF5F}"/>
              </a:ext>
            </a:extLst>
          </p:cNvPr>
          <p:cNvGrpSpPr/>
          <p:nvPr userDrawn="1"/>
        </p:nvGrpSpPr>
        <p:grpSpPr>
          <a:xfrm>
            <a:off x="891988" y="6394893"/>
            <a:ext cx="432890" cy="187030"/>
            <a:chOff x="85969" y="3646150"/>
            <a:chExt cx="1544103" cy="667132"/>
          </a:xfrm>
          <a:solidFill>
            <a:srgbClr val="FF9E18"/>
          </a:solidFill>
        </p:grpSpPr>
        <p:sp>
          <p:nvSpPr>
            <p:cNvPr id="8" name="Freeform: Shape 7">
              <a:extLst>
                <a:ext uri="{FF2B5EF4-FFF2-40B4-BE49-F238E27FC236}">
                  <a16:creationId xmlns:a16="http://schemas.microsoft.com/office/drawing/2014/main" id="{5B031496-4712-4206-8C9C-5F67A69A0ECC}"/>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A3CF591A-50D5-4354-8B34-EA52089486C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C20CD4A5-19D8-4542-B3F1-467A2FBE3F54}"/>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71C4DDE9-CD5B-42C2-A8B8-AF3770590DD6}"/>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Tree>
    <p:extLst>
      <p:ext uri="{BB962C8B-B14F-4D97-AF65-F5344CB8AC3E}">
        <p14:creationId xmlns:p14="http://schemas.microsoft.com/office/powerpoint/2010/main" val="189949418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sclaimer/Notes Slid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1584378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C28D76B-1E4B-4CAD-91D0-7031CCB234FF}"/>
              </a:ext>
            </a:extLst>
          </p:cNvPr>
          <p:cNvSpPr/>
          <p:nvPr userDrawn="1"/>
        </p:nvSpPr>
        <p:spPr>
          <a:xfrm>
            <a:off x="6210300" y="1"/>
            <a:ext cx="59817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7048500" y="723900"/>
            <a:ext cx="4305300" cy="5448300"/>
          </a:xfrm>
        </p:spPr>
        <p:txBody>
          <a:bodyPr>
            <a:norm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Picture Placeholder 19">
            <a:extLst>
              <a:ext uri="{FF2B5EF4-FFF2-40B4-BE49-F238E27FC236}">
                <a16:creationId xmlns:a16="http://schemas.microsoft.com/office/drawing/2014/main" id="{068B1CBB-79E0-4045-89B1-4F42FC074C78}"/>
              </a:ext>
            </a:extLst>
          </p:cNvPr>
          <p:cNvSpPr>
            <a:spLocks noGrp="1"/>
          </p:cNvSpPr>
          <p:nvPr>
            <p:ph type="pic" sz="quarter" idx="13"/>
          </p:nvPr>
        </p:nvSpPr>
        <p:spPr>
          <a:xfrm>
            <a:off x="1982268" y="1251008"/>
            <a:ext cx="4229100" cy="5606992"/>
          </a:xfrm>
          <a:custGeom>
            <a:avLst/>
            <a:gdLst>
              <a:gd name="connsiteX0" fmla="*/ 4152900 w 4229100"/>
              <a:gd name="connsiteY0" fmla="*/ 0 h 5606992"/>
              <a:gd name="connsiteX1" fmla="*/ 4229100 w 4229100"/>
              <a:gd name="connsiteY1" fmla="*/ 1927 h 5606992"/>
              <a:gd name="connsiteX2" fmla="*/ 4229100 w 4229100"/>
              <a:gd name="connsiteY2" fmla="*/ 5606992 h 5606992"/>
              <a:gd name="connsiteX3" fmla="*/ 245888 w 4229100"/>
              <a:gd name="connsiteY3" fmla="*/ 5606992 h 5606992"/>
              <a:gd name="connsiteX4" fmla="*/ 241490 w 4229100"/>
              <a:gd name="connsiteY4" fmla="*/ 5595839 h 5606992"/>
              <a:gd name="connsiteX5" fmla="*/ 10313 w 4229100"/>
              <a:gd name="connsiteY5" fmla="*/ 4589840 h 5606992"/>
              <a:gd name="connsiteX6" fmla="*/ 0 w 4229100"/>
              <a:gd name="connsiteY6" fmla="*/ 4454219 h 5606992"/>
              <a:gd name="connsiteX7" fmla="*/ 0 w 4229100"/>
              <a:gd name="connsiteY7" fmla="*/ 3873954 h 5606992"/>
              <a:gd name="connsiteX8" fmla="*/ 10313 w 4229100"/>
              <a:gd name="connsiteY8" fmla="*/ 3738333 h 5606992"/>
              <a:gd name="connsiteX9" fmla="*/ 4152900 w 4229100"/>
              <a:gd name="connsiteY9" fmla="*/ 0 h 560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29100" h="5606992">
                <a:moveTo>
                  <a:pt x="4152900" y="0"/>
                </a:moveTo>
                <a:lnTo>
                  <a:pt x="4229100" y="1927"/>
                </a:lnTo>
                <a:lnTo>
                  <a:pt x="4229100" y="5606992"/>
                </a:lnTo>
                <a:lnTo>
                  <a:pt x="245888" y="5606992"/>
                </a:lnTo>
                <a:lnTo>
                  <a:pt x="241490" y="5595839"/>
                </a:lnTo>
                <a:cubicBezTo>
                  <a:pt x="124729" y="5276951"/>
                  <a:pt x="45853" y="4939801"/>
                  <a:pt x="10313" y="4589840"/>
                </a:cubicBezTo>
                <a:lnTo>
                  <a:pt x="0" y="4454219"/>
                </a:lnTo>
                <a:lnTo>
                  <a:pt x="0" y="3873954"/>
                </a:lnTo>
                <a:lnTo>
                  <a:pt x="10313" y="3738333"/>
                </a:lnTo>
                <a:cubicBezTo>
                  <a:pt x="223556" y="1638567"/>
                  <a:pt x="1996874" y="0"/>
                  <a:pt x="4152900" y="0"/>
                </a:cubicBezTo>
                <a:close/>
              </a:path>
            </a:pathLst>
          </a:custGeom>
          <a:solidFill>
            <a:schemeClr val="accent5"/>
          </a:solidFill>
          <a:ln>
            <a:noFill/>
          </a:ln>
        </p:spPr>
        <p:txBody>
          <a:bodyPr wrap="square" anchor="ctr">
            <a:noAutofit/>
          </a:bodyPr>
          <a:lstStyle>
            <a:lvl1pPr algn="ctr">
              <a:defRPr/>
            </a:lvl1pPr>
          </a:lstStyle>
          <a:p>
            <a:endParaRPr lang="en-US"/>
          </a:p>
        </p:txBody>
      </p:sp>
      <p:sp>
        <p:nvSpPr>
          <p:cNvPr id="2" name="Title 1">
            <a:extLst>
              <a:ext uri="{FF2B5EF4-FFF2-40B4-BE49-F238E27FC236}">
                <a16:creationId xmlns:a16="http://schemas.microsoft.com/office/drawing/2014/main" id="{3698DA3B-94E9-47F0-84FE-C930131E6782}"/>
              </a:ext>
            </a:extLst>
          </p:cNvPr>
          <p:cNvSpPr>
            <a:spLocks noGrp="1"/>
          </p:cNvSpPr>
          <p:nvPr>
            <p:ph type="title"/>
          </p:nvPr>
        </p:nvSpPr>
        <p:spPr>
          <a:xfrm>
            <a:off x="838200" y="719015"/>
            <a:ext cx="3390900" cy="3176710"/>
          </a:xfrm>
        </p:spPr>
        <p:txBody>
          <a:bodyPr anchor="t"/>
          <a:lstStyle/>
          <a:p>
            <a:r>
              <a:rPr lang="en-US"/>
              <a:t>Click to edit Master title styl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a:p>
          </p:txBody>
        </p:sp>
      </p:grpSp>
    </p:spTree>
    <p:extLst>
      <p:ext uri="{BB962C8B-B14F-4D97-AF65-F5344CB8AC3E}">
        <p14:creationId xmlns:p14="http://schemas.microsoft.com/office/powerpoint/2010/main" val="1981693659"/>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oleObject" Target="../embeddings/oleObject1.bin"/><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image" Target="../media/image1.emf"/><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tags" Target="../tags/tag2.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202.xml"/><Relationship Id="rId21" Type="http://schemas.openxmlformats.org/officeDocument/2006/relationships/slideLayout" Target="../slideLayouts/slideLayout106.xml"/><Relationship Id="rId42" Type="http://schemas.openxmlformats.org/officeDocument/2006/relationships/slideLayout" Target="../slideLayouts/slideLayout127.xml"/><Relationship Id="rId63" Type="http://schemas.openxmlformats.org/officeDocument/2006/relationships/slideLayout" Target="../slideLayouts/slideLayout148.xml"/><Relationship Id="rId84" Type="http://schemas.openxmlformats.org/officeDocument/2006/relationships/slideLayout" Target="../slideLayouts/slideLayout169.xml"/><Relationship Id="rId138" Type="http://schemas.openxmlformats.org/officeDocument/2006/relationships/slideLayout" Target="../slideLayouts/slideLayout223.xml"/><Relationship Id="rId107" Type="http://schemas.openxmlformats.org/officeDocument/2006/relationships/slideLayout" Target="../slideLayouts/slideLayout192.xml"/><Relationship Id="rId11" Type="http://schemas.openxmlformats.org/officeDocument/2006/relationships/slideLayout" Target="../slideLayouts/slideLayout96.xml"/><Relationship Id="rId32" Type="http://schemas.openxmlformats.org/officeDocument/2006/relationships/slideLayout" Target="../slideLayouts/slideLayout117.xml"/><Relationship Id="rId53" Type="http://schemas.openxmlformats.org/officeDocument/2006/relationships/slideLayout" Target="../slideLayouts/slideLayout138.xml"/><Relationship Id="rId74" Type="http://schemas.openxmlformats.org/officeDocument/2006/relationships/slideLayout" Target="../slideLayouts/slideLayout159.xml"/><Relationship Id="rId128" Type="http://schemas.openxmlformats.org/officeDocument/2006/relationships/slideLayout" Target="../slideLayouts/slideLayout213.xml"/><Relationship Id="rId149" Type="http://schemas.openxmlformats.org/officeDocument/2006/relationships/tags" Target="../tags/tag159.xml"/><Relationship Id="rId5" Type="http://schemas.openxmlformats.org/officeDocument/2006/relationships/slideLayout" Target="../slideLayouts/slideLayout90.xml"/><Relationship Id="rId95" Type="http://schemas.openxmlformats.org/officeDocument/2006/relationships/slideLayout" Target="../slideLayouts/slideLayout180.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43" Type="http://schemas.openxmlformats.org/officeDocument/2006/relationships/slideLayout" Target="../slideLayouts/slideLayout128.xml"/><Relationship Id="rId48" Type="http://schemas.openxmlformats.org/officeDocument/2006/relationships/slideLayout" Target="../slideLayouts/slideLayout133.xml"/><Relationship Id="rId64" Type="http://schemas.openxmlformats.org/officeDocument/2006/relationships/slideLayout" Target="../slideLayouts/slideLayout149.xml"/><Relationship Id="rId69" Type="http://schemas.openxmlformats.org/officeDocument/2006/relationships/slideLayout" Target="../slideLayouts/slideLayout154.xml"/><Relationship Id="rId113" Type="http://schemas.openxmlformats.org/officeDocument/2006/relationships/slideLayout" Target="../slideLayouts/slideLayout198.xml"/><Relationship Id="rId118" Type="http://schemas.openxmlformats.org/officeDocument/2006/relationships/slideLayout" Target="../slideLayouts/slideLayout203.xml"/><Relationship Id="rId134" Type="http://schemas.openxmlformats.org/officeDocument/2006/relationships/slideLayout" Target="../slideLayouts/slideLayout219.xml"/><Relationship Id="rId139" Type="http://schemas.openxmlformats.org/officeDocument/2006/relationships/slideLayout" Target="../slideLayouts/slideLayout224.xml"/><Relationship Id="rId80" Type="http://schemas.openxmlformats.org/officeDocument/2006/relationships/slideLayout" Target="../slideLayouts/slideLayout165.xml"/><Relationship Id="rId85" Type="http://schemas.openxmlformats.org/officeDocument/2006/relationships/slideLayout" Target="../slideLayouts/slideLayout170.xml"/><Relationship Id="rId150" Type="http://schemas.openxmlformats.org/officeDocument/2006/relationships/oleObject" Target="../embeddings/oleObject1.bin"/><Relationship Id="rId12" Type="http://schemas.openxmlformats.org/officeDocument/2006/relationships/slideLayout" Target="../slideLayouts/slideLayout97.xml"/><Relationship Id="rId17" Type="http://schemas.openxmlformats.org/officeDocument/2006/relationships/slideLayout" Target="../slideLayouts/slideLayout102.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59" Type="http://schemas.openxmlformats.org/officeDocument/2006/relationships/slideLayout" Target="../slideLayouts/slideLayout144.xml"/><Relationship Id="rId103" Type="http://schemas.openxmlformats.org/officeDocument/2006/relationships/slideLayout" Target="../slideLayouts/slideLayout188.xml"/><Relationship Id="rId108" Type="http://schemas.openxmlformats.org/officeDocument/2006/relationships/slideLayout" Target="../slideLayouts/slideLayout193.xml"/><Relationship Id="rId124" Type="http://schemas.openxmlformats.org/officeDocument/2006/relationships/slideLayout" Target="../slideLayouts/slideLayout209.xml"/><Relationship Id="rId129" Type="http://schemas.openxmlformats.org/officeDocument/2006/relationships/slideLayout" Target="../slideLayouts/slideLayout214.xml"/><Relationship Id="rId54" Type="http://schemas.openxmlformats.org/officeDocument/2006/relationships/slideLayout" Target="../slideLayouts/slideLayout139.xml"/><Relationship Id="rId70" Type="http://schemas.openxmlformats.org/officeDocument/2006/relationships/slideLayout" Target="../slideLayouts/slideLayout155.xml"/><Relationship Id="rId75" Type="http://schemas.openxmlformats.org/officeDocument/2006/relationships/slideLayout" Target="../slideLayouts/slideLayout160.xml"/><Relationship Id="rId91" Type="http://schemas.openxmlformats.org/officeDocument/2006/relationships/slideLayout" Target="../slideLayouts/slideLayout176.xml"/><Relationship Id="rId96" Type="http://schemas.openxmlformats.org/officeDocument/2006/relationships/slideLayout" Target="../slideLayouts/slideLayout181.xml"/><Relationship Id="rId140" Type="http://schemas.openxmlformats.org/officeDocument/2006/relationships/slideLayout" Target="../slideLayouts/slideLayout225.xml"/><Relationship Id="rId145" Type="http://schemas.openxmlformats.org/officeDocument/2006/relationships/slideLayout" Target="../slideLayouts/slideLayout230.xml"/><Relationship Id="rId1" Type="http://schemas.openxmlformats.org/officeDocument/2006/relationships/slideLayout" Target="../slideLayouts/slideLayout86.xml"/><Relationship Id="rId6" Type="http://schemas.openxmlformats.org/officeDocument/2006/relationships/slideLayout" Target="../slideLayouts/slideLayout91.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49" Type="http://schemas.openxmlformats.org/officeDocument/2006/relationships/slideLayout" Target="../slideLayouts/slideLayout134.xml"/><Relationship Id="rId114" Type="http://schemas.openxmlformats.org/officeDocument/2006/relationships/slideLayout" Target="../slideLayouts/slideLayout199.xml"/><Relationship Id="rId119" Type="http://schemas.openxmlformats.org/officeDocument/2006/relationships/slideLayout" Target="../slideLayouts/slideLayout204.xml"/><Relationship Id="rId44" Type="http://schemas.openxmlformats.org/officeDocument/2006/relationships/slideLayout" Target="../slideLayouts/slideLayout129.xml"/><Relationship Id="rId60" Type="http://schemas.openxmlformats.org/officeDocument/2006/relationships/slideLayout" Target="../slideLayouts/slideLayout145.xml"/><Relationship Id="rId65" Type="http://schemas.openxmlformats.org/officeDocument/2006/relationships/slideLayout" Target="../slideLayouts/slideLayout150.xml"/><Relationship Id="rId81" Type="http://schemas.openxmlformats.org/officeDocument/2006/relationships/slideLayout" Target="../slideLayouts/slideLayout166.xml"/><Relationship Id="rId86" Type="http://schemas.openxmlformats.org/officeDocument/2006/relationships/slideLayout" Target="../slideLayouts/slideLayout171.xml"/><Relationship Id="rId130" Type="http://schemas.openxmlformats.org/officeDocument/2006/relationships/slideLayout" Target="../slideLayouts/slideLayout215.xml"/><Relationship Id="rId135" Type="http://schemas.openxmlformats.org/officeDocument/2006/relationships/slideLayout" Target="../slideLayouts/slideLayout220.xml"/><Relationship Id="rId151" Type="http://schemas.openxmlformats.org/officeDocument/2006/relationships/image" Target="../media/image1.emf"/><Relationship Id="rId13" Type="http://schemas.openxmlformats.org/officeDocument/2006/relationships/slideLayout" Target="../slideLayouts/slideLayout98.xml"/><Relationship Id="rId18" Type="http://schemas.openxmlformats.org/officeDocument/2006/relationships/slideLayout" Target="../slideLayouts/slideLayout103.xml"/><Relationship Id="rId39" Type="http://schemas.openxmlformats.org/officeDocument/2006/relationships/slideLayout" Target="../slideLayouts/slideLayout124.xml"/><Relationship Id="rId109" Type="http://schemas.openxmlformats.org/officeDocument/2006/relationships/slideLayout" Target="../slideLayouts/slideLayout194.xml"/><Relationship Id="rId34" Type="http://schemas.openxmlformats.org/officeDocument/2006/relationships/slideLayout" Target="../slideLayouts/slideLayout119.xml"/><Relationship Id="rId50" Type="http://schemas.openxmlformats.org/officeDocument/2006/relationships/slideLayout" Target="../slideLayouts/slideLayout135.xml"/><Relationship Id="rId55" Type="http://schemas.openxmlformats.org/officeDocument/2006/relationships/slideLayout" Target="../slideLayouts/slideLayout140.xml"/><Relationship Id="rId76" Type="http://schemas.openxmlformats.org/officeDocument/2006/relationships/slideLayout" Target="../slideLayouts/slideLayout161.xml"/><Relationship Id="rId97" Type="http://schemas.openxmlformats.org/officeDocument/2006/relationships/slideLayout" Target="../slideLayouts/slideLayout182.xml"/><Relationship Id="rId104" Type="http://schemas.openxmlformats.org/officeDocument/2006/relationships/slideLayout" Target="../slideLayouts/slideLayout189.xml"/><Relationship Id="rId120" Type="http://schemas.openxmlformats.org/officeDocument/2006/relationships/slideLayout" Target="../slideLayouts/slideLayout205.xml"/><Relationship Id="rId125" Type="http://schemas.openxmlformats.org/officeDocument/2006/relationships/slideLayout" Target="../slideLayouts/slideLayout210.xml"/><Relationship Id="rId141" Type="http://schemas.openxmlformats.org/officeDocument/2006/relationships/slideLayout" Target="../slideLayouts/slideLayout226.xml"/><Relationship Id="rId146" Type="http://schemas.openxmlformats.org/officeDocument/2006/relationships/slideLayout" Target="../slideLayouts/slideLayout231.xml"/><Relationship Id="rId7" Type="http://schemas.openxmlformats.org/officeDocument/2006/relationships/slideLayout" Target="../slideLayouts/slideLayout92.xml"/><Relationship Id="rId71" Type="http://schemas.openxmlformats.org/officeDocument/2006/relationships/slideLayout" Target="../slideLayouts/slideLayout156.xml"/><Relationship Id="rId92" Type="http://schemas.openxmlformats.org/officeDocument/2006/relationships/slideLayout" Target="../slideLayouts/slideLayout177.xml"/><Relationship Id="rId2" Type="http://schemas.openxmlformats.org/officeDocument/2006/relationships/slideLayout" Target="../slideLayouts/slideLayout87.xml"/><Relationship Id="rId29" Type="http://schemas.openxmlformats.org/officeDocument/2006/relationships/slideLayout" Target="../slideLayouts/slideLayout114.xml"/><Relationship Id="rId24" Type="http://schemas.openxmlformats.org/officeDocument/2006/relationships/slideLayout" Target="../slideLayouts/slideLayout109.xml"/><Relationship Id="rId40" Type="http://schemas.openxmlformats.org/officeDocument/2006/relationships/slideLayout" Target="../slideLayouts/slideLayout125.xml"/><Relationship Id="rId45" Type="http://schemas.openxmlformats.org/officeDocument/2006/relationships/slideLayout" Target="../slideLayouts/slideLayout130.xml"/><Relationship Id="rId66" Type="http://schemas.openxmlformats.org/officeDocument/2006/relationships/slideLayout" Target="../slideLayouts/slideLayout151.xml"/><Relationship Id="rId87" Type="http://schemas.openxmlformats.org/officeDocument/2006/relationships/slideLayout" Target="../slideLayouts/slideLayout172.xml"/><Relationship Id="rId110" Type="http://schemas.openxmlformats.org/officeDocument/2006/relationships/slideLayout" Target="../slideLayouts/slideLayout195.xml"/><Relationship Id="rId115" Type="http://schemas.openxmlformats.org/officeDocument/2006/relationships/slideLayout" Target="../slideLayouts/slideLayout200.xml"/><Relationship Id="rId131" Type="http://schemas.openxmlformats.org/officeDocument/2006/relationships/slideLayout" Target="../slideLayouts/slideLayout216.xml"/><Relationship Id="rId136" Type="http://schemas.openxmlformats.org/officeDocument/2006/relationships/slideLayout" Target="../slideLayouts/slideLayout221.xml"/><Relationship Id="rId61" Type="http://schemas.openxmlformats.org/officeDocument/2006/relationships/slideLayout" Target="../slideLayouts/slideLayout146.xml"/><Relationship Id="rId82" Type="http://schemas.openxmlformats.org/officeDocument/2006/relationships/slideLayout" Target="../slideLayouts/slideLayout167.xml"/><Relationship Id="rId19" Type="http://schemas.openxmlformats.org/officeDocument/2006/relationships/slideLayout" Target="../slideLayouts/slideLayout104.xml"/><Relationship Id="rId14" Type="http://schemas.openxmlformats.org/officeDocument/2006/relationships/slideLayout" Target="../slideLayouts/slideLayout99.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56" Type="http://schemas.openxmlformats.org/officeDocument/2006/relationships/slideLayout" Target="../slideLayouts/slideLayout141.xml"/><Relationship Id="rId77" Type="http://schemas.openxmlformats.org/officeDocument/2006/relationships/slideLayout" Target="../slideLayouts/slideLayout162.xml"/><Relationship Id="rId100" Type="http://schemas.openxmlformats.org/officeDocument/2006/relationships/slideLayout" Target="../slideLayouts/slideLayout185.xml"/><Relationship Id="rId105" Type="http://schemas.openxmlformats.org/officeDocument/2006/relationships/slideLayout" Target="../slideLayouts/slideLayout190.xml"/><Relationship Id="rId126" Type="http://schemas.openxmlformats.org/officeDocument/2006/relationships/slideLayout" Target="../slideLayouts/slideLayout211.xml"/><Relationship Id="rId147" Type="http://schemas.openxmlformats.org/officeDocument/2006/relationships/theme" Target="../theme/theme2.xml"/><Relationship Id="rId8" Type="http://schemas.openxmlformats.org/officeDocument/2006/relationships/slideLayout" Target="../slideLayouts/slideLayout93.xml"/><Relationship Id="rId51" Type="http://schemas.openxmlformats.org/officeDocument/2006/relationships/slideLayout" Target="../slideLayouts/slideLayout136.xml"/><Relationship Id="rId72" Type="http://schemas.openxmlformats.org/officeDocument/2006/relationships/slideLayout" Target="../slideLayouts/slideLayout157.xml"/><Relationship Id="rId93" Type="http://schemas.openxmlformats.org/officeDocument/2006/relationships/slideLayout" Target="../slideLayouts/slideLayout178.xml"/><Relationship Id="rId98" Type="http://schemas.openxmlformats.org/officeDocument/2006/relationships/slideLayout" Target="../slideLayouts/slideLayout183.xml"/><Relationship Id="rId121" Type="http://schemas.openxmlformats.org/officeDocument/2006/relationships/slideLayout" Target="../slideLayouts/slideLayout206.xml"/><Relationship Id="rId142" Type="http://schemas.openxmlformats.org/officeDocument/2006/relationships/slideLayout" Target="../slideLayouts/slideLayout227.xml"/><Relationship Id="rId3" Type="http://schemas.openxmlformats.org/officeDocument/2006/relationships/slideLayout" Target="../slideLayouts/slideLayout88.xml"/><Relationship Id="rId25" Type="http://schemas.openxmlformats.org/officeDocument/2006/relationships/slideLayout" Target="../slideLayouts/slideLayout110.xml"/><Relationship Id="rId46" Type="http://schemas.openxmlformats.org/officeDocument/2006/relationships/slideLayout" Target="../slideLayouts/slideLayout131.xml"/><Relationship Id="rId67" Type="http://schemas.openxmlformats.org/officeDocument/2006/relationships/slideLayout" Target="../slideLayouts/slideLayout152.xml"/><Relationship Id="rId116" Type="http://schemas.openxmlformats.org/officeDocument/2006/relationships/slideLayout" Target="../slideLayouts/slideLayout201.xml"/><Relationship Id="rId137" Type="http://schemas.openxmlformats.org/officeDocument/2006/relationships/slideLayout" Target="../slideLayouts/slideLayout222.xml"/><Relationship Id="rId20" Type="http://schemas.openxmlformats.org/officeDocument/2006/relationships/slideLayout" Target="../slideLayouts/slideLayout105.xml"/><Relationship Id="rId41" Type="http://schemas.openxmlformats.org/officeDocument/2006/relationships/slideLayout" Target="../slideLayouts/slideLayout126.xml"/><Relationship Id="rId62" Type="http://schemas.openxmlformats.org/officeDocument/2006/relationships/slideLayout" Target="../slideLayouts/slideLayout147.xml"/><Relationship Id="rId83" Type="http://schemas.openxmlformats.org/officeDocument/2006/relationships/slideLayout" Target="../slideLayouts/slideLayout168.xml"/><Relationship Id="rId88" Type="http://schemas.openxmlformats.org/officeDocument/2006/relationships/slideLayout" Target="../slideLayouts/slideLayout173.xml"/><Relationship Id="rId111" Type="http://schemas.openxmlformats.org/officeDocument/2006/relationships/slideLayout" Target="../slideLayouts/slideLayout196.xml"/><Relationship Id="rId132" Type="http://schemas.openxmlformats.org/officeDocument/2006/relationships/slideLayout" Target="../slideLayouts/slideLayout217.xml"/><Relationship Id="rId15" Type="http://schemas.openxmlformats.org/officeDocument/2006/relationships/slideLayout" Target="../slideLayouts/slideLayout100.xml"/><Relationship Id="rId36" Type="http://schemas.openxmlformats.org/officeDocument/2006/relationships/slideLayout" Target="../slideLayouts/slideLayout121.xml"/><Relationship Id="rId57" Type="http://schemas.openxmlformats.org/officeDocument/2006/relationships/slideLayout" Target="../slideLayouts/slideLayout142.xml"/><Relationship Id="rId106" Type="http://schemas.openxmlformats.org/officeDocument/2006/relationships/slideLayout" Target="../slideLayouts/slideLayout191.xml"/><Relationship Id="rId127" Type="http://schemas.openxmlformats.org/officeDocument/2006/relationships/slideLayout" Target="../slideLayouts/slideLayout212.xml"/><Relationship Id="rId10" Type="http://schemas.openxmlformats.org/officeDocument/2006/relationships/slideLayout" Target="../slideLayouts/slideLayout95.xml"/><Relationship Id="rId31" Type="http://schemas.openxmlformats.org/officeDocument/2006/relationships/slideLayout" Target="../slideLayouts/slideLayout116.xml"/><Relationship Id="rId52" Type="http://schemas.openxmlformats.org/officeDocument/2006/relationships/slideLayout" Target="../slideLayouts/slideLayout137.xml"/><Relationship Id="rId73" Type="http://schemas.openxmlformats.org/officeDocument/2006/relationships/slideLayout" Target="../slideLayouts/slideLayout158.xml"/><Relationship Id="rId78" Type="http://schemas.openxmlformats.org/officeDocument/2006/relationships/slideLayout" Target="../slideLayouts/slideLayout163.xml"/><Relationship Id="rId94" Type="http://schemas.openxmlformats.org/officeDocument/2006/relationships/slideLayout" Target="../slideLayouts/slideLayout179.xml"/><Relationship Id="rId99" Type="http://schemas.openxmlformats.org/officeDocument/2006/relationships/slideLayout" Target="../slideLayouts/slideLayout184.xml"/><Relationship Id="rId101" Type="http://schemas.openxmlformats.org/officeDocument/2006/relationships/slideLayout" Target="../slideLayouts/slideLayout186.xml"/><Relationship Id="rId122" Type="http://schemas.openxmlformats.org/officeDocument/2006/relationships/slideLayout" Target="../slideLayouts/slideLayout207.xml"/><Relationship Id="rId143" Type="http://schemas.openxmlformats.org/officeDocument/2006/relationships/slideLayout" Target="../slideLayouts/slideLayout228.xml"/><Relationship Id="rId148" Type="http://schemas.openxmlformats.org/officeDocument/2006/relationships/tags" Target="../tags/tag158.xml"/><Relationship Id="rId4" Type="http://schemas.openxmlformats.org/officeDocument/2006/relationships/slideLayout" Target="../slideLayouts/slideLayout89.xml"/><Relationship Id="rId9" Type="http://schemas.openxmlformats.org/officeDocument/2006/relationships/slideLayout" Target="../slideLayouts/slideLayout94.xml"/><Relationship Id="rId26" Type="http://schemas.openxmlformats.org/officeDocument/2006/relationships/slideLayout" Target="../slideLayouts/slideLayout111.xml"/><Relationship Id="rId47" Type="http://schemas.openxmlformats.org/officeDocument/2006/relationships/slideLayout" Target="../slideLayouts/slideLayout132.xml"/><Relationship Id="rId68" Type="http://schemas.openxmlformats.org/officeDocument/2006/relationships/slideLayout" Target="../slideLayouts/slideLayout153.xml"/><Relationship Id="rId89" Type="http://schemas.openxmlformats.org/officeDocument/2006/relationships/slideLayout" Target="../slideLayouts/slideLayout174.xml"/><Relationship Id="rId112" Type="http://schemas.openxmlformats.org/officeDocument/2006/relationships/slideLayout" Target="../slideLayouts/slideLayout197.xml"/><Relationship Id="rId133" Type="http://schemas.openxmlformats.org/officeDocument/2006/relationships/slideLayout" Target="../slideLayouts/slideLayout218.xml"/><Relationship Id="rId16" Type="http://schemas.openxmlformats.org/officeDocument/2006/relationships/slideLayout" Target="../slideLayouts/slideLayout101.xml"/><Relationship Id="rId37" Type="http://schemas.openxmlformats.org/officeDocument/2006/relationships/slideLayout" Target="../slideLayouts/slideLayout122.xml"/><Relationship Id="rId58" Type="http://schemas.openxmlformats.org/officeDocument/2006/relationships/slideLayout" Target="../slideLayouts/slideLayout143.xml"/><Relationship Id="rId79" Type="http://schemas.openxmlformats.org/officeDocument/2006/relationships/slideLayout" Target="../slideLayouts/slideLayout164.xml"/><Relationship Id="rId102" Type="http://schemas.openxmlformats.org/officeDocument/2006/relationships/slideLayout" Target="../slideLayouts/slideLayout187.xml"/><Relationship Id="rId123" Type="http://schemas.openxmlformats.org/officeDocument/2006/relationships/slideLayout" Target="../slideLayouts/slideLayout208.xml"/><Relationship Id="rId144" Type="http://schemas.openxmlformats.org/officeDocument/2006/relationships/slideLayout" Target="../slideLayouts/slideLayout229.xml"/><Relationship Id="rId90" Type="http://schemas.openxmlformats.org/officeDocument/2006/relationships/slideLayout" Target="../slideLayouts/slideLayout17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70F794C-C39B-4562-B9EF-EB9542BFDA4E}"/>
              </a:ext>
            </a:extLst>
          </p:cNvPr>
          <p:cNvGraphicFramePr>
            <a:graphicFrameLocks noChangeAspect="1"/>
          </p:cNvGraphicFramePr>
          <p:nvPr userDrawn="1">
            <p:custDataLst>
              <p:tags r:id="rId87"/>
            </p:custDataLst>
            <p:extLst>
              <p:ext uri="{D42A27DB-BD31-4B8C-83A1-F6EECF244321}">
                <p14:modId xmlns:p14="http://schemas.microsoft.com/office/powerpoint/2010/main" val="3202828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9" imgW="487" imgH="488" progId="TCLayout.ActiveDocument.1">
                  <p:embed/>
                </p:oleObj>
              </mc:Choice>
              <mc:Fallback>
                <p:oleObj name="think-cell Slide" r:id="rId89" imgW="487" imgH="488" progId="TCLayout.ActiveDocument.1">
                  <p:embed/>
                  <p:pic>
                    <p:nvPicPr>
                      <p:cNvPr id="8" name="Object 7" hidden="1">
                        <a:extLst>
                          <a:ext uri="{FF2B5EF4-FFF2-40B4-BE49-F238E27FC236}">
                            <a16:creationId xmlns:a16="http://schemas.microsoft.com/office/drawing/2014/main" id="{370F794C-C39B-4562-B9EF-EB9542BFDA4E}"/>
                          </a:ext>
                        </a:extLst>
                      </p:cNvPr>
                      <p:cNvPicPr/>
                      <p:nvPr/>
                    </p:nvPicPr>
                    <p:blipFill>
                      <a:blip r:embed="rId9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96A94A8-A4B2-4E86-8F08-55F503208F6E}"/>
              </a:ext>
            </a:extLst>
          </p:cNvPr>
          <p:cNvSpPr/>
          <p:nvPr userDrawn="1">
            <p:custDataLst>
              <p:tags r:id="rId8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Poppins ExtraBold" panose="00000900000000000000" pitchFamily="2" charset="0"/>
              <a:ea typeface="+mj-ea"/>
              <a:cs typeface="+mj-cs"/>
              <a:sym typeface="Poppins ExtraBold" panose="00000900000000000000" pitchFamily="2" charset="0"/>
            </a:endParaRPr>
          </a:p>
        </p:txBody>
      </p:sp>
      <p:sp>
        <p:nvSpPr>
          <p:cNvPr id="2" name="Title Placeholder 1">
            <a:extLst>
              <a:ext uri="{FF2B5EF4-FFF2-40B4-BE49-F238E27FC236}">
                <a16:creationId xmlns:a16="http://schemas.microsoft.com/office/drawing/2014/main" id="{BB6AEF09-6EB1-44B2-98DE-5342E8F6D65B}"/>
              </a:ext>
            </a:extLst>
          </p:cNvPr>
          <p:cNvSpPr>
            <a:spLocks noGrp="1"/>
          </p:cNvSpPr>
          <p:nvPr>
            <p:ph type="title"/>
          </p:nvPr>
        </p:nvSpPr>
        <p:spPr>
          <a:xfrm>
            <a:off x="838200" y="719015"/>
            <a:ext cx="10515600" cy="971673"/>
          </a:xfrm>
          <a:prstGeom prst="rect">
            <a:avLst/>
          </a:prstGeom>
        </p:spPr>
        <p:txBody>
          <a:bodyPr vert="horz" lIns="91440" tIns="45720" rIns="91440" bIns="45720" rtlCol="0" anchor="ctr">
            <a:normAutofit/>
          </a:bodyPr>
          <a:lstStyle/>
          <a:p>
            <a:r>
              <a:rPr lang="en-US"/>
              <a:t>Click to edit aster title style</a:t>
            </a:r>
          </a:p>
        </p:txBody>
      </p:sp>
      <p:sp>
        <p:nvSpPr>
          <p:cNvPr id="3" name="Text Placeholder 2">
            <a:extLst>
              <a:ext uri="{FF2B5EF4-FFF2-40B4-BE49-F238E27FC236}">
                <a16:creationId xmlns:a16="http://schemas.microsoft.com/office/drawing/2014/main" id="{70C737EC-F060-4E67-8C36-B6FA1A66D78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196717A-FF96-42C2-80D8-B848716492E0}"/>
              </a:ext>
            </a:extLst>
          </p:cNvPr>
          <p:cNvSpPr>
            <a:spLocks noGrp="1"/>
          </p:cNvSpPr>
          <p:nvPr>
            <p:ph type="sldNum" sz="quarter" idx="4"/>
          </p:nvPr>
        </p:nvSpPr>
        <p:spPr>
          <a:xfrm>
            <a:off x="10564238" y="6001967"/>
            <a:ext cx="789562" cy="690326"/>
          </a:xfrm>
          <a:prstGeom prst="rect">
            <a:avLst/>
          </a:prstGeom>
        </p:spPr>
        <p:txBody>
          <a:bodyPr vert="horz" lIns="91440" tIns="45720" rIns="91440" bIns="45720" rtlCol="0" anchor="b"/>
          <a:lstStyle>
            <a:lvl1pPr algn="r">
              <a:defRPr sz="1200">
                <a:solidFill>
                  <a:schemeClr val="accent2"/>
                </a:solidFill>
                <a:latin typeface="Poppins Light" panose="00000400000000000000" pitchFamily="2" charset="0"/>
                <a:cs typeface="Poppins Light" panose="00000400000000000000" pitchFamily="2" charset="0"/>
              </a:defRPr>
            </a:lvl1pPr>
          </a:lstStyle>
          <a:p>
            <a:fld id="{A1471D42-392E-4D14-982B-D9D765EA1509}" type="slidenum">
              <a:rPr lang="en-US" smtClean="0"/>
              <a:pPr/>
              <a:t>‹#›</a:t>
            </a:fld>
            <a:endParaRPr lang="en-US"/>
          </a:p>
        </p:txBody>
      </p:sp>
    </p:spTree>
    <p:extLst>
      <p:ext uri="{BB962C8B-B14F-4D97-AF65-F5344CB8AC3E}">
        <p14:creationId xmlns:p14="http://schemas.microsoft.com/office/powerpoint/2010/main" val="67119706"/>
      </p:ext>
    </p:extLst>
  </p:cSld>
  <p:clrMap bg1="lt1" tx1="dk1" bg2="lt2" tx2="dk2" accent1="accent1" accent2="accent2" accent3="accent3" accent4="accent4" accent5="accent5" accent6="accent6" hlink="hlink" folHlink="folHlink"/>
  <p:sldLayoutIdLst>
    <p:sldLayoutId id="2147483661" r:id="rId1"/>
    <p:sldLayoutId id="2147483649" r:id="rId2"/>
    <p:sldLayoutId id="2147483684" r:id="rId3"/>
    <p:sldLayoutId id="2147483685" r:id="rId4"/>
    <p:sldLayoutId id="2147483686" r:id="rId5"/>
    <p:sldLayoutId id="2147483680" r:id="rId6"/>
    <p:sldLayoutId id="2147483681" r:id="rId7"/>
    <p:sldLayoutId id="2147483683" r:id="rId8"/>
    <p:sldLayoutId id="2147483687" r:id="rId9"/>
    <p:sldLayoutId id="2147483740" r:id="rId10"/>
    <p:sldLayoutId id="2147483751" r:id="rId11"/>
    <p:sldLayoutId id="2147483741" r:id="rId12"/>
    <p:sldLayoutId id="2147483750" r:id="rId13"/>
    <p:sldLayoutId id="2147483662" r:id="rId14"/>
    <p:sldLayoutId id="2147483690" r:id="rId15"/>
    <p:sldLayoutId id="2147483691" r:id="rId16"/>
    <p:sldLayoutId id="2147483692" r:id="rId17"/>
    <p:sldLayoutId id="2147483703" r:id="rId18"/>
    <p:sldLayoutId id="2147483704" r:id="rId19"/>
    <p:sldLayoutId id="2147483705" r:id="rId20"/>
    <p:sldLayoutId id="2147483745" r:id="rId21"/>
    <p:sldLayoutId id="2147483693" r:id="rId22"/>
    <p:sldLayoutId id="2147483737" r:id="rId23"/>
    <p:sldLayoutId id="2147483694" r:id="rId24"/>
    <p:sldLayoutId id="2147483695" r:id="rId25"/>
    <p:sldLayoutId id="2147483696" r:id="rId26"/>
    <p:sldLayoutId id="2147483697" r:id="rId27"/>
    <p:sldLayoutId id="2147483698" r:id="rId28"/>
    <p:sldLayoutId id="2147483706" r:id="rId29"/>
    <p:sldLayoutId id="2147483707" r:id="rId30"/>
    <p:sldLayoutId id="2147483708" r:id="rId31"/>
    <p:sldLayoutId id="2147483752" r:id="rId32"/>
    <p:sldLayoutId id="2147483742" r:id="rId33"/>
    <p:sldLayoutId id="2147483743" r:id="rId34"/>
    <p:sldLayoutId id="2147483749" r:id="rId35"/>
    <p:sldLayoutId id="2147483717" r:id="rId36"/>
    <p:sldLayoutId id="2147483720" r:id="rId37"/>
    <p:sldLayoutId id="2147483670" r:id="rId38"/>
    <p:sldLayoutId id="2147483671" r:id="rId39"/>
    <p:sldLayoutId id="2147483672" r:id="rId40"/>
    <p:sldLayoutId id="2147483673" r:id="rId41"/>
    <p:sldLayoutId id="2147483674" r:id="rId42"/>
    <p:sldLayoutId id="2147483675" r:id="rId43"/>
    <p:sldLayoutId id="2147483676" r:id="rId44"/>
    <p:sldLayoutId id="2147483666" r:id="rId45"/>
    <p:sldLayoutId id="2147483660" r:id="rId46"/>
    <p:sldLayoutId id="2147483677" r:id="rId47"/>
    <p:sldLayoutId id="2147483678" r:id="rId48"/>
    <p:sldLayoutId id="2147483667" r:id="rId49"/>
    <p:sldLayoutId id="2147483668" r:id="rId50"/>
    <p:sldLayoutId id="2147483711" r:id="rId51"/>
    <p:sldLayoutId id="2147483669" r:id="rId52"/>
    <p:sldLayoutId id="2147483689" r:id="rId53"/>
    <p:sldLayoutId id="2147483712" r:id="rId54"/>
    <p:sldLayoutId id="2147483714" r:id="rId55"/>
    <p:sldLayoutId id="2147483713" r:id="rId56"/>
    <p:sldLayoutId id="2147483715" r:id="rId57"/>
    <p:sldLayoutId id="2147483716" r:id="rId58"/>
    <p:sldLayoutId id="2147483664" r:id="rId59"/>
    <p:sldLayoutId id="2147483710" r:id="rId60"/>
    <p:sldLayoutId id="2147483665" r:id="rId61"/>
    <p:sldLayoutId id="2147483721" r:id="rId62"/>
    <p:sldLayoutId id="2147483722" r:id="rId63"/>
    <p:sldLayoutId id="2147483723" r:id="rId64"/>
    <p:sldLayoutId id="2147483724" r:id="rId65"/>
    <p:sldLayoutId id="2147483725" r:id="rId66"/>
    <p:sldLayoutId id="2147483726" r:id="rId67"/>
    <p:sldLayoutId id="2147483727" r:id="rId68"/>
    <p:sldLayoutId id="2147483732" r:id="rId69"/>
    <p:sldLayoutId id="2147483733" r:id="rId70"/>
    <p:sldLayoutId id="2147483728" r:id="rId71"/>
    <p:sldLayoutId id="2147483729" r:id="rId72"/>
    <p:sldLayoutId id="2147483730" r:id="rId73"/>
    <p:sldLayoutId id="2147483731" r:id="rId74"/>
    <p:sldLayoutId id="2147483699" r:id="rId75"/>
    <p:sldLayoutId id="2147483700" r:id="rId76"/>
    <p:sldLayoutId id="2147483701" r:id="rId77"/>
    <p:sldLayoutId id="2147483702" r:id="rId78"/>
    <p:sldLayoutId id="2147483735" r:id="rId79"/>
    <p:sldLayoutId id="2147483736" r:id="rId80"/>
    <p:sldLayoutId id="2147483739" r:id="rId81"/>
    <p:sldLayoutId id="2147483738" r:id="rId82"/>
    <p:sldLayoutId id="2147483734" r:id="rId83"/>
    <p:sldLayoutId id="2147483755" r:id="rId84"/>
    <p:sldLayoutId id="2147483756" r:id="rId85"/>
  </p:sldLayoutIdLst>
  <p:hf hdr="0" ftr="0" dt="0"/>
  <p:txStyles>
    <p:titleStyle>
      <a:lvl1pPr algn="l" defTabSz="914400"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171450" indent="-171450" algn="l" defTabSz="914400" rtl="0" eaLnBrk="1" latinLnBrk="0" hangingPunct="1">
        <a:lnSpc>
          <a:spcPct val="130000"/>
        </a:lnSpc>
        <a:spcBef>
          <a:spcPts val="1200"/>
        </a:spcBef>
        <a:buFont typeface="Arial" panose="020B0604020202020204" pitchFamily="34" charset="0"/>
        <a:buChar char="•"/>
        <a:defRPr sz="2000" kern="1200">
          <a:solidFill>
            <a:schemeClr val="tx1"/>
          </a:solidFill>
          <a:latin typeface="+mn-lt"/>
          <a:ea typeface="+mn-ea"/>
          <a:cs typeface="+mn-cs"/>
        </a:defRPr>
      </a:lvl1pPr>
      <a:lvl2pPr marL="628650" indent="-171450" algn="l" defTabSz="914400" rtl="0" eaLnBrk="1" latinLnBrk="0" hangingPunct="1">
        <a:lnSpc>
          <a:spcPct val="130000"/>
        </a:lnSpc>
        <a:spcBef>
          <a:spcPts val="1200"/>
        </a:spcBef>
        <a:buFont typeface="Arial" panose="020B0604020202020204" pitchFamily="34" charset="0"/>
        <a:buChar char="•"/>
        <a:defRPr sz="2000" kern="1200">
          <a:solidFill>
            <a:schemeClr val="tx1"/>
          </a:solidFill>
          <a:latin typeface="+mn-lt"/>
          <a:ea typeface="+mn-ea"/>
          <a:cs typeface="+mn-cs"/>
        </a:defRPr>
      </a:lvl2pPr>
      <a:lvl3pPr marL="1085850" indent="-171450" algn="l" defTabSz="914400" rtl="0" eaLnBrk="1" latinLnBrk="0" hangingPunct="1">
        <a:lnSpc>
          <a:spcPct val="130000"/>
        </a:lnSpc>
        <a:spcBef>
          <a:spcPts val="1200"/>
        </a:spcBef>
        <a:buFont typeface="Arial" panose="020B0604020202020204" pitchFamily="34" charset="0"/>
        <a:buChar char="•"/>
        <a:defRPr sz="2000" kern="1200">
          <a:solidFill>
            <a:schemeClr val="tx1"/>
          </a:solidFill>
          <a:latin typeface="+mn-lt"/>
          <a:ea typeface="+mn-ea"/>
          <a:cs typeface="+mn-cs"/>
        </a:defRPr>
      </a:lvl3pPr>
      <a:lvl4pPr marL="1543050" indent="-171450" algn="l" defTabSz="914400" rtl="0" eaLnBrk="1" latinLnBrk="0" hangingPunct="1">
        <a:lnSpc>
          <a:spcPct val="130000"/>
        </a:lnSpc>
        <a:spcBef>
          <a:spcPts val="1200"/>
        </a:spcBef>
        <a:buFont typeface="Arial" panose="020B0604020202020204" pitchFamily="34" charset="0"/>
        <a:buChar char="•"/>
        <a:defRPr sz="2000" kern="1200">
          <a:solidFill>
            <a:schemeClr val="tx1"/>
          </a:solidFill>
          <a:latin typeface="+mn-lt"/>
          <a:ea typeface="+mn-ea"/>
          <a:cs typeface="+mn-cs"/>
        </a:defRPr>
      </a:lvl4pPr>
      <a:lvl5pPr marL="2000250" indent="-171450" algn="l" defTabSz="914400" rtl="0" eaLnBrk="1" latinLnBrk="0" hangingPunct="1">
        <a:lnSpc>
          <a:spcPct val="130000"/>
        </a:lnSpc>
        <a:spcBef>
          <a:spcPts val="12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56" userDrawn="1">
          <p15:clr>
            <a:srgbClr val="F26B43"/>
          </p15:clr>
        </p15:guide>
        <p15:guide id="2" pos="528" userDrawn="1">
          <p15:clr>
            <a:srgbClr val="F26B43"/>
          </p15:clr>
        </p15:guide>
        <p15:guide id="3" pos="7152" userDrawn="1">
          <p15:clr>
            <a:srgbClr val="F26B43"/>
          </p15:clr>
        </p15:guide>
        <p15:guide id="4" orient="horz" pos="3888" userDrawn="1">
          <p15:clr>
            <a:srgbClr val="F26B43"/>
          </p15:clr>
        </p15:guide>
        <p15:guide id="5" pos="1632" userDrawn="1">
          <p15:clr>
            <a:srgbClr val="F26B43"/>
          </p15:clr>
        </p15:guide>
        <p15:guide id="6" pos="2736" userDrawn="1">
          <p15:clr>
            <a:srgbClr val="F26B43"/>
          </p15:clr>
        </p15:guide>
        <p15:guide id="7" pos="3840" userDrawn="1">
          <p15:clr>
            <a:srgbClr val="F26B43"/>
          </p15:clr>
        </p15:guide>
        <p15:guide id="8" pos="4944" userDrawn="1">
          <p15:clr>
            <a:srgbClr val="F26B43"/>
          </p15:clr>
        </p15:guide>
        <p15:guide id="9" pos="6048" userDrawn="1">
          <p15:clr>
            <a:srgbClr val="F26B43"/>
          </p15:clr>
        </p15:guide>
        <p15:guide id="10" pos="1560" userDrawn="1">
          <p15:clr>
            <a:srgbClr val="F26B43"/>
          </p15:clr>
        </p15:guide>
        <p15:guide id="11" pos="1704" userDrawn="1">
          <p15:clr>
            <a:srgbClr val="F26B43"/>
          </p15:clr>
        </p15:guide>
        <p15:guide id="12" pos="2664" userDrawn="1">
          <p15:clr>
            <a:srgbClr val="F26B43"/>
          </p15:clr>
        </p15:guide>
        <p15:guide id="13" pos="2808" userDrawn="1">
          <p15:clr>
            <a:srgbClr val="F26B43"/>
          </p15:clr>
        </p15:guide>
        <p15:guide id="14" pos="3768" userDrawn="1">
          <p15:clr>
            <a:srgbClr val="F26B43"/>
          </p15:clr>
        </p15:guide>
        <p15:guide id="15" pos="3912" userDrawn="1">
          <p15:clr>
            <a:srgbClr val="F26B43"/>
          </p15:clr>
        </p15:guide>
        <p15:guide id="16" pos="4872" userDrawn="1">
          <p15:clr>
            <a:srgbClr val="F26B43"/>
          </p15:clr>
        </p15:guide>
        <p15:guide id="17" pos="5016" userDrawn="1">
          <p15:clr>
            <a:srgbClr val="F26B43"/>
          </p15:clr>
        </p15:guide>
        <p15:guide id="18" pos="5976" userDrawn="1">
          <p15:clr>
            <a:srgbClr val="F26B43"/>
          </p15:clr>
        </p15:guide>
        <p15:guide id="19" pos="612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70F794C-C39B-4562-B9EF-EB9542BFDA4E}"/>
              </a:ext>
            </a:extLst>
          </p:cNvPr>
          <p:cNvGraphicFramePr>
            <a:graphicFrameLocks noChangeAspect="1"/>
          </p:cNvGraphicFramePr>
          <p:nvPr userDrawn="1">
            <p:custDataLst>
              <p:tags r:id="rId148"/>
            </p:custDataLst>
            <p:extLst>
              <p:ext uri="{D42A27DB-BD31-4B8C-83A1-F6EECF244321}">
                <p14:modId xmlns:p14="http://schemas.microsoft.com/office/powerpoint/2010/main" val="3202828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0" imgW="487" imgH="488" progId="TCLayout.ActiveDocument.1">
                  <p:embed/>
                </p:oleObj>
              </mc:Choice>
              <mc:Fallback>
                <p:oleObj name="think-cell Slide" r:id="rId150" imgW="487" imgH="488" progId="TCLayout.ActiveDocument.1">
                  <p:embed/>
                  <p:pic>
                    <p:nvPicPr>
                      <p:cNvPr id="8" name="Object 7" hidden="1">
                        <a:extLst>
                          <a:ext uri="{FF2B5EF4-FFF2-40B4-BE49-F238E27FC236}">
                            <a16:creationId xmlns:a16="http://schemas.microsoft.com/office/drawing/2014/main" id="{370F794C-C39B-4562-B9EF-EB9542BFDA4E}"/>
                          </a:ext>
                        </a:extLst>
                      </p:cNvPr>
                      <p:cNvPicPr/>
                      <p:nvPr/>
                    </p:nvPicPr>
                    <p:blipFill>
                      <a:blip r:embed="rId15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96A94A8-A4B2-4E86-8F08-55F503208F6E}"/>
              </a:ext>
            </a:extLst>
          </p:cNvPr>
          <p:cNvSpPr/>
          <p:nvPr userDrawn="1">
            <p:custDataLst>
              <p:tags r:id="rId14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Poppins ExtraBold" panose="00000900000000000000" pitchFamily="2" charset="0"/>
              <a:ea typeface="+mj-ea"/>
              <a:cs typeface="+mj-cs"/>
              <a:sym typeface="Poppins ExtraBold" panose="00000900000000000000" pitchFamily="2" charset="0"/>
            </a:endParaRPr>
          </a:p>
        </p:txBody>
      </p:sp>
      <p:sp>
        <p:nvSpPr>
          <p:cNvPr id="2" name="Title Placeholder 1">
            <a:extLst>
              <a:ext uri="{FF2B5EF4-FFF2-40B4-BE49-F238E27FC236}">
                <a16:creationId xmlns:a16="http://schemas.microsoft.com/office/drawing/2014/main" id="{BB6AEF09-6EB1-44B2-98DE-5342E8F6D65B}"/>
              </a:ext>
            </a:extLst>
          </p:cNvPr>
          <p:cNvSpPr>
            <a:spLocks noGrp="1"/>
          </p:cNvSpPr>
          <p:nvPr>
            <p:ph type="title"/>
          </p:nvPr>
        </p:nvSpPr>
        <p:spPr>
          <a:xfrm>
            <a:off x="838200" y="719015"/>
            <a:ext cx="10515600" cy="971673"/>
          </a:xfrm>
          <a:prstGeom prst="rect">
            <a:avLst/>
          </a:prstGeom>
        </p:spPr>
        <p:txBody>
          <a:bodyPr vert="horz" lIns="91440" tIns="45720" rIns="91440" bIns="45720" rtlCol="0" anchor="ctr">
            <a:normAutofit/>
          </a:bodyPr>
          <a:lstStyle/>
          <a:p>
            <a:r>
              <a:rPr lang="en-US"/>
              <a:t>Click to edit aster title style</a:t>
            </a:r>
          </a:p>
        </p:txBody>
      </p:sp>
      <p:sp>
        <p:nvSpPr>
          <p:cNvPr id="3" name="Text Placeholder 2">
            <a:extLst>
              <a:ext uri="{FF2B5EF4-FFF2-40B4-BE49-F238E27FC236}">
                <a16:creationId xmlns:a16="http://schemas.microsoft.com/office/drawing/2014/main" id="{70C737EC-F060-4E67-8C36-B6FA1A66D78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196717A-FF96-42C2-80D8-B848716492E0}"/>
              </a:ext>
            </a:extLst>
          </p:cNvPr>
          <p:cNvSpPr>
            <a:spLocks noGrp="1"/>
          </p:cNvSpPr>
          <p:nvPr>
            <p:ph type="sldNum" sz="quarter" idx="4"/>
          </p:nvPr>
        </p:nvSpPr>
        <p:spPr>
          <a:xfrm>
            <a:off x="10564238" y="6001967"/>
            <a:ext cx="789562" cy="690326"/>
          </a:xfrm>
          <a:prstGeom prst="rect">
            <a:avLst/>
          </a:prstGeom>
        </p:spPr>
        <p:txBody>
          <a:bodyPr vert="horz" lIns="91440" tIns="45720" rIns="91440" bIns="45720" rtlCol="0" anchor="b"/>
          <a:lstStyle>
            <a:lvl1pPr algn="r">
              <a:defRPr sz="1200">
                <a:solidFill>
                  <a:schemeClr val="accent2"/>
                </a:solidFill>
                <a:latin typeface="Poppins Light" panose="00000400000000000000" pitchFamily="2" charset="0"/>
                <a:cs typeface="Poppins Light" panose="00000400000000000000" pitchFamily="2" charset="0"/>
              </a:defRPr>
            </a:lvl1pPr>
          </a:lstStyle>
          <a:p>
            <a:fld id="{A1471D42-392E-4D14-982B-D9D765EA1509}" type="slidenum">
              <a:rPr lang="en-US" smtClean="0"/>
              <a:pPr/>
              <a:t>‹#›</a:t>
            </a:fld>
            <a:endParaRPr lang="en-US"/>
          </a:p>
        </p:txBody>
      </p:sp>
    </p:spTree>
    <p:extLst>
      <p:ext uri="{BB962C8B-B14F-4D97-AF65-F5344CB8AC3E}">
        <p14:creationId xmlns:p14="http://schemas.microsoft.com/office/powerpoint/2010/main" val="2200751849"/>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 id="2147483787" r:id="rId30"/>
    <p:sldLayoutId id="2147483788" r:id="rId31"/>
    <p:sldLayoutId id="2147483789" r:id="rId32"/>
    <p:sldLayoutId id="2147483790" r:id="rId33"/>
    <p:sldLayoutId id="2147483791" r:id="rId34"/>
    <p:sldLayoutId id="2147483792" r:id="rId35"/>
    <p:sldLayoutId id="2147483793" r:id="rId36"/>
    <p:sldLayoutId id="2147483794" r:id="rId37"/>
    <p:sldLayoutId id="2147483795" r:id="rId38"/>
    <p:sldLayoutId id="2147483796" r:id="rId39"/>
    <p:sldLayoutId id="2147483797" r:id="rId40"/>
    <p:sldLayoutId id="2147483798" r:id="rId41"/>
    <p:sldLayoutId id="2147483799" r:id="rId42"/>
    <p:sldLayoutId id="2147483800" r:id="rId43"/>
    <p:sldLayoutId id="2147483801" r:id="rId44"/>
    <p:sldLayoutId id="2147483802" r:id="rId45"/>
    <p:sldLayoutId id="2147483803" r:id="rId46"/>
    <p:sldLayoutId id="2147483804" r:id="rId47"/>
    <p:sldLayoutId id="2147483805" r:id="rId48"/>
    <p:sldLayoutId id="2147483806" r:id="rId49"/>
    <p:sldLayoutId id="2147483807" r:id="rId50"/>
    <p:sldLayoutId id="2147483808" r:id="rId51"/>
    <p:sldLayoutId id="2147483809" r:id="rId52"/>
    <p:sldLayoutId id="2147483810" r:id="rId53"/>
    <p:sldLayoutId id="2147483811" r:id="rId54"/>
    <p:sldLayoutId id="2147483812" r:id="rId55"/>
    <p:sldLayoutId id="2147483813" r:id="rId56"/>
    <p:sldLayoutId id="2147483814" r:id="rId57"/>
    <p:sldLayoutId id="2147483815" r:id="rId58"/>
    <p:sldLayoutId id="2147483816" r:id="rId59"/>
    <p:sldLayoutId id="2147483817" r:id="rId60"/>
    <p:sldLayoutId id="2147483818" r:id="rId61"/>
    <p:sldLayoutId id="2147483819" r:id="rId62"/>
    <p:sldLayoutId id="2147483820" r:id="rId63"/>
    <p:sldLayoutId id="2147483821" r:id="rId64"/>
    <p:sldLayoutId id="2147483822" r:id="rId65"/>
    <p:sldLayoutId id="2147483823" r:id="rId66"/>
    <p:sldLayoutId id="2147483824" r:id="rId67"/>
    <p:sldLayoutId id="2147483825" r:id="rId68"/>
    <p:sldLayoutId id="2147483826" r:id="rId69"/>
    <p:sldLayoutId id="2147483827" r:id="rId70"/>
    <p:sldLayoutId id="2147483828" r:id="rId71"/>
    <p:sldLayoutId id="2147483829" r:id="rId72"/>
    <p:sldLayoutId id="2147483830" r:id="rId73"/>
    <p:sldLayoutId id="2147483831" r:id="rId74"/>
    <p:sldLayoutId id="2147483832" r:id="rId75"/>
    <p:sldLayoutId id="2147483833" r:id="rId76"/>
    <p:sldLayoutId id="2147483834" r:id="rId77"/>
    <p:sldLayoutId id="2147483835" r:id="rId78"/>
    <p:sldLayoutId id="2147483836" r:id="rId79"/>
    <p:sldLayoutId id="2147483837" r:id="rId80"/>
    <p:sldLayoutId id="2147483838" r:id="rId81"/>
    <p:sldLayoutId id="2147483839" r:id="rId82"/>
    <p:sldLayoutId id="2147483840" r:id="rId83"/>
    <p:sldLayoutId id="2147483841" r:id="rId84"/>
    <p:sldLayoutId id="2147483842" r:id="rId85"/>
    <p:sldLayoutId id="2147483843" r:id="rId86"/>
    <p:sldLayoutId id="2147483844" r:id="rId87"/>
    <p:sldLayoutId id="2147483845" r:id="rId88"/>
    <p:sldLayoutId id="2147483846" r:id="rId89"/>
    <p:sldLayoutId id="2147483847" r:id="rId90"/>
    <p:sldLayoutId id="2147483848" r:id="rId91"/>
    <p:sldLayoutId id="2147483849" r:id="rId92"/>
    <p:sldLayoutId id="2147483850" r:id="rId93"/>
    <p:sldLayoutId id="2147483851" r:id="rId94"/>
    <p:sldLayoutId id="2147483852" r:id="rId95"/>
    <p:sldLayoutId id="2147483853" r:id="rId96"/>
    <p:sldLayoutId id="2147483854" r:id="rId97"/>
    <p:sldLayoutId id="2147483855" r:id="rId98"/>
    <p:sldLayoutId id="2147483856" r:id="rId99"/>
    <p:sldLayoutId id="2147483857" r:id="rId100"/>
    <p:sldLayoutId id="2147483858" r:id="rId101"/>
    <p:sldLayoutId id="2147483859" r:id="rId102"/>
    <p:sldLayoutId id="2147483860" r:id="rId103"/>
    <p:sldLayoutId id="2147483861" r:id="rId104"/>
    <p:sldLayoutId id="2147483862" r:id="rId105"/>
    <p:sldLayoutId id="2147483863" r:id="rId106"/>
    <p:sldLayoutId id="2147483864" r:id="rId107"/>
    <p:sldLayoutId id="2147483865" r:id="rId108"/>
    <p:sldLayoutId id="2147483866" r:id="rId109"/>
    <p:sldLayoutId id="2147483867" r:id="rId110"/>
    <p:sldLayoutId id="2147483868" r:id="rId111"/>
    <p:sldLayoutId id="2147483869" r:id="rId112"/>
    <p:sldLayoutId id="2147483870" r:id="rId113"/>
    <p:sldLayoutId id="2147483871" r:id="rId114"/>
    <p:sldLayoutId id="2147483872" r:id="rId115"/>
    <p:sldLayoutId id="2147483873" r:id="rId116"/>
    <p:sldLayoutId id="2147483874" r:id="rId117"/>
    <p:sldLayoutId id="2147483875" r:id="rId118"/>
    <p:sldLayoutId id="2147483876" r:id="rId119"/>
    <p:sldLayoutId id="2147483877" r:id="rId120"/>
    <p:sldLayoutId id="2147483878" r:id="rId121"/>
    <p:sldLayoutId id="2147483879" r:id="rId122"/>
    <p:sldLayoutId id="2147483880" r:id="rId123"/>
    <p:sldLayoutId id="2147483881" r:id="rId124"/>
    <p:sldLayoutId id="2147483882" r:id="rId125"/>
    <p:sldLayoutId id="2147483883" r:id="rId126"/>
    <p:sldLayoutId id="2147483884" r:id="rId127"/>
    <p:sldLayoutId id="2147483885" r:id="rId128"/>
    <p:sldLayoutId id="2147483886" r:id="rId129"/>
    <p:sldLayoutId id="2147483887" r:id="rId130"/>
    <p:sldLayoutId id="2147483888" r:id="rId131"/>
    <p:sldLayoutId id="2147483889" r:id="rId132"/>
    <p:sldLayoutId id="2147483890" r:id="rId133"/>
    <p:sldLayoutId id="2147483891" r:id="rId134"/>
    <p:sldLayoutId id="2147483892" r:id="rId135"/>
    <p:sldLayoutId id="2147483893" r:id="rId136"/>
    <p:sldLayoutId id="2147483894" r:id="rId137"/>
    <p:sldLayoutId id="2147483895" r:id="rId138"/>
    <p:sldLayoutId id="2147483896" r:id="rId139"/>
    <p:sldLayoutId id="2147483897" r:id="rId140"/>
    <p:sldLayoutId id="2147483898" r:id="rId141"/>
    <p:sldLayoutId id="2147483899" r:id="rId142"/>
    <p:sldLayoutId id="2147483900" r:id="rId143"/>
    <p:sldLayoutId id="2147483901" r:id="rId144"/>
    <p:sldLayoutId id="2147483902" r:id="rId145"/>
    <p:sldLayoutId id="2147483903" r:id="rId146"/>
  </p:sldLayoutIdLst>
  <p:hf hdr="0" ftr="0" dt="0"/>
  <p:txStyles>
    <p:titleStyle>
      <a:lvl1pPr algn="l" defTabSz="914400"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171450" indent="-171450" algn="l" defTabSz="914400" rtl="0" eaLnBrk="1" latinLnBrk="0" hangingPunct="1">
        <a:lnSpc>
          <a:spcPct val="130000"/>
        </a:lnSpc>
        <a:spcBef>
          <a:spcPts val="1200"/>
        </a:spcBef>
        <a:buFont typeface="Arial" panose="020B0604020202020204" pitchFamily="34" charset="0"/>
        <a:buChar char="•"/>
        <a:defRPr sz="2000" kern="1200">
          <a:solidFill>
            <a:schemeClr val="tx1"/>
          </a:solidFill>
          <a:latin typeface="+mn-lt"/>
          <a:ea typeface="+mn-ea"/>
          <a:cs typeface="+mn-cs"/>
        </a:defRPr>
      </a:lvl1pPr>
      <a:lvl2pPr marL="628650" indent="-171450" algn="l" defTabSz="914400" rtl="0" eaLnBrk="1" latinLnBrk="0" hangingPunct="1">
        <a:lnSpc>
          <a:spcPct val="130000"/>
        </a:lnSpc>
        <a:spcBef>
          <a:spcPts val="1200"/>
        </a:spcBef>
        <a:buFont typeface="Arial" panose="020B0604020202020204" pitchFamily="34" charset="0"/>
        <a:buChar char="•"/>
        <a:defRPr sz="2000" kern="1200">
          <a:solidFill>
            <a:schemeClr val="tx1"/>
          </a:solidFill>
          <a:latin typeface="+mn-lt"/>
          <a:ea typeface="+mn-ea"/>
          <a:cs typeface="+mn-cs"/>
        </a:defRPr>
      </a:lvl2pPr>
      <a:lvl3pPr marL="1085850" indent="-171450" algn="l" defTabSz="914400" rtl="0" eaLnBrk="1" latinLnBrk="0" hangingPunct="1">
        <a:lnSpc>
          <a:spcPct val="130000"/>
        </a:lnSpc>
        <a:spcBef>
          <a:spcPts val="1200"/>
        </a:spcBef>
        <a:buFont typeface="Arial" panose="020B0604020202020204" pitchFamily="34" charset="0"/>
        <a:buChar char="•"/>
        <a:defRPr sz="2000" kern="1200">
          <a:solidFill>
            <a:schemeClr val="tx1"/>
          </a:solidFill>
          <a:latin typeface="+mn-lt"/>
          <a:ea typeface="+mn-ea"/>
          <a:cs typeface="+mn-cs"/>
        </a:defRPr>
      </a:lvl3pPr>
      <a:lvl4pPr marL="1543050" indent="-171450" algn="l" defTabSz="914400" rtl="0" eaLnBrk="1" latinLnBrk="0" hangingPunct="1">
        <a:lnSpc>
          <a:spcPct val="130000"/>
        </a:lnSpc>
        <a:spcBef>
          <a:spcPts val="1200"/>
        </a:spcBef>
        <a:buFont typeface="Arial" panose="020B0604020202020204" pitchFamily="34" charset="0"/>
        <a:buChar char="•"/>
        <a:defRPr sz="2000" kern="1200">
          <a:solidFill>
            <a:schemeClr val="tx1"/>
          </a:solidFill>
          <a:latin typeface="+mn-lt"/>
          <a:ea typeface="+mn-ea"/>
          <a:cs typeface="+mn-cs"/>
        </a:defRPr>
      </a:lvl4pPr>
      <a:lvl5pPr marL="2000250" indent="-171450" algn="l" defTabSz="914400" rtl="0" eaLnBrk="1" latinLnBrk="0" hangingPunct="1">
        <a:lnSpc>
          <a:spcPct val="130000"/>
        </a:lnSpc>
        <a:spcBef>
          <a:spcPts val="12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56">
          <p15:clr>
            <a:srgbClr val="F26B43"/>
          </p15:clr>
        </p15:guide>
        <p15:guide id="2" pos="528">
          <p15:clr>
            <a:srgbClr val="F26B43"/>
          </p15:clr>
        </p15:guide>
        <p15:guide id="3" pos="7152">
          <p15:clr>
            <a:srgbClr val="F26B43"/>
          </p15:clr>
        </p15:guide>
        <p15:guide id="4" orient="horz" pos="3888">
          <p15:clr>
            <a:srgbClr val="F26B43"/>
          </p15:clr>
        </p15:guide>
        <p15:guide id="5" pos="1632">
          <p15:clr>
            <a:srgbClr val="F26B43"/>
          </p15:clr>
        </p15:guide>
        <p15:guide id="6" pos="2736">
          <p15:clr>
            <a:srgbClr val="F26B43"/>
          </p15:clr>
        </p15:guide>
        <p15:guide id="7" pos="3840">
          <p15:clr>
            <a:srgbClr val="F26B43"/>
          </p15:clr>
        </p15:guide>
        <p15:guide id="8" pos="4944">
          <p15:clr>
            <a:srgbClr val="F26B43"/>
          </p15:clr>
        </p15:guide>
        <p15:guide id="9" pos="6048">
          <p15:clr>
            <a:srgbClr val="F26B43"/>
          </p15:clr>
        </p15:guide>
        <p15:guide id="10" pos="1560">
          <p15:clr>
            <a:srgbClr val="F26B43"/>
          </p15:clr>
        </p15:guide>
        <p15:guide id="11" pos="1704">
          <p15:clr>
            <a:srgbClr val="F26B43"/>
          </p15:clr>
        </p15:guide>
        <p15:guide id="12" pos="2664">
          <p15:clr>
            <a:srgbClr val="F26B43"/>
          </p15:clr>
        </p15:guide>
        <p15:guide id="13" pos="2808">
          <p15:clr>
            <a:srgbClr val="F26B43"/>
          </p15:clr>
        </p15:guide>
        <p15:guide id="14" pos="3768">
          <p15:clr>
            <a:srgbClr val="F26B43"/>
          </p15:clr>
        </p15:guide>
        <p15:guide id="15" pos="3912">
          <p15:clr>
            <a:srgbClr val="F26B43"/>
          </p15:clr>
        </p15:guide>
        <p15:guide id="16" pos="4872">
          <p15:clr>
            <a:srgbClr val="F26B43"/>
          </p15:clr>
        </p15:guide>
        <p15:guide id="17" pos="5016">
          <p15:clr>
            <a:srgbClr val="F26B43"/>
          </p15:clr>
        </p15:guide>
        <p15:guide id="18" pos="5976">
          <p15:clr>
            <a:srgbClr val="F26B43"/>
          </p15:clr>
        </p15:guide>
        <p15:guide id="19" pos="612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flickr.com/photos/theocrazzolara/49626602537/" TargetMode="External"/><Relationship Id="rId3" Type="http://schemas.openxmlformats.org/officeDocument/2006/relationships/tags" Target="../tags/tag393.xml"/><Relationship Id="rId7" Type="http://schemas.openxmlformats.org/officeDocument/2006/relationships/image" Target="../media/image33.jpeg"/><Relationship Id="rId2" Type="http://schemas.openxmlformats.org/officeDocument/2006/relationships/customXml" Target="../../customXml/item31.xml"/><Relationship Id="rId1" Type="http://schemas.openxmlformats.org/officeDocument/2006/relationships/customXml" Target="../../customXml/item30.xml"/><Relationship Id="rId6" Type="http://schemas.openxmlformats.org/officeDocument/2006/relationships/notesSlide" Target="../notesSlides/notesSlide1.xml"/><Relationship Id="rId5" Type="http://schemas.openxmlformats.org/officeDocument/2006/relationships/slideLayout" Target="../slideLayouts/slideLayout86.xml"/><Relationship Id="rId10" Type="http://schemas.openxmlformats.org/officeDocument/2006/relationships/image" Target="../media/image1.emf"/><Relationship Id="rId4" Type="http://schemas.openxmlformats.org/officeDocument/2006/relationships/tags" Target="../tags/tag394.xml"/><Relationship Id="rId9" Type="http://schemas.openxmlformats.org/officeDocument/2006/relationships/oleObject" Target="../embeddings/oleObject56.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9.xml"/></Relationships>
</file>

<file path=ppt/slides/_rels/slide11.xml.rels><?xml version="1.0" encoding="UTF-8" standalone="yes"?>
<Relationships xmlns="http://schemas.openxmlformats.org/package/2006/relationships"><Relationship Id="rId2" Type="http://schemas.openxmlformats.org/officeDocument/2006/relationships/hyperlink" Target="mailto:rfoster@veic.org" TargetMode="External"/><Relationship Id="rId1" Type="http://schemas.openxmlformats.org/officeDocument/2006/relationships/slideLayout" Target="../slideLayouts/slideLayout83.xml"/></Relationships>
</file>

<file path=ppt/slides/_rels/slide2.xml.rels><?xml version="1.0" encoding="UTF-8" standalone="yes"?>
<Relationships xmlns="http://schemas.openxmlformats.org/package/2006/relationships"><Relationship Id="rId3" Type="http://schemas.openxmlformats.org/officeDocument/2006/relationships/tags" Target="../tags/tag395.xml"/><Relationship Id="rId2" Type="http://schemas.openxmlformats.org/officeDocument/2006/relationships/customXml" Target="../../customXml/item33.xml"/><Relationship Id="rId1" Type="http://schemas.openxmlformats.org/officeDocument/2006/relationships/customXml" Target="../../customXml/item32.xml"/><Relationship Id="rId5" Type="http://schemas.openxmlformats.org/officeDocument/2006/relationships/image" Target="../media/image34.png"/><Relationship Id="rId4" Type="http://schemas.openxmlformats.org/officeDocument/2006/relationships/slideLayout" Target="../slideLayouts/slideLayout8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3.xml"/><Relationship Id="rId1" Type="http://schemas.openxmlformats.org/officeDocument/2006/relationships/tags" Target="../tags/tag396.xml"/><Relationship Id="rId4" Type="http://schemas.openxmlformats.org/officeDocument/2006/relationships/image" Target="../media/image35.jpeg"/></Relationships>
</file>

<file path=ppt/slides/_rels/slide4.xml.rels><?xml version="1.0" encoding="UTF-8" standalone="yes"?>
<Relationships xmlns="http://schemas.openxmlformats.org/package/2006/relationships"><Relationship Id="rId3" Type="http://schemas.openxmlformats.org/officeDocument/2006/relationships/hyperlink" Target="https://www.aceee.org/blog-post/2020/04/us-capita-energy-use-almost-flat-decade" TargetMode="External"/><Relationship Id="rId2" Type="http://schemas.openxmlformats.org/officeDocument/2006/relationships/notesSlide" Target="../notesSlides/notesSlide3.xml"/><Relationship Id="rId1" Type="http://schemas.openxmlformats.org/officeDocument/2006/relationships/slideLayout" Target="../slideLayouts/slideLayout74.xml"/><Relationship Id="rId5" Type="http://schemas.openxmlformats.org/officeDocument/2006/relationships/hyperlink" Target="https://acadiacenter.org/work/buildings-and-transportation/energy-efficiency/" TargetMode="External"/><Relationship Id="rId4" Type="http://schemas.openxmlformats.org/officeDocument/2006/relationships/hyperlink" Target="https://energyefficiencyimpact.org/dashboard/" TargetMode="Externa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397.xml"/><Relationship Id="rId4" Type="http://schemas.openxmlformats.org/officeDocument/2006/relationships/image" Target="../media/image36.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2.xml"/><Relationship Id="rId1" Type="http://schemas.openxmlformats.org/officeDocument/2006/relationships/tags" Target="../tags/tag398.xml"/><Relationship Id="rId4" Type="http://schemas.openxmlformats.org/officeDocument/2006/relationships/image" Target="../media/image39.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7" cstate="screen">
            <a:lum/>
            <a:extLst>
              <a:ext uri="{28A0092B-C50C-407E-A947-70E740481C1C}">
                <a14:useLocalDpi xmlns:a14="http://schemas.microsoft.com/office/drawing/2010/main"/>
              </a:ext>
              <a:ext uri="{837473B0-CC2E-450A-ABE3-18F120FF3D39}">
                <a1611:picAttrSrcUrl xmlns:a1611="http://schemas.microsoft.com/office/drawing/2016/11/main" r:id="rId8"/>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F4272-7B2B-4D9A-9920-72A09A50082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87" imgH="488" progId="TCLayout.ActiveDocument.1">
                  <p:embed/>
                </p:oleObj>
              </mc:Choice>
              <mc:Fallback>
                <p:oleObj name="think-cell Slide" r:id="rId9" imgW="487" imgH="488" progId="TCLayout.ActiveDocument.1">
                  <p:embed/>
                  <p:pic>
                    <p:nvPicPr>
                      <p:cNvPr id="5" name="Object 4" hidden="1">
                        <a:extLst>
                          <a:ext uri="{FF2B5EF4-FFF2-40B4-BE49-F238E27FC236}">
                            <a16:creationId xmlns:a16="http://schemas.microsoft.com/office/drawing/2014/main" id="{731F4272-7B2B-4D9A-9920-72A09A50082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641636-1A01-4063-AF6F-1FA9C3A0B4F3}"/>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200" b="0" i="0" u="none" strike="noStrike" kern="1200" cap="none" spc="0" normalizeH="0" baseline="0" noProof="0">
              <a:ln>
                <a:noFill/>
              </a:ln>
              <a:solidFill>
                <a:prstClr val="white"/>
              </a:solidFill>
              <a:effectLst/>
              <a:uLnTx/>
              <a:uFillTx/>
              <a:latin typeface="Poppins ExtraBold" panose="00000900000000000000" pitchFamily="2" charset="0"/>
              <a:ea typeface="+mn-ea"/>
              <a:cs typeface="+mn-cs"/>
              <a:sym typeface="Poppins ExtraBold" panose="00000900000000000000" pitchFamily="2" charset="0"/>
            </a:endParaRPr>
          </a:p>
        </p:txBody>
      </p:sp>
      <p:sp>
        <p:nvSpPr>
          <p:cNvPr id="2" name="Title 1">
            <a:extLst>
              <a:ext uri="{FF2B5EF4-FFF2-40B4-BE49-F238E27FC236}">
                <a16:creationId xmlns:a16="http://schemas.microsoft.com/office/drawing/2014/main" id="{3776272D-9A4D-4C49-AEE8-F157A13334F6}"/>
              </a:ext>
            </a:extLst>
          </p:cNvPr>
          <p:cNvSpPr>
            <a:spLocks noGrp="1"/>
          </p:cNvSpPr>
          <p:nvPr>
            <p:ph type="title"/>
          </p:nvPr>
        </p:nvSpPr>
        <p:spPr>
          <a:xfrm>
            <a:off x="1032511" y="2105440"/>
            <a:ext cx="5711189" cy="2281360"/>
          </a:xfrm>
        </p:spPr>
        <p:txBody>
          <a:bodyPr/>
          <a:lstStyle/>
          <a:p>
            <a:r>
              <a:rPr lang="en-US" b="1" dirty="0">
                <a:latin typeface="Poppins" panose="00000500000000000000" pitchFamily="2" charset="0"/>
                <a:cs typeface="Poppins" panose="00000500000000000000" pitchFamily="2" charset="0"/>
              </a:rPr>
              <a:t>The Critical Role of Energy Efficiency</a:t>
            </a:r>
          </a:p>
        </p:txBody>
      </p:sp>
      <p:sp>
        <p:nvSpPr>
          <p:cNvPr id="3" name="Text Placeholder 2">
            <a:extLst>
              <a:ext uri="{FF2B5EF4-FFF2-40B4-BE49-F238E27FC236}">
                <a16:creationId xmlns:a16="http://schemas.microsoft.com/office/drawing/2014/main" id="{17B96E21-9CD6-4744-AEB6-33957F0E6F80}"/>
              </a:ext>
            </a:extLst>
          </p:cNvPr>
          <p:cNvSpPr>
            <a:spLocks noGrp="1"/>
          </p:cNvSpPr>
          <p:nvPr>
            <p:ph type="body" sz="quarter" idx="10"/>
          </p:nvPr>
        </p:nvSpPr>
        <p:spPr/>
        <p:txBody>
          <a:bodyPr/>
          <a:lstStyle/>
          <a:p>
            <a:r>
              <a:rPr lang="en-US">
                <a:latin typeface="Poppins" panose="00000500000000000000" pitchFamily="2" charset="0"/>
                <a:cs typeface="Poppins" panose="00000500000000000000" pitchFamily="2" charset="0"/>
              </a:rPr>
              <a:t>Rebecca Foster, CEO </a:t>
            </a:r>
            <a:endParaRPr lang="en-US" dirty="0">
              <a:latin typeface="Poppins" panose="00000500000000000000" pitchFamily="2" charset="0"/>
              <a:cs typeface="Poppins" panose="00000500000000000000" pitchFamily="2" charset="0"/>
            </a:endParaRPr>
          </a:p>
        </p:txBody>
      </p:sp>
    </p:spTree>
    <p:custDataLst>
      <p:custData r:id="rId1"/>
      <p:custData r:id="rId2"/>
    </p:custDataLst>
    <p:extLst>
      <p:ext uri="{BB962C8B-B14F-4D97-AF65-F5344CB8AC3E}">
        <p14:creationId xmlns:p14="http://schemas.microsoft.com/office/powerpoint/2010/main" val="29705051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39F69E-90B7-9890-C803-56E2C54DC07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A4BEC8C-059F-2EE6-BFA3-917FB919A1EE}"/>
              </a:ext>
            </a:extLst>
          </p:cNvPr>
          <p:cNvSpPr>
            <a:spLocks noGrp="1"/>
          </p:cNvSpPr>
          <p:nvPr>
            <p:ph type="title"/>
          </p:nvPr>
        </p:nvSpPr>
        <p:spPr>
          <a:xfrm>
            <a:off x="838200" y="719015"/>
            <a:ext cx="4480560" cy="2313745"/>
          </a:xfrm>
        </p:spPr>
        <p:txBody>
          <a:bodyPr>
            <a:normAutofit/>
          </a:bodyPr>
          <a:lstStyle/>
          <a:p>
            <a:r>
              <a:rPr lang="en-US" sz="4000" b="1" dirty="0">
                <a:latin typeface="Poppins" panose="00000500000000000000" pitchFamily="2" charset="0"/>
                <a:cs typeface="Poppins" panose="00000500000000000000" pitchFamily="2" charset="0"/>
              </a:rPr>
              <a:t>The Path Forward</a:t>
            </a:r>
          </a:p>
        </p:txBody>
      </p:sp>
      <p:sp>
        <p:nvSpPr>
          <p:cNvPr id="6" name="Text Placeholder 5">
            <a:extLst>
              <a:ext uri="{FF2B5EF4-FFF2-40B4-BE49-F238E27FC236}">
                <a16:creationId xmlns:a16="http://schemas.microsoft.com/office/drawing/2014/main" id="{323E5408-8873-A0A5-D4E2-77A5471ADE12}"/>
              </a:ext>
            </a:extLst>
          </p:cNvPr>
          <p:cNvSpPr>
            <a:spLocks noGrp="1"/>
          </p:cNvSpPr>
          <p:nvPr>
            <p:ph type="body" sz="quarter" idx="15"/>
          </p:nvPr>
        </p:nvSpPr>
        <p:spPr>
          <a:xfrm>
            <a:off x="6267452" y="381000"/>
            <a:ext cx="5741668" cy="6324600"/>
          </a:xfrm>
        </p:spPr>
        <p:txBody>
          <a:bodyPr>
            <a:normAutofit fontScale="92500" lnSpcReduction="20000"/>
          </a:bodyPr>
          <a:lstStyle/>
          <a:p>
            <a:pPr marL="0" indent="0">
              <a:buNone/>
            </a:pPr>
            <a:r>
              <a:rPr lang="en-US" sz="2400" b="1" dirty="0">
                <a:solidFill>
                  <a:schemeClr val="tx1"/>
                </a:solidFill>
                <a:latin typeface="Poppins" panose="00000500000000000000" pitchFamily="2" charset="0"/>
                <a:cs typeface="Poppins" panose="00000500000000000000" pitchFamily="2" charset="0"/>
              </a:rPr>
              <a:t>Continue and strengthen the focus on energy efficiency </a:t>
            </a:r>
          </a:p>
          <a:p>
            <a:pPr lvl="1"/>
            <a:r>
              <a:rPr lang="en-US" dirty="0">
                <a:latin typeface="Poppins" panose="00000500000000000000" pitchFamily="2" charset="0"/>
                <a:cs typeface="Poppins" panose="00000500000000000000" pitchFamily="2" charset="0"/>
              </a:rPr>
              <a:t>Do not abandon policies that have proven to be effective</a:t>
            </a:r>
          </a:p>
          <a:p>
            <a:pPr lvl="1"/>
            <a:r>
              <a:rPr lang="en-US" dirty="0">
                <a:latin typeface="Poppins" panose="00000500000000000000" pitchFamily="2" charset="0"/>
                <a:cs typeface="Poppins" panose="00000500000000000000" pitchFamily="2" charset="0"/>
              </a:rPr>
              <a:t>Focus on electric efficiency and weatherization </a:t>
            </a:r>
          </a:p>
          <a:p>
            <a:pPr marL="0" indent="0">
              <a:buNone/>
            </a:pPr>
            <a:r>
              <a:rPr lang="en-US" sz="2400" b="1" dirty="0">
                <a:solidFill>
                  <a:schemeClr val="tx1"/>
                </a:solidFill>
                <a:latin typeface="Poppins" panose="00000500000000000000" pitchFamily="2" charset="0"/>
                <a:cs typeface="Poppins" panose="00000500000000000000" pitchFamily="2" charset="0"/>
              </a:rPr>
              <a:t>Increase emphasis on income-eligible programs </a:t>
            </a:r>
          </a:p>
          <a:p>
            <a:pPr lvl="1"/>
            <a:r>
              <a:rPr lang="en-US" dirty="0">
                <a:latin typeface="Poppins" panose="00000500000000000000" pitchFamily="2" charset="0"/>
                <a:cs typeface="Poppins" panose="00000500000000000000" pitchFamily="2" charset="0"/>
              </a:rPr>
              <a:t>This stresses portfolio cost-effectiveness but delivers affordability where most needed </a:t>
            </a:r>
          </a:p>
          <a:p>
            <a:pPr marL="0" indent="0">
              <a:buNone/>
            </a:pPr>
            <a:r>
              <a:rPr lang="en-US" sz="2400" b="1" dirty="0">
                <a:solidFill>
                  <a:schemeClr val="tx1"/>
                </a:solidFill>
                <a:latin typeface="Poppins" panose="00000500000000000000" pitchFamily="2" charset="0"/>
                <a:cs typeface="Poppins" panose="00000500000000000000" pitchFamily="2" charset="0"/>
              </a:rPr>
              <a:t>Support funding for emerging technology programs </a:t>
            </a:r>
          </a:p>
          <a:p>
            <a:pPr lvl="1"/>
            <a:r>
              <a:rPr lang="en-US" dirty="0">
                <a:latin typeface="Poppins" panose="00000500000000000000" pitchFamily="2" charset="0"/>
                <a:cs typeface="Poppins" panose="00000500000000000000" pitchFamily="2" charset="0"/>
              </a:rPr>
              <a:t>This is an investment in long-term savings </a:t>
            </a:r>
          </a:p>
          <a:p>
            <a:pPr marL="0" indent="0">
              <a:buNone/>
            </a:pPr>
            <a:endParaRPr lang="en-US" b="1" dirty="0">
              <a:solidFill>
                <a:schemeClr val="tx1"/>
              </a:solidFill>
              <a:latin typeface="Poppins" panose="00000500000000000000" pitchFamily="2" charset="0"/>
              <a:cs typeface="Poppins" panose="00000500000000000000" pitchFamily="2" charset="0"/>
            </a:endParaRPr>
          </a:p>
        </p:txBody>
      </p:sp>
      <p:sp>
        <p:nvSpPr>
          <p:cNvPr id="2" name="Slide Number Placeholder 1">
            <a:extLst>
              <a:ext uri="{FF2B5EF4-FFF2-40B4-BE49-F238E27FC236}">
                <a16:creationId xmlns:a16="http://schemas.microsoft.com/office/drawing/2014/main" id="{BA5C07EA-A3FE-C3BF-99A2-83676D05DDC2}"/>
              </a:ext>
            </a:extLst>
          </p:cNvPr>
          <p:cNvSpPr>
            <a:spLocks noGrp="1"/>
          </p:cNvSpPr>
          <p:nvPr>
            <p:ph type="sldNum" sz="quarter" idx="13"/>
          </p:nvPr>
        </p:nvSpPr>
        <p:spPr>
          <a:xfrm>
            <a:off x="11219558" y="6015274"/>
            <a:ext cx="789562" cy="690326"/>
          </a:xfrm>
        </p:spPr>
        <p:txBody>
          <a:bodyPr/>
          <a:lstStyle/>
          <a:p>
            <a:fld id="{A1471D42-392E-4D14-982B-D9D765EA1509}" type="slidenum">
              <a:rPr lang="en-US" smtClean="0"/>
              <a:t>10</a:t>
            </a:fld>
            <a:endParaRPr lang="en-US" dirty="0"/>
          </a:p>
        </p:txBody>
      </p:sp>
    </p:spTree>
    <p:extLst>
      <p:ext uri="{BB962C8B-B14F-4D97-AF65-F5344CB8AC3E}">
        <p14:creationId xmlns:p14="http://schemas.microsoft.com/office/powerpoint/2010/main" val="34126407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875BB1E-DCA9-B50B-C703-0BDABDCE6FCE}"/>
              </a:ext>
            </a:extLst>
          </p:cNvPr>
          <p:cNvSpPr>
            <a:spLocks noGrp="1"/>
          </p:cNvSpPr>
          <p:nvPr>
            <p:ph type="title"/>
          </p:nvPr>
        </p:nvSpPr>
        <p:spPr/>
        <p:txBody>
          <a:bodyPr/>
          <a:lstStyle/>
          <a:p>
            <a:r>
              <a:rPr lang="en-US" sz="2600" b="1">
                <a:latin typeface="Poppins" panose="00000500000000000000" pitchFamily="2" charset="0"/>
                <a:cs typeface="Poppins" panose="00000500000000000000" pitchFamily="2" charset="0"/>
              </a:rPr>
              <a:t>Thank you!</a:t>
            </a:r>
            <a:br>
              <a:rPr lang="en-US" sz="2600" b="1">
                <a:latin typeface="Poppins" panose="00000500000000000000" pitchFamily="2" charset="0"/>
                <a:cs typeface="Poppins" panose="00000500000000000000" pitchFamily="2" charset="0"/>
              </a:rPr>
            </a:br>
            <a:br>
              <a:rPr lang="en-US" sz="2600" b="1">
                <a:latin typeface="Poppins" panose="00000500000000000000" pitchFamily="2" charset="0"/>
                <a:cs typeface="Poppins" panose="00000500000000000000" pitchFamily="2" charset="0"/>
              </a:rPr>
            </a:br>
            <a:r>
              <a:rPr lang="en-US" sz="2600" b="1">
                <a:latin typeface="Poppins" panose="00000500000000000000" pitchFamily="2" charset="0"/>
                <a:cs typeface="Poppins" panose="00000500000000000000" pitchFamily="2" charset="0"/>
              </a:rPr>
              <a:t>Rebecca Foster</a:t>
            </a:r>
            <a:br>
              <a:rPr lang="en-US" sz="2600" b="1">
                <a:latin typeface="Poppins" panose="00000500000000000000" pitchFamily="2" charset="0"/>
                <a:cs typeface="Poppins" panose="00000500000000000000" pitchFamily="2" charset="0"/>
              </a:rPr>
            </a:br>
            <a:r>
              <a:rPr lang="en-US" sz="2600" b="1">
                <a:latin typeface="Poppins" panose="00000500000000000000" pitchFamily="2" charset="0"/>
                <a:cs typeface="Poppins" panose="00000500000000000000" pitchFamily="2" charset="0"/>
                <a:hlinkClick r:id="rId2">
                  <a:extLst>
                    <a:ext uri="{A12FA001-AC4F-418D-AE19-62706E023703}">
                      <ahyp:hlinkClr xmlns:ahyp="http://schemas.microsoft.com/office/drawing/2018/hyperlinkcolor" val="tx"/>
                    </a:ext>
                  </a:extLst>
                </a:hlinkClick>
              </a:rPr>
              <a:t>rfoster@veic.org</a:t>
            </a:r>
            <a:br>
              <a:rPr lang="en-US" sz="2600" b="1">
                <a:latin typeface="Poppins" panose="00000500000000000000" pitchFamily="2" charset="0"/>
                <a:cs typeface="Poppins" panose="00000500000000000000" pitchFamily="2" charset="0"/>
              </a:rPr>
            </a:br>
            <a:r>
              <a:rPr lang="en-US" sz="2600" b="1">
                <a:latin typeface="Poppins" panose="00000500000000000000" pitchFamily="2" charset="0"/>
                <a:cs typeface="Poppins" panose="00000500000000000000" pitchFamily="2" charset="0"/>
              </a:rPr>
              <a:t>802-540-7882</a:t>
            </a:r>
          </a:p>
        </p:txBody>
      </p:sp>
    </p:spTree>
    <p:extLst>
      <p:ext uri="{BB962C8B-B14F-4D97-AF65-F5344CB8AC3E}">
        <p14:creationId xmlns:p14="http://schemas.microsoft.com/office/powerpoint/2010/main" val="18955310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CFD209-EE00-1E5C-E4A6-5E58C4E6BDA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B878BD-F1D2-2701-904F-4D622B4C2C9B}"/>
              </a:ext>
            </a:extLst>
          </p:cNvPr>
          <p:cNvSpPr>
            <a:spLocks noGrp="1"/>
          </p:cNvSpPr>
          <p:nvPr>
            <p:ph type="sldNum" sz="quarter" idx="11"/>
          </p:nvPr>
        </p:nvSpPr>
        <p:spPr>
          <a:xfrm>
            <a:off x="11214290" y="5975199"/>
            <a:ext cx="789562" cy="690326"/>
          </a:xfrm>
        </p:spPr>
        <p:txBody>
          <a:bodyPr/>
          <a:lstStyle/>
          <a:p>
            <a:fld id="{A1471D42-392E-4D14-982B-D9D765EA1509}" type="slidenum">
              <a:rPr lang="en-US"/>
              <a:pPr/>
              <a:t>2</a:t>
            </a:fld>
            <a:endParaRPr lang="en-US"/>
          </a:p>
        </p:txBody>
      </p:sp>
      <p:sp>
        <p:nvSpPr>
          <p:cNvPr id="4" name="Title 3">
            <a:extLst>
              <a:ext uri="{FF2B5EF4-FFF2-40B4-BE49-F238E27FC236}">
                <a16:creationId xmlns:a16="http://schemas.microsoft.com/office/drawing/2014/main" id="{7E3201C3-CAB2-8953-C761-44109D7F4019}"/>
              </a:ext>
            </a:extLst>
          </p:cNvPr>
          <p:cNvSpPr>
            <a:spLocks noGrp="1"/>
          </p:cNvSpPr>
          <p:nvPr>
            <p:ph type="title"/>
          </p:nvPr>
        </p:nvSpPr>
        <p:spPr>
          <a:xfrm>
            <a:off x="838199" y="546029"/>
            <a:ext cx="6411098" cy="1475545"/>
          </a:xfrm>
        </p:spPr>
        <p:txBody>
          <a:bodyPr>
            <a:noAutofit/>
          </a:bodyPr>
          <a:lstStyle/>
          <a:p>
            <a:r>
              <a:rPr lang="en-US" sz="2200" b="1" i="0" u="none" strike="noStrike" baseline="0" dirty="0">
                <a:solidFill>
                  <a:srgbClr val="004A63"/>
                </a:solidFill>
                <a:latin typeface="Poppins"/>
                <a:cs typeface="Poppins"/>
              </a:rPr>
              <a:t>VEIC offers high-impact energy solutions that drive affordability through efficiency and </a:t>
            </a:r>
            <a:r>
              <a:rPr lang="en-US" sz="2200" b="1" dirty="0">
                <a:solidFill>
                  <a:srgbClr val="004A63"/>
                </a:solidFill>
                <a:latin typeface="Poppins"/>
                <a:cs typeface="Poppins"/>
              </a:rPr>
              <a:t>decarbonization.</a:t>
            </a:r>
            <a:endParaRPr lang="en-US" sz="2200" dirty="0">
              <a:latin typeface="Poppins"/>
              <a:cs typeface="Poppins"/>
            </a:endParaRPr>
          </a:p>
        </p:txBody>
      </p:sp>
      <p:sp>
        <p:nvSpPr>
          <p:cNvPr id="14" name="TextBox 13">
            <a:extLst>
              <a:ext uri="{FF2B5EF4-FFF2-40B4-BE49-F238E27FC236}">
                <a16:creationId xmlns:a16="http://schemas.microsoft.com/office/drawing/2014/main" id="{033D621F-6A0C-E185-A4E0-899592E25280}"/>
              </a:ext>
            </a:extLst>
          </p:cNvPr>
          <p:cNvSpPr txBox="1">
            <a:spLocks/>
          </p:cNvSpPr>
          <p:nvPr/>
        </p:nvSpPr>
        <p:spPr>
          <a:xfrm>
            <a:off x="8640110" y="882801"/>
            <a:ext cx="2755225" cy="1138773"/>
          </a:xfrm>
          <a:prstGeom prst="rect">
            <a:avLst/>
          </a:prstGeom>
          <a:noFill/>
        </p:spPr>
        <p:txBody>
          <a:bodyPr wrap="square">
            <a:spAutoFit/>
          </a:bodyPr>
          <a:lstStyle/>
          <a:p>
            <a:pPr algn="l"/>
            <a:endParaRPr lang="en-US" sz="1400" b="0" i="0" u="none" strike="noStrike" baseline="0" dirty="0">
              <a:solidFill>
                <a:schemeClr val="accent2"/>
              </a:solidFill>
              <a:latin typeface="Poppins" panose="00000500000000000000" pitchFamily="2" charset="0"/>
            </a:endParaRPr>
          </a:p>
          <a:p>
            <a:pPr algn="ctr"/>
            <a:r>
              <a:rPr lang="en-US" sz="1800" b="1" i="0" u="none" strike="noStrike" baseline="0" dirty="0">
                <a:solidFill>
                  <a:schemeClr val="accent2"/>
                </a:solidFill>
                <a:latin typeface="Poppins" panose="00000500000000000000" pitchFamily="2" charset="0"/>
              </a:rPr>
              <a:t>Making an impact </a:t>
            </a:r>
            <a:r>
              <a:rPr lang="en-US" sz="1800" b="0" i="0" u="none" strike="noStrike" baseline="0" dirty="0">
                <a:solidFill>
                  <a:schemeClr val="accent2"/>
                </a:solidFill>
                <a:latin typeface="Poppins" panose="00000500000000000000" pitchFamily="2" charset="0"/>
              </a:rPr>
              <a:t>within each dimension of energy</a:t>
            </a:r>
            <a:endParaRPr lang="en-US" dirty="0">
              <a:solidFill>
                <a:schemeClr val="accent2"/>
              </a:solidFill>
            </a:endParaRPr>
          </a:p>
        </p:txBody>
      </p:sp>
      <p:pic>
        <p:nvPicPr>
          <p:cNvPr id="7" name="Picture 6">
            <a:extLst>
              <a:ext uri="{FF2B5EF4-FFF2-40B4-BE49-F238E27FC236}">
                <a16:creationId xmlns:a16="http://schemas.microsoft.com/office/drawing/2014/main" id="{A620CDDE-F32F-30E5-7BD4-DC5116EB2B69}"/>
              </a:ext>
            </a:extLst>
          </p:cNvPr>
          <p:cNvPicPr>
            <a:picLocks noChangeAspect="1"/>
          </p:cNvPicPr>
          <p:nvPr>
            <p:custDataLst>
              <p:tags r:id="rId3"/>
            </p:custDataLst>
          </p:nvPr>
        </p:nvPicPr>
        <p:blipFill rotWithShape="1">
          <a:blip r:embed="rId5" cstate="screen">
            <a:extLst>
              <a:ext uri="{28A0092B-C50C-407E-A947-70E740481C1C}">
                <a14:useLocalDpi xmlns:a14="http://schemas.microsoft.com/office/drawing/2010/main"/>
              </a:ext>
            </a:extLst>
          </a:blip>
          <a:srcRect/>
          <a:stretch/>
        </p:blipFill>
        <p:spPr>
          <a:xfrm>
            <a:off x="8192094" y="2091300"/>
            <a:ext cx="3651259" cy="3646700"/>
          </a:xfrm>
          <a:prstGeom prst="rect">
            <a:avLst/>
          </a:prstGeom>
        </p:spPr>
      </p:pic>
      <p:sp>
        <p:nvSpPr>
          <p:cNvPr id="12" name="Title 3">
            <a:extLst>
              <a:ext uri="{FF2B5EF4-FFF2-40B4-BE49-F238E27FC236}">
                <a16:creationId xmlns:a16="http://schemas.microsoft.com/office/drawing/2014/main" id="{5DBDF0F4-C968-EE1F-B182-EEB695048ED8}"/>
              </a:ext>
            </a:extLst>
          </p:cNvPr>
          <p:cNvSpPr txBox="1">
            <a:spLocks/>
          </p:cNvSpPr>
          <p:nvPr/>
        </p:nvSpPr>
        <p:spPr>
          <a:xfrm>
            <a:off x="8162366" y="3598612"/>
            <a:ext cx="1485617" cy="292469"/>
          </a:xfrm>
          <a:prstGeom prst="rect">
            <a:avLst/>
          </a:prstGeom>
          <a:noFill/>
        </p:spPr>
        <p:txBody>
          <a:bodyPr vert="horz" lIns="91440" tIns="45720" rIns="91440" bIns="45720" rtlCol="0" anchor="ctr">
            <a:noAutofit/>
          </a:bodyPr>
          <a:lstStyle>
            <a:lvl1pPr algn="l" defTabSz="914400" rtl="0" eaLnBrk="1" latinLnBrk="0" hangingPunct="1">
              <a:lnSpc>
                <a:spcPct val="100000"/>
              </a:lnSpc>
              <a:spcBef>
                <a:spcPct val="0"/>
              </a:spcBef>
              <a:buNone/>
              <a:defRPr sz="3200" kern="1200">
                <a:solidFill>
                  <a:schemeClr val="tx2"/>
                </a:solidFill>
                <a:latin typeface="+mj-lt"/>
                <a:ea typeface="+mj-ea"/>
                <a:cs typeface="+mj-cs"/>
              </a:defRPr>
            </a:lvl1pPr>
          </a:lstStyle>
          <a:p>
            <a:pPr algn="ctr"/>
            <a:r>
              <a:rPr lang="en-US" sz="1100" b="1">
                <a:solidFill>
                  <a:schemeClr val="bg1"/>
                </a:solidFill>
                <a:latin typeface="Poppins" panose="00000500000000000000" pitchFamily="2" charset="0"/>
              </a:rPr>
              <a:t>Energy Efficiency</a:t>
            </a:r>
            <a:endParaRPr lang="en-US" sz="1100">
              <a:solidFill>
                <a:schemeClr val="bg1"/>
              </a:solidFill>
            </a:endParaRPr>
          </a:p>
        </p:txBody>
      </p:sp>
      <p:sp>
        <p:nvSpPr>
          <p:cNvPr id="13" name="Title 3">
            <a:extLst>
              <a:ext uri="{FF2B5EF4-FFF2-40B4-BE49-F238E27FC236}">
                <a16:creationId xmlns:a16="http://schemas.microsoft.com/office/drawing/2014/main" id="{FA6BECFC-1779-C42A-59E2-E9DF15D9A13D}"/>
              </a:ext>
            </a:extLst>
          </p:cNvPr>
          <p:cNvSpPr txBox="1">
            <a:spLocks/>
          </p:cNvSpPr>
          <p:nvPr/>
        </p:nvSpPr>
        <p:spPr>
          <a:xfrm>
            <a:off x="8110118" y="5515257"/>
            <a:ext cx="1907605" cy="292469"/>
          </a:xfrm>
          <a:prstGeom prst="rect">
            <a:avLst/>
          </a:prstGeom>
          <a:noFill/>
        </p:spPr>
        <p:txBody>
          <a:bodyPr vert="horz" lIns="91440" tIns="45720" rIns="91440" bIns="45720" rtlCol="0" anchor="ctr">
            <a:noAutofit/>
          </a:bodyPr>
          <a:lstStyle>
            <a:lvl1pPr algn="l" defTabSz="914400" rtl="0" eaLnBrk="1" latinLnBrk="0" hangingPunct="1">
              <a:lnSpc>
                <a:spcPct val="100000"/>
              </a:lnSpc>
              <a:spcBef>
                <a:spcPct val="0"/>
              </a:spcBef>
              <a:buNone/>
              <a:defRPr sz="3200" kern="1200">
                <a:solidFill>
                  <a:schemeClr val="tx2"/>
                </a:solidFill>
                <a:latin typeface="+mj-lt"/>
                <a:ea typeface="+mj-ea"/>
                <a:cs typeface="+mj-cs"/>
              </a:defRPr>
            </a:lvl1pPr>
          </a:lstStyle>
          <a:p>
            <a:pPr algn="ctr"/>
            <a:r>
              <a:rPr lang="en-US" sz="1100" b="1">
                <a:solidFill>
                  <a:schemeClr val="bg1"/>
                </a:solidFill>
                <a:latin typeface="Poppins" panose="00000500000000000000" pitchFamily="2" charset="0"/>
              </a:rPr>
              <a:t>Transportation Electrification</a:t>
            </a:r>
            <a:endParaRPr lang="en-US" sz="1100">
              <a:solidFill>
                <a:schemeClr val="bg1"/>
              </a:solidFill>
            </a:endParaRPr>
          </a:p>
        </p:txBody>
      </p:sp>
      <p:sp>
        <p:nvSpPr>
          <p:cNvPr id="15" name="Title 3">
            <a:extLst>
              <a:ext uri="{FF2B5EF4-FFF2-40B4-BE49-F238E27FC236}">
                <a16:creationId xmlns:a16="http://schemas.microsoft.com/office/drawing/2014/main" id="{B4060CA4-03C9-A22E-7E1C-464BD187DB73}"/>
              </a:ext>
            </a:extLst>
          </p:cNvPr>
          <p:cNvSpPr txBox="1">
            <a:spLocks/>
          </p:cNvSpPr>
          <p:nvPr/>
        </p:nvSpPr>
        <p:spPr>
          <a:xfrm>
            <a:off x="10246324" y="3586792"/>
            <a:ext cx="1679005" cy="292469"/>
          </a:xfrm>
          <a:prstGeom prst="rect">
            <a:avLst/>
          </a:prstGeom>
          <a:noFill/>
        </p:spPr>
        <p:txBody>
          <a:bodyPr vert="horz" lIns="91440" tIns="45720" rIns="91440" bIns="45720" rtlCol="0" anchor="ctr">
            <a:noAutofit/>
          </a:bodyPr>
          <a:lstStyle>
            <a:lvl1pPr algn="l" defTabSz="914400" rtl="0" eaLnBrk="1" latinLnBrk="0" hangingPunct="1">
              <a:lnSpc>
                <a:spcPct val="100000"/>
              </a:lnSpc>
              <a:spcBef>
                <a:spcPct val="0"/>
              </a:spcBef>
              <a:buNone/>
              <a:defRPr sz="3200" kern="1200">
                <a:solidFill>
                  <a:schemeClr val="tx2"/>
                </a:solidFill>
                <a:latin typeface="+mj-lt"/>
                <a:ea typeface="+mj-ea"/>
                <a:cs typeface="+mj-cs"/>
              </a:defRPr>
            </a:lvl1pPr>
          </a:lstStyle>
          <a:p>
            <a:pPr algn="ctr"/>
            <a:r>
              <a:rPr lang="en-US" sz="1100" b="1">
                <a:solidFill>
                  <a:schemeClr val="bg1"/>
                </a:solidFill>
                <a:latin typeface="Poppins" panose="00000500000000000000" pitchFamily="2" charset="0"/>
              </a:rPr>
              <a:t>Building Decarbonization</a:t>
            </a:r>
            <a:endParaRPr lang="en-US" sz="1100">
              <a:solidFill>
                <a:schemeClr val="bg1"/>
              </a:solidFill>
            </a:endParaRPr>
          </a:p>
        </p:txBody>
      </p:sp>
      <p:sp>
        <p:nvSpPr>
          <p:cNvPr id="17" name="Title 3">
            <a:extLst>
              <a:ext uri="{FF2B5EF4-FFF2-40B4-BE49-F238E27FC236}">
                <a16:creationId xmlns:a16="http://schemas.microsoft.com/office/drawing/2014/main" id="{6DFB74FC-DAF8-BA86-F6DB-5A13D71D1C29}"/>
              </a:ext>
            </a:extLst>
          </p:cNvPr>
          <p:cNvSpPr txBox="1">
            <a:spLocks/>
          </p:cNvSpPr>
          <p:nvPr/>
        </p:nvSpPr>
        <p:spPr>
          <a:xfrm>
            <a:off x="10099699" y="5515257"/>
            <a:ext cx="1904153" cy="292469"/>
          </a:xfrm>
          <a:prstGeom prst="rect">
            <a:avLst/>
          </a:prstGeom>
          <a:noFill/>
        </p:spPr>
        <p:txBody>
          <a:bodyPr vert="horz" lIns="91440" tIns="45720" rIns="91440" bIns="45720" rtlCol="0" anchor="ctr">
            <a:noAutofit/>
          </a:bodyPr>
          <a:lstStyle>
            <a:lvl1pPr algn="l" defTabSz="914400" rtl="0" eaLnBrk="1" latinLnBrk="0" hangingPunct="1">
              <a:lnSpc>
                <a:spcPct val="100000"/>
              </a:lnSpc>
              <a:spcBef>
                <a:spcPct val="0"/>
              </a:spcBef>
              <a:buNone/>
              <a:defRPr sz="3200" kern="1200">
                <a:solidFill>
                  <a:schemeClr val="tx2"/>
                </a:solidFill>
                <a:latin typeface="+mj-lt"/>
                <a:ea typeface="+mj-ea"/>
                <a:cs typeface="+mj-cs"/>
              </a:defRPr>
            </a:lvl1pPr>
          </a:lstStyle>
          <a:p>
            <a:pPr algn="ctr"/>
            <a:r>
              <a:rPr lang="en-US" sz="1100" b="1">
                <a:solidFill>
                  <a:schemeClr val="bg1"/>
                </a:solidFill>
                <a:latin typeface="Poppins" panose="00000500000000000000" pitchFamily="2" charset="0"/>
              </a:rPr>
              <a:t>Clean &amp; Flexible Grid </a:t>
            </a:r>
            <a:endParaRPr lang="en-US" sz="1100">
              <a:solidFill>
                <a:schemeClr val="bg1"/>
              </a:solidFill>
            </a:endParaRPr>
          </a:p>
        </p:txBody>
      </p:sp>
      <p:sp>
        <p:nvSpPr>
          <p:cNvPr id="3" name="Text Placeholder 2">
            <a:extLst>
              <a:ext uri="{FF2B5EF4-FFF2-40B4-BE49-F238E27FC236}">
                <a16:creationId xmlns:a16="http://schemas.microsoft.com/office/drawing/2014/main" id="{3A5248CF-23EA-0886-7023-3629A9A0F707}"/>
              </a:ext>
            </a:extLst>
          </p:cNvPr>
          <p:cNvSpPr>
            <a:spLocks noGrp="1"/>
          </p:cNvSpPr>
          <p:nvPr>
            <p:ph type="body" sz="quarter" idx="12"/>
          </p:nvPr>
        </p:nvSpPr>
        <p:spPr>
          <a:xfrm>
            <a:off x="756223" y="2000319"/>
            <a:ext cx="6411098" cy="3807407"/>
          </a:xfrm>
        </p:spPr>
        <p:txBody>
          <a:bodyPr vert="horz" lIns="91440" tIns="45720" rIns="91440" bIns="45720" rtlCol="0" anchor="t">
            <a:noAutofit/>
          </a:bodyPr>
          <a:lstStyle/>
          <a:p>
            <a:pPr>
              <a:lnSpc>
                <a:spcPct val="120000"/>
              </a:lnSpc>
              <a:spcBef>
                <a:spcPts val="1000"/>
              </a:spcBef>
            </a:pPr>
            <a:r>
              <a:rPr lang="en-US" sz="1800" b="1" dirty="0">
                <a:latin typeface="Poppins" panose="00000500000000000000" pitchFamily="2" charset="0"/>
                <a:cs typeface="Poppins" panose="00000500000000000000" pitchFamily="2" charset="0"/>
              </a:rPr>
              <a:t>Nonprofit founded in 1986 </a:t>
            </a:r>
            <a:r>
              <a:rPr lang="en-US" sz="1800" dirty="0">
                <a:latin typeface="Poppins" panose="00000500000000000000" pitchFamily="2" charset="0"/>
                <a:cs typeface="Poppins" panose="00000500000000000000" pitchFamily="2" charset="0"/>
              </a:rPr>
              <a:t>with a mission to generate the energy solutions the world needs</a:t>
            </a:r>
          </a:p>
          <a:p>
            <a:pPr>
              <a:lnSpc>
                <a:spcPct val="120000"/>
              </a:lnSpc>
              <a:spcBef>
                <a:spcPts val="1000"/>
              </a:spcBef>
            </a:pPr>
            <a:r>
              <a:rPr lang="en-US" sz="1800" b="1" dirty="0">
                <a:latin typeface="Poppins"/>
                <a:cs typeface="Poppins"/>
              </a:rPr>
              <a:t>National consulting practice working across </a:t>
            </a:r>
            <a:r>
              <a:rPr lang="en-US" sz="1800" b="1" dirty="0">
                <a:solidFill>
                  <a:srgbClr val="58595B"/>
                </a:solidFill>
                <a:latin typeface="Poppins"/>
                <a:cs typeface="Poppins"/>
              </a:rPr>
              <a:t>over 75%</a:t>
            </a:r>
            <a:r>
              <a:rPr lang="en-US" sz="1800" b="1" dirty="0">
                <a:solidFill>
                  <a:srgbClr val="FF0000"/>
                </a:solidFill>
                <a:latin typeface="Poppins"/>
                <a:cs typeface="Poppins"/>
              </a:rPr>
              <a:t> </a:t>
            </a:r>
            <a:r>
              <a:rPr lang="en-US" sz="1800" b="1" dirty="0">
                <a:latin typeface="Poppins"/>
                <a:cs typeface="Poppins"/>
              </a:rPr>
              <a:t>of the country </a:t>
            </a:r>
            <a:r>
              <a:rPr lang="en-US" sz="1800" dirty="0">
                <a:latin typeface="Poppins"/>
                <a:cs typeface="Poppins"/>
              </a:rPr>
              <a:t>advising states, utilities, Federal agencies, nonprofit organizations, and businesses</a:t>
            </a:r>
          </a:p>
          <a:p>
            <a:pPr>
              <a:lnSpc>
                <a:spcPct val="120000"/>
              </a:lnSpc>
              <a:spcBef>
                <a:spcPts val="1000"/>
              </a:spcBef>
            </a:pPr>
            <a:r>
              <a:rPr lang="en-US" sz="1800" b="1" dirty="0">
                <a:latin typeface="Poppins" panose="00000500000000000000" pitchFamily="2" charset="0"/>
                <a:cs typeface="Poppins" panose="00000500000000000000" pitchFamily="2" charset="0"/>
              </a:rPr>
              <a:t>Implementer of award-winning energy efficiency and clean energy programs </a:t>
            </a:r>
            <a:r>
              <a:rPr lang="en-US" sz="1800" dirty="0">
                <a:latin typeface="Poppins" panose="00000500000000000000" pitchFamily="2" charset="0"/>
                <a:cs typeface="Poppins" panose="00000500000000000000" pitchFamily="2" charset="0"/>
              </a:rPr>
              <a:t>including Efficiency Vermont, the DC Sustainable Energy Utility, New England Heat Pump Accelerator, and Power Ahead Colorado; on administration teams for TECH Clean California, </a:t>
            </a:r>
            <a:r>
              <a:rPr lang="en-US" sz="1800" dirty="0" err="1">
                <a:latin typeface="Poppins" panose="00000500000000000000" pitchFamily="2" charset="0"/>
                <a:cs typeface="Poppins" panose="00000500000000000000" pitchFamily="2" charset="0"/>
              </a:rPr>
              <a:t>CalNEXT</a:t>
            </a:r>
            <a:r>
              <a:rPr lang="en-US" sz="1800" dirty="0">
                <a:latin typeface="Poppins" panose="00000500000000000000" pitchFamily="2" charset="0"/>
                <a:cs typeface="Poppins" panose="00000500000000000000" pitchFamily="2" charset="0"/>
              </a:rPr>
              <a:t>, Hawaii Energy, and Wisconsin Focus on Energy</a:t>
            </a:r>
          </a:p>
        </p:txBody>
      </p:sp>
    </p:spTree>
    <p:custDataLst>
      <p:custData r:id="rId1"/>
      <p:custData r:id="rId2"/>
    </p:custDataLst>
    <p:extLst>
      <p:ext uri="{BB962C8B-B14F-4D97-AF65-F5344CB8AC3E}">
        <p14:creationId xmlns:p14="http://schemas.microsoft.com/office/powerpoint/2010/main" val="40674686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FFAF6C-72F1-15B9-E457-B7585B9825E0}"/>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6084093D-1B1E-A308-81DA-51DD93865BB0}"/>
              </a:ext>
            </a:extLst>
          </p:cNvPr>
          <p:cNvSpPr>
            <a:spLocks noGrp="1"/>
          </p:cNvSpPr>
          <p:nvPr>
            <p:ph type="body" sz="quarter" idx="12"/>
          </p:nvPr>
        </p:nvSpPr>
        <p:spPr>
          <a:xfrm>
            <a:off x="838200" y="1859536"/>
            <a:ext cx="4983480" cy="4312664"/>
          </a:xfrm>
        </p:spPr>
        <p:txBody>
          <a:bodyPr>
            <a:normAutofit fontScale="92500"/>
          </a:bodyPr>
          <a:lstStyle/>
          <a:p>
            <a:pPr>
              <a:spcBef>
                <a:spcPts val="1800"/>
              </a:spcBef>
            </a:pPr>
            <a:r>
              <a:rPr lang="en-US" sz="2200" dirty="0">
                <a:latin typeface="Poppins" panose="00000500000000000000" pitchFamily="2" charset="0"/>
                <a:cs typeface="Poppins" panose="00000500000000000000" pitchFamily="2" charset="0"/>
              </a:rPr>
              <a:t>Nationally, residential electricity costs have risen by almost 40% since 2021</a:t>
            </a:r>
          </a:p>
          <a:p>
            <a:pPr>
              <a:spcBef>
                <a:spcPts val="1800"/>
              </a:spcBef>
            </a:pPr>
            <a:r>
              <a:rPr lang="en-US" sz="2200" dirty="0">
                <a:latin typeface="Poppins" panose="00000500000000000000" pitchFamily="2" charset="0"/>
                <a:cs typeface="Poppins" panose="00000500000000000000" pitchFamily="2" charset="0"/>
              </a:rPr>
              <a:t>Residential gas costs have increased by 40% since 2019</a:t>
            </a:r>
          </a:p>
          <a:p>
            <a:pPr>
              <a:spcBef>
                <a:spcPts val="1800"/>
              </a:spcBef>
            </a:pPr>
            <a:r>
              <a:rPr lang="en-US" sz="2200" dirty="0">
                <a:latin typeface="Poppins" panose="00000500000000000000" pitchFamily="2" charset="0"/>
                <a:cs typeface="Poppins" panose="00000500000000000000" pitchFamily="2" charset="0"/>
              </a:rPr>
              <a:t>80 million Americans are struggling to pay their utility bills</a:t>
            </a:r>
          </a:p>
          <a:p>
            <a:pPr>
              <a:spcBef>
                <a:spcPts val="1800"/>
              </a:spcBef>
            </a:pPr>
            <a:r>
              <a:rPr lang="en-US" sz="2200" dirty="0">
                <a:latin typeface="Poppins" panose="00000500000000000000" pitchFamily="2" charset="0"/>
                <a:cs typeface="Poppins" panose="00000500000000000000" pitchFamily="2" charset="0"/>
              </a:rPr>
              <a:t>Two out of three call rising energy costs a real source of stress</a:t>
            </a:r>
          </a:p>
          <a:p>
            <a:endParaRPr lang="en-US" dirty="0">
              <a:latin typeface="Poppins" panose="00000500000000000000" pitchFamily="2" charset="0"/>
              <a:cs typeface="Poppins" panose="00000500000000000000" pitchFamily="2" charset="0"/>
            </a:endParaRPr>
          </a:p>
        </p:txBody>
      </p:sp>
      <p:sp>
        <p:nvSpPr>
          <p:cNvPr id="5" name="Title 4">
            <a:extLst>
              <a:ext uri="{FF2B5EF4-FFF2-40B4-BE49-F238E27FC236}">
                <a16:creationId xmlns:a16="http://schemas.microsoft.com/office/drawing/2014/main" id="{B45CF5A3-CFE0-6142-4F21-EEA11BA9BB6D}"/>
              </a:ext>
            </a:extLst>
          </p:cNvPr>
          <p:cNvSpPr>
            <a:spLocks noGrp="1"/>
          </p:cNvSpPr>
          <p:nvPr>
            <p:ph type="title"/>
          </p:nvPr>
        </p:nvSpPr>
        <p:spPr/>
        <p:txBody>
          <a:bodyPr>
            <a:normAutofit/>
          </a:bodyPr>
          <a:lstStyle/>
          <a:p>
            <a:r>
              <a:rPr lang="en-US" b="1" dirty="0">
                <a:latin typeface="Poppins" panose="00000500000000000000" pitchFamily="2" charset="0"/>
                <a:cs typeface="Poppins" panose="00000500000000000000" pitchFamily="2" charset="0"/>
              </a:rPr>
              <a:t>What’s at stake?</a:t>
            </a:r>
          </a:p>
        </p:txBody>
      </p:sp>
      <p:pic>
        <p:nvPicPr>
          <p:cNvPr id="14" name="Picture Placeholder 1">
            <a:extLst>
              <a:ext uri="{FF2B5EF4-FFF2-40B4-BE49-F238E27FC236}">
                <a16:creationId xmlns:a16="http://schemas.microsoft.com/office/drawing/2014/main" id="{1F7F829A-C4A4-515A-B39F-374434B62A0B}"/>
              </a:ext>
            </a:extLst>
          </p:cNvPr>
          <p:cNvPicPr>
            <a:picLocks noGrp="1" noChangeAspect="1"/>
          </p:cNvPicPr>
          <p:nvPr>
            <p:ph type="pic" sz="quarter" idx="13"/>
            <p:custDataLst>
              <p:tags r:id="rId1"/>
            </p:custDataLst>
          </p:nvPr>
        </p:nvPicPr>
        <p:blipFill rotWithShape="1">
          <a:blip r:embed="rId4" cstate="screen">
            <a:extLst>
              <a:ext uri="{28A0092B-C50C-407E-A947-70E740481C1C}">
                <a14:useLocalDpi xmlns:a14="http://schemas.microsoft.com/office/drawing/2010/main"/>
              </a:ext>
            </a:extLst>
          </a:blip>
          <a:srcRect/>
          <a:stretch>
            <a:fillRect/>
          </a:stretch>
        </p:blipFill>
        <p:spPr>
          <a:xfrm>
            <a:off x="6210300" y="723900"/>
            <a:ext cx="5143500" cy="5448300"/>
          </a:xfrm>
        </p:spPr>
      </p:pic>
      <p:sp>
        <p:nvSpPr>
          <p:cNvPr id="2" name="Slide Number Placeholder 1">
            <a:extLst>
              <a:ext uri="{FF2B5EF4-FFF2-40B4-BE49-F238E27FC236}">
                <a16:creationId xmlns:a16="http://schemas.microsoft.com/office/drawing/2014/main" id="{97C7FC9F-1E63-9FFA-6768-6E15B3A0EDA1}"/>
              </a:ext>
            </a:extLst>
          </p:cNvPr>
          <p:cNvSpPr>
            <a:spLocks noGrp="1"/>
          </p:cNvSpPr>
          <p:nvPr>
            <p:ph type="sldNum" sz="quarter" idx="11"/>
          </p:nvPr>
        </p:nvSpPr>
        <p:spPr>
          <a:xfrm>
            <a:off x="11187619" y="6001967"/>
            <a:ext cx="789562" cy="690326"/>
          </a:xfrm>
        </p:spPr>
        <p:txBody>
          <a:bodyPr/>
          <a:lstStyle/>
          <a:p>
            <a:fld id="{A1471D42-392E-4D14-982B-D9D765EA1509}" type="slidenum">
              <a:rPr lang="en-US" smtClean="0">
                <a:solidFill>
                  <a:schemeClr val="accent2"/>
                </a:solidFill>
              </a:rPr>
              <a:pPr/>
              <a:t>3</a:t>
            </a:fld>
            <a:endParaRPr lang="en-US" dirty="0">
              <a:solidFill>
                <a:schemeClr val="accent2"/>
              </a:solidFill>
            </a:endParaRPr>
          </a:p>
        </p:txBody>
      </p:sp>
    </p:spTree>
    <p:extLst>
      <p:ext uri="{BB962C8B-B14F-4D97-AF65-F5344CB8AC3E}">
        <p14:creationId xmlns:p14="http://schemas.microsoft.com/office/powerpoint/2010/main" val="34707025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956E6DD-CE0E-50A4-371F-4CBDEF6B6F84}"/>
              </a:ext>
            </a:extLst>
          </p:cNvPr>
          <p:cNvSpPr>
            <a:spLocks noGrp="1"/>
          </p:cNvSpPr>
          <p:nvPr>
            <p:ph type="title"/>
          </p:nvPr>
        </p:nvSpPr>
        <p:spPr/>
        <p:txBody>
          <a:bodyPr>
            <a:normAutofit/>
          </a:bodyPr>
          <a:lstStyle/>
          <a:p>
            <a:r>
              <a:rPr lang="en-US" b="1" dirty="0">
                <a:latin typeface="Poppins" panose="00000500000000000000" pitchFamily="2" charset="0"/>
                <a:cs typeface="Poppins" panose="00000500000000000000" pitchFamily="2" charset="0"/>
              </a:rPr>
              <a:t>Energy Efficiency must continue to be part of the solution </a:t>
            </a:r>
          </a:p>
        </p:txBody>
      </p:sp>
      <p:sp>
        <p:nvSpPr>
          <p:cNvPr id="6" name="Text Placeholder 5">
            <a:extLst>
              <a:ext uri="{FF2B5EF4-FFF2-40B4-BE49-F238E27FC236}">
                <a16:creationId xmlns:a16="http://schemas.microsoft.com/office/drawing/2014/main" id="{E697AD86-9391-F09C-94D0-B0131EBD7B0F}"/>
              </a:ext>
            </a:extLst>
          </p:cNvPr>
          <p:cNvSpPr>
            <a:spLocks noGrp="1"/>
          </p:cNvSpPr>
          <p:nvPr>
            <p:ph type="body" sz="quarter" idx="4294967295"/>
          </p:nvPr>
        </p:nvSpPr>
        <p:spPr>
          <a:xfrm>
            <a:off x="6386945" y="802888"/>
            <a:ext cx="5429661" cy="5635722"/>
          </a:xfrm>
        </p:spPr>
        <p:txBody>
          <a:bodyPr>
            <a:normAutofit/>
          </a:bodyPr>
          <a:lstStyle/>
          <a:p>
            <a:r>
              <a:rPr lang="en-US" dirty="0">
                <a:latin typeface="Poppins" panose="00000500000000000000" pitchFamily="2" charset="0"/>
                <a:cs typeface="Poppins" panose="00000500000000000000" pitchFamily="2" charset="0"/>
              </a:rPr>
              <a:t>Energy efficiency has kept consumption </a:t>
            </a:r>
            <a:r>
              <a:rPr lang="en-US" u="sng" dirty="0">
                <a:latin typeface="Poppins" panose="00000500000000000000" pitchFamily="2" charset="0"/>
                <a:cs typeface="Poppins" panose="00000500000000000000" pitchFamily="2" charset="0"/>
                <a:hlinkClick r:id="rId3"/>
              </a:rPr>
              <a:t>largely flat for 40 years</a:t>
            </a:r>
            <a:r>
              <a:rPr lang="en-US" dirty="0">
                <a:latin typeface="Poppins" panose="00000500000000000000" pitchFamily="2" charset="0"/>
                <a:cs typeface="Poppins" panose="00000500000000000000" pitchFamily="2" charset="0"/>
              </a:rPr>
              <a:t> while saving </a:t>
            </a:r>
            <a:r>
              <a:rPr lang="en-US" u="sng" dirty="0">
                <a:solidFill>
                  <a:srgbClr val="004B64"/>
                </a:solidFill>
                <a:latin typeface="Poppins" panose="00000500000000000000" pitchFamily="2" charset="0"/>
                <a:cs typeface="Poppins" panose="00000500000000000000" pitchFamily="2" charset="0"/>
                <a:hlinkClick r:id="rId4">
                  <a:extLst>
                    <a:ext uri="{A12FA001-AC4F-418D-AE19-62706E023703}">
                      <ahyp:hlinkClr xmlns:ahyp="http://schemas.microsoft.com/office/drawing/2018/hyperlinkcolor" val="tx"/>
                    </a:ext>
                  </a:extLst>
                </a:hlinkClick>
              </a:rPr>
              <a:t>customers ~$800 billion</a:t>
            </a:r>
            <a:endParaRPr lang="en-US" u="sng" dirty="0">
              <a:latin typeface="Poppins" panose="00000500000000000000" pitchFamily="2" charset="0"/>
              <a:cs typeface="Poppins" panose="00000500000000000000" pitchFamily="2" charset="0"/>
            </a:endParaRPr>
          </a:p>
          <a:p>
            <a:r>
              <a:rPr lang="en-US" dirty="0">
                <a:latin typeface="Poppins" panose="00000500000000000000" pitchFamily="2" charset="0"/>
                <a:cs typeface="Poppins" panose="00000500000000000000" pitchFamily="2" charset="0"/>
              </a:rPr>
              <a:t>Acadia Center found that from 2012 to 2023, New England’s efficiency programs delivered </a:t>
            </a:r>
            <a:r>
              <a:rPr lang="en-US" u="sng" dirty="0">
                <a:latin typeface="Poppins" panose="00000500000000000000" pitchFamily="2" charset="0"/>
                <a:cs typeface="Poppins" panose="00000500000000000000" pitchFamily="2" charset="0"/>
                <a:hlinkClick r:id="rId5"/>
              </a:rPr>
              <a:t>$55.1 billion</a:t>
            </a:r>
            <a:r>
              <a:rPr lang="en-US" dirty="0">
                <a:latin typeface="Poppins" panose="00000500000000000000" pitchFamily="2" charset="0"/>
                <a:cs typeface="Poppins" panose="00000500000000000000" pitchFamily="2" charset="0"/>
              </a:rPr>
              <a:t> in lifetime benefits, with an ROI of 3:1</a:t>
            </a:r>
          </a:p>
          <a:p>
            <a:r>
              <a:rPr lang="en-US" dirty="0">
                <a:latin typeface="Poppins" panose="00000500000000000000" pitchFamily="2" charset="0"/>
                <a:cs typeface="Poppins" panose="00000500000000000000" pitchFamily="2" charset="0"/>
              </a:rPr>
              <a:t>VEIC programs across multiple states bear this out: We’ve delivered over $694 million in customer incentives since 2000, resulting in more than $5.6 billion in lifetime customer savings</a:t>
            </a:r>
            <a:endParaRPr lang="en-US" sz="2400" dirty="0">
              <a:latin typeface="Poppins" panose="00000500000000000000" pitchFamily="2" charset="0"/>
              <a:cs typeface="Poppins" panose="00000500000000000000" pitchFamily="2" charset="0"/>
            </a:endParaRPr>
          </a:p>
        </p:txBody>
      </p:sp>
      <p:sp>
        <p:nvSpPr>
          <p:cNvPr id="2" name="Slide Number Placeholder 1">
            <a:extLst>
              <a:ext uri="{FF2B5EF4-FFF2-40B4-BE49-F238E27FC236}">
                <a16:creationId xmlns:a16="http://schemas.microsoft.com/office/drawing/2014/main" id="{402D5953-F240-751C-A294-A9A163CF758A}"/>
              </a:ext>
            </a:extLst>
          </p:cNvPr>
          <p:cNvSpPr>
            <a:spLocks noGrp="1"/>
          </p:cNvSpPr>
          <p:nvPr>
            <p:ph type="sldNum" sz="quarter" idx="13"/>
          </p:nvPr>
        </p:nvSpPr>
        <p:spPr>
          <a:xfrm>
            <a:off x="11222160" y="5977053"/>
            <a:ext cx="789562" cy="690326"/>
          </a:xfrm>
        </p:spPr>
        <p:txBody>
          <a:bodyPr/>
          <a:lstStyle/>
          <a:p>
            <a:fld id="{A1471D42-392E-4D14-982B-D9D765EA1509}" type="slidenum">
              <a:rPr lang="en-US" smtClean="0"/>
              <a:t>4</a:t>
            </a:fld>
            <a:endParaRPr lang="en-US"/>
          </a:p>
        </p:txBody>
      </p:sp>
    </p:spTree>
    <p:extLst>
      <p:ext uri="{BB962C8B-B14F-4D97-AF65-F5344CB8AC3E}">
        <p14:creationId xmlns:p14="http://schemas.microsoft.com/office/powerpoint/2010/main" val="961561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DC486A-9C49-6C6C-AE72-18B882F98D2B}"/>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31F5E8F4-A74A-CCCF-1609-3FCBA34C4579}"/>
              </a:ext>
            </a:extLst>
          </p:cNvPr>
          <p:cNvSpPr>
            <a:spLocks noGrp="1"/>
          </p:cNvSpPr>
          <p:nvPr>
            <p:ph type="body" sz="quarter" idx="12"/>
          </p:nvPr>
        </p:nvSpPr>
        <p:spPr>
          <a:xfrm>
            <a:off x="571500" y="1706880"/>
            <a:ext cx="5143500" cy="4465320"/>
          </a:xfrm>
        </p:spPr>
        <p:txBody>
          <a:bodyPr>
            <a:normAutofit fontScale="92500" lnSpcReduction="20000"/>
          </a:bodyPr>
          <a:lstStyle/>
          <a:p>
            <a:r>
              <a:rPr lang="en-US" b="1" dirty="0">
                <a:solidFill>
                  <a:schemeClr val="accent2"/>
                </a:solidFill>
                <a:latin typeface="Poppins" panose="00000500000000000000" pitchFamily="2" charset="0"/>
                <a:cs typeface="Poppins" panose="00000500000000000000" pitchFamily="2" charset="0"/>
              </a:rPr>
              <a:t>Efficiency benefits “stack” over time</a:t>
            </a:r>
          </a:p>
          <a:p>
            <a:pPr marL="342900" indent="-342900">
              <a:buFont typeface="Arial" panose="020B0604020202020204" pitchFamily="34" charset="0"/>
              <a:buChar char="•"/>
            </a:pPr>
            <a:r>
              <a:rPr lang="en-US" dirty="0">
                <a:latin typeface="Poppins" panose="00000500000000000000" pitchFamily="2" charset="0"/>
                <a:cs typeface="Poppins" panose="00000500000000000000" pitchFamily="2" charset="0"/>
              </a:rPr>
              <a:t>VT meets more than 15% of its electricity needs through efficiency </a:t>
            </a:r>
          </a:p>
          <a:p>
            <a:pPr marL="342900" indent="-342900">
              <a:buFont typeface="Arial" panose="020B0604020202020204" pitchFamily="34" charset="0"/>
              <a:buChar char="•"/>
            </a:pPr>
            <a:r>
              <a:rPr lang="en-US" dirty="0">
                <a:latin typeface="Poppins" panose="00000500000000000000" pitchFamily="2" charset="0"/>
                <a:cs typeface="Poppins" panose="00000500000000000000" pitchFamily="2" charset="0"/>
              </a:rPr>
              <a:t>MA’s electricity demand is 27.7% lower than it would have been absent efficiency programs</a:t>
            </a:r>
          </a:p>
          <a:p>
            <a:r>
              <a:rPr lang="en-US" b="1" dirty="0">
                <a:solidFill>
                  <a:schemeClr val="accent2"/>
                </a:solidFill>
                <a:latin typeface="Poppins" panose="00000500000000000000" pitchFamily="2" charset="0"/>
                <a:cs typeface="Poppins" panose="00000500000000000000" pitchFamily="2" charset="0"/>
              </a:rPr>
              <a:t>Efficiency is there when you need it</a:t>
            </a:r>
          </a:p>
          <a:p>
            <a:pPr marL="342900" indent="-342900">
              <a:buFont typeface="Arial" panose="020B0604020202020204" pitchFamily="34" charset="0"/>
              <a:buChar char="•"/>
            </a:pPr>
            <a:r>
              <a:rPr lang="en-US" dirty="0">
                <a:latin typeface="Poppins" panose="00000500000000000000" pitchFamily="2" charset="0"/>
                <a:cs typeface="Poppins" panose="00000500000000000000" pitchFamily="2" charset="0"/>
              </a:rPr>
              <a:t>Efficiency met approx. 10% of ISO-NE energy capacity during January cold snap, saving ratepayers over $1 million in avoided costs in just one hour</a:t>
            </a:r>
          </a:p>
        </p:txBody>
      </p:sp>
      <p:sp>
        <p:nvSpPr>
          <p:cNvPr id="5" name="Title 4">
            <a:extLst>
              <a:ext uri="{FF2B5EF4-FFF2-40B4-BE49-F238E27FC236}">
                <a16:creationId xmlns:a16="http://schemas.microsoft.com/office/drawing/2014/main" id="{A5BC6B80-075F-B1E8-8030-75A310D84C4A}"/>
              </a:ext>
            </a:extLst>
          </p:cNvPr>
          <p:cNvSpPr>
            <a:spLocks noGrp="1"/>
          </p:cNvSpPr>
          <p:nvPr>
            <p:ph type="title"/>
          </p:nvPr>
        </p:nvSpPr>
        <p:spPr>
          <a:xfrm>
            <a:off x="571500" y="459935"/>
            <a:ext cx="5844540" cy="956104"/>
          </a:xfrm>
        </p:spPr>
        <p:txBody>
          <a:bodyPr>
            <a:noAutofit/>
          </a:bodyPr>
          <a:lstStyle/>
          <a:p>
            <a:r>
              <a:rPr lang="en-US" b="1" dirty="0">
                <a:latin typeface="Poppins" panose="00000500000000000000" pitchFamily="2" charset="0"/>
                <a:cs typeface="Poppins" panose="00000500000000000000" pitchFamily="2" charset="0"/>
              </a:rPr>
              <a:t>Long-term investments in efficiency pay off </a:t>
            </a:r>
          </a:p>
        </p:txBody>
      </p:sp>
      <p:pic>
        <p:nvPicPr>
          <p:cNvPr id="4" name="Picture Placeholder 1">
            <a:extLst>
              <a:ext uri="{FF2B5EF4-FFF2-40B4-BE49-F238E27FC236}">
                <a16:creationId xmlns:a16="http://schemas.microsoft.com/office/drawing/2014/main" id="{F8DBC9C3-77C2-71E9-6052-2DAC5B93845E}"/>
              </a:ext>
            </a:extLst>
          </p:cNvPr>
          <p:cNvPicPr>
            <a:picLocks noGrp="1" noChangeAspect="1"/>
          </p:cNvPicPr>
          <p:nvPr>
            <p:ph type="pic" sz="quarter" idx="13"/>
            <p:custDataLst>
              <p:tags r:id="rId1"/>
            </p:custDataLst>
          </p:nvPr>
        </p:nvPicPr>
        <p:blipFill rotWithShape="1">
          <a:blip r:embed="rId4" cstate="screen">
            <a:extLst>
              <a:ext uri="{28A0092B-C50C-407E-A947-70E740481C1C}">
                <a14:useLocalDpi xmlns:a14="http://schemas.microsoft.com/office/drawing/2010/main"/>
              </a:ext>
            </a:extLst>
          </a:blip>
          <a:srcRect/>
          <a:stretch>
            <a:fillRect/>
          </a:stretch>
        </p:blipFill>
        <p:spPr>
          <a:xfrm>
            <a:off x="5981699" y="723900"/>
            <a:ext cx="5394960" cy="5394960"/>
          </a:xfrm>
        </p:spPr>
      </p:pic>
      <p:sp>
        <p:nvSpPr>
          <p:cNvPr id="2" name="Slide Number Placeholder 1">
            <a:extLst>
              <a:ext uri="{FF2B5EF4-FFF2-40B4-BE49-F238E27FC236}">
                <a16:creationId xmlns:a16="http://schemas.microsoft.com/office/drawing/2014/main" id="{573B1058-90B4-0568-2422-2FE4AA4039CA}"/>
              </a:ext>
            </a:extLst>
          </p:cNvPr>
          <p:cNvSpPr>
            <a:spLocks noGrp="1"/>
          </p:cNvSpPr>
          <p:nvPr>
            <p:ph type="sldNum" sz="quarter" idx="11"/>
          </p:nvPr>
        </p:nvSpPr>
        <p:spPr>
          <a:xfrm>
            <a:off x="11225719" y="5946211"/>
            <a:ext cx="789562" cy="690326"/>
          </a:xfrm>
        </p:spPr>
        <p:txBody>
          <a:bodyPr/>
          <a:lstStyle/>
          <a:p>
            <a:fld id="{A1471D42-392E-4D14-982B-D9D765EA1509}" type="slidenum">
              <a:rPr lang="en-US" smtClean="0"/>
              <a:pPr/>
              <a:t>5</a:t>
            </a:fld>
            <a:endParaRPr lang="en-US"/>
          </a:p>
        </p:txBody>
      </p:sp>
    </p:spTree>
    <p:extLst>
      <p:ext uri="{BB962C8B-B14F-4D97-AF65-F5344CB8AC3E}">
        <p14:creationId xmlns:p14="http://schemas.microsoft.com/office/powerpoint/2010/main" val="38551176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BCBA4-777C-48EA-893B-9B6BFBC04CD9}"/>
              </a:ext>
            </a:extLst>
          </p:cNvPr>
          <p:cNvSpPr>
            <a:spLocks noGrp="1"/>
          </p:cNvSpPr>
          <p:nvPr>
            <p:ph type="title"/>
          </p:nvPr>
        </p:nvSpPr>
        <p:spPr/>
        <p:txBody>
          <a:bodyPr>
            <a:normAutofit/>
          </a:bodyPr>
          <a:lstStyle/>
          <a:p>
            <a:r>
              <a:rPr lang="en-US" b="1" dirty="0">
                <a:latin typeface="Poppins" panose="00000500000000000000" pitchFamily="2" charset="0"/>
                <a:cs typeface="Poppins" panose="00000500000000000000" pitchFamily="2" charset="0"/>
              </a:rPr>
              <a:t>Need for electric efficiency is increasing</a:t>
            </a:r>
          </a:p>
        </p:txBody>
      </p:sp>
      <p:sp>
        <p:nvSpPr>
          <p:cNvPr id="3" name="Slide Number Placeholder 2">
            <a:extLst>
              <a:ext uri="{FF2B5EF4-FFF2-40B4-BE49-F238E27FC236}">
                <a16:creationId xmlns:a16="http://schemas.microsoft.com/office/drawing/2014/main" id="{A06170BA-EBF8-4110-1A46-85C31E8776F6}"/>
              </a:ext>
            </a:extLst>
          </p:cNvPr>
          <p:cNvSpPr>
            <a:spLocks noGrp="1"/>
          </p:cNvSpPr>
          <p:nvPr>
            <p:ph type="sldNum" sz="quarter" idx="10"/>
          </p:nvPr>
        </p:nvSpPr>
        <p:spPr>
          <a:xfrm>
            <a:off x="11199857" y="5927049"/>
            <a:ext cx="789562" cy="690326"/>
          </a:xfrm>
        </p:spPr>
        <p:txBody>
          <a:bodyPr/>
          <a:lstStyle/>
          <a:p>
            <a:fld id="{A1471D42-392E-4D14-982B-D9D765EA1509}" type="slidenum">
              <a:rPr lang="en-US" smtClean="0"/>
              <a:pPr/>
              <a:t>6</a:t>
            </a:fld>
            <a:endParaRPr lang="en-US"/>
          </a:p>
        </p:txBody>
      </p:sp>
      <p:sp>
        <p:nvSpPr>
          <p:cNvPr id="4" name="Text Placeholder 3">
            <a:extLst>
              <a:ext uri="{FF2B5EF4-FFF2-40B4-BE49-F238E27FC236}">
                <a16:creationId xmlns:a16="http://schemas.microsoft.com/office/drawing/2014/main" id="{98D94E01-6287-BE10-DC04-78CB22BFC8A9}"/>
              </a:ext>
            </a:extLst>
          </p:cNvPr>
          <p:cNvSpPr>
            <a:spLocks noGrp="1"/>
          </p:cNvSpPr>
          <p:nvPr>
            <p:ph type="body" sz="quarter" idx="11"/>
          </p:nvPr>
        </p:nvSpPr>
        <p:spPr/>
        <p:txBody>
          <a:bodyPr>
            <a:normAutofit fontScale="92500" lnSpcReduction="20000"/>
          </a:bodyPr>
          <a:lstStyle/>
          <a:p>
            <a:r>
              <a:rPr lang="en-US" dirty="0">
                <a:latin typeface="Poppins" panose="00000500000000000000" pitchFamily="2" charset="0"/>
                <a:cs typeface="Poppins" panose="00000500000000000000" pitchFamily="2" charset="0"/>
              </a:rPr>
              <a:t>ISO-NE is forecasting 9% load growth in the next decade, with summer and winter peaks being roughly equal at 26.5 GW</a:t>
            </a:r>
          </a:p>
          <a:p>
            <a:r>
              <a:rPr lang="en-US" dirty="0">
                <a:latin typeface="Poppins" panose="00000500000000000000" pitchFamily="2" charset="0"/>
                <a:cs typeface="Poppins" panose="00000500000000000000" pitchFamily="2" charset="0"/>
              </a:rPr>
              <a:t>In this environment, efficiency + controls = lower cost, more flexible loads </a:t>
            </a:r>
          </a:p>
          <a:p>
            <a:r>
              <a:rPr lang="en-US" dirty="0">
                <a:latin typeface="Poppins" panose="00000500000000000000" pitchFamily="2" charset="0"/>
                <a:cs typeface="Poppins" panose="00000500000000000000" pitchFamily="2" charset="0"/>
              </a:rPr>
              <a:t>ACEEE study found energy efficiency and load flexibility are still the lowest-cost resources for reducing consumption and peak demand</a:t>
            </a:r>
          </a:p>
          <a:p>
            <a:pPr lvl="1"/>
            <a:r>
              <a:rPr lang="en-US" dirty="0">
                <a:latin typeface="Poppins" panose="00000500000000000000" pitchFamily="2" charset="0"/>
                <a:cs typeface="Poppins" panose="00000500000000000000" pitchFamily="2" charset="0"/>
              </a:rPr>
              <a:t>Efficiency: $21/MWh </a:t>
            </a:r>
          </a:p>
          <a:p>
            <a:pPr lvl="1"/>
            <a:r>
              <a:rPr lang="en-US" dirty="0">
                <a:latin typeface="Poppins" panose="00000500000000000000" pitchFamily="2" charset="0"/>
                <a:cs typeface="Poppins" panose="00000500000000000000" pitchFamily="2" charset="0"/>
              </a:rPr>
              <a:t>Load Flexibility: $40/kW-year </a:t>
            </a:r>
          </a:p>
          <a:p>
            <a:pPr lvl="1"/>
            <a:r>
              <a:rPr lang="en-US" dirty="0">
                <a:latin typeface="Poppins" panose="00000500000000000000" pitchFamily="2" charset="0"/>
                <a:cs typeface="Poppins" panose="00000500000000000000" pitchFamily="2" charset="0"/>
              </a:rPr>
              <a:t>New Gas-Fired Power Plants: $45-108/MWh </a:t>
            </a:r>
          </a:p>
          <a:p>
            <a:r>
              <a:rPr lang="en-US" dirty="0">
                <a:latin typeface="Poppins" panose="00000500000000000000" pitchFamily="2" charset="0"/>
                <a:cs typeface="Poppins" panose="00000500000000000000" pitchFamily="2" charset="0"/>
              </a:rPr>
              <a:t>By 2040, ACEEE found that efficiency can reduce electricity consumption by 8% and demand by about 70 GW </a:t>
            </a:r>
          </a:p>
          <a:p>
            <a:endParaRPr lang="en-US" dirty="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523337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1792EC-99D7-2A02-024F-1A5A95300A7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3522AEE-CF95-B388-E666-779CF4A4F3AE}"/>
              </a:ext>
            </a:extLst>
          </p:cNvPr>
          <p:cNvSpPr>
            <a:spLocks noGrp="1"/>
          </p:cNvSpPr>
          <p:nvPr>
            <p:ph type="title"/>
          </p:nvPr>
        </p:nvSpPr>
        <p:spPr>
          <a:xfrm>
            <a:off x="4869180" y="449582"/>
            <a:ext cx="6926580" cy="1135378"/>
          </a:xfrm>
        </p:spPr>
        <p:txBody>
          <a:bodyPr>
            <a:noAutofit/>
          </a:bodyPr>
          <a:lstStyle/>
          <a:p>
            <a:r>
              <a:rPr lang="en-US" sz="3600" b="1" dirty="0">
                <a:solidFill>
                  <a:schemeClr val="tx2"/>
                </a:solidFill>
                <a:latin typeface="Poppins" panose="00000500000000000000" pitchFamily="2" charset="0"/>
                <a:cs typeface="Poppins" panose="00000500000000000000" pitchFamily="2" charset="0"/>
              </a:rPr>
              <a:t>The myth of low-hanging fruit</a:t>
            </a:r>
          </a:p>
        </p:txBody>
      </p:sp>
      <p:sp>
        <p:nvSpPr>
          <p:cNvPr id="6" name="Text Placeholder 5">
            <a:extLst>
              <a:ext uri="{FF2B5EF4-FFF2-40B4-BE49-F238E27FC236}">
                <a16:creationId xmlns:a16="http://schemas.microsoft.com/office/drawing/2014/main" id="{BC13F772-E736-1403-FE2F-0358FE2D7B24}"/>
              </a:ext>
            </a:extLst>
          </p:cNvPr>
          <p:cNvSpPr>
            <a:spLocks noGrp="1"/>
          </p:cNvSpPr>
          <p:nvPr>
            <p:ph type="body" sz="quarter" idx="13"/>
          </p:nvPr>
        </p:nvSpPr>
        <p:spPr>
          <a:xfrm>
            <a:off x="4693920" y="1859281"/>
            <a:ext cx="6797040" cy="4312920"/>
          </a:xfrm>
        </p:spPr>
        <p:txBody>
          <a:bodyPr>
            <a:normAutofit fontScale="85000" lnSpcReduction="10000"/>
          </a:bodyPr>
          <a:lstStyle/>
          <a:p>
            <a:r>
              <a:rPr lang="en-US" sz="2400" b="1" dirty="0">
                <a:solidFill>
                  <a:schemeClr val="accent2"/>
                </a:solidFill>
                <a:latin typeface="Poppins" panose="00000500000000000000" pitchFamily="2" charset="0"/>
                <a:cs typeface="Poppins" panose="00000500000000000000" pitchFamily="2" charset="0"/>
              </a:rPr>
              <a:t>Efficiency programs can “harvest” more effectively  </a:t>
            </a:r>
          </a:p>
          <a:p>
            <a:pPr lvl="1"/>
            <a:r>
              <a:rPr lang="en-US" sz="2400" dirty="0">
                <a:latin typeface="Poppins" panose="00000500000000000000" pitchFamily="2" charset="0"/>
                <a:cs typeface="Poppins" panose="00000500000000000000" pitchFamily="2" charset="0"/>
              </a:rPr>
              <a:t>Cost-effective savings still exist, but they take new approaches, deeper relationships with supply chain and community, and more effort to get </a:t>
            </a:r>
          </a:p>
          <a:p>
            <a:r>
              <a:rPr lang="en-US" sz="2400" b="1" dirty="0">
                <a:solidFill>
                  <a:schemeClr val="accent2"/>
                </a:solidFill>
                <a:latin typeface="Poppins" panose="00000500000000000000" pitchFamily="2" charset="0"/>
                <a:cs typeface="Poppins" panose="00000500000000000000" pitchFamily="2" charset="0"/>
              </a:rPr>
              <a:t>Efficiency programs can “plant more trees”</a:t>
            </a:r>
          </a:p>
          <a:p>
            <a:pPr lvl="1"/>
            <a:r>
              <a:rPr lang="en-US" sz="2400" dirty="0">
                <a:latin typeface="Poppins" panose="00000500000000000000" pitchFamily="2" charset="0"/>
                <a:cs typeface="Poppins" panose="00000500000000000000" pitchFamily="2" charset="0"/>
              </a:rPr>
              <a:t>Develop new savings opportunities through investments in emerging technology, grounded in community needs </a:t>
            </a:r>
          </a:p>
        </p:txBody>
      </p:sp>
      <p:pic>
        <p:nvPicPr>
          <p:cNvPr id="18" name="Picture Placeholder 17">
            <a:extLst>
              <a:ext uri="{FF2B5EF4-FFF2-40B4-BE49-F238E27FC236}">
                <a16:creationId xmlns:a16="http://schemas.microsoft.com/office/drawing/2014/main" id="{B617EFEA-CC93-0CB2-C82C-7C7811BB4C4A}"/>
              </a:ext>
            </a:extLst>
          </p:cNvPr>
          <p:cNvPicPr>
            <a:picLocks noGrp="1" noChangeAspect="1"/>
          </p:cNvPicPr>
          <p:nvPr>
            <p:ph type="pic" sz="quarter" idx="19"/>
          </p:nvPr>
        </p:nvPicPr>
        <p:blipFill>
          <a:blip r:embed="rId3" cstate="screen">
            <a:extLst>
              <a:ext uri="{28A0092B-C50C-407E-A947-70E740481C1C}">
                <a14:useLocalDpi xmlns:a14="http://schemas.microsoft.com/office/drawing/2010/main"/>
              </a:ext>
            </a:extLst>
          </a:blip>
          <a:srcRect t="5627" b="5627"/>
          <a:stretch/>
        </p:blipFill>
        <p:spPr>
          <a:custGeom>
            <a:avLst/>
            <a:gdLst>
              <a:gd name="connsiteX0" fmla="*/ 0 w 4229100"/>
              <a:gd name="connsiteY0" fmla="*/ 0 h 6858000"/>
              <a:gd name="connsiteX1" fmla="*/ 4229100 w 4229100"/>
              <a:gd name="connsiteY1" fmla="*/ 0 h 6858000"/>
              <a:gd name="connsiteX2" fmla="*/ 4229100 w 4229100"/>
              <a:gd name="connsiteY2" fmla="*/ 304800 h 6858000"/>
              <a:gd name="connsiteX3" fmla="*/ 4205781 w 4229100"/>
              <a:gd name="connsiteY3" fmla="*/ 304800 h 6858000"/>
              <a:gd name="connsiteX4" fmla="*/ 3571875 w 4229100"/>
              <a:gd name="connsiteY4" fmla="*/ 2354176 h 6858000"/>
              <a:gd name="connsiteX5" fmla="*/ 3963790 w 4229100"/>
              <a:gd name="connsiteY5" fmla="*/ 2354176 h 6858000"/>
              <a:gd name="connsiteX6" fmla="*/ 4229100 w 4229100"/>
              <a:gd name="connsiteY6" fmla="*/ 1496103 h 6858000"/>
              <a:gd name="connsiteX7" fmla="*/ 4229100 w 4229100"/>
              <a:gd name="connsiteY7" fmla="*/ 6858000 h 6858000"/>
              <a:gd name="connsiteX8" fmla="*/ 0 w 42291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29100" h="6858000">
                <a:moveTo>
                  <a:pt x="0" y="0"/>
                </a:moveTo>
                <a:lnTo>
                  <a:pt x="4229100" y="0"/>
                </a:lnTo>
                <a:lnTo>
                  <a:pt x="4229100" y="304800"/>
                </a:lnTo>
                <a:lnTo>
                  <a:pt x="4205781" y="304800"/>
                </a:lnTo>
                <a:lnTo>
                  <a:pt x="3571875" y="2354176"/>
                </a:lnTo>
                <a:lnTo>
                  <a:pt x="3963790" y="2354176"/>
                </a:lnTo>
                <a:lnTo>
                  <a:pt x="4229100" y="1496103"/>
                </a:lnTo>
                <a:lnTo>
                  <a:pt x="4229100" y="6858000"/>
                </a:lnTo>
                <a:lnTo>
                  <a:pt x="0" y="6858000"/>
                </a:lnTo>
                <a:close/>
              </a:path>
            </a:pathLst>
          </a:custGeom>
        </p:spPr>
      </p:pic>
      <p:sp>
        <p:nvSpPr>
          <p:cNvPr id="2" name="Slide Number Placeholder 1">
            <a:extLst>
              <a:ext uri="{FF2B5EF4-FFF2-40B4-BE49-F238E27FC236}">
                <a16:creationId xmlns:a16="http://schemas.microsoft.com/office/drawing/2014/main" id="{8866D7CD-E2BD-885F-7C04-839CD7D40B7A}"/>
              </a:ext>
            </a:extLst>
          </p:cNvPr>
          <p:cNvSpPr>
            <a:spLocks noGrp="1"/>
          </p:cNvSpPr>
          <p:nvPr>
            <p:ph type="sldNum" sz="quarter" idx="12"/>
          </p:nvPr>
        </p:nvSpPr>
        <p:spPr>
          <a:xfrm>
            <a:off x="11166218" y="5968514"/>
            <a:ext cx="789562" cy="690326"/>
          </a:xfrm>
        </p:spPr>
        <p:txBody>
          <a:bodyPr/>
          <a:lstStyle/>
          <a:p>
            <a:fld id="{A1471D42-392E-4D14-982B-D9D765EA1509}" type="slidenum">
              <a:rPr lang="en-US" smtClean="0"/>
              <a:t>7</a:t>
            </a:fld>
            <a:endParaRPr lang="en-US"/>
          </a:p>
        </p:txBody>
      </p:sp>
    </p:spTree>
    <p:extLst>
      <p:ext uri="{BB962C8B-B14F-4D97-AF65-F5344CB8AC3E}">
        <p14:creationId xmlns:p14="http://schemas.microsoft.com/office/powerpoint/2010/main" val="3811201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737DD5A-62CF-9F2E-26EC-C68747865189}"/>
              </a:ext>
            </a:extLst>
          </p:cNvPr>
          <p:cNvSpPr>
            <a:spLocks noGrp="1"/>
          </p:cNvSpPr>
          <p:nvPr>
            <p:ph type="body" sz="quarter" idx="1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701040" y="1874520"/>
            <a:ext cx="5394960" cy="4297680"/>
          </a:xfrm>
        </p:spPr>
        <p:txBody>
          <a:bodyPr>
            <a:normAutofit fontScale="85000" lnSpcReduction="10000"/>
          </a:bodyPr>
          <a:lstStyle/>
          <a:p>
            <a:pPr marL="0" indent="0">
              <a:lnSpc>
                <a:spcPct val="120000"/>
              </a:lnSpc>
              <a:spcBef>
                <a:spcPts val="0"/>
              </a:spcBef>
              <a:buFont typeface="Arial" panose="020B0604020202020204" pitchFamily="34" charset="0"/>
              <a:buNone/>
            </a:pPr>
            <a:r>
              <a:rPr lang="en-US" b="1" dirty="0">
                <a:latin typeface="Poppins" panose="00000500000000000000" pitchFamily="2" charset="0"/>
                <a:cs typeface="Poppins" panose="00000500000000000000" pitchFamily="2" charset="0"/>
              </a:rPr>
              <a:t>Energy Adequacy Challenge</a:t>
            </a:r>
          </a:p>
          <a:p>
            <a:pPr marL="0" lvl="1" indent="0">
              <a:lnSpc>
                <a:spcPct val="120000"/>
              </a:lnSpc>
              <a:spcBef>
                <a:spcPts val="0"/>
              </a:spcBef>
              <a:buFont typeface="Arial" panose="020B0604020202020204" pitchFamily="34" charset="0"/>
              <a:buNone/>
            </a:pPr>
            <a:r>
              <a:rPr lang="en-US" dirty="0">
                <a:latin typeface="Poppins" panose="00000500000000000000" pitchFamily="2" charset="0"/>
                <a:cs typeface="Poppins" panose="00000500000000000000" pitchFamily="2" charset="0"/>
              </a:rPr>
              <a:t>New England faces winter energy adequacy issues due to natural gas supply constraints</a:t>
            </a:r>
          </a:p>
          <a:p>
            <a:pPr marL="0" lvl="1" indent="0">
              <a:lnSpc>
                <a:spcPct val="120000"/>
              </a:lnSpc>
              <a:spcBef>
                <a:spcPts val="0"/>
              </a:spcBef>
              <a:buFont typeface="Arial" panose="020B0604020202020204" pitchFamily="34" charset="0"/>
              <a:buNone/>
            </a:pPr>
            <a:endParaRPr lang="en-US" dirty="0">
              <a:latin typeface="Poppins" panose="00000500000000000000" pitchFamily="2" charset="0"/>
              <a:cs typeface="Poppins" panose="00000500000000000000" pitchFamily="2" charset="0"/>
            </a:endParaRPr>
          </a:p>
          <a:p>
            <a:pPr marL="0" indent="0">
              <a:lnSpc>
                <a:spcPct val="120000"/>
              </a:lnSpc>
              <a:spcBef>
                <a:spcPts val="0"/>
              </a:spcBef>
              <a:buFont typeface="Arial" panose="020B0604020202020204" pitchFamily="34" charset="0"/>
              <a:buNone/>
            </a:pPr>
            <a:r>
              <a:rPr lang="en-US" b="1" dirty="0">
                <a:latin typeface="Poppins" panose="00000500000000000000" pitchFamily="2" charset="0"/>
                <a:cs typeface="Poppins" panose="00000500000000000000" pitchFamily="2" charset="0"/>
              </a:rPr>
              <a:t>Weatherization Benefits</a:t>
            </a:r>
          </a:p>
          <a:p>
            <a:pPr marL="0" lvl="1" indent="0">
              <a:lnSpc>
                <a:spcPct val="120000"/>
              </a:lnSpc>
              <a:spcBef>
                <a:spcPts val="0"/>
              </a:spcBef>
              <a:buFont typeface="Arial" panose="020B0604020202020204" pitchFamily="34" charset="0"/>
              <a:buNone/>
            </a:pPr>
            <a:r>
              <a:rPr lang="en-US" dirty="0">
                <a:latin typeface="Poppins" panose="00000500000000000000" pitchFamily="2" charset="0"/>
                <a:cs typeface="Poppins" panose="00000500000000000000" pitchFamily="2" charset="0"/>
              </a:rPr>
              <a:t>Unlike peak shifting, weatherization reduces overall heating demand, improves fuel availability, and lowers electricity costs during winter</a:t>
            </a:r>
          </a:p>
          <a:p>
            <a:pPr marL="0" lvl="1" indent="0">
              <a:lnSpc>
                <a:spcPct val="120000"/>
              </a:lnSpc>
              <a:spcBef>
                <a:spcPts val="0"/>
              </a:spcBef>
              <a:buFont typeface="Arial" panose="020B0604020202020204" pitchFamily="34" charset="0"/>
              <a:buNone/>
            </a:pPr>
            <a:endParaRPr lang="en-US" dirty="0">
              <a:latin typeface="Poppins" panose="00000500000000000000" pitchFamily="2" charset="0"/>
              <a:cs typeface="Poppins" panose="00000500000000000000" pitchFamily="2" charset="0"/>
            </a:endParaRPr>
          </a:p>
          <a:p>
            <a:pPr marL="0" indent="0">
              <a:lnSpc>
                <a:spcPct val="120000"/>
              </a:lnSpc>
              <a:spcBef>
                <a:spcPts val="0"/>
              </a:spcBef>
              <a:buFont typeface="Arial" panose="020B0604020202020204" pitchFamily="34" charset="0"/>
              <a:buNone/>
            </a:pPr>
            <a:r>
              <a:rPr lang="en-US" b="1" dirty="0">
                <a:latin typeface="Poppins" panose="00000500000000000000" pitchFamily="2" charset="0"/>
                <a:cs typeface="Poppins" panose="00000500000000000000" pitchFamily="2" charset="0"/>
              </a:rPr>
              <a:t>Regulatory Implications</a:t>
            </a:r>
          </a:p>
          <a:p>
            <a:pPr marL="0" lvl="1" indent="0">
              <a:lnSpc>
                <a:spcPct val="120000"/>
              </a:lnSpc>
              <a:spcBef>
                <a:spcPts val="0"/>
              </a:spcBef>
              <a:buFont typeface="Arial" panose="020B0604020202020204" pitchFamily="34" charset="0"/>
              <a:buNone/>
            </a:pPr>
            <a:r>
              <a:rPr lang="en-US" dirty="0">
                <a:latin typeface="Poppins" panose="00000500000000000000" pitchFamily="2" charset="0"/>
                <a:cs typeface="Poppins" panose="00000500000000000000" pitchFamily="2" charset="0"/>
              </a:rPr>
              <a:t>Weatherization can be viewed as critical energy infrastructure that enhances reliability, reduces costs, and cuts emissions</a:t>
            </a:r>
          </a:p>
        </p:txBody>
      </p:sp>
      <p:sp>
        <p:nvSpPr>
          <p:cNvPr id="2" name="Title 1">
            <a:extLst>
              <a:ext uri="{FF2B5EF4-FFF2-40B4-BE49-F238E27FC236}">
                <a16:creationId xmlns:a16="http://schemas.microsoft.com/office/drawing/2014/main" id="{F1000BF6-E134-B8EB-AC9A-EFD340FB9BBB}"/>
              </a:ext>
            </a:extLst>
          </p:cNvPr>
          <p:cNvSpPr>
            <a:spLocks noGrp="1"/>
          </p:cNvSpPr>
          <p:nvPr>
            <p:ph type="title"/>
          </p:nvPr>
        </p:nvSpPr>
        <p:spPr>
          <a:xfrm>
            <a:off x="586738" y="520895"/>
            <a:ext cx="5882640" cy="956104"/>
          </a:xfrm>
        </p:spPr>
        <p:txBody>
          <a:bodyPr anchor="t">
            <a:noAutofit/>
          </a:bodyPr>
          <a:lstStyle/>
          <a:p>
            <a:r>
              <a:rPr lang="en-US" sz="3600" b="1" dirty="0">
                <a:latin typeface="Poppins" panose="00000500000000000000" pitchFamily="2" charset="0"/>
                <a:cs typeface="Poppins" panose="00000500000000000000" pitchFamily="2" charset="0"/>
              </a:rPr>
              <a:t>Weatherization is also increasing in value</a:t>
            </a:r>
          </a:p>
        </p:txBody>
      </p:sp>
      <p:pic>
        <p:nvPicPr>
          <p:cNvPr id="5" name="Content Placeholder 4" descr="The Trans-Alaska Pipeline System (TAPS) includes the trans-Alaska crude-oil pipeline, 11 pump stations, several hundred miles of feeder pipelines, and the Valdez Marine Terminal. TAPS is one of the world's largest pipeline systems. It is commonly called the Alaska pipeline, trans-Alaska pipeline, or Alyeska pipeline, and includes 800 miles of pipeline with the diameter of 48 inches (122 cm) that conveys oil from Prudhoe Bay, to Valdez, Alaska. The crude oil pipeline is privately owned by the Alyeska Pipeline Service Company.">
            <a:extLst>
              <a:ext uri="{FF2B5EF4-FFF2-40B4-BE49-F238E27FC236}">
                <a16:creationId xmlns:a16="http://schemas.microsoft.com/office/drawing/2014/main" id="{4CF88422-03D4-4605-ADEE-2533AC528854}"/>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p:blipFill>
        <p:spPr>
          <a:xfrm>
            <a:off x="6210302" y="744025"/>
            <a:ext cx="5394960" cy="5394960"/>
          </a:xfrm>
        </p:spPr>
      </p:pic>
      <p:sp>
        <p:nvSpPr>
          <p:cNvPr id="3" name="Slide Number Placeholder 2">
            <a:extLst>
              <a:ext uri="{FF2B5EF4-FFF2-40B4-BE49-F238E27FC236}">
                <a16:creationId xmlns:a16="http://schemas.microsoft.com/office/drawing/2014/main" id="{3112C806-46CB-8089-F670-4340DA16A3D1}"/>
              </a:ext>
            </a:extLst>
          </p:cNvPr>
          <p:cNvSpPr>
            <a:spLocks noGrp="1"/>
          </p:cNvSpPr>
          <p:nvPr>
            <p:ph type="sldNum" sz="quarter" idx="11"/>
          </p:nvPr>
        </p:nvSpPr>
        <p:spPr>
          <a:xfrm>
            <a:off x="11210481" y="6016952"/>
            <a:ext cx="789562" cy="690326"/>
          </a:xfrm>
        </p:spPr>
        <p:txBody>
          <a:bodyPr/>
          <a:lstStyle/>
          <a:p>
            <a:fld id="{A1471D42-392E-4D14-982B-D9D765EA1509}" type="slidenum">
              <a:rPr lang="en-US" smtClean="0"/>
              <a:pPr/>
              <a:t>8</a:t>
            </a:fld>
            <a:endParaRPr lang="en-US"/>
          </a:p>
        </p:txBody>
      </p:sp>
    </p:spTree>
    <p:extLst>
      <p:ext uri="{BB962C8B-B14F-4D97-AF65-F5344CB8AC3E}">
        <p14:creationId xmlns:p14="http://schemas.microsoft.com/office/powerpoint/2010/main" val="1753538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692140-702B-F65D-643D-A6EF7FA8481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D00641F-67F8-5D49-809D-DEDA0BA8D042}"/>
              </a:ext>
            </a:extLst>
          </p:cNvPr>
          <p:cNvSpPr>
            <a:spLocks noGrp="1"/>
          </p:cNvSpPr>
          <p:nvPr>
            <p:ph type="title"/>
          </p:nvPr>
        </p:nvSpPr>
        <p:spPr>
          <a:xfrm>
            <a:off x="4869180" y="449582"/>
            <a:ext cx="6926580" cy="1135378"/>
          </a:xfrm>
        </p:spPr>
        <p:txBody>
          <a:bodyPr>
            <a:noAutofit/>
          </a:bodyPr>
          <a:lstStyle/>
          <a:p>
            <a:r>
              <a:rPr lang="en-US" sz="3600" b="1" dirty="0">
                <a:solidFill>
                  <a:schemeClr val="tx2"/>
                </a:solidFill>
                <a:latin typeface="Poppins" panose="00000500000000000000" pitchFamily="2" charset="0"/>
                <a:cs typeface="Poppins" panose="00000500000000000000" pitchFamily="2" charset="0"/>
              </a:rPr>
              <a:t>Next-gen weatherization approaches</a:t>
            </a:r>
          </a:p>
        </p:txBody>
      </p:sp>
      <p:sp>
        <p:nvSpPr>
          <p:cNvPr id="6" name="Text Placeholder 5">
            <a:extLst>
              <a:ext uri="{FF2B5EF4-FFF2-40B4-BE49-F238E27FC236}">
                <a16:creationId xmlns:a16="http://schemas.microsoft.com/office/drawing/2014/main" id="{5E8DF113-6A54-6E53-AF67-6C3D8E41AC3F}"/>
              </a:ext>
            </a:extLst>
          </p:cNvPr>
          <p:cNvSpPr>
            <a:spLocks noGrp="1"/>
          </p:cNvSpPr>
          <p:nvPr>
            <p:ph type="body" sz="quarter" idx="13"/>
          </p:nvPr>
        </p:nvSpPr>
        <p:spPr>
          <a:xfrm>
            <a:off x="4693920" y="1859281"/>
            <a:ext cx="6797040" cy="4675334"/>
          </a:xfrm>
        </p:spPr>
        <p:txBody>
          <a:bodyPr>
            <a:normAutofit fontScale="77500" lnSpcReduction="20000"/>
          </a:bodyPr>
          <a:lstStyle/>
          <a:p>
            <a:pPr fontAlgn="ctr"/>
            <a:r>
              <a:rPr lang="en-US" dirty="0">
                <a:latin typeface="Poppins" panose="00000500000000000000" pitchFamily="2" charset="0"/>
                <a:cs typeface="Poppins" panose="00000500000000000000" pitchFamily="2" charset="0"/>
              </a:rPr>
              <a:t>Weatherization is expensive, particularly in New England given our older housing stock; creativity and comprehensiveness are required to complete projects </a:t>
            </a:r>
          </a:p>
          <a:p>
            <a:pPr fontAlgn="ctr"/>
            <a:r>
              <a:rPr lang="en-US" dirty="0">
                <a:latin typeface="Poppins" panose="00000500000000000000" pitchFamily="2" charset="0"/>
                <a:cs typeface="Poppins" panose="00000500000000000000" pitchFamily="2" charset="0"/>
              </a:rPr>
              <a:t>Efficiency Vermont examples: </a:t>
            </a:r>
          </a:p>
          <a:p>
            <a:pPr marL="800100" lvl="1" indent="-342900" fontAlgn="ctr">
              <a:buFont typeface="Arial" panose="020B0604020202020204" pitchFamily="34" charset="0"/>
              <a:buChar char="•"/>
            </a:pPr>
            <a:r>
              <a:rPr lang="en-US" dirty="0">
                <a:latin typeface="Poppins" panose="00000500000000000000" pitchFamily="2" charset="0"/>
                <a:cs typeface="Poppins" panose="00000500000000000000" pitchFamily="2" charset="0"/>
              </a:rPr>
              <a:t>Consistent standard using Home Performance with ENERGY STAR</a:t>
            </a:r>
          </a:p>
          <a:p>
            <a:pPr marL="800100" lvl="1" indent="-342900" fontAlgn="ctr">
              <a:buFont typeface="Arial" panose="020B0604020202020204" pitchFamily="34" charset="0"/>
              <a:buChar char="•"/>
            </a:pPr>
            <a:r>
              <a:rPr lang="en-US" dirty="0">
                <a:latin typeface="Poppins" panose="00000500000000000000" pitchFamily="2" charset="0"/>
                <a:cs typeface="Poppins" panose="00000500000000000000" pitchFamily="2" charset="0"/>
              </a:rPr>
              <a:t>Differentiated incentives based on household income: up to 90% of costs covered for moderate-income customers</a:t>
            </a:r>
          </a:p>
          <a:p>
            <a:pPr marL="800100" lvl="1" indent="-342900" fontAlgn="ctr">
              <a:buFont typeface="Arial" panose="020B0604020202020204" pitchFamily="34" charset="0"/>
              <a:buChar char="•"/>
            </a:pPr>
            <a:r>
              <a:rPr lang="en-US" dirty="0">
                <a:latin typeface="Poppins" panose="00000500000000000000" pitchFamily="2" charset="0"/>
                <a:cs typeface="Poppins" panose="00000500000000000000" pitchFamily="2" charset="0"/>
              </a:rPr>
              <a:t>Coordination with Weatherization Agencies to “go deeper” on energy savings for low-income customers</a:t>
            </a:r>
          </a:p>
          <a:p>
            <a:pPr marL="800100" lvl="1" indent="-342900" fontAlgn="ctr">
              <a:buFont typeface="Arial" panose="020B0604020202020204" pitchFamily="34" charset="0"/>
              <a:buChar char="•"/>
            </a:pPr>
            <a:r>
              <a:rPr lang="en-US" dirty="0">
                <a:latin typeface="Poppins" panose="00000500000000000000" pitchFamily="2" charset="0"/>
                <a:cs typeface="Poppins" panose="00000500000000000000" pitchFamily="2" charset="0"/>
              </a:rPr>
              <a:t>Low-interest financing options with local lenders</a:t>
            </a:r>
          </a:p>
          <a:p>
            <a:pPr marL="800100" lvl="1" indent="-342900" fontAlgn="ctr">
              <a:buFont typeface="Arial" panose="020B0604020202020204" pitchFamily="34" charset="0"/>
              <a:buChar char="•"/>
            </a:pPr>
            <a:r>
              <a:rPr lang="en-US" dirty="0">
                <a:latin typeface="Poppins" panose="00000500000000000000" pitchFamily="2" charset="0"/>
                <a:cs typeface="Poppins" panose="00000500000000000000" pitchFamily="2" charset="0"/>
              </a:rPr>
              <a:t>Home repair program offered with federal funding </a:t>
            </a:r>
          </a:p>
        </p:txBody>
      </p:sp>
      <p:pic>
        <p:nvPicPr>
          <p:cNvPr id="7" name="Picture Placeholder 17">
            <a:extLst>
              <a:ext uri="{FF2B5EF4-FFF2-40B4-BE49-F238E27FC236}">
                <a16:creationId xmlns:a16="http://schemas.microsoft.com/office/drawing/2014/main" id="{577455E5-575E-938D-B191-64AE363542D2}"/>
              </a:ext>
            </a:extLst>
          </p:cNvPr>
          <p:cNvPicPr>
            <a:picLocks noGrp="1" noChangeAspect="1"/>
          </p:cNvPicPr>
          <p:nvPr>
            <p:ph type="pic" sz="quarter" idx="19"/>
            <p:custDataLst>
              <p:tags r:id="rId1"/>
            </p:custDataLst>
          </p:nvPr>
        </p:nvPicPr>
        <p:blipFill rotWithShape="1">
          <a:blip r:embed="rId4" cstate="screen">
            <a:extLst>
              <a:ext uri="{28A0092B-C50C-407E-A947-70E740481C1C}">
                <a14:useLocalDpi xmlns:a14="http://schemas.microsoft.com/office/drawing/2010/main"/>
              </a:ext>
            </a:extLst>
          </a:blip>
          <a:srcRect/>
          <a:stretch>
            <a:fillRect/>
          </a:stretch>
        </p:blipFill>
        <p:spPr>
          <a:xfrm>
            <a:off x="0" y="0"/>
            <a:ext cx="4229100" cy="6858000"/>
          </a:xfrm>
        </p:spPr>
      </p:pic>
      <p:sp>
        <p:nvSpPr>
          <p:cNvPr id="2" name="Slide Number Placeholder 1">
            <a:extLst>
              <a:ext uri="{FF2B5EF4-FFF2-40B4-BE49-F238E27FC236}">
                <a16:creationId xmlns:a16="http://schemas.microsoft.com/office/drawing/2014/main" id="{3381C857-7FA5-9B03-97D0-71F1AF7A215B}"/>
              </a:ext>
            </a:extLst>
          </p:cNvPr>
          <p:cNvSpPr>
            <a:spLocks noGrp="1"/>
          </p:cNvSpPr>
          <p:nvPr>
            <p:ph type="sldNum" sz="quarter" idx="12"/>
          </p:nvPr>
        </p:nvSpPr>
        <p:spPr>
          <a:xfrm>
            <a:off x="11166218" y="5968513"/>
            <a:ext cx="789562" cy="690326"/>
          </a:xfrm>
        </p:spPr>
        <p:txBody>
          <a:bodyPr/>
          <a:lstStyle/>
          <a:p>
            <a:fld id="{A1471D42-392E-4D14-982B-D9D765EA1509}" type="slidenum">
              <a:rPr lang="en-US" smtClean="0"/>
              <a:t>9</a:t>
            </a:fld>
            <a:endParaRPr lang="en-US" dirty="0"/>
          </a:p>
        </p:txBody>
      </p:sp>
    </p:spTree>
    <p:extLst>
      <p:ext uri="{BB962C8B-B14F-4D97-AF65-F5344CB8AC3E}">
        <p14:creationId xmlns:p14="http://schemas.microsoft.com/office/powerpoint/2010/main" val="3251818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T4VB_EyERDeehSFBS5vbM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4VB_EyERDeehSFBS5vb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aPIZJfb49MSrqmb6Wj1Fe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QiQDSQQIRGt3Np.ikk10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PIZJfb49MSrqmb6Wj1Fe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FgpA0E4YCcTUAwky7ynAN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FgpA0E4YCcTUAwky7ynA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P3CoX4RO52YvicIBIpK_h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T4VB_EyERDeehSFBS5vbM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T4VB_EyERDeehSFBS5vbM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iQDSQQIRGt3Np.ikk1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aPIZJfb49MSrqmb6Wj1Fe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aPIZJfb49MSrqmb6Wj1Fe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aPIZJfb49MSrqmb6Wj1Fe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aPIZJfb49MSrqmb6Wj1Fe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aPIZJfb49MSrqmb6Wj1Fe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aPIZJfb49MSrqmb6Wj1Fe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aPIZJfb49MSrqmb6Wj1Fe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T4VB_EyERDeehSFBS5vbM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aPIZJfb49MSrqmb6Wj1Fe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aPIZJfb49MSrqmb6Wj1Fe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EMPLAFYSLIDEID" val="638017947013524600"/>
  <p:tag name="THINKCELLSHAPEDONOTDELETE" val="tVXVjm7vRe_nBju2UaqELNw"/>
</p:tagLst>
</file>

<file path=ppt/tags/tag395.xml><?xml version="1.0" encoding="utf-8"?>
<p:tagLst xmlns:a="http://schemas.openxmlformats.org/drawingml/2006/main" xmlns:r="http://schemas.openxmlformats.org/officeDocument/2006/relationships" xmlns:p="http://schemas.openxmlformats.org/presentationml/2006/main">
  <p:tag name="CONTAINEDIMAGEPATH" val="C:\Users\ksherman\AppData\Local\Temp\Templafy\PowerPointVsto\Assets\VEIC-All-Services-Graphic-Only.png"/>
  <p:tag name="TEMPLAFYSLIDEID" val="637915078581923145"/>
</p:tagLst>
</file>

<file path=ppt/tags/tag396.xml><?xml version="1.0" encoding="utf-8"?>
<p:tagLst xmlns:a="http://schemas.openxmlformats.org/drawingml/2006/main" xmlns:r="http://schemas.openxmlformats.org/officeDocument/2006/relationships" xmlns:p="http://schemas.openxmlformats.org/presentationml/2006/main">
  <p:tag name="CONTAINEDIMAGEPATH" val="C:\Users\rfoster\AppData\Local\Templafy\AddIns\PowerPointVsto\99faafb9-b3ce-4818-8521-e34eae28eb01.jpeg"/>
</p:tagLst>
</file>

<file path=ppt/tags/tag397.xml><?xml version="1.0" encoding="utf-8"?>
<p:tagLst xmlns:a="http://schemas.openxmlformats.org/drawingml/2006/main" xmlns:r="http://schemas.openxmlformats.org/officeDocument/2006/relationships" xmlns:p="http://schemas.openxmlformats.org/presentationml/2006/main">
  <p:tag name="CONTAINEDIMAGEPATH" val="C:\Users\rfoster\AppData\Local\Templafy\AddIns\PowerPointVsto\571f40a0-c44c-4e0d-8ce4-6bd09c6d0020.jpeg"/>
</p:tagLst>
</file>

<file path=ppt/tags/tag398.xml><?xml version="1.0" encoding="utf-8"?>
<p:tagLst xmlns:a="http://schemas.openxmlformats.org/drawingml/2006/main" xmlns:r="http://schemas.openxmlformats.org/officeDocument/2006/relationships" xmlns:p="http://schemas.openxmlformats.org/presentationml/2006/main">
  <p:tag name="CONTAINEDIMAGEPATH" val="C:\Users\rfoster\AppData\Local\Templafy\AddIns\PowerPointVsto\bff721e2-df9c-47d6-9fbf-08e9f84b19f6.jp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PIZJfb49MSrqmb6Wj1F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gpA0E4YCcTUAwky7ynAN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FgpA0E4YCcTUAwky7ynA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3CoX4RO52YvicIBIpK_h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heme/theme1.xml><?xml version="1.0" encoding="utf-8"?>
<a:theme xmlns:a="http://schemas.openxmlformats.org/drawingml/2006/main" name="Office Theme">
  <a:themeElements>
    <a:clrScheme name="Custom 44">
      <a:dk1>
        <a:srgbClr val="58595B"/>
      </a:dk1>
      <a:lt1>
        <a:sysClr val="window" lastClr="FFFFFF"/>
      </a:lt1>
      <a:dk2>
        <a:srgbClr val="004B64"/>
      </a:dk2>
      <a:lt2>
        <a:srgbClr val="F5F5F5"/>
      </a:lt2>
      <a:accent1>
        <a:srgbClr val="004B64"/>
      </a:accent1>
      <a:accent2>
        <a:srgbClr val="FF9E18"/>
      </a:accent2>
      <a:accent3>
        <a:srgbClr val="8CA8B1"/>
      </a:accent3>
      <a:accent4>
        <a:srgbClr val="B4B4B4"/>
      </a:accent4>
      <a:accent5>
        <a:srgbClr val="DFE3E4"/>
      </a:accent5>
      <a:accent6>
        <a:srgbClr val="F5F5F5"/>
      </a:accent6>
      <a:hlink>
        <a:srgbClr val="004B64"/>
      </a:hlink>
      <a:folHlink>
        <a:srgbClr val="FF9E18"/>
      </a:folHlink>
    </a:clrScheme>
    <a:fontScheme name="Custom 32">
      <a:majorFont>
        <a:latin typeface="Segoe UI Black"/>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44">
      <a:dk1>
        <a:srgbClr val="58595B"/>
      </a:dk1>
      <a:lt1>
        <a:sysClr val="window" lastClr="FFFFFF"/>
      </a:lt1>
      <a:dk2>
        <a:srgbClr val="004B64"/>
      </a:dk2>
      <a:lt2>
        <a:srgbClr val="F5F5F5"/>
      </a:lt2>
      <a:accent1>
        <a:srgbClr val="004B64"/>
      </a:accent1>
      <a:accent2>
        <a:srgbClr val="FF9E18"/>
      </a:accent2>
      <a:accent3>
        <a:srgbClr val="8CA8B1"/>
      </a:accent3>
      <a:accent4>
        <a:srgbClr val="B4B4B4"/>
      </a:accent4>
      <a:accent5>
        <a:srgbClr val="DFE3E4"/>
      </a:accent5>
      <a:accent6>
        <a:srgbClr val="F5F5F5"/>
      </a:accent6>
      <a:hlink>
        <a:srgbClr val="004B64"/>
      </a:hlink>
      <a:folHlink>
        <a:srgbClr val="FF9E18"/>
      </a:folHlink>
    </a:clrScheme>
    <a:fontScheme name="Custom 32">
      <a:majorFont>
        <a:latin typeface="Segoe UI Black"/>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7E888D571BDE4AAC4B4B3FD5E8EE93" ma:contentTypeVersion="18" ma:contentTypeDescription="Create a new document." ma:contentTypeScope="" ma:versionID="c5e5175dacf0a19eb8c3ba7618b468fc">
  <xsd:schema xmlns:xsd="http://www.w3.org/2001/XMLSchema" xmlns:xs="http://www.w3.org/2001/XMLSchema" xmlns:p="http://schemas.microsoft.com/office/2006/metadata/properties" xmlns:ns2="1fa6012a-6ab1-492e-a26c-bcb49d2efc7e" xmlns:ns3="2f24cefd-c32a-4508-928e-e8bf1c039b62" targetNamespace="http://schemas.microsoft.com/office/2006/metadata/properties" ma:root="true" ma:fieldsID="3e0d25ac0e13e967ca137825d176c6e8" ns2:_="" ns3:_="">
    <xsd:import namespace="1fa6012a-6ab1-492e-a26c-bcb49d2efc7e"/>
    <xsd:import namespace="2f24cefd-c32a-4508-928e-e8bf1c039b6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Location" minOccurs="0"/>
                <xsd:element ref="ns2:MediaLengthInSeconds" minOccurs="0"/>
                <xsd:element ref="ns3:TaxCatchAll"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a6012a-6ab1-492e-a26c-bcb49d2efc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4cf37578-2677-4c25-96d1-98b311f70cc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f24cefd-c32a-4508-928e-e8bf1c039b62"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9017c164-3139-4410-86fa-01430e4ca017}" ma:internalName="TaxCatchAll" ma:showField="CatchAllData" ma:web="2f24cefd-c32a-4508-928e-e8bf1c039b6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TemplafySlideFormConfiguration><![CDATA[{"formFields":[],"formDataEntries":[]}]]></TemplafySlideFormConfiguration>
</file>

<file path=customXml/item11.xml><?xml version="1.0" encoding="utf-8"?>
<TemplafySlideTemplateConfiguration><![CDATA[{"slideVersion":2,"isValidatorEnabled":false,"isLocked":false,"elementsMetadata":[],"slideId":"638198255210344898","enableDocumentContentUpdater":false,"version":"2.0"}]]></TemplafySlideTemplateConfiguration>
</file>

<file path=customXml/item12.xml><?xml version="1.0" encoding="utf-8"?>
<TemplafySlideTemplateConfiguration><![CDATA[{"slideVersion":2,"isValidatorEnabled":false,"isLocked":false,"elementsMetadata":[],"slideId":"638198255210488067","enableDocumentContentUpdater":false,"version":"2.0"}]]></TemplafySlideTemplateConfiguration>
</file>

<file path=customXml/item13.xml><?xml version="1.0" encoding="utf-8"?>
<TemplafySlideTemplateConfiguration><![CDATA[{"slideVersion":2,"isValidatorEnabled":false,"isLocked":false,"elementsMetadata":[],"slideId":"638198255210375131","enableDocumentContentUpdater":false,"version":"2.0"}]]></TemplafySlideTemplateConfiguration>
</file>

<file path=customXml/item14.xml><?xml version="1.0" encoding="utf-8"?>
<TemplafySlideTemplateConfiguration><![CDATA[{"slideVersion":2,"isValidatorEnabled":false,"isLocked":false,"elementsMetadata":[],"slideId":"638198255210334518","enableDocumentContentUpdater":false,"version":"2.0"}]]></TemplafySlideTemplateConfiguration>
</file>

<file path=customXml/item15.xml><?xml version="1.0" encoding="utf-8"?>
<TemplafySlideFormConfiguration><![CDATA[{"formFields":[],"formDataEntries":[]}]]></TemplafySlideFormConfiguration>
</file>

<file path=customXml/item16.xml><?xml version="1.0" encoding="utf-8"?>
<TemplafySlideFormConfiguration><![CDATA[{"formFields":[],"formDataEntries":[]}]]></TemplafySlideFormConfiguration>
</file>

<file path=customXml/item17.xml><?xml version="1.0" encoding="utf-8"?>
<TemplafySlideTemplateConfiguration><![CDATA[{"slideVersion":2,"isValidatorEnabled":false,"isLocked":false,"elementsMetadata":[],"slideId":"638198255210508871","enableDocumentContentUpdater":false,"version":"2.0"}]]></TemplafySlideTemplateConfiguration>
</file>

<file path=customXml/item18.xml><?xml version="1.0" encoding="utf-8"?>
<TemplafySlideFormConfiguration><![CDATA[{"formFields":[],"formDataEntries":[]}]]></TemplafySlideFormConfiguration>
</file>

<file path=customXml/item19.xml><?xml version="1.0" encoding="utf-8"?>
<TemplafySlideFormConfiguration><![CDATA[{"formFields":[],"formDataEntries":[]}]]></TemplafySlideFormConfiguration>
</file>

<file path=customXml/item2.xml><?xml version="1.0" encoding="utf-8"?>
<TemplafyTemplateConfiguration><![CDATA[{"elementsMetadata":[],"transformationConfigurations":[],"templateName":"VEIC-Presentation-Template-2022","templateDescription":"","enableDocumentContentUpdater":false,"version":"2.0"}]]></TemplafyTemplateConfiguration>
</file>

<file path=customXml/item20.xml><?xml version="1.0" encoding="utf-8"?>
<p:properties xmlns:p="http://schemas.microsoft.com/office/2006/metadata/properties" xmlns:xsi="http://www.w3.org/2001/XMLSchema-instance" xmlns:pc="http://schemas.microsoft.com/office/infopath/2007/PartnerControls">
  <documentManagement>
    <lcf76f155ced4ddcb4097134ff3c332f xmlns="1fa6012a-6ab1-492e-a26c-bcb49d2efc7e">
      <Terms xmlns="http://schemas.microsoft.com/office/infopath/2007/PartnerControls"/>
    </lcf76f155ced4ddcb4097134ff3c332f>
    <TaxCatchAll xmlns="2f24cefd-c32a-4508-928e-e8bf1c039b62" xsi:nil="true"/>
  </documentManagement>
</p:properties>
</file>

<file path=customXml/item21.xml><?xml version="1.0" encoding="utf-8"?>
<TemplafySlideTemplateConfiguration><![CDATA[{"slideVersion":2,"isValidatorEnabled":false,"isLocked":false,"elementsMetadata":[],"slideId":"638198255210493957","enableDocumentContentUpdater":false,"version":"2.0"}]]></TemplafySlideTemplateConfiguration>
</file>

<file path=customXml/item22.xml><?xml version="1.0" encoding="utf-8"?>
<TemplafySlideFormConfiguration><![CDATA[{"formFields":[],"formDataEntries":[]}]]></TemplafySlideFormConfiguration>
</file>

<file path=customXml/item23.xml><?xml version="1.0" encoding="utf-8"?>
<TemplafySlideFormConfiguration><![CDATA[{"formFields":[],"formDataEntries":[]}]]></TemplafySlideFormConfiguration>
</file>

<file path=customXml/item24.xml><?xml version="1.0" encoding="utf-8"?>
<TemplafySlideFormConfiguration><![CDATA[{"formFields":[],"formDataEntries":[]}]]></TemplafySlideFormConfiguration>
</file>

<file path=customXml/item25.xml><?xml version="1.0" encoding="utf-8"?>
<TemplafyFormConfiguration><![CDATA[{"formFields":[],"formDataEntries":[]}]]></TemplafyFormConfiguration>
</file>

<file path=customXml/item26.xml><?xml version="1.0" encoding="utf-8"?>
<TemplafySlideFormConfiguration><![CDATA[{"formFields":[],"formDataEntries":[]}]]></TemplafySlideFormConfiguration>
</file>

<file path=customXml/item27.xml><?xml version="1.0" encoding="utf-8"?>
<TemplafySlideTemplateConfiguration><![CDATA[{"slideVersion":2,"isValidatorEnabled":false,"isLocked":false,"elementsMetadata":[],"slideId":"638198255210383481","enableDocumentContentUpdater":false,"version":"2.0"}]]></TemplafySlideTemplateConfiguration>
</file>

<file path=customXml/item28.xml><?xml version="1.0" encoding="utf-8"?>
<TemplafySlideTemplateConfiguration><![CDATA[{"slideVersion":2,"isValidatorEnabled":false,"isLocked":false,"elementsMetadata":[],"slideId":"638198255210503014","enableDocumentContentUpdater":false,"version":"2.0"}]]></TemplafySlideTemplateConfiguration>
</file>

<file path=customXml/item29.xml><?xml version="1.0" encoding="utf-8"?>
<TemplafySlideFormConfiguration><![CDATA[{"formFields":[],"formDataEntries":[]}]]></TemplafySlideFormConfiguration>
</file>

<file path=customXml/item3.xml><?xml version="1.0" encoding="utf-8"?>
<TemplafySlideTemplateConfiguration><![CDATA[{"slideVersion":1,"isValidatorEnabled":false,"isLocked":false,"elementsMetadata":[],"slideId":"1418015863272374272","enableDocumentContentUpdater":false,"version":"2.0"}]]></TemplafySlideTemplateConfiguration>
</file>

<file path=customXml/item30.xml><?xml version="1.0" encoding="utf-8"?>
<TemplafySlideFormConfiguration><![CDATA[{"formFields":[],"formDataEntries":[]}]]></TemplafySlideFormConfiguration>
</file>

<file path=customXml/item31.xml><?xml version="1.0" encoding="utf-8"?>
<TemplafySlideTemplateConfiguration><![CDATA[{"slideVersion":1,"isValidatorEnabled":false,"isLocked":false,"elementsMetadata":[],"slideId":"638197571144512606","enableDocumentContentUpdater":false,"version":"2.0"}]]></TemplafySlideTemplateConfiguration>
</file>

<file path=customXml/item32.xml><?xml version="1.0" encoding="utf-8"?>
<TemplafySlideFormConfiguration><![CDATA[{"formFields":[],"formDataEntries":[]}]]></TemplafySlideFormConfiguration>
</file>

<file path=customXml/item33.xml><?xml version="1.0" encoding="utf-8"?>
<TemplafySlideTemplateConfiguration><![CDATA[{"slideVersion":2,"isValidatorEnabled":false,"isLocked":false,"elementsMetadata":[],"slideId":"638198255210293887","enableDocumentContentUpdater":false,"version":"2.0"}]]></TemplafySlideTemplateConfiguration>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TemplafySlideTemplateConfiguration><![CDATA[{"slideVersion":2,"isValidatorEnabled":false,"isLocked":false,"elementsMetadata":[],"slideId":"638198255210355861","enableDocumentContentUpdater":false,"version":"2.0"}]]></TemplafySlideTemplateConfiguration>
</file>

<file path=customXml/item6.xml><?xml version="1.0" encoding="utf-8"?>
<TemplafySlideFormConfiguration><![CDATA[{"formFields":[],"formDataEntries":[]}]]></TemplafySlideFormConfiguration>
</file>

<file path=customXml/item7.xml><?xml version="1.0" encoding="utf-8"?>
<TemplafySlideFormConfiguration><![CDATA[{"formFields":[],"formDataEntries":[]}]]></TemplafySlideFormConfiguration>
</file>

<file path=customXml/item8.xml><?xml version="1.0" encoding="utf-8"?>
<TemplafySlideTemplateConfiguration><![CDATA[{"slideVersion":2,"isValidatorEnabled":false,"isLocked":false,"elementsMetadata":[],"slideId":"638198255210469728","enableDocumentContentUpdater":false,"version":"2.0"}]]></TemplafySlideTemplateConfiguration>
</file>

<file path=customXml/item9.xml><?xml version="1.0" encoding="utf-8"?>
<TemplafySlideTemplateConfiguration><![CDATA[{"slideVersion":2,"isValidatorEnabled":false,"isLocked":false,"elementsMetadata":[],"slideId":"638198255210478469","enableDocumentContentUpdater":false,"version":"2.0"}]]></TemplafySlideTemplateConfiguration>
</file>

<file path=customXml/itemProps1.xml><?xml version="1.0" encoding="utf-8"?>
<ds:datastoreItem xmlns:ds="http://schemas.openxmlformats.org/officeDocument/2006/customXml" ds:itemID="{7429A58D-E5BE-4FCE-9928-7890A818C7EE}">
  <ds:schemaRefs>
    <ds:schemaRef ds:uri="1fa6012a-6ab1-492e-a26c-bcb49d2efc7e"/>
    <ds:schemaRef ds:uri="2f24cefd-c32a-4508-928e-e8bf1c039b6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10.xml><?xml version="1.0" encoding="utf-8"?>
<ds:datastoreItem xmlns:ds="http://schemas.openxmlformats.org/officeDocument/2006/customXml" ds:itemID="{D4912FC0-0F5E-4AB4-98D8-3B324E1CE552}">
  <ds:schemaRefs/>
</ds:datastoreItem>
</file>

<file path=customXml/itemProps11.xml><?xml version="1.0" encoding="utf-8"?>
<ds:datastoreItem xmlns:ds="http://schemas.openxmlformats.org/officeDocument/2006/customXml" ds:itemID="{E27B436F-6515-4655-82F8-956644FF1165}">
  <ds:schemaRefs/>
</ds:datastoreItem>
</file>

<file path=customXml/itemProps12.xml><?xml version="1.0" encoding="utf-8"?>
<ds:datastoreItem xmlns:ds="http://schemas.openxmlformats.org/officeDocument/2006/customXml" ds:itemID="{5B8D3F0F-2E45-4970-8187-0935CB924D16}">
  <ds:schemaRefs/>
</ds:datastoreItem>
</file>

<file path=customXml/itemProps13.xml><?xml version="1.0" encoding="utf-8"?>
<ds:datastoreItem xmlns:ds="http://schemas.openxmlformats.org/officeDocument/2006/customXml" ds:itemID="{11BEF2EB-7DA0-44CA-A4BC-03CA8F8A6892}">
  <ds:schemaRefs/>
</ds:datastoreItem>
</file>

<file path=customXml/itemProps14.xml><?xml version="1.0" encoding="utf-8"?>
<ds:datastoreItem xmlns:ds="http://schemas.openxmlformats.org/officeDocument/2006/customXml" ds:itemID="{E784E957-C4F1-408C-9C28-0C05EB6C1909}">
  <ds:schemaRefs/>
</ds:datastoreItem>
</file>

<file path=customXml/itemProps15.xml><?xml version="1.0" encoding="utf-8"?>
<ds:datastoreItem xmlns:ds="http://schemas.openxmlformats.org/officeDocument/2006/customXml" ds:itemID="{C6230E5C-2E86-45D0-96DF-481D49A3E169}">
  <ds:schemaRefs/>
</ds:datastoreItem>
</file>

<file path=customXml/itemProps16.xml><?xml version="1.0" encoding="utf-8"?>
<ds:datastoreItem xmlns:ds="http://schemas.openxmlformats.org/officeDocument/2006/customXml" ds:itemID="{FA7E5A17-C9A3-4882-B084-47DD5390FFE3}">
  <ds:schemaRefs/>
</ds:datastoreItem>
</file>

<file path=customXml/itemProps17.xml><?xml version="1.0" encoding="utf-8"?>
<ds:datastoreItem xmlns:ds="http://schemas.openxmlformats.org/officeDocument/2006/customXml" ds:itemID="{2A3E1119-1E98-4CFC-A6BB-8CE32B321698}">
  <ds:schemaRefs/>
</ds:datastoreItem>
</file>

<file path=customXml/itemProps18.xml><?xml version="1.0" encoding="utf-8"?>
<ds:datastoreItem xmlns:ds="http://schemas.openxmlformats.org/officeDocument/2006/customXml" ds:itemID="{4EE79C71-B4A1-4AC3-9E15-02E63464710E}">
  <ds:schemaRefs/>
</ds:datastoreItem>
</file>

<file path=customXml/itemProps19.xml><?xml version="1.0" encoding="utf-8"?>
<ds:datastoreItem xmlns:ds="http://schemas.openxmlformats.org/officeDocument/2006/customXml" ds:itemID="{85EC0384-C592-42BF-B2E2-AE76ABEBF682}">
  <ds:schemaRefs/>
</ds:datastoreItem>
</file>

<file path=customXml/itemProps2.xml><?xml version="1.0" encoding="utf-8"?>
<ds:datastoreItem xmlns:ds="http://schemas.openxmlformats.org/officeDocument/2006/customXml" ds:itemID="{5CC7BF66-0B2D-4FF7-A128-118B7096E9D7}">
  <ds:schemaRefs/>
</ds:datastoreItem>
</file>

<file path=customXml/itemProps20.xml><?xml version="1.0" encoding="utf-8"?>
<ds:datastoreItem xmlns:ds="http://schemas.openxmlformats.org/officeDocument/2006/customXml" ds:itemID="{149B65CB-AB4D-4528-85CD-DF8A8799FEDC}">
  <ds:schemaRefs>
    <ds:schemaRef ds:uri="1fa6012a-6ab1-492e-a26c-bcb49d2efc7e"/>
    <ds:schemaRef ds:uri="2f24cefd-c32a-4508-928e-e8bf1c039b6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1.xml><?xml version="1.0" encoding="utf-8"?>
<ds:datastoreItem xmlns:ds="http://schemas.openxmlformats.org/officeDocument/2006/customXml" ds:itemID="{9252099B-AD87-4DD6-BBF7-E7EB08AD3651}">
  <ds:schemaRefs/>
</ds:datastoreItem>
</file>

<file path=customXml/itemProps22.xml><?xml version="1.0" encoding="utf-8"?>
<ds:datastoreItem xmlns:ds="http://schemas.openxmlformats.org/officeDocument/2006/customXml" ds:itemID="{0666F956-CE29-4860-A5BA-B1EEFFEA00F4}">
  <ds:schemaRefs/>
</ds:datastoreItem>
</file>

<file path=customXml/itemProps23.xml><?xml version="1.0" encoding="utf-8"?>
<ds:datastoreItem xmlns:ds="http://schemas.openxmlformats.org/officeDocument/2006/customXml" ds:itemID="{3723BEB9-558A-4287-91C4-E038D86816D7}">
  <ds:schemaRefs/>
</ds:datastoreItem>
</file>

<file path=customXml/itemProps24.xml><?xml version="1.0" encoding="utf-8"?>
<ds:datastoreItem xmlns:ds="http://schemas.openxmlformats.org/officeDocument/2006/customXml" ds:itemID="{B435C4BD-92FC-41AE-ADD4-5D43D2FA01FD}">
  <ds:schemaRefs/>
</ds:datastoreItem>
</file>

<file path=customXml/itemProps25.xml><?xml version="1.0" encoding="utf-8"?>
<ds:datastoreItem xmlns:ds="http://schemas.openxmlformats.org/officeDocument/2006/customXml" ds:itemID="{B14A5C9B-DE91-4D8F-B138-8594C18BE818}">
  <ds:schemaRefs/>
</ds:datastoreItem>
</file>

<file path=customXml/itemProps26.xml><?xml version="1.0" encoding="utf-8"?>
<ds:datastoreItem xmlns:ds="http://schemas.openxmlformats.org/officeDocument/2006/customXml" ds:itemID="{A05AA2DB-9622-4F42-9F0F-5DCC2C36BACB}">
  <ds:schemaRefs/>
</ds:datastoreItem>
</file>

<file path=customXml/itemProps27.xml><?xml version="1.0" encoding="utf-8"?>
<ds:datastoreItem xmlns:ds="http://schemas.openxmlformats.org/officeDocument/2006/customXml" ds:itemID="{E4C8949C-0371-425C-ABC4-25B93B25B619}">
  <ds:schemaRefs/>
</ds:datastoreItem>
</file>

<file path=customXml/itemProps28.xml><?xml version="1.0" encoding="utf-8"?>
<ds:datastoreItem xmlns:ds="http://schemas.openxmlformats.org/officeDocument/2006/customXml" ds:itemID="{E5396B1C-3510-4F80-B82D-C50F579FDB75}">
  <ds:schemaRefs/>
</ds:datastoreItem>
</file>

<file path=customXml/itemProps29.xml><?xml version="1.0" encoding="utf-8"?>
<ds:datastoreItem xmlns:ds="http://schemas.openxmlformats.org/officeDocument/2006/customXml" ds:itemID="{D482FAF5-0B91-48FA-B254-5A0CCAD56031}">
  <ds:schemaRefs/>
</ds:datastoreItem>
</file>

<file path=customXml/itemProps3.xml><?xml version="1.0" encoding="utf-8"?>
<ds:datastoreItem xmlns:ds="http://schemas.openxmlformats.org/officeDocument/2006/customXml" ds:itemID="{4612B1C4-B91E-496C-8C18-1EF61E3D8223}">
  <ds:schemaRefs/>
</ds:datastoreItem>
</file>

<file path=customXml/itemProps30.xml><?xml version="1.0" encoding="utf-8"?>
<ds:datastoreItem xmlns:ds="http://schemas.openxmlformats.org/officeDocument/2006/customXml" ds:itemID="{9AD4C326-A68B-4BA9-BFB0-95677345EB09}">
  <ds:schemaRefs/>
</ds:datastoreItem>
</file>

<file path=customXml/itemProps31.xml><?xml version="1.0" encoding="utf-8"?>
<ds:datastoreItem xmlns:ds="http://schemas.openxmlformats.org/officeDocument/2006/customXml" ds:itemID="{DF08F670-7AE0-4816-8B42-7488E68A5624}">
  <ds:schemaRefs/>
</ds:datastoreItem>
</file>

<file path=customXml/itemProps32.xml><?xml version="1.0" encoding="utf-8"?>
<ds:datastoreItem xmlns:ds="http://schemas.openxmlformats.org/officeDocument/2006/customXml" ds:itemID="{A599755A-FE71-4283-A572-6809249FACD9}">
  <ds:schemaRefs/>
</ds:datastoreItem>
</file>

<file path=customXml/itemProps33.xml><?xml version="1.0" encoding="utf-8"?>
<ds:datastoreItem xmlns:ds="http://schemas.openxmlformats.org/officeDocument/2006/customXml" ds:itemID="{514FD6AB-2E5D-40D2-925D-3B940872C431}">
  <ds:schemaRefs/>
</ds:datastoreItem>
</file>

<file path=customXml/itemProps4.xml><?xml version="1.0" encoding="utf-8"?>
<ds:datastoreItem xmlns:ds="http://schemas.openxmlformats.org/officeDocument/2006/customXml" ds:itemID="{B90F29E3-E48A-460B-9908-036918AE5F61}">
  <ds:schemaRefs>
    <ds:schemaRef ds:uri="http://schemas.microsoft.com/sharepoint/v3/contenttype/forms"/>
  </ds:schemaRefs>
</ds:datastoreItem>
</file>

<file path=customXml/itemProps5.xml><?xml version="1.0" encoding="utf-8"?>
<ds:datastoreItem xmlns:ds="http://schemas.openxmlformats.org/officeDocument/2006/customXml" ds:itemID="{9C32B7A4-A77B-49E0-BB7C-723C7E400174}">
  <ds:schemaRefs/>
</ds:datastoreItem>
</file>

<file path=customXml/itemProps6.xml><?xml version="1.0" encoding="utf-8"?>
<ds:datastoreItem xmlns:ds="http://schemas.openxmlformats.org/officeDocument/2006/customXml" ds:itemID="{CCE91ECE-9666-4F8B-A122-09A63AC54718}">
  <ds:schemaRefs/>
</ds:datastoreItem>
</file>

<file path=customXml/itemProps7.xml><?xml version="1.0" encoding="utf-8"?>
<ds:datastoreItem xmlns:ds="http://schemas.openxmlformats.org/officeDocument/2006/customXml" ds:itemID="{CB9FDC61-562B-40D3-B10D-6CB83BC55826}">
  <ds:schemaRefs/>
</ds:datastoreItem>
</file>

<file path=customXml/itemProps8.xml><?xml version="1.0" encoding="utf-8"?>
<ds:datastoreItem xmlns:ds="http://schemas.openxmlformats.org/officeDocument/2006/customXml" ds:itemID="{8CEA5DBE-7945-458C-B1F9-B91CE62A2063}">
  <ds:schemaRefs/>
</ds:datastoreItem>
</file>

<file path=customXml/itemProps9.xml><?xml version="1.0" encoding="utf-8"?>
<ds:datastoreItem xmlns:ds="http://schemas.openxmlformats.org/officeDocument/2006/customXml" ds:itemID="{81438070-2F22-4A4C-9448-6ED6FBF10018}">
  <ds:schemaRefs/>
</ds:datastoreItem>
</file>

<file path=docProps/app.xml><?xml version="1.0" encoding="utf-8"?>
<Properties xmlns="http://schemas.openxmlformats.org/officeDocument/2006/extended-properties" xmlns:vt="http://schemas.openxmlformats.org/officeDocument/2006/docPropsVTypes">
  <TotalTime>214</TotalTime>
  <Words>734</Words>
  <Application>Microsoft Office PowerPoint</Application>
  <PresentationFormat>Widescreen</PresentationFormat>
  <Paragraphs>84</Paragraphs>
  <Slides>11</Slides>
  <Notes>9</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4" baseType="lpstr">
      <vt:lpstr>Poppins ExtraBold</vt:lpstr>
      <vt:lpstr>Arial</vt:lpstr>
      <vt:lpstr>Quattrocento Sans</vt:lpstr>
      <vt:lpstr>Museo Sans Rounded 500</vt:lpstr>
      <vt:lpstr>Poppins Light</vt:lpstr>
      <vt:lpstr>Poppins</vt:lpstr>
      <vt:lpstr>Segoe UI Black</vt:lpstr>
      <vt:lpstr>Calibri</vt:lpstr>
      <vt:lpstr>Segoe UI</vt:lpstr>
      <vt:lpstr>Museo Sans 500</vt:lpstr>
      <vt:lpstr>Office Theme</vt:lpstr>
      <vt:lpstr>1_Office Theme</vt:lpstr>
      <vt:lpstr>think-cell Slide</vt:lpstr>
      <vt:lpstr>The Critical Role of Energy Efficiency</vt:lpstr>
      <vt:lpstr>VEIC offers high-impact energy solutions that drive affordability through efficiency and decarbonization.</vt:lpstr>
      <vt:lpstr>What’s at stake?</vt:lpstr>
      <vt:lpstr>Energy Efficiency must continue to be part of the solution </vt:lpstr>
      <vt:lpstr>Long-term investments in efficiency pay off </vt:lpstr>
      <vt:lpstr>Need for electric efficiency is increasing</vt:lpstr>
      <vt:lpstr>The myth of low-hanging fruit</vt:lpstr>
      <vt:lpstr>Weatherization is also increasing in value</vt:lpstr>
      <vt:lpstr>Next-gen weatherization approaches</vt:lpstr>
      <vt:lpstr>The Path Forward</vt:lpstr>
      <vt:lpstr>Thank you!  Rebecca Foster rfoster@veic.org 802-540-7882</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halay Chio</dc:creator>
  <cp:lastModifiedBy>Rebecca Foster</cp:lastModifiedBy>
  <cp:revision>12</cp:revision>
  <dcterms:created xsi:type="dcterms:W3CDTF">2026-03-31T15:35:35Z</dcterms:created>
  <dcterms:modified xsi:type="dcterms:W3CDTF">2026-05-13T12:5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7E888D571BDE4AAC4B4B3FD5E8EE93</vt:lpwstr>
  </property>
  <property fmtid="{D5CDD505-2E9C-101B-9397-08002B2CF9AE}" pid="3" name="MediaServiceImageTags">
    <vt:lpwstr/>
  </property>
  <property fmtid="{D5CDD505-2E9C-101B-9397-08002B2CF9AE}" pid="4" name="TemplafyTimeStamp">
    <vt:lpwstr>2026-03-26T15:12:52</vt:lpwstr>
  </property>
  <property fmtid="{D5CDD505-2E9C-101B-9397-08002B2CF9AE}" pid="5" name="TemplafyTenantId">
    <vt:lpwstr>veic</vt:lpwstr>
  </property>
  <property fmtid="{D5CDD505-2E9C-101B-9397-08002B2CF9AE}" pid="6" name="TemplafyTemplateId">
    <vt:lpwstr>638004106556287950</vt:lpwstr>
  </property>
  <property fmtid="{D5CDD505-2E9C-101B-9397-08002B2CF9AE}" pid="7" name="TemplafyUserProfileId">
    <vt:lpwstr>638179458278012805</vt:lpwstr>
  </property>
  <property fmtid="{D5CDD505-2E9C-101B-9397-08002B2CF9AE}" pid="8" name="TemplafyFromBlank">
    <vt:bool>false</vt:bool>
  </property>
</Properties>
</file>